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5.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6.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3.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notesSlides/notesSlide6.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7.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8.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9.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10.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11.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12.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34.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notesSlides/notesSlide35.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notesSlides/notesSlide36.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notesSlides/notesSlide37.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notesSlides/notesSlide38.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notesSlides/notesSlide39.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notesSlides/notesSlide40.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notesSlides/notesSlide41.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notesSlides/notesSlide42.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notesSlides/notesSlide43.xml" ContentType="application/vnd.openxmlformats-officedocument.presentationml.notesSlide+xml"/>
  <Override PartName="/ppt/theme/themeOverride1.xml" ContentType="application/vnd.openxmlformats-officedocument.themeOverride+xml"/>
  <Override PartName="/ppt/tags/tag110.xml" ContentType="application/vnd.openxmlformats-officedocument.presentationml.tags+xml"/>
  <Override PartName="/ppt/tags/tag111.xml" ContentType="application/vnd.openxmlformats-officedocument.presentationml.tags+xml"/>
  <Override PartName="/ppt/notesSlides/notesSlide44.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notesSlides/notesSlide45.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notesSlides/notesSlide46.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notesSlides/notesSlide47.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notesSlides/notesSlide48.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notesSlides/notesSlide49.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notesSlides/notesSlide50.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notesSlides/notesSlide51.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notesSlides/notesSlide52.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notesSlides/notesSlide53.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notesSlides/notesSlide54.xml" ContentType="application/vnd.openxmlformats-officedocument.presentationml.notesSlide+xml"/>
  <Override PartName="/ppt/tags/tag132.xml" ContentType="application/vnd.openxmlformats-officedocument.presentationml.tags+xml"/>
  <Override PartName="/ppt/tags/tag133.xml" ContentType="application/vnd.openxmlformats-officedocument.presentationml.tags+xml"/>
  <Override PartName="/ppt/notesSlides/notesSlide55.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notesSlides/notesSlide56.xml" ContentType="application/vnd.openxmlformats-officedocument.presentationml.notesSlide+xml"/>
  <Override PartName="/ppt/tags/tag136.xml" ContentType="application/vnd.openxmlformats-officedocument.presentationml.tags+xml"/>
  <Override PartName="/ppt/tags/tag137.xml" ContentType="application/vnd.openxmlformats-officedocument.presentationml.tags+xml"/>
  <Override PartName="/ppt/notesSlides/notesSlide57.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notesSlides/notesSlide58.xml" ContentType="application/vnd.openxmlformats-officedocument.presentationml.notesSlide+xml"/>
  <Override PartName="/ppt/tags/tag140.xml" ContentType="application/vnd.openxmlformats-officedocument.presentationml.tags+xml"/>
  <Override PartName="/ppt/tags/tag141.xml" ContentType="application/vnd.openxmlformats-officedocument.presentationml.tags+xml"/>
  <Override PartName="/ppt/notesSlides/notesSlide59.xml" ContentType="application/vnd.openxmlformats-officedocument.presentationml.notesSlide+xml"/>
  <Override PartName="/ppt/tags/tag142.xml" ContentType="application/vnd.openxmlformats-officedocument.presentationml.tags+xml"/>
  <Override PartName="/ppt/tags/tag143.xml" ContentType="application/vnd.openxmlformats-officedocument.presentationml.tags+xml"/>
  <Override PartName="/ppt/notesSlides/notesSlide60.xml" ContentType="application/vnd.openxmlformats-officedocument.presentationml.notesSlide+xml"/>
  <Override PartName="/ppt/tags/tag144.xml" ContentType="application/vnd.openxmlformats-officedocument.presentationml.tags+xml"/>
  <Override PartName="/ppt/tags/tag145.xml" ContentType="application/vnd.openxmlformats-officedocument.presentationml.tags+xml"/>
  <Override PartName="/ppt/notesSlides/notesSlide61.xml" ContentType="application/vnd.openxmlformats-officedocument.presentationml.notesSlide+xml"/>
  <Override PartName="/ppt/tags/tag146.xml" ContentType="application/vnd.openxmlformats-officedocument.presentationml.tags+xml"/>
  <Override PartName="/ppt/tags/tag147.xml" ContentType="application/vnd.openxmlformats-officedocument.presentationml.tags+xml"/>
  <Override PartName="/ppt/notesSlides/notesSlide62.xml" ContentType="application/vnd.openxmlformats-officedocument.presentationml.notesSlide+xml"/>
  <Override PartName="/ppt/tags/tag148.xml" ContentType="application/vnd.openxmlformats-officedocument.presentationml.tags+xml"/>
  <Override PartName="/ppt/tags/tag149.xml" ContentType="application/vnd.openxmlformats-officedocument.presentationml.tags+xml"/>
  <Override PartName="/ppt/notesSlides/notesSlide63.xml" ContentType="application/vnd.openxmlformats-officedocument.presentationml.notesSlide+xml"/>
  <Override PartName="/ppt/tags/tag150.xml" ContentType="application/vnd.openxmlformats-officedocument.presentationml.tags+xml"/>
  <Override PartName="/ppt/tags/tag151.xml" ContentType="application/vnd.openxmlformats-officedocument.presentationml.tags+xml"/>
  <Override PartName="/ppt/notesSlides/notesSlide64.xml" ContentType="application/vnd.openxmlformats-officedocument.presentationml.notesSlide+xml"/>
  <Override PartName="/ppt/tags/tag152.xml" ContentType="application/vnd.openxmlformats-officedocument.presentationml.tags+xml"/>
  <Override PartName="/ppt/tags/tag153.xml" ContentType="application/vnd.openxmlformats-officedocument.presentationml.tags+xml"/>
  <Override PartName="/ppt/notesSlides/notesSlide65.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notesSlides/notesSlide66.xml" ContentType="application/vnd.openxmlformats-officedocument.presentationml.notesSlide+xml"/>
  <Override PartName="/ppt/tags/tag156.xml" ContentType="application/vnd.openxmlformats-officedocument.presentationml.tags+xml"/>
  <Override PartName="/ppt/tags/tag157.xml" ContentType="application/vnd.openxmlformats-officedocument.presentationml.tags+xml"/>
  <Override PartName="/ppt/notesSlides/notesSlide67.xml" ContentType="application/vnd.openxmlformats-officedocument.presentationml.notesSlide+xml"/>
  <Override PartName="/ppt/tags/tag158.xml" ContentType="application/vnd.openxmlformats-officedocument.presentationml.tags+xml"/>
  <Override PartName="/ppt/tags/tag159.xml" ContentType="application/vnd.openxmlformats-officedocument.presentationml.tags+xml"/>
  <Override PartName="/ppt/notesSlides/notesSlide6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8" r:id="rId4"/>
    <p:sldMasterId id="2147483922" r:id="rId5"/>
    <p:sldMasterId id="2147483938" r:id="rId6"/>
    <p:sldMasterId id="2147483955" r:id="rId7"/>
    <p:sldMasterId id="2147483972" r:id="rId8"/>
    <p:sldMasterId id="2147483989" r:id="rId9"/>
  </p:sldMasterIdLst>
  <p:notesMasterIdLst>
    <p:notesMasterId r:id="rId93"/>
  </p:notesMasterIdLst>
  <p:handoutMasterIdLst>
    <p:handoutMasterId r:id="rId94"/>
  </p:handoutMasterIdLst>
  <p:sldIdLst>
    <p:sldId id="500" r:id="rId10"/>
    <p:sldId id="2144446013" r:id="rId11"/>
    <p:sldId id="2145707180" r:id="rId12"/>
    <p:sldId id="2147374241" r:id="rId13"/>
    <p:sldId id="2145707278" r:id="rId14"/>
    <p:sldId id="2147374180" r:id="rId15"/>
    <p:sldId id="2147374176" r:id="rId16"/>
    <p:sldId id="2145707181" r:id="rId17"/>
    <p:sldId id="2145707279" r:id="rId18"/>
    <p:sldId id="2147374242" r:id="rId19"/>
    <p:sldId id="2147374157" r:id="rId20"/>
    <p:sldId id="2147374247" r:id="rId21"/>
    <p:sldId id="2147374163" r:id="rId22"/>
    <p:sldId id="2147374158" r:id="rId23"/>
    <p:sldId id="2147374160" r:id="rId24"/>
    <p:sldId id="2147374167" r:id="rId25"/>
    <p:sldId id="2145707280" r:id="rId26"/>
    <p:sldId id="2147374244" r:id="rId27"/>
    <p:sldId id="2145708077" r:id="rId28"/>
    <p:sldId id="2145708074" r:id="rId29"/>
    <p:sldId id="2145708066" r:id="rId30"/>
    <p:sldId id="2145708081" r:id="rId31"/>
    <p:sldId id="2145707240" r:id="rId32"/>
    <p:sldId id="2145708065" r:id="rId33"/>
    <p:sldId id="2145708071" r:id="rId34"/>
    <p:sldId id="2145708075" r:id="rId35"/>
    <p:sldId id="2145708082" r:id="rId36"/>
    <p:sldId id="2145708067" r:id="rId37"/>
    <p:sldId id="2145707242" r:id="rId38"/>
    <p:sldId id="2145708069" r:id="rId39"/>
    <p:sldId id="2145708072" r:id="rId40"/>
    <p:sldId id="2145708076" r:id="rId41"/>
    <p:sldId id="2145708083" r:id="rId42"/>
    <p:sldId id="2145708068" r:id="rId43"/>
    <p:sldId id="2145708084" r:id="rId44"/>
    <p:sldId id="2145708070" r:id="rId45"/>
    <p:sldId id="2145708073" r:id="rId46"/>
    <p:sldId id="2145708079" r:id="rId47"/>
    <p:sldId id="2147374229" r:id="rId48"/>
    <p:sldId id="2145708086" r:id="rId49"/>
    <p:sldId id="2145707281" r:id="rId50"/>
    <p:sldId id="2147374245" r:id="rId51"/>
    <p:sldId id="1448943273" r:id="rId52"/>
    <p:sldId id="1448943275" r:id="rId53"/>
    <p:sldId id="2145707282" r:id="rId54"/>
    <p:sldId id="2147374246" r:id="rId55"/>
    <p:sldId id="2147374218" r:id="rId56"/>
    <p:sldId id="2147374232" r:id="rId57"/>
    <p:sldId id="2147374168" r:id="rId58"/>
    <p:sldId id="2147374183" r:id="rId59"/>
    <p:sldId id="1448943294" r:id="rId60"/>
    <p:sldId id="2147374182" r:id="rId61"/>
    <p:sldId id="2147374215" r:id="rId62"/>
    <p:sldId id="2147374184" r:id="rId63"/>
    <p:sldId id="2147374197" r:id="rId64"/>
    <p:sldId id="2147374185" r:id="rId65"/>
    <p:sldId id="2147374203" r:id="rId66"/>
    <p:sldId id="2147374186" r:id="rId67"/>
    <p:sldId id="2147374208" r:id="rId68"/>
    <p:sldId id="2147374187" r:id="rId69"/>
    <p:sldId id="2147374209" r:id="rId70"/>
    <p:sldId id="2147374188" r:id="rId71"/>
    <p:sldId id="2147374212" r:id="rId72"/>
    <p:sldId id="2147374189" r:id="rId73"/>
    <p:sldId id="2147374213" r:id="rId74"/>
    <p:sldId id="2147374169" r:id="rId75"/>
    <p:sldId id="2147374223" r:id="rId76"/>
    <p:sldId id="2147374225" r:id="rId77"/>
    <p:sldId id="2147374226" r:id="rId78"/>
    <p:sldId id="2147374220" r:id="rId79"/>
    <p:sldId id="2147374233" r:id="rId80"/>
    <p:sldId id="2147374248" r:id="rId81"/>
    <p:sldId id="2147374249" r:id="rId82"/>
    <p:sldId id="2147374250" r:id="rId83"/>
    <p:sldId id="2147374254" r:id="rId84"/>
    <p:sldId id="2147374251" r:id="rId85"/>
    <p:sldId id="2147374252" r:id="rId86"/>
    <p:sldId id="2147374255" r:id="rId87"/>
    <p:sldId id="2147374253" r:id="rId88"/>
    <p:sldId id="2147374256" r:id="rId89"/>
    <p:sldId id="2147374257" r:id="rId90"/>
    <p:sldId id="2147374258" r:id="rId91"/>
    <p:sldId id="2147374259" r:id="rId92"/>
  </p:sldIdLst>
  <p:sldSz cx="12192000" cy="6858000"/>
  <p:notesSz cx="1476375" cy="6858000"/>
  <p:custDataLst>
    <p:tags r:id="rId9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F621920-0F0C-FF4F-AB54-2DD01DBE4CEF}">
          <p14:sldIdLst>
            <p14:sldId id="500"/>
            <p14:sldId id="2144446013"/>
            <p14:sldId id="2145707180"/>
            <p14:sldId id="2147374241"/>
          </p14:sldIdLst>
        </p14:section>
        <p14:section name="0........." id="{E95D901B-EFE4-DE4A-8BDF-2D71FD1C062D}">
          <p14:sldIdLst>
            <p14:sldId id="2145707278"/>
            <p14:sldId id="2147374180"/>
            <p14:sldId id="2147374176"/>
            <p14:sldId id="2145707181"/>
            <p14:sldId id="2145707279"/>
            <p14:sldId id="2147374242"/>
            <p14:sldId id="2147374157"/>
            <p14:sldId id="2147374247"/>
            <p14:sldId id="2147374163"/>
            <p14:sldId id="2147374158"/>
            <p14:sldId id="2147374160"/>
            <p14:sldId id="2147374167"/>
            <p14:sldId id="2145707280"/>
            <p14:sldId id="2147374244"/>
            <p14:sldId id="2145708077"/>
            <p14:sldId id="2145708074"/>
            <p14:sldId id="2145708066"/>
            <p14:sldId id="2145708081"/>
            <p14:sldId id="2145707240"/>
            <p14:sldId id="2145708065"/>
            <p14:sldId id="2145708071"/>
            <p14:sldId id="2145708075"/>
            <p14:sldId id="2145708082"/>
            <p14:sldId id="2145708067"/>
            <p14:sldId id="2145707242"/>
            <p14:sldId id="2145708069"/>
            <p14:sldId id="2145708072"/>
            <p14:sldId id="2145708076"/>
            <p14:sldId id="2145708083"/>
            <p14:sldId id="2145708068"/>
            <p14:sldId id="2145708084"/>
            <p14:sldId id="2145708070"/>
            <p14:sldId id="2145708073"/>
            <p14:sldId id="2145708079"/>
            <p14:sldId id="2147374229"/>
            <p14:sldId id="2145708086"/>
            <p14:sldId id="2145707281"/>
            <p14:sldId id="2147374245"/>
            <p14:sldId id="1448943273"/>
            <p14:sldId id="1448943275"/>
            <p14:sldId id="2145707282"/>
            <p14:sldId id="2147374246"/>
            <p14:sldId id="2147374218"/>
            <p14:sldId id="2147374232"/>
            <p14:sldId id="2147374168"/>
            <p14:sldId id="2147374183"/>
            <p14:sldId id="1448943294"/>
            <p14:sldId id="2147374182"/>
            <p14:sldId id="2147374215"/>
            <p14:sldId id="2147374184"/>
            <p14:sldId id="2147374197"/>
            <p14:sldId id="2147374185"/>
            <p14:sldId id="2147374203"/>
            <p14:sldId id="2147374186"/>
            <p14:sldId id="2147374208"/>
            <p14:sldId id="2147374187"/>
            <p14:sldId id="2147374209"/>
            <p14:sldId id="2147374188"/>
            <p14:sldId id="2147374212"/>
            <p14:sldId id="2147374189"/>
            <p14:sldId id="2147374213"/>
            <p14:sldId id="2147374169"/>
            <p14:sldId id="2147374223"/>
            <p14:sldId id="2147374225"/>
            <p14:sldId id="2147374226"/>
            <p14:sldId id="2147374220"/>
            <p14:sldId id="2147374233"/>
            <p14:sldId id="2147374248"/>
            <p14:sldId id="2147374249"/>
            <p14:sldId id="2147374250"/>
            <p14:sldId id="2147374254"/>
            <p14:sldId id="2147374251"/>
            <p14:sldId id="2147374252"/>
            <p14:sldId id="2147374255"/>
            <p14:sldId id="2147374253"/>
            <p14:sldId id="2147374256"/>
            <p14:sldId id="2147374257"/>
            <p14:sldId id="2147374258"/>
            <p14:sldId id="2147374259"/>
          </p14:sldIdLst>
        </p14:section>
      </p14:sectionLst>
    </p:ext>
    <p:ext uri="{EFAFB233-063F-42B5-8137-9DF3F51BA10A}">
      <p15:sldGuideLst xmlns:p15="http://schemas.microsoft.com/office/powerpoint/2012/main">
        <p15:guide id="1" orient="horz" pos="2184" userDrawn="1">
          <p15:clr>
            <a:srgbClr val="A4A3A4"/>
          </p15:clr>
        </p15:guide>
        <p15:guide id="2" pos="307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7C8DB09-17F0-4EE4-39A7-BD323DDDBC7C}" name="Dan McTavish" initials="DM" userId="S::danmctavish@moorhouseconsulting.com::3bdd38c9-93c5-470d-b029-59656566a699" providerId="AD"/>
  <p188:author id="{7766D492-FF0E-F996-F463-C90465C626BF}" name="Liz Brown" initials="LB" userId="S::elizabethbrown@moorhouseconsulting.com::cca18a2c-ec13-4cb5-bb2e-e485438d5f06" providerId="AD"/>
  <p188:author id="{A6BDECEA-9DF8-4400-C894-234384798310}" name="Nick Robinson" initials="NR" userId="S::nickrobinson@moorhouseconsulting.com::d0c2b313-4ae0-4040-8c6a-fec7a720a7b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James Hemson" initials="JH" lastIdx="1" clrIdx="0"/>
  <p:cmAuthor id="2" name="Hannah-Louise Gillies" initials="HG" lastIdx="65" clrIdx="1">
    <p:extLst>
      <p:ext uri="{19B8F6BF-5375-455C-9EA6-DF929625EA0E}">
        <p15:presenceInfo xmlns:p15="http://schemas.microsoft.com/office/powerpoint/2012/main" userId="S::hannah-louisegillies@moorhouseconsulting.com::2b198ac7-b64f-4339-8f8e-98db86669e5b" providerId="AD"/>
      </p:ext>
    </p:extLst>
  </p:cmAuthor>
  <p:cmAuthor id="3" name="Kerry-Leigh Bruce" initials="KB" lastIdx="47" clrIdx="2">
    <p:extLst>
      <p:ext uri="{19B8F6BF-5375-455C-9EA6-DF929625EA0E}">
        <p15:presenceInfo xmlns:p15="http://schemas.microsoft.com/office/powerpoint/2012/main" userId="S::kerry-leighbruce@moorhouseconsulting.com::1d47b97c-b452-466b-a909-c78c82663226" providerId="AD"/>
      </p:ext>
    </p:extLst>
  </p:cmAuthor>
  <p:cmAuthor id="4" name="Emily Blampied" initials="EB" lastIdx="29" clrIdx="3">
    <p:extLst>
      <p:ext uri="{19B8F6BF-5375-455C-9EA6-DF929625EA0E}">
        <p15:presenceInfo xmlns:p15="http://schemas.microsoft.com/office/powerpoint/2012/main" userId="S::emilyblampied@moorhouseconsulting.com::948e1f5f-d29f-4504-b93a-083d613ad470" providerId="AD"/>
      </p:ext>
    </p:extLst>
  </p:cmAuthor>
  <p:cmAuthor id="5" name="Alex Goodman" initials="AG" lastIdx="3" clrIdx="4">
    <p:extLst>
      <p:ext uri="{19B8F6BF-5375-455C-9EA6-DF929625EA0E}">
        <p15:presenceInfo xmlns:p15="http://schemas.microsoft.com/office/powerpoint/2012/main" userId="S::AlexGoodman@moorhouseconsulting.com::246c5507-a032-4dab-8ac2-ada7d08fa658" providerId="AD"/>
      </p:ext>
    </p:extLst>
  </p:cmAuthor>
  <p:cmAuthor id="6" name="Dan McTavish" initials="DM" lastIdx="1" clrIdx="5">
    <p:extLst>
      <p:ext uri="{19B8F6BF-5375-455C-9EA6-DF929625EA0E}">
        <p15:presenceInfo xmlns:p15="http://schemas.microsoft.com/office/powerpoint/2012/main" userId="S::danmctavish@moorhouseconsulting.com::3bdd38c9-93c5-470d-b029-59656566a69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BFBF"/>
    <a:srgbClr val="50235C"/>
    <a:srgbClr val="F1EDF4"/>
    <a:srgbClr val="AC9AB1"/>
    <a:srgbClr val="C8C8C9"/>
    <a:srgbClr val="D1D1D2"/>
    <a:srgbClr val="50235A"/>
    <a:srgbClr val="5920CF"/>
    <a:srgbClr val="7030A0"/>
    <a:srgbClr val="AB2373"/>
  </p:clrMru>
  <p:extLst>
    <p:ext uri="{E76CE94A-603C-4142-B9EB-6D1370010A27}">
      <p14:discardImageEditData xmlns:p14="http://schemas.microsoft.com/office/powerpoint/2010/main" val="1"/>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2699863-337D-3F42-BAB2-1E2940D16818}" v="12" dt="2022-01-12T09:55:36.744"/>
  </p1510:revLst>
</p1510:revInfo>
</file>

<file path=ppt/tableStyles.xml><?xml version="1.0" encoding="utf-8"?>
<a:tblStyleLst xmlns:a="http://schemas.openxmlformats.org/drawingml/2006/main" def="{5C22544A-7EE6-4342-B048-85BDC9FD1C3A}">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84"/>
        <p:guide pos="3072"/>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slide" Target="slides/slide59.xml"/><Relationship Id="rId84" Type="http://schemas.openxmlformats.org/officeDocument/2006/relationships/slide" Target="slides/slide75.xml"/><Relationship Id="rId89" Type="http://schemas.openxmlformats.org/officeDocument/2006/relationships/slide" Target="slides/slide80.xml"/><Relationship Id="rId16" Type="http://schemas.openxmlformats.org/officeDocument/2006/relationships/slide" Target="slides/slide7.xml"/><Relationship Id="rId11" Type="http://schemas.openxmlformats.org/officeDocument/2006/relationships/slide" Target="slides/slide2.xml"/><Relationship Id="rId32" Type="http://schemas.openxmlformats.org/officeDocument/2006/relationships/slide" Target="slides/slide23.xml"/><Relationship Id="rId37" Type="http://schemas.openxmlformats.org/officeDocument/2006/relationships/slide" Target="slides/slide28.xml"/><Relationship Id="rId53" Type="http://schemas.openxmlformats.org/officeDocument/2006/relationships/slide" Target="slides/slide44.xml"/><Relationship Id="rId58" Type="http://schemas.openxmlformats.org/officeDocument/2006/relationships/slide" Target="slides/slide49.xml"/><Relationship Id="rId74" Type="http://schemas.openxmlformats.org/officeDocument/2006/relationships/slide" Target="slides/slide65.xml"/><Relationship Id="rId79" Type="http://schemas.openxmlformats.org/officeDocument/2006/relationships/slide" Target="slides/slide70.xml"/><Relationship Id="rId102" Type="http://schemas.microsoft.com/office/2015/10/relationships/revisionInfo" Target="revisionInfo.xml"/><Relationship Id="rId5" Type="http://schemas.openxmlformats.org/officeDocument/2006/relationships/slideMaster" Target="slideMasters/slideMaster2.xml"/><Relationship Id="rId90" Type="http://schemas.openxmlformats.org/officeDocument/2006/relationships/slide" Target="slides/slide81.xml"/><Relationship Id="rId95" Type="http://schemas.openxmlformats.org/officeDocument/2006/relationships/tags" Target="tags/tag1.xml"/><Relationship Id="rId22" Type="http://schemas.openxmlformats.org/officeDocument/2006/relationships/slide" Target="slides/slide13.xml"/><Relationship Id="rId27" Type="http://schemas.openxmlformats.org/officeDocument/2006/relationships/slide" Target="slides/slide18.xml"/><Relationship Id="rId43" Type="http://schemas.openxmlformats.org/officeDocument/2006/relationships/slide" Target="slides/slide34.xml"/><Relationship Id="rId48" Type="http://schemas.openxmlformats.org/officeDocument/2006/relationships/slide" Target="slides/slide39.xml"/><Relationship Id="rId64" Type="http://schemas.openxmlformats.org/officeDocument/2006/relationships/slide" Target="slides/slide55.xml"/><Relationship Id="rId69" Type="http://schemas.openxmlformats.org/officeDocument/2006/relationships/slide" Target="slides/slide60.xml"/><Relationship Id="rId80" Type="http://schemas.openxmlformats.org/officeDocument/2006/relationships/slide" Target="slides/slide71.xml"/><Relationship Id="rId85" Type="http://schemas.openxmlformats.org/officeDocument/2006/relationships/slide" Target="slides/slide76.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103" Type="http://schemas.microsoft.com/office/2018/10/relationships/authors" Target="authors.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slide" Target="slides/slide66.xml"/><Relationship Id="rId83" Type="http://schemas.openxmlformats.org/officeDocument/2006/relationships/slide" Target="slides/slide74.xml"/><Relationship Id="rId88" Type="http://schemas.openxmlformats.org/officeDocument/2006/relationships/slide" Target="slides/slide79.xml"/><Relationship Id="rId91" Type="http://schemas.openxmlformats.org/officeDocument/2006/relationships/slide" Target="slides/slide82.xml"/><Relationship Id="rId96"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slide" Target="slides/slide69.xml"/><Relationship Id="rId81" Type="http://schemas.openxmlformats.org/officeDocument/2006/relationships/slide" Target="slides/slide72.xml"/><Relationship Id="rId86" Type="http://schemas.openxmlformats.org/officeDocument/2006/relationships/slide" Target="slides/slide77.xml"/><Relationship Id="rId94" Type="http://schemas.openxmlformats.org/officeDocument/2006/relationships/handoutMaster" Target="handoutMasters/handoutMaster1.xml"/><Relationship Id="rId99" Type="http://schemas.openxmlformats.org/officeDocument/2006/relationships/theme" Target="theme/theme1.xml"/><Relationship Id="rId10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97"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slide" Target="slides/slide62.xml"/><Relationship Id="rId92" Type="http://schemas.openxmlformats.org/officeDocument/2006/relationships/slide" Target="slides/slide83.xml"/><Relationship Id="rId2" Type="http://schemas.openxmlformats.org/officeDocument/2006/relationships/customXml" Target="../customXml/item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 Id="rId87" Type="http://schemas.openxmlformats.org/officeDocument/2006/relationships/slide" Target="slides/slide78.xml"/><Relationship Id="rId61" Type="http://schemas.openxmlformats.org/officeDocument/2006/relationships/slide" Target="slides/slide52.xml"/><Relationship Id="rId82" Type="http://schemas.openxmlformats.org/officeDocument/2006/relationships/slide" Target="slides/slide73.xml"/><Relationship Id="rId19" Type="http://schemas.openxmlformats.org/officeDocument/2006/relationships/slide" Target="slides/slide10.xml"/><Relationship Id="rId14" Type="http://schemas.openxmlformats.org/officeDocument/2006/relationships/slide" Target="slides/slide5.xml"/><Relationship Id="rId30" Type="http://schemas.openxmlformats.org/officeDocument/2006/relationships/slide" Target="slides/slide21.xml"/><Relationship Id="rId35" Type="http://schemas.openxmlformats.org/officeDocument/2006/relationships/slide" Target="slides/slide26.xml"/><Relationship Id="rId56" Type="http://schemas.openxmlformats.org/officeDocument/2006/relationships/slide" Target="slides/slide47.xml"/><Relationship Id="rId77" Type="http://schemas.openxmlformats.org/officeDocument/2006/relationships/slide" Target="slides/slide68.xml"/><Relationship Id="rId100"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42.xml"/><Relationship Id="rId72" Type="http://schemas.openxmlformats.org/officeDocument/2006/relationships/slide" Target="slides/slide63.xml"/><Relationship Id="rId93" Type="http://schemas.openxmlformats.org/officeDocument/2006/relationships/notesMaster" Target="notesMasters/notesMaster1.xml"/><Relationship Id="rId98" Type="http://schemas.openxmlformats.org/officeDocument/2006/relationships/viewProps" Target="viewProps.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z Brown" userId="cca18a2c-ec13-4cb5-bb2e-e485438d5f06" providerId="ADAL" clId="{E79EB88E-5B9D-A84D-8ED3-7402D3DA8A81}"/>
    <pc:docChg chg="modSld">
      <pc:chgData name="Liz Brown" userId="cca18a2c-ec13-4cb5-bb2e-e485438d5f06" providerId="ADAL" clId="{E79EB88E-5B9D-A84D-8ED3-7402D3DA8A81}" dt="2021-10-01T10:32:51.901" v="0" actId="14734"/>
      <pc:docMkLst>
        <pc:docMk/>
      </pc:docMkLst>
      <pc:sldChg chg="modSp mod">
        <pc:chgData name="Liz Brown" userId="cca18a2c-ec13-4cb5-bb2e-e485438d5f06" providerId="ADAL" clId="{E79EB88E-5B9D-A84D-8ED3-7402D3DA8A81}" dt="2021-10-01T10:32:51.901" v="0" actId="14734"/>
        <pc:sldMkLst>
          <pc:docMk/>
          <pc:sldMk cId="3762447713" sldId="2144446020"/>
        </pc:sldMkLst>
        <pc:graphicFrameChg chg="modGraphic">
          <ac:chgData name="Liz Brown" userId="cca18a2c-ec13-4cb5-bb2e-e485438d5f06" providerId="ADAL" clId="{E79EB88E-5B9D-A84D-8ED3-7402D3DA8A81}" dt="2021-10-01T10:32:51.901" v="0" actId="14734"/>
          <ac:graphicFrameMkLst>
            <pc:docMk/>
            <pc:sldMk cId="3762447713" sldId="2144446020"/>
            <ac:graphicFrameMk id="6" creationId="{6F702D48-9599-724C-B5B3-CF659D19C36A}"/>
          </ac:graphicFrameMkLst>
        </pc:graphicFrameChg>
      </pc:sldChg>
    </pc:docChg>
  </pc:docChgLst>
  <pc:docChgLst>
    <pc:chgData name="Nick Robinson" userId="d0c2b313-4ae0-4040-8c6a-fec7a720a7b5" providerId="ADAL" clId="{9D26C270-5461-F844-9688-58D8512A9AEB}"/>
    <pc:docChg chg="undo redo custSel addSld delSld modSld sldOrd modNotesMaster modHandout">
      <pc:chgData name="Nick Robinson" userId="d0c2b313-4ae0-4040-8c6a-fec7a720a7b5" providerId="ADAL" clId="{9D26C270-5461-F844-9688-58D8512A9AEB}" dt="2021-11-09T14:42:16.436" v="61509" actId="700"/>
      <pc:docMkLst>
        <pc:docMk/>
      </pc:docMkLst>
      <pc:sldChg chg="modSp mod">
        <pc:chgData name="Nick Robinson" userId="d0c2b313-4ae0-4040-8c6a-fec7a720a7b5" providerId="ADAL" clId="{9D26C270-5461-F844-9688-58D8512A9AEB}" dt="2021-11-08T11:36:43.817" v="57062"/>
        <pc:sldMkLst>
          <pc:docMk/>
          <pc:sldMk cId="3899156713" sldId="500"/>
        </pc:sldMkLst>
        <pc:spChg chg="mod">
          <ac:chgData name="Nick Robinson" userId="d0c2b313-4ae0-4040-8c6a-fec7a720a7b5" providerId="ADAL" clId="{9D26C270-5461-F844-9688-58D8512A9AEB}" dt="2021-11-03T09:03:17.892" v="25455" actId="20577"/>
          <ac:spMkLst>
            <pc:docMk/>
            <pc:sldMk cId="3899156713" sldId="500"/>
            <ac:spMk id="8" creationId="{77BFE849-4BB6-1245-8013-9EC80472DD21}"/>
          </ac:spMkLst>
        </pc:spChg>
        <pc:spChg chg="mod">
          <ac:chgData name="Nick Robinson" userId="d0c2b313-4ae0-4040-8c6a-fec7a720a7b5" providerId="ADAL" clId="{9D26C270-5461-F844-9688-58D8512A9AEB}" dt="2021-11-08T11:36:43.817" v="57062"/>
          <ac:spMkLst>
            <pc:docMk/>
            <pc:sldMk cId="3899156713" sldId="500"/>
            <ac:spMk id="12" creationId="{00000000-0000-0000-0000-000000000000}"/>
          </ac:spMkLst>
        </pc:spChg>
      </pc:sldChg>
      <pc:sldChg chg="del">
        <pc:chgData name="Nick Robinson" userId="d0c2b313-4ae0-4040-8c6a-fec7a720a7b5" providerId="ADAL" clId="{9D26C270-5461-F844-9688-58D8512A9AEB}" dt="2021-10-27T13:58:40.335" v="3103" actId="2696"/>
        <pc:sldMkLst>
          <pc:docMk/>
          <pc:sldMk cId="413179298" sldId="2089"/>
        </pc:sldMkLst>
      </pc:sldChg>
      <pc:sldChg chg="modSp add del mod">
        <pc:chgData name="Nick Robinson" userId="d0c2b313-4ae0-4040-8c6a-fec7a720a7b5" providerId="ADAL" clId="{9D26C270-5461-F844-9688-58D8512A9AEB}" dt="2021-10-27T14:36:51.446" v="4818" actId="2696"/>
        <pc:sldMkLst>
          <pc:docMk/>
          <pc:sldMk cId="3870895531" sldId="6725"/>
        </pc:sldMkLst>
        <pc:spChg chg="mod">
          <ac:chgData name="Nick Robinson" userId="d0c2b313-4ae0-4040-8c6a-fec7a720a7b5" providerId="ADAL" clId="{9D26C270-5461-F844-9688-58D8512A9AEB}" dt="2021-10-27T14:34:58.189" v="4465" actId="207"/>
          <ac:spMkLst>
            <pc:docMk/>
            <pc:sldMk cId="3870895531" sldId="6725"/>
            <ac:spMk id="24" creationId="{E467A275-D2A8-054B-AE3F-5F4DF34F91D5}"/>
          </ac:spMkLst>
        </pc:spChg>
        <pc:graphicFrameChg chg="mod">
          <ac:chgData name="Nick Robinson" userId="d0c2b313-4ae0-4040-8c6a-fec7a720a7b5" providerId="ADAL" clId="{9D26C270-5461-F844-9688-58D8512A9AEB}" dt="2021-10-27T14:34:39.084" v="4440"/>
          <ac:graphicFrameMkLst>
            <pc:docMk/>
            <pc:sldMk cId="3870895531" sldId="6725"/>
            <ac:graphicFrameMk id="21" creationId="{3152B1DD-7E77-E64E-AF6D-73764D07B21E}"/>
          </ac:graphicFrameMkLst>
        </pc:graphicFrameChg>
      </pc:sldChg>
      <pc:sldChg chg="modSp add del mod">
        <pc:chgData name="Nick Robinson" userId="d0c2b313-4ae0-4040-8c6a-fec7a720a7b5" providerId="ADAL" clId="{9D26C270-5461-F844-9688-58D8512A9AEB}" dt="2021-10-27T12:49:56.941" v="935" actId="2696"/>
        <pc:sldMkLst>
          <pc:docMk/>
          <pc:sldMk cId="2497723701" sldId="6740"/>
        </pc:sldMkLst>
        <pc:spChg chg="mod">
          <ac:chgData name="Nick Robinson" userId="d0c2b313-4ae0-4040-8c6a-fec7a720a7b5" providerId="ADAL" clId="{9D26C270-5461-F844-9688-58D8512A9AEB}" dt="2021-10-27T12:49:47.688" v="933" actId="207"/>
          <ac:spMkLst>
            <pc:docMk/>
            <pc:sldMk cId="2497723701" sldId="6740"/>
            <ac:spMk id="27" creationId="{48189C3A-F76C-7C44-9E79-090AB719BC50}"/>
          </ac:spMkLst>
        </pc:spChg>
        <pc:graphicFrameChg chg="mod">
          <ac:chgData name="Nick Robinson" userId="d0c2b313-4ae0-4040-8c6a-fec7a720a7b5" providerId="ADAL" clId="{9D26C270-5461-F844-9688-58D8512A9AEB}" dt="2021-10-27T12:49:41.697" v="932"/>
          <ac:graphicFrameMkLst>
            <pc:docMk/>
            <pc:sldMk cId="2497723701" sldId="6740"/>
            <ac:graphicFrameMk id="22" creationId="{B7D22CD2-B98D-454C-A424-8C4FE48C2EC6}"/>
          </ac:graphicFrameMkLst>
        </pc:graphicFrameChg>
      </pc:sldChg>
      <pc:sldChg chg="modSp">
        <pc:chgData name="Nick Robinson" userId="d0c2b313-4ae0-4040-8c6a-fec7a720a7b5" providerId="ADAL" clId="{9D26C270-5461-F844-9688-58D8512A9AEB}" dt="2021-11-08T11:36:43.817" v="57062"/>
        <pc:sldMkLst>
          <pc:docMk/>
          <pc:sldMk cId="72529761" sldId="1448943263"/>
        </pc:sldMkLst>
        <pc:graphicFrameChg chg="mod">
          <ac:chgData name="Nick Robinson" userId="d0c2b313-4ae0-4040-8c6a-fec7a720a7b5" providerId="ADAL" clId="{9D26C270-5461-F844-9688-58D8512A9AEB}" dt="2021-11-08T11:36:43.817" v="57062"/>
          <ac:graphicFrameMkLst>
            <pc:docMk/>
            <pc:sldMk cId="72529761" sldId="1448943263"/>
            <ac:graphicFrameMk id="7" creationId="{0652C58B-32C6-9446-B4B3-CCE2F64D5CB7}"/>
          </ac:graphicFrameMkLst>
        </pc:graphicFrameChg>
      </pc:sldChg>
      <pc:sldChg chg="modSp mod">
        <pc:chgData name="Nick Robinson" userId="d0c2b313-4ae0-4040-8c6a-fec7a720a7b5" providerId="ADAL" clId="{9D26C270-5461-F844-9688-58D8512A9AEB}" dt="2021-11-08T11:36:43.817" v="57062"/>
        <pc:sldMkLst>
          <pc:docMk/>
          <pc:sldMk cId="2625941426" sldId="1448943269"/>
        </pc:sldMkLst>
        <pc:spChg chg="mod">
          <ac:chgData name="Nick Robinson" userId="d0c2b313-4ae0-4040-8c6a-fec7a720a7b5" providerId="ADAL" clId="{9D26C270-5461-F844-9688-58D8512A9AEB}" dt="2021-11-08T11:36:43.817" v="57062"/>
          <ac:spMkLst>
            <pc:docMk/>
            <pc:sldMk cId="2625941426" sldId="1448943269"/>
            <ac:spMk id="54" creationId="{A7DD93EE-2A6C-2D44-8C5F-34F2D3F3960E}"/>
          </ac:spMkLst>
        </pc:spChg>
        <pc:spChg chg="mod">
          <ac:chgData name="Nick Robinson" userId="d0c2b313-4ae0-4040-8c6a-fec7a720a7b5" providerId="ADAL" clId="{9D26C270-5461-F844-9688-58D8512A9AEB}" dt="2021-11-08T11:36:43.817" v="57062"/>
          <ac:spMkLst>
            <pc:docMk/>
            <pc:sldMk cId="2625941426" sldId="1448943269"/>
            <ac:spMk id="56" creationId="{DCDD9483-E305-B942-9F92-6EA4CFD5688A}"/>
          </ac:spMkLst>
        </pc:spChg>
        <pc:spChg chg="mod">
          <ac:chgData name="Nick Robinson" userId="d0c2b313-4ae0-4040-8c6a-fec7a720a7b5" providerId="ADAL" clId="{9D26C270-5461-F844-9688-58D8512A9AEB}" dt="2021-10-15T16:26:17.265" v="528" actId="207"/>
          <ac:spMkLst>
            <pc:docMk/>
            <pc:sldMk cId="2625941426" sldId="1448943269"/>
            <ac:spMk id="87" creationId="{D83E2979-DE42-B143-8096-9C02B2C3D084}"/>
          </ac:spMkLst>
        </pc:spChg>
      </pc:sldChg>
      <pc:sldChg chg="addSp modSp add del mod ord">
        <pc:chgData name="Nick Robinson" userId="d0c2b313-4ae0-4040-8c6a-fec7a720a7b5" providerId="ADAL" clId="{9D26C270-5461-F844-9688-58D8512A9AEB}" dt="2021-11-07T19:29:38.029" v="51338" actId="2696"/>
        <pc:sldMkLst>
          <pc:docMk/>
          <pc:sldMk cId="3574932048" sldId="1448943273"/>
        </pc:sldMkLst>
        <pc:spChg chg="add mod">
          <ac:chgData name="Nick Robinson" userId="d0c2b313-4ae0-4040-8c6a-fec7a720a7b5" providerId="ADAL" clId="{9D26C270-5461-F844-9688-58D8512A9AEB}" dt="2021-11-03T09:03:44.238" v="25481" actId="20577"/>
          <ac:spMkLst>
            <pc:docMk/>
            <pc:sldMk cId="3574932048" sldId="1448943273"/>
            <ac:spMk id="29" creationId="{0E5CD49C-BB86-2141-A8E5-DA9D53BF8F97}"/>
          </ac:spMkLst>
        </pc:spChg>
      </pc:sldChg>
      <pc:sldChg chg="addSp modSp add del mod ord">
        <pc:chgData name="Nick Robinson" userId="d0c2b313-4ae0-4040-8c6a-fec7a720a7b5" providerId="ADAL" clId="{9D26C270-5461-F844-9688-58D8512A9AEB}" dt="2021-11-07T19:29:38.029" v="51338" actId="2696"/>
        <pc:sldMkLst>
          <pc:docMk/>
          <pc:sldMk cId="2638338010" sldId="1448943274"/>
        </pc:sldMkLst>
        <pc:spChg chg="add mod">
          <ac:chgData name="Nick Robinson" userId="d0c2b313-4ae0-4040-8c6a-fec7a720a7b5" providerId="ADAL" clId="{9D26C270-5461-F844-9688-58D8512A9AEB}" dt="2021-11-03T09:03:40.407" v="25470" actId="20577"/>
          <ac:spMkLst>
            <pc:docMk/>
            <pc:sldMk cId="2638338010" sldId="1448943274"/>
            <ac:spMk id="29" creationId="{3E00BEF7-BDD2-D148-9A4E-E3F8EC1466C7}"/>
          </ac:spMkLst>
        </pc:spChg>
      </pc:sldChg>
      <pc:sldChg chg="modSp add del">
        <pc:chgData name="Nick Robinson" userId="d0c2b313-4ae0-4040-8c6a-fec7a720a7b5" providerId="ADAL" clId="{9D26C270-5461-F844-9688-58D8512A9AEB}" dt="2021-11-08T11:36:43.817" v="57062"/>
        <pc:sldMkLst>
          <pc:docMk/>
          <pc:sldMk cId="4082691307" sldId="1448943275"/>
        </pc:sldMkLst>
        <pc:spChg chg="mod">
          <ac:chgData name="Nick Robinson" userId="d0c2b313-4ae0-4040-8c6a-fec7a720a7b5" providerId="ADAL" clId="{9D26C270-5461-F844-9688-58D8512A9AEB}" dt="2021-11-08T11:36:43.817" v="57062"/>
          <ac:spMkLst>
            <pc:docMk/>
            <pc:sldMk cId="4082691307" sldId="1448943275"/>
            <ac:spMk id="2" creationId="{00000000-0000-0000-0000-000000000000}"/>
          </ac:spMkLst>
        </pc:spChg>
        <pc:spChg chg="mod">
          <ac:chgData name="Nick Robinson" userId="d0c2b313-4ae0-4040-8c6a-fec7a720a7b5" providerId="ADAL" clId="{9D26C270-5461-F844-9688-58D8512A9AEB}" dt="2021-11-08T11:36:43.817" v="57062"/>
          <ac:spMkLst>
            <pc:docMk/>
            <pc:sldMk cId="4082691307" sldId="1448943275"/>
            <ac:spMk id="9" creationId="{830963B0-EC21-6844-B457-D76C8A955C49}"/>
          </ac:spMkLst>
        </pc:spChg>
        <pc:spChg chg="mod">
          <ac:chgData name="Nick Robinson" userId="d0c2b313-4ae0-4040-8c6a-fec7a720a7b5" providerId="ADAL" clId="{9D26C270-5461-F844-9688-58D8512A9AEB}" dt="2021-11-08T11:36:43.817" v="57062"/>
          <ac:spMkLst>
            <pc:docMk/>
            <pc:sldMk cId="4082691307" sldId="1448943275"/>
            <ac:spMk id="16" creationId="{31C5E5D2-FFD8-E746-BB5C-961B37795212}"/>
          </ac:spMkLst>
        </pc:spChg>
        <pc:spChg chg="mod">
          <ac:chgData name="Nick Robinson" userId="d0c2b313-4ae0-4040-8c6a-fec7a720a7b5" providerId="ADAL" clId="{9D26C270-5461-F844-9688-58D8512A9AEB}" dt="2021-11-08T11:36:43.817" v="57062"/>
          <ac:spMkLst>
            <pc:docMk/>
            <pc:sldMk cId="4082691307" sldId="1448943275"/>
            <ac:spMk id="20" creationId="{402E6269-6E43-284C-994C-53753D65F08A}"/>
          </ac:spMkLst>
        </pc:spChg>
      </pc:sldChg>
      <pc:sldChg chg="addSp delSp modSp add del mod">
        <pc:chgData name="Nick Robinson" userId="d0c2b313-4ae0-4040-8c6a-fec7a720a7b5" providerId="ADAL" clId="{9D26C270-5461-F844-9688-58D8512A9AEB}" dt="2021-11-09T10:26:51.591" v="61492" actId="20577"/>
        <pc:sldMkLst>
          <pc:docMk/>
          <pc:sldMk cId="3817828692" sldId="1448943280"/>
        </pc:sldMkLst>
        <pc:spChg chg="del">
          <ac:chgData name="Nick Robinson" userId="d0c2b313-4ae0-4040-8c6a-fec7a720a7b5" providerId="ADAL" clId="{9D26C270-5461-F844-9688-58D8512A9AEB}" dt="2021-11-08T12:06:33.107" v="58368" actId="478"/>
          <ac:spMkLst>
            <pc:docMk/>
            <pc:sldMk cId="3817828692" sldId="1448943280"/>
            <ac:spMk id="4" creationId="{F1EDD06D-410D-074D-812E-C2555ACBEC17}"/>
          </ac:spMkLst>
        </pc:spChg>
        <pc:spChg chg="mod">
          <ac:chgData name="Nick Robinson" userId="d0c2b313-4ae0-4040-8c6a-fec7a720a7b5" providerId="ADAL" clId="{9D26C270-5461-F844-9688-58D8512A9AEB}" dt="2021-11-08T12:42:47.422" v="59568" actId="1036"/>
          <ac:spMkLst>
            <pc:docMk/>
            <pc:sldMk cId="3817828692" sldId="1448943280"/>
            <ac:spMk id="8" creationId="{6C8F5393-A17C-244B-9317-1C6D35ED8116}"/>
          </ac:spMkLst>
        </pc:spChg>
        <pc:spChg chg="mod">
          <ac:chgData name="Nick Robinson" userId="d0c2b313-4ae0-4040-8c6a-fec7a720a7b5" providerId="ADAL" clId="{9D26C270-5461-F844-9688-58D8512A9AEB}" dt="2021-11-08T12:42:47.422" v="59568" actId="1036"/>
          <ac:spMkLst>
            <pc:docMk/>
            <pc:sldMk cId="3817828692" sldId="1448943280"/>
            <ac:spMk id="10" creationId="{101D30C9-4BFB-E44E-8297-DE4C48EBDCB6}"/>
          </ac:spMkLst>
        </pc:spChg>
        <pc:spChg chg="mod">
          <ac:chgData name="Nick Robinson" userId="d0c2b313-4ae0-4040-8c6a-fec7a720a7b5" providerId="ADAL" clId="{9D26C270-5461-F844-9688-58D8512A9AEB}" dt="2021-11-08T12:42:47.422" v="59568" actId="1036"/>
          <ac:spMkLst>
            <pc:docMk/>
            <pc:sldMk cId="3817828692" sldId="1448943280"/>
            <ac:spMk id="11" creationId="{D74013F0-0BED-0549-BC01-0CBD07468B9D}"/>
          </ac:spMkLst>
        </pc:spChg>
        <pc:spChg chg="mod">
          <ac:chgData name="Nick Robinson" userId="d0c2b313-4ae0-4040-8c6a-fec7a720a7b5" providerId="ADAL" clId="{9D26C270-5461-F844-9688-58D8512A9AEB}" dt="2021-11-08T12:42:47.422" v="59568" actId="1036"/>
          <ac:spMkLst>
            <pc:docMk/>
            <pc:sldMk cId="3817828692" sldId="1448943280"/>
            <ac:spMk id="12" creationId="{8BE31C21-899B-014B-B8D6-B17613833ADF}"/>
          </ac:spMkLst>
        </pc:spChg>
        <pc:spChg chg="mod">
          <ac:chgData name="Nick Robinson" userId="d0c2b313-4ae0-4040-8c6a-fec7a720a7b5" providerId="ADAL" clId="{9D26C270-5461-F844-9688-58D8512A9AEB}" dt="2021-11-08T12:42:47.422" v="59568" actId="1036"/>
          <ac:spMkLst>
            <pc:docMk/>
            <pc:sldMk cId="3817828692" sldId="1448943280"/>
            <ac:spMk id="13" creationId="{4773FEBE-74DD-604D-828B-1DD08040EBBC}"/>
          </ac:spMkLst>
        </pc:spChg>
        <pc:spChg chg="mod">
          <ac:chgData name="Nick Robinson" userId="d0c2b313-4ae0-4040-8c6a-fec7a720a7b5" providerId="ADAL" clId="{9D26C270-5461-F844-9688-58D8512A9AEB}" dt="2021-11-08T12:42:47.422" v="59568" actId="1036"/>
          <ac:spMkLst>
            <pc:docMk/>
            <pc:sldMk cId="3817828692" sldId="1448943280"/>
            <ac:spMk id="14" creationId="{523CDB6F-5FB6-8B44-BF95-437530181F82}"/>
          </ac:spMkLst>
        </pc:spChg>
        <pc:spChg chg="add mod">
          <ac:chgData name="Nick Robinson" userId="d0c2b313-4ae0-4040-8c6a-fec7a720a7b5" providerId="ADAL" clId="{9D26C270-5461-F844-9688-58D8512A9AEB}" dt="2021-11-09T08:10:45.619" v="61007" actId="20577"/>
          <ac:spMkLst>
            <pc:docMk/>
            <pc:sldMk cId="3817828692" sldId="1448943280"/>
            <ac:spMk id="15" creationId="{6EAFD683-664F-E24F-B5FE-D615C1502857}"/>
          </ac:spMkLst>
        </pc:spChg>
        <pc:graphicFrameChg chg="mod modGraphic">
          <ac:chgData name="Nick Robinson" userId="d0c2b313-4ae0-4040-8c6a-fec7a720a7b5" providerId="ADAL" clId="{9D26C270-5461-F844-9688-58D8512A9AEB}" dt="2021-11-09T10:26:51.591" v="61492" actId="20577"/>
          <ac:graphicFrameMkLst>
            <pc:docMk/>
            <pc:sldMk cId="3817828692" sldId="1448943280"/>
            <ac:graphicFrameMk id="30" creationId="{C2565C73-0559-674E-B80E-B6029845EE85}"/>
          </ac:graphicFrameMkLst>
        </pc:graphicFrameChg>
      </pc:sldChg>
      <pc:sldChg chg="addSp delSp modSp add mod modShow modCm modNotesTx">
        <pc:chgData name="Nick Robinson" userId="d0c2b313-4ae0-4040-8c6a-fec7a720a7b5" providerId="ADAL" clId="{9D26C270-5461-F844-9688-58D8512A9AEB}" dt="2021-11-08T13:11:34.267" v="59943"/>
        <pc:sldMkLst>
          <pc:docMk/>
          <pc:sldMk cId="845138846" sldId="1448943328"/>
        </pc:sldMkLst>
        <pc:spChg chg="mod">
          <ac:chgData name="Nick Robinson" userId="d0c2b313-4ae0-4040-8c6a-fec7a720a7b5" providerId="ADAL" clId="{9D26C270-5461-F844-9688-58D8512A9AEB}" dt="2021-11-08T11:36:43.817" v="57062"/>
          <ac:spMkLst>
            <pc:docMk/>
            <pc:sldMk cId="845138846" sldId="1448943328"/>
            <ac:spMk id="4" creationId="{CEF1AEE4-C47F-2A4C-A991-855D708E03B9}"/>
          </ac:spMkLst>
        </pc:spChg>
        <pc:spChg chg="add mod">
          <ac:chgData name="Nick Robinson" userId="d0c2b313-4ae0-4040-8c6a-fec7a720a7b5" providerId="ADAL" clId="{9D26C270-5461-F844-9688-58D8512A9AEB}" dt="2021-11-08T12:04:50.606" v="58363" actId="1076"/>
          <ac:spMkLst>
            <pc:docMk/>
            <pc:sldMk cId="845138846" sldId="1448943328"/>
            <ac:spMk id="5" creationId="{A44278CC-7CE8-D045-8772-312FFF3C13B1}"/>
          </ac:spMkLst>
        </pc:spChg>
        <pc:spChg chg="del">
          <ac:chgData name="Nick Robinson" userId="d0c2b313-4ae0-4040-8c6a-fec7a720a7b5" providerId="ADAL" clId="{9D26C270-5461-F844-9688-58D8512A9AEB}" dt="2021-11-04T12:06:11.073" v="28108" actId="478"/>
          <ac:spMkLst>
            <pc:docMk/>
            <pc:sldMk cId="845138846" sldId="1448943328"/>
            <ac:spMk id="14" creationId="{7B7EC48C-54A2-004D-B7E2-1985795FBDA8}"/>
          </ac:spMkLst>
        </pc:spChg>
        <pc:spChg chg="del">
          <ac:chgData name="Nick Robinson" userId="d0c2b313-4ae0-4040-8c6a-fec7a720a7b5" providerId="ADAL" clId="{9D26C270-5461-F844-9688-58D8512A9AEB}" dt="2021-11-04T12:06:11.073" v="28108" actId="478"/>
          <ac:spMkLst>
            <pc:docMk/>
            <pc:sldMk cId="845138846" sldId="1448943328"/>
            <ac:spMk id="15" creationId="{4A993039-8AE1-CF4A-AA47-E8FBD6226DC1}"/>
          </ac:spMkLst>
        </pc:spChg>
        <pc:spChg chg="del">
          <ac:chgData name="Nick Robinson" userId="d0c2b313-4ae0-4040-8c6a-fec7a720a7b5" providerId="ADAL" clId="{9D26C270-5461-F844-9688-58D8512A9AEB}" dt="2021-11-04T12:06:11.073" v="28108" actId="478"/>
          <ac:spMkLst>
            <pc:docMk/>
            <pc:sldMk cId="845138846" sldId="1448943328"/>
            <ac:spMk id="17" creationId="{0F4F468A-5F94-474F-AE2B-4C19EDC813AC}"/>
          </ac:spMkLst>
        </pc:spChg>
        <pc:spChg chg="del">
          <ac:chgData name="Nick Robinson" userId="d0c2b313-4ae0-4040-8c6a-fec7a720a7b5" providerId="ADAL" clId="{9D26C270-5461-F844-9688-58D8512A9AEB}" dt="2021-11-04T12:06:11.073" v="28108" actId="478"/>
          <ac:spMkLst>
            <pc:docMk/>
            <pc:sldMk cId="845138846" sldId="1448943328"/>
            <ac:spMk id="20" creationId="{B91D6CA9-6EEB-AB4A-864A-33E2345CBD16}"/>
          </ac:spMkLst>
        </pc:spChg>
        <pc:spChg chg="del">
          <ac:chgData name="Nick Robinson" userId="d0c2b313-4ae0-4040-8c6a-fec7a720a7b5" providerId="ADAL" clId="{9D26C270-5461-F844-9688-58D8512A9AEB}" dt="2021-11-04T12:06:11.073" v="28108" actId="478"/>
          <ac:spMkLst>
            <pc:docMk/>
            <pc:sldMk cId="845138846" sldId="1448943328"/>
            <ac:spMk id="21" creationId="{83AFBE2E-B96F-2A47-816D-C1F19980D239}"/>
          </ac:spMkLst>
        </pc:spChg>
        <pc:spChg chg="del">
          <ac:chgData name="Nick Robinson" userId="d0c2b313-4ae0-4040-8c6a-fec7a720a7b5" providerId="ADAL" clId="{9D26C270-5461-F844-9688-58D8512A9AEB}" dt="2021-11-04T12:06:11.073" v="28108" actId="478"/>
          <ac:spMkLst>
            <pc:docMk/>
            <pc:sldMk cId="845138846" sldId="1448943328"/>
            <ac:spMk id="22" creationId="{82A867AE-C6C6-2545-AC59-85068408FE47}"/>
          </ac:spMkLst>
        </pc:spChg>
        <pc:spChg chg="add del mod">
          <ac:chgData name="Nick Robinson" userId="d0c2b313-4ae0-4040-8c6a-fec7a720a7b5" providerId="ADAL" clId="{9D26C270-5461-F844-9688-58D8512A9AEB}" dt="2021-11-04T12:06:11.073" v="28108" actId="478"/>
          <ac:spMkLst>
            <pc:docMk/>
            <pc:sldMk cId="845138846" sldId="1448943328"/>
            <ac:spMk id="41" creationId="{F087F373-B30F-7E44-97D1-D5413F62074D}"/>
          </ac:spMkLst>
        </pc:spChg>
        <pc:spChg chg="add del mod">
          <ac:chgData name="Nick Robinson" userId="d0c2b313-4ae0-4040-8c6a-fec7a720a7b5" providerId="ADAL" clId="{9D26C270-5461-F844-9688-58D8512A9AEB}" dt="2021-11-05T08:28:07.109" v="39845" actId="478"/>
          <ac:spMkLst>
            <pc:docMk/>
            <pc:sldMk cId="845138846" sldId="1448943328"/>
            <ac:spMk id="42" creationId="{2F1E360E-6E4B-CC4E-808B-21ED7DDDFB28}"/>
          </ac:spMkLst>
        </pc:spChg>
        <pc:spChg chg="mod">
          <ac:chgData name="Nick Robinson" userId="d0c2b313-4ae0-4040-8c6a-fec7a720a7b5" providerId="ADAL" clId="{9D26C270-5461-F844-9688-58D8512A9AEB}" dt="2021-11-04T12:06:19.281" v="28109"/>
          <ac:spMkLst>
            <pc:docMk/>
            <pc:sldMk cId="845138846" sldId="1448943328"/>
            <ac:spMk id="44" creationId="{3127F196-C757-DF4D-A757-1885139A2A53}"/>
          </ac:spMkLst>
        </pc:spChg>
        <pc:spChg chg="add del mod">
          <ac:chgData name="Nick Robinson" userId="d0c2b313-4ae0-4040-8c6a-fec7a720a7b5" providerId="ADAL" clId="{9D26C270-5461-F844-9688-58D8512A9AEB}" dt="2021-11-05T12:20:01.204" v="43490" actId="1035"/>
          <ac:spMkLst>
            <pc:docMk/>
            <pc:sldMk cId="845138846" sldId="1448943328"/>
            <ac:spMk id="47" creationId="{96DE65B9-3607-AD4D-BA6E-F976AFB6480C}"/>
          </ac:spMkLst>
        </pc:spChg>
        <pc:spChg chg="add mod">
          <ac:chgData name="Nick Robinson" userId="d0c2b313-4ae0-4040-8c6a-fec7a720a7b5" providerId="ADAL" clId="{9D26C270-5461-F844-9688-58D8512A9AEB}" dt="2021-11-08T11:36:43.817" v="57062"/>
          <ac:spMkLst>
            <pc:docMk/>
            <pc:sldMk cId="845138846" sldId="1448943328"/>
            <ac:spMk id="48" creationId="{29532750-8842-5344-9162-3FDF372411E7}"/>
          </ac:spMkLst>
        </pc:spChg>
        <pc:spChg chg="add mod">
          <ac:chgData name="Nick Robinson" userId="d0c2b313-4ae0-4040-8c6a-fec7a720a7b5" providerId="ADAL" clId="{9D26C270-5461-F844-9688-58D8512A9AEB}" dt="2021-11-08T08:29:18.271" v="54381" actId="20577"/>
          <ac:spMkLst>
            <pc:docMk/>
            <pc:sldMk cId="845138846" sldId="1448943328"/>
            <ac:spMk id="49" creationId="{E9217434-4BBC-5E47-A98E-72F53B500BB5}"/>
          </ac:spMkLst>
        </pc:spChg>
        <pc:spChg chg="del">
          <ac:chgData name="Nick Robinson" userId="d0c2b313-4ae0-4040-8c6a-fec7a720a7b5" providerId="ADAL" clId="{9D26C270-5461-F844-9688-58D8512A9AEB}" dt="2021-11-04T12:06:11.073" v="28108" actId="478"/>
          <ac:spMkLst>
            <pc:docMk/>
            <pc:sldMk cId="845138846" sldId="1448943328"/>
            <ac:spMk id="52" creationId="{9299FF4A-8B53-414A-BF21-54D3F8E827D5}"/>
          </ac:spMkLst>
        </pc:spChg>
        <pc:spChg chg="add mod">
          <ac:chgData name="Nick Robinson" userId="d0c2b313-4ae0-4040-8c6a-fec7a720a7b5" providerId="ADAL" clId="{9D26C270-5461-F844-9688-58D8512A9AEB}" dt="2021-11-07T18:00:53.525" v="44897" actId="20577"/>
          <ac:spMkLst>
            <pc:docMk/>
            <pc:sldMk cId="845138846" sldId="1448943328"/>
            <ac:spMk id="57" creationId="{DAA87D0B-B2EE-2342-85E2-2DFC102D09BC}"/>
          </ac:spMkLst>
        </pc:spChg>
        <pc:spChg chg="add del mod">
          <ac:chgData name="Nick Robinson" userId="d0c2b313-4ae0-4040-8c6a-fec7a720a7b5" providerId="ADAL" clId="{9D26C270-5461-F844-9688-58D8512A9AEB}" dt="2021-11-08T11:36:43.817" v="57062"/>
          <ac:spMkLst>
            <pc:docMk/>
            <pc:sldMk cId="845138846" sldId="1448943328"/>
            <ac:spMk id="59" creationId="{7846BC59-B6A1-9C42-872B-8597E1AB1BE5}"/>
          </ac:spMkLst>
        </pc:spChg>
        <pc:spChg chg="add del mod">
          <ac:chgData name="Nick Robinson" userId="d0c2b313-4ae0-4040-8c6a-fec7a720a7b5" providerId="ADAL" clId="{9D26C270-5461-F844-9688-58D8512A9AEB}" dt="2021-11-04T17:40:20.710" v="37034" actId="478"/>
          <ac:spMkLst>
            <pc:docMk/>
            <pc:sldMk cId="845138846" sldId="1448943328"/>
            <ac:spMk id="60" creationId="{17BB884D-D969-FC47-82E2-CAABD9A04B53}"/>
          </ac:spMkLst>
        </pc:spChg>
        <pc:spChg chg="add del mod">
          <ac:chgData name="Nick Robinson" userId="d0c2b313-4ae0-4040-8c6a-fec7a720a7b5" providerId="ADAL" clId="{9D26C270-5461-F844-9688-58D8512A9AEB}" dt="2021-11-04T17:40:18.754" v="37033" actId="478"/>
          <ac:spMkLst>
            <pc:docMk/>
            <pc:sldMk cId="845138846" sldId="1448943328"/>
            <ac:spMk id="61" creationId="{88967537-C3AC-7B43-925D-7D7EBCE5AB9F}"/>
          </ac:spMkLst>
        </pc:spChg>
        <pc:spChg chg="mod">
          <ac:chgData name="Nick Robinson" userId="d0c2b313-4ae0-4040-8c6a-fec7a720a7b5" providerId="ADAL" clId="{9D26C270-5461-F844-9688-58D8512A9AEB}" dt="2021-11-04T12:06:19.281" v="28109"/>
          <ac:spMkLst>
            <pc:docMk/>
            <pc:sldMk cId="845138846" sldId="1448943328"/>
            <ac:spMk id="65" creationId="{7424CD6F-83C7-6D40-9EDE-767232C1B5B1}"/>
          </ac:spMkLst>
        </pc:spChg>
        <pc:spChg chg="add del mod">
          <ac:chgData name="Nick Robinson" userId="d0c2b313-4ae0-4040-8c6a-fec7a720a7b5" providerId="ADAL" clId="{9D26C270-5461-F844-9688-58D8512A9AEB}" dt="2021-11-04T17:41:27.273" v="37039" actId="478"/>
          <ac:spMkLst>
            <pc:docMk/>
            <pc:sldMk cId="845138846" sldId="1448943328"/>
            <ac:spMk id="68" creationId="{2356F5FA-3657-DF4A-BA7F-36C9C9277412}"/>
          </ac:spMkLst>
        </pc:spChg>
        <pc:grpChg chg="del">
          <ac:chgData name="Nick Robinson" userId="d0c2b313-4ae0-4040-8c6a-fec7a720a7b5" providerId="ADAL" clId="{9D26C270-5461-F844-9688-58D8512A9AEB}" dt="2021-11-04T12:06:11.073" v="28108" actId="478"/>
          <ac:grpSpMkLst>
            <pc:docMk/>
            <pc:sldMk cId="845138846" sldId="1448943328"/>
            <ac:grpSpMk id="12" creationId="{96996C5F-E3F8-F447-809B-288901C009A8}"/>
          </ac:grpSpMkLst>
        </pc:grpChg>
        <pc:grpChg chg="del">
          <ac:chgData name="Nick Robinson" userId="d0c2b313-4ae0-4040-8c6a-fec7a720a7b5" providerId="ADAL" clId="{9D26C270-5461-F844-9688-58D8512A9AEB}" dt="2021-11-04T12:06:11.073" v="28108" actId="478"/>
          <ac:grpSpMkLst>
            <pc:docMk/>
            <pc:sldMk cId="845138846" sldId="1448943328"/>
            <ac:grpSpMk id="13" creationId="{D7ECC740-C718-604D-90FA-11FB6EC9B006}"/>
          </ac:grpSpMkLst>
        </pc:grpChg>
        <pc:grpChg chg="del">
          <ac:chgData name="Nick Robinson" userId="d0c2b313-4ae0-4040-8c6a-fec7a720a7b5" providerId="ADAL" clId="{9D26C270-5461-F844-9688-58D8512A9AEB}" dt="2021-11-04T12:06:11.073" v="28108" actId="478"/>
          <ac:grpSpMkLst>
            <pc:docMk/>
            <pc:sldMk cId="845138846" sldId="1448943328"/>
            <ac:grpSpMk id="18" creationId="{8A86128B-AD8B-F94C-BA81-B3B6E737D546}"/>
          </ac:grpSpMkLst>
        </pc:grpChg>
        <pc:grpChg chg="del">
          <ac:chgData name="Nick Robinson" userId="d0c2b313-4ae0-4040-8c6a-fec7a720a7b5" providerId="ADAL" clId="{9D26C270-5461-F844-9688-58D8512A9AEB}" dt="2021-11-04T12:06:11.073" v="28108" actId="478"/>
          <ac:grpSpMkLst>
            <pc:docMk/>
            <pc:sldMk cId="845138846" sldId="1448943328"/>
            <ac:grpSpMk id="19" creationId="{41FE5C40-BDAD-3749-A2DB-817100A0F74F}"/>
          </ac:grpSpMkLst>
        </pc:grpChg>
        <pc:grpChg chg="del">
          <ac:chgData name="Nick Robinson" userId="d0c2b313-4ae0-4040-8c6a-fec7a720a7b5" providerId="ADAL" clId="{9D26C270-5461-F844-9688-58D8512A9AEB}" dt="2021-11-04T12:06:11.073" v="28108" actId="478"/>
          <ac:grpSpMkLst>
            <pc:docMk/>
            <pc:sldMk cId="845138846" sldId="1448943328"/>
            <ac:grpSpMk id="27" creationId="{4F23F163-87D4-E04B-8DAF-A0A45F9CEC78}"/>
          </ac:grpSpMkLst>
        </pc:grpChg>
        <pc:grpChg chg="del">
          <ac:chgData name="Nick Robinson" userId="d0c2b313-4ae0-4040-8c6a-fec7a720a7b5" providerId="ADAL" clId="{9D26C270-5461-F844-9688-58D8512A9AEB}" dt="2021-11-04T12:06:11.073" v="28108" actId="478"/>
          <ac:grpSpMkLst>
            <pc:docMk/>
            <pc:sldMk cId="845138846" sldId="1448943328"/>
            <ac:grpSpMk id="33" creationId="{9CE4AD28-674E-FA4A-B8CB-5E0D0A273796}"/>
          </ac:grpSpMkLst>
        </pc:grpChg>
        <pc:grpChg chg="add mod">
          <ac:chgData name="Nick Robinson" userId="d0c2b313-4ae0-4040-8c6a-fec7a720a7b5" providerId="ADAL" clId="{9D26C270-5461-F844-9688-58D8512A9AEB}" dt="2021-11-05T12:20:01.204" v="43490" actId="1035"/>
          <ac:grpSpMkLst>
            <pc:docMk/>
            <pc:sldMk cId="845138846" sldId="1448943328"/>
            <ac:grpSpMk id="43" creationId="{784D6166-E1A6-5A4D-B802-6DD6A4C00243}"/>
          </ac:grpSpMkLst>
        </pc:grpChg>
        <pc:grpChg chg="add mod">
          <ac:chgData name="Nick Robinson" userId="d0c2b313-4ae0-4040-8c6a-fec7a720a7b5" providerId="ADAL" clId="{9D26C270-5461-F844-9688-58D8512A9AEB}" dt="2021-11-05T12:20:01.204" v="43490" actId="1035"/>
          <ac:grpSpMkLst>
            <pc:docMk/>
            <pc:sldMk cId="845138846" sldId="1448943328"/>
            <ac:grpSpMk id="62" creationId="{EEDE1EFA-B674-154A-BC3B-2CB85DEDD390}"/>
          </ac:grpSpMkLst>
        </pc:grpChg>
        <pc:graphicFrameChg chg="add del mod">
          <ac:chgData name="Nick Robinson" userId="d0c2b313-4ae0-4040-8c6a-fec7a720a7b5" providerId="ADAL" clId="{9D26C270-5461-F844-9688-58D8512A9AEB}" dt="2021-11-04T17:41:54.828" v="37044" actId="478"/>
          <ac:graphicFrameMkLst>
            <pc:docMk/>
            <pc:sldMk cId="845138846" sldId="1448943328"/>
            <ac:graphicFrameMk id="69" creationId="{7C60C6A4-B0EC-BB44-AA88-6CDAD3CD74DA}"/>
          </ac:graphicFrameMkLst>
        </pc:graphicFrameChg>
        <pc:picChg chg="mod">
          <ac:chgData name="Nick Robinson" userId="d0c2b313-4ae0-4040-8c6a-fec7a720a7b5" providerId="ADAL" clId="{9D26C270-5461-F844-9688-58D8512A9AEB}" dt="2021-11-04T12:06:19.281" v="28109"/>
          <ac:picMkLst>
            <pc:docMk/>
            <pc:sldMk cId="845138846" sldId="1448943328"/>
            <ac:picMk id="45" creationId="{F6189EB0-46DC-674F-BBFD-274CC9202186}"/>
          </ac:picMkLst>
        </pc:picChg>
        <pc:picChg chg="mod">
          <ac:chgData name="Nick Robinson" userId="d0c2b313-4ae0-4040-8c6a-fec7a720a7b5" providerId="ADAL" clId="{9D26C270-5461-F844-9688-58D8512A9AEB}" dt="2021-11-04T12:06:19.281" v="28109"/>
          <ac:picMkLst>
            <pc:docMk/>
            <pc:sldMk cId="845138846" sldId="1448943328"/>
            <ac:picMk id="63" creationId="{24331633-3903-404B-84F8-62554495033E}"/>
          </ac:picMkLst>
        </pc:picChg>
        <pc:picChg chg="add del mod">
          <ac:chgData name="Nick Robinson" userId="d0c2b313-4ae0-4040-8c6a-fec7a720a7b5" providerId="ADAL" clId="{9D26C270-5461-F844-9688-58D8512A9AEB}" dt="2021-11-08T09:46:15.311" v="55418" actId="1038"/>
          <ac:picMkLst>
            <pc:docMk/>
            <pc:sldMk cId="845138846" sldId="1448943328"/>
            <ac:picMk id="66" creationId="{5996349F-F3EE-CB47-95ED-9802B139E4A2}"/>
          </ac:picMkLst>
        </pc:picChg>
        <pc:picChg chg="add del mod">
          <ac:chgData name="Nick Robinson" userId="d0c2b313-4ae0-4040-8c6a-fec7a720a7b5" providerId="ADAL" clId="{9D26C270-5461-F844-9688-58D8512A9AEB}" dt="2021-11-04T17:40:16.864" v="37032" actId="478"/>
          <ac:picMkLst>
            <pc:docMk/>
            <pc:sldMk cId="845138846" sldId="1448943328"/>
            <ac:picMk id="67" creationId="{20C2E81B-0412-CE40-A992-8021D3A91739}"/>
          </ac:picMkLst>
        </pc:picChg>
      </pc:sldChg>
      <pc:sldChg chg="addSp delSp modSp mod modNotesTx">
        <pc:chgData name="Nick Robinson" userId="d0c2b313-4ae0-4040-8c6a-fec7a720a7b5" providerId="ADAL" clId="{9D26C270-5461-F844-9688-58D8512A9AEB}" dt="2021-11-09T07:51:56.844" v="60929" actId="20577"/>
        <pc:sldMkLst>
          <pc:docMk/>
          <pc:sldMk cId="993447809" sldId="2144446013"/>
        </pc:sldMkLst>
        <pc:spChg chg="mod">
          <ac:chgData name="Nick Robinson" userId="d0c2b313-4ae0-4040-8c6a-fec7a720a7b5" providerId="ADAL" clId="{9D26C270-5461-F844-9688-58D8512A9AEB}" dt="2021-11-03T13:44:40.391" v="26624" actId="20577"/>
          <ac:spMkLst>
            <pc:docMk/>
            <pc:sldMk cId="993447809" sldId="2144446013"/>
            <ac:spMk id="2" creationId="{992797C6-274A-4146-AECE-7E42A31DA87A}"/>
          </ac:spMkLst>
        </pc:spChg>
        <pc:spChg chg="add del mod">
          <ac:chgData name="Nick Robinson" userId="d0c2b313-4ae0-4040-8c6a-fec7a720a7b5" providerId="ADAL" clId="{9D26C270-5461-F844-9688-58D8512A9AEB}" dt="2021-11-05T09:05:28.589" v="42459" actId="478"/>
          <ac:spMkLst>
            <pc:docMk/>
            <pc:sldMk cId="993447809" sldId="2144446013"/>
            <ac:spMk id="4" creationId="{522AF9BE-84A8-F947-A374-4E03C0928789}"/>
          </ac:spMkLst>
        </pc:spChg>
        <pc:spChg chg="del">
          <ac:chgData name="Nick Robinson" userId="d0c2b313-4ae0-4040-8c6a-fec7a720a7b5" providerId="ADAL" clId="{9D26C270-5461-F844-9688-58D8512A9AEB}" dt="2021-10-28T09:00:41.380" v="9662" actId="478"/>
          <ac:spMkLst>
            <pc:docMk/>
            <pc:sldMk cId="993447809" sldId="2144446013"/>
            <ac:spMk id="4" creationId="{CB6050DB-33C7-0C45-8375-8653FB98A908}"/>
          </ac:spMkLst>
        </pc:spChg>
        <pc:spChg chg="del mod">
          <ac:chgData name="Nick Robinson" userId="d0c2b313-4ae0-4040-8c6a-fec7a720a7b5" providerId="ADAL" clId="{9D26C270-5461-F844-9688-58D8512A9AEB}" dt="2021-10-06T11:37:59.652" v="423" actId="478"/>
          <ac:spMkLst>
            <pc:docMk/>
            <pc:sldMk cId="993447809" sldId="2144446013"/>
            <ac:spMk id="5" creationId="{6E63546B-7D52-5B4C-B8B3-D8BE793819E0}"/>
          </ac:spMkLst>
        </pc:spChg>
        <pc:spChg chg="add del mod">
          <ac:chgData name="Nick Robinson" userId="d0c2b313-4ae0-4040-8c6a-fec7a720a7b5" providerId="ADAL" clId="{9D26C270-5461-F844-9688-58D8512A9AEB}" dt="2021-10-28T09:03:45.915" v="9823" actId="478"/>
          <ac:spMkLst>
            <pc:docMk/>
            <pc:sldMk cId="993447809" sldId="2144446013"/>
            <ac:spMk id="5" creationId="{C58D313A-F679-FD4A-B494-D1776F211DBE}"/>
          </ac:spMkLst>
        </pc:spChg>
        <pc:spChg chg="add del mod">
          <ac:chgData name="Nick Robinson" userId="d0c2b313-4ae0-4040-8c6a-fec7a720a7b5" providerId="ADAL" clId="{9D26C270-5461-F844-9688-58D8512A9AEB}" dt="2021-10-06T11:37:58.052" v="422" actId="478"/>
          <ac:spMkLst>
            <pc:docMk/>
            <pc:sldMk cId="993447809" sldId="2144446013"/>
            <ac:spMk id="6" creationId="{6E40002E-DFB6-8447-AC3E-35E619004316}"/>
          </ac:spMkLst>
        </pc:spChg>
        <pc:spChg chg="add del mod">
          <ac:chgData name="Nick Robinson" userId="d0c2b313-4ae0-4040-8c6a-fec7a720a7b5" providerId="ADAL" clId="{9D26C270-5461-F844-9688-58D8512A9AEB}" dt="2021-11-05T09:30:47.672" v="42566" actId="478"/>
          <ac:spMkLst>
            <pc:docMk/>
            <pc:sldMk cId="993447809" sldId="2144446013"/>
            <ac:spMk id="6" creationId="{E5CEA5A6-D595-924B-9FE4-7BD62C38391C}"/>
          </ac:spMkLst>
        </pc:spChg>
        <pc:spChg chg="del mod">
          <ac:chgData name="Nick Robinson" userId="d0c2b313-4ae0-4040-8c6a-fec7a720a7b5" providerId="ADAL" clId="{9D26C270-5461-F844-9688-58D8512A9AEB}" dt="2021-10-06T11:37:59.652" v="423" actId="478"/>
          <ac:spMkLst>
            <pc:docMk/>
            <pc:sldMk cId="993447809" sldId="2144446013"/>
            <ac:spMk id="8" creationId="{74F52661-D8DB-7C4B-B4DA-A85B12AA284F}"/>
          </ac:spMkLst>
        </pc:spChg>
        <pc:spChg chg="del mod">
          <ac:chgData name="Nick Robinson" userId="d0c2b313-4ae0-4040-8c6a-fec7a720a7b5" providerId="ADAL" clId="{9D26C270-5461-F844-9688-58D8512A9AEB}" dt="2021-10-06T11:37:59.652" v="423" actId="478"/>
          <ac:spMkLst>
            <pc:docMk/>
            <pc:sldMk cId="993447809" sldId="2144446013"/>
            <ac:spMk id="9" creationId="{8EA3EC49-BE0D-894F-87F7-E3F3D19947A9}"/>
          </ac:spMkLst>
        </pc:spChg>
        <pc:spChg chg="del mod">
          <ac:chgData name="Nick Robinson" userId="d0c2b313-4ae0-4040-8c6a-fec7a720a7b5" providerId="ADAL" clId="{9D26C270-5461-F844-9688-58D8512A9AEB}" dt="2021-10-06T11:37:59.652" v="423" actId="478"/>
          <ac:spMkLst>
            <pc:docMk/>
            <pc:sldMk cId="993447809" sldId="2144446013"/>
            <ac:spMk id="10" creationId="{3A822F33-0154-4A48-B879-F58BE7A6737B}"/>
          </ac:spMkLst>
        </pc:spChg>
        <pc:spChg chg="del mod">
          <ac:chgData name="Nick Robinson" userId="d0c2b313-4ae0-4040-8c6a-fec7a720a7b5" providerId="ADAL" clId="{9D26C270-5461-F844-9688-58D8512A9AEB}" dt="2021-10-06T11:37:59.652" v="423" actId="478"/>
          <ac:spMkLst>
            <pc:docMk/>
            <pc:sldMk cId="993447809" sldId="2144446013"/>
            <ac:spMk id="11" creationId="{ACE5F096-5399-ED42-B13D-8F30A24BF277}"/>
          </ac:spMkLst>
        </pc:spChg>
        <pc:spChg chg="del mod">
          <ac:chgData name="Nick Robinson" userId="d0c2b313-4ae0-4040-8c6a-fec7a720a7b5" providerId="ADAL" clId="{9D26C270-5461-F844-9688-58D8512A9AEB}" dt="2021-10-06T11:37:59.652" v="423" actId="478"/>
          <ac:spMkLst>
            <pc:docMk/>
            <pc:sldMk cId="993447809" sldId="2144446013"/>
            <ac:spMk id="12" creationId="{077D3C6B-C258-334C-8FE2-9DEA361E30F1}"/>
          </ac:spMkLst>
        </pc:spChg>
        <pc:spChg chg="del mod">
          <ac:chgData name="Nick Robinson" userId="d0c2b313-4ae0-4040-8c6a-fec7a720a7b5" providerId="ADAL" clId="{9D26C270-5461-F844-9688-58D8512A9AEB}" dt="2021-10-06T11:37:59.652" v="423" actId="478"/>
          <ac:spMkLst>
            <pc:docMk/>
            <pc:sldMk cId="993447809" sldId="2144446013"/>
            <ac:spMk id="13" creationId="{22A25F0E-87DC-8E42-900C-437A6A2FD624}"/>
          </ac:spMkLst>
        </pc:spChg>
        <pc:spChg chg="del mod">
          <ac:chgData name="Nick Robinson" userId="d0c2b313-4ae0-4040-8c6a-fec7a720a7b5" providerId="ADAL" clId="{9D26C270-5461-F844-9688-58D8512A9AEB}" dt="2021-10-06T11:37:59.652" v="423" actId="478"/>
          <ac:spMkLst>
            <pc:docMk/>
            <pc:sldMk cId="993447809" sldId="2144446013"/>
            <ac:spMk id="14" creationId="{14039D2E-04EA-7443-B40C-F49CAAFB30CA}"/>
          </ac:spMkLst>
        </pc:spChg>
        <pc:spChg chg="del mod">
          <ac:chgData name="Nick Robinson" userId="d0c2b313-4ae0-4040-8c6a-fec7a720a7b5" providerId="ADAL" clId="{9D26C270-5461-F844-9688-58D8512A9AEB}" dt="2021-10-06T11:37:59.652" v="423" actId="478"/>
          <ac:spMkLst>
            <pc:docMk/>
            <pc:sldMk cId="993447809" sldId="2144446013"/>
            <ac:spMk id="15" creationId="{ECED6212-45B8-644D-813C-A206887433CD}"/>
          </ac:spMkLst>
        </pc:spChg>
        <pc:spChg chg="del mod">
          <ac:chgData name="Nick Robinson" userId="d0c2b313-4ae0-4040-8c6a-fec7a720a7b5" providerId="ADAL" clId="{9D26C270-5461-F844-9688-58D8512A9AEB}" dt="2021-10-06T11:37:59.652" v="423" actId="478"/>
          <ac:spMkLst>
            <pc:docMk/>
            <pc:sldMk cId="993447809" sldId="2144446013"/>
            <ac:spMk id="16" creationId="{BCF3C969-3CC9-9E46-9A07-70BCB03E1153}"/>
          </ac:spMkLst>
        </pc:spChg>
        <pc:spChg chg="del mod">
          <ac:chgData name="Nick Robinson" userId="d0c2b313-4ae0-4040-8c6a-fec7a720a7b5" providerId="ADAL" clId="{9D26C270-5461-F844-9688-58D8512A9AEB}" dt="2021-10-06T11:37:59.652" v="423" actId="478"/>
          <ac:spMkLst>
            <pc:docMk/>
            <pc:sldMk cId="993447809" sldId="2144446013"/>
            <ac:spMk id="17" creationId="{32A8E403-2269-2446-9438-D9942593262D}"/>
          </ac:spMkLst>
        </pc:spChg>
        <pc:spChg chg="del mod">
          <ac:chgData name="Nick Robinson" userId="d0c2b313-4ae0-4040-8c6a-fec7a720a7b5" providerId="ADAL" clId="{9D26C270-5461-F844-9688-58D8512A9AEB}" dt="2021-10-06T11:37:59.652" v="423" actId="478"/>
          <ac:spMkLst>
            <pc:docMk/>
            <pc:sldMk cId="993447809" sldId="2144446013"/>
            <ac:spMk id="18" creationId="{B6B34E05-3F13-934D-B8A0-2B9D1CE9C29B}"/>
          </ac:spMkLst>
        </pc:spChg>
        <pc:spChg chg="del mod">
          <ac:chgData name="Nick Robinson" userId="d0c2b313-4ae0-4040-8c6a-fec7a720a7b5" providerId="ADAL" clId="{9D26C270-5461-F844-9688-58D8512A9AEB}" dt="2021-10-06T11:37:59.652" v="423" actId="478"/>
          <ac:spMkLst>
            <pc:docMk/>
            <pc:sldMk cId="993447809" sldId="2144446013"/>
            <ac:spMk id="19" creationId="{179EE631-00BF-7443-B95E-DD4A90FB785A}"/>
          </ac:spMkLst>
        </pc:spChg>
        <pc:spChg chg="del mod">
          <ac:chgData name="Nick Robinson" userId="d0c2b313-4ae0-4040-8c6a-fec7a720a7b5" providerId="ADAL" clId="{9D26C270-5461-F844-9688-58D8512A9AEB}" dt="2021-10-06T11:37:59.652" v="423" actId="478"/>
          <ac:spMkLst>
            <pc:docMk/>
            <pc:sldMk cId="993447809" sldId="2144446013"/>
            <ac:spMk id="20" creationId="{E5A07BA3-12D3-3D49-8262-45A04389F9C3}"/>
          </ac:spMkLst>
        </pc:spChg>
        <pc:spChg chg="del">
          <ac:chgData name="Nick Robinson" userId="d0c2b313-4ae0-4040-8c6a-fec7a720a7b5" providerId="ADAL" clId="{9D26C270-5461-F844-9688-58D8512A9AEB}" dt="2021-10-28T09:00:41.380" v="9662" actId="478"/>
          <ac:spMkLst>
            <pc:docMk/>
            <pc:sldMk cId="993447809" sldId="2144446013"/>
            <ac:spMk id="21" creationId="{02076C0F-8777-9D45-9A91-40C3B4DDA443}"/>
          </ac:spMkLst>
        </pc:spChg>
        <pc:spChg chg="del">
          <ac:chgData name="Nick Robinson" userId="d0c2b313-4ae0-4040-8c6a-fec7a720a7b5" providerId="ADAL" clId="{9D26C270-5461-F844-9688-58D8512A9AEB}" dt="2021-10-28T09:00:41.380" v="9662" actId="478"/>
          <ac:spMkLst>
            <pc:docMk/>
            <pc:sldMk cId="993447809" sldId="2144446013"/>
            <ac:spMk id="22" creationId="{B41A2664-9E4F-7648-84F3-5D8DD95E9CD7}"/>
          </ac:spMkLst>
        </pc:spChg>
        <pc:spChg chg="del">
          <ac:chgData name="Nick Robinson" userId="d0c2b313-4ae0-4040-8c6a-fec7a720a7b5" providerId="ADAL" clId="{9D26C270-5461-F844-9688-58D8512A9AEB}" dt="2021-10-28T09:00:41.380" v="9662" actId="478"/>
          <ac:spMkLst>
            <pc:docMk/>
            <pc:sldMk cId="993447809" sldId="2144446013"/>
            <ac:spMk id="23" creationId="{1165E1EA-1895-2A41-94B8-4074DF382D71}"/>
          </ac:spMkLst>
        </pc:spChg>
        <pc:spChg chg="del">
          <ac:chgData name="Nick Robinson" userId="d0c2b313-4ae0-4040-8c6a-fec7a720a7b5" providerId="ADAL" clId="{9D26C270-5461-F844-9688-58D8512A9AEB}" dt="2021-10-28T09:00:41.380" v="9662" actId="478"/>
          <ac:spMkLst>
            <pc:docMk/>
            <pc:sldMk cId="993447809" sldId="2144446013"/>
            <ac:spMk id="25" creationId="{C7B34AFE-8649-D540-9944-4DADF9EAFE6A}"/>
          </ac:spMkLst>
        </pc:spChg>
        <pc:spChg chg="del">
          <ac:chgData name="Nick Robinson" userId="d0c2b313-4ae0-4040-8c6a-fec7a720a7b5" providerId="ADAL" clId="{9D26C270-5461-F844-9688-58D8512A9AEB}" dt="2021-10-28T09:00:41.380" v="9662" actId="478"/>
          <ac:spMkLst>
            <pc:docMk/>
            <pc:sldMk cId="993447809" sldId="2144446013"/>
            <ac:spMk id="26" creationId="{AF6A9AA9-DDFD-EC46-8388-42E0F9E0DA1E}"/>
          </ac:spMkLst>
        </pc:spChg>
        <pc:spChg chg="del">
          <ac:chgData name="Nick Robinson" userId="d0c2b313-4ae0-4040-8c6a-fec7a720a7b5" providerId="ADAL" clId="{9D26C270-5461-F844-9688-58D8512A9AEB}" dt="2021-10-28T09:00:41.380" v="9662" actId="478"/>
          <ac:spMkLst>
            <pc:docMk/>
            <pc:sldMk cId="993447809" sldId="2144446013"/>
            <ac:spMk id="27" creationId="{EE053AFC-AEA6-3849-9D90-5D904307E7D5}"/>
          </ac:spMkLst>
        </pc:spChg>
        <pc:graphicFrameChg chg="add mod modGraphic">
          <ac:chgData name="Nick Robinson" userId="d0c2b313-4ae0-4040-8c6a-fec7a720a7b5" providerId="ADAL" clId="{9D26C270-5461-F844-9688-58D8512A9AEB}" dt="2021-11-08T11:36:43.817" v="57062"/>
          <ac:graphicFrameMkLst>
            <pc:docMk/>
            <pc:sldMk cId="993447809" sldId="2144446013"/>
            <ac:graphicFrameMk id="5" creationId="{04D0C189-D5FD-CC45-88D5-3A106E304F6F}"/>
          </ac:graphicFrameMkLst>
        </pc:graphicFrameChg>
        <pc:graphicFrameChg chg="add del mod modGraphic">
          <ac:chgData name="Nick Robinson" userId="d0c2b313-4ae0-4040-8c6a-fec7a720a7b5" providerId="ADAL" clId="{9D26C270-5461-F844-9688-58D8512A9AEB}" dt="2021-11-05T08:55:51.468" v="41657" actId="478"/>
          <ac:graphicFrameMkLst>
            <pc:docMk/>
            <pc:sldMk cId="993447809" sldId="2144446013"/>
            <ac:graphicFrameMk id="7" creationId="{CB7DD5B3-C5B2-F043-BBFA-72D1B09FF385}"/>
          </ac:graphicFrameMkLst>
        </pc:graphicFrameChg>
      </pc:sldChg>
      <pc:sldChg chg="modSp mod modShow">
        <pc:chgData name="Nick Robinson" userId="d0c2b313-4ae0-4040-8c6a-fec7a720a7b5" providerId="ADAL" clId="{9D26C270-5461-F844-9688-58D8512A9AEB}" dt="2021-11-08T11:36:43.817" v="57062"/>
        <pc:sldMkLst>
          <pc:docMk/>
          <pc:sldMk cId="1210744131" sldId="2144446014"/>
        </pc:sldMkLst>
        <pc:spChg chg="mod">
          <ac:chgData name="Nick Robinson" userId="d0c2b313-4ae0-4040-8c6a-fec7a720a7b5" providerId="ADAL" clId="{9D26C270-5461-F844-9688-58D8512A9AEB}" dt="2021-11-08T11:36:43.817" v="57062"/>
          <ac:spMkLst>
            <pc:docMk/>
            <pc:sldMk cId="1210744131" sldId="2144446014"/>
            <ac:spMk id="2" creationId="{B9020E60-1107-8F40-9258-14E5FEFB2DDF}"/>
          </ac:spMkLst>
        </pc:spChg>
      </pc:sldChg>
      <pc:sldChg chg="modSp mod">
        <pc:chgData name="Nick Robinson" userId="d0c2b313-4ae0-4040-8c6a-fec7a720a7b5" providerId="ADAL" clId="{9D26C270-5461-F844-9688-58D8512A9AEB}" dt="2021-10-06T11:39:54.096" v="428" actId="1076"/>
        <pc:sldMkLst>
          <pc:docMk/>
          <pc:sldMk cId="3762447713" sldId="2144446020"/>
        </pc:sldMkLst>
        <pc:spChg chg="mod">
          <ac:chgData name="Nick Robinson" userId="d0c2b313-4ae0-4040-8c6a-fec7a720a7b5" providerId="ADAL" clId="{9D26C270-5461-F844-9688-58D8512A9AEB}" dt="2021-10-06T11:39:54.096" v="428" actId="1076"/>
          <ac:spMkLst>
            <pc:docMk/>
            <pc:sldMk cId="3762447713" sldId="2144446020"/>
            <ac:spMk id="2" creationId="{5C1976D7-57CC-A046-A5D5-465BE452893F}"/>
          </ac:spMkLst>
        </pc:spChg>
        <pc:picChg chg="mod">
          <ac:chgData name="Nick Robinson" userId="d0c2b313-4ae0-4040-8c6a-fec7a720a7b5" providerId="ADAL" clId="{9D26C270-5461-F844-9688-58D8512A9AEB}" dt="2021-10-06T11:39:30.597" v="427" actId="1076"/>
          <ac:picMkLst>
            <pc:docMk/>
            <pc:sldMk cId="3762447713" sldId="2144446020"/>
            <ac:picMk id="7" creationId="{99927EFD-263C-8A42-8E65-2570A9DD0E3A}"/>
          </ac:picMkLst>
        </pc:picChg>
      </pc:sldChg>
      <pc:sldChg chg="modSp">
        <pc:chgData name="Nick Robinson" userId="d0c2b313-4ae0-4040-8c6a-fec7a720a7b5" providerId="ADAL" clId="{9D26C270-5461-F844-9688-58D8512A9AEB}" dt="2021-11-08T11:36:43.817" v="57062"/>
        <pc:sldMkLst>
          <pc:docMk/>
          <pc:sldMk cId="2500310749" sldId="2144446021"/>
        </pc:sldMkLst>
        <pc:graphicFrameChg chg="mod">
          <ac:chgData name="Nick Robinson" userId="d0c2b313-4ae0-4040-8c6a-fec7a720a7b5" providerId="ADAL" clId="{9D26C270-5461-F844-9688-58D8512A9AEB}" dt="2021-11-08T11:36:43.817" v="57062"/>
          <ac:graphicFrameMkLst>
            <pc:docMk/>
            <pc:sldMk cId="2500310749" sldId="2144446021"/>
            <ac:graphicFrameMk id="5" creationId="{A1A1E082-93A7-2341-B277-5872BC7FB95B}"/>
          </ac:graphicFrameMkLst>
        </pc:graphicFrameChg>
      </pc:sldChg>
      <pc:sldChg chg="addSp delSp modSp add del mod ord">
        <pc:chgData name="Nick Robinson" userId="d0c2b313-4ae0-4040-8c6a-fec7a720a7b5" providerId="ADAL" clId="{9D26C270-5461-F844-9688-58D8512A9AEB}" dt="2021-11-08T11:36:43.817" v="57062"/>
        <pc:sldMkLst>
          <pc:docMk/>
          <pc:sldMk cId="2486923475" sldId="2144446022"/>
        </pc:sldMkLst>
        <pc:spChg chg="mod">
          <ac:chgData name="Nick Robinson" userId="d0c2b313-4ae0-4040-8c6a-fec7a720a7b5" providerId="ADAL" clId="{9D26C270-5461-F844-9688-58D8512A9AEB}" dt="2021-10-27T12:44:31.463" v="696" actId="20577"/>
          <ac:spMkLst>
            <pc:docMk/>
            <pc:sldMk cId="2486923475" sldId="2144446022"/>
            <ac:spMk id="2" creationId="{B0B31CDD-9A09-ED44-9637-5E22E17CA552}"/>
          </ac:spMkLst>
        </pc:spChg>
        <pc:spChg chg="add mod">
          <ac:chgData name="Nick Robinson" userId="d0c2b313-4ae0-4040-8c6a-fec7a720a7b5" providerId="ADAL" clId="{9D26C270-5461-F844-9688-58D8512A9AEB}" dt="2021-11-08T11:36:43.817" v="57062"/>
          <ac:spMkLst>
            <pc:docMk/>
            <pc:sldMk cId="2486923475" sldId="2144446022"/>
            <ac:spMk id="4" creationId="{C3C5D4DB-FC8D-F049-8FD6-74245F25FE1E}"/>
          </ac:spMkLst>
        </pc:spChg>
        <pc:spChg chg="add del mod">
          <ac:chgData name="Nick Robinson" userId="d0c2b313-4ae0-4040-8c6a-fec7a720a7b5" providerId="ADAL" clId="{9D26C270-5461-F844-9688-58D8512A9AEB}" dt="2021-10-06T10:24:28.624" v="127" actId="478"/>
          <ac:spMkLst>
            <pc:docMk/>
            <pc:sldMk cId="2486923475" sldId="2144446022"/>
            <ac:spMk id="5" creationId="{4CDBBB1C-E3BF-F94C-B91C-DB81FB329EF0}"/>
          </ac:spMkLst>
        </pc:spChg>
        <pc:spChg chg="mod">
          <ac:chgData name="Nick Robinson" userId="d0c2b313-4ae0-4040-8c6a-fec7a720a7b5" providerId="ADAL" clId="{9D26C270-5461-F844-9688-58D8512A9AEB}" dt="2021-10-28T10:35:25.146" v="12136" actId="1076"/>
          <ac:spMkLst>
            <pc:docMk/>
            <pc:sldMk cId="2486923475" sldId="2144446022"/>
            <ac:spMk id="6" creationId="{8D8F87FB-E709-7647-9B9D-7BF193576E96}"/>
          </ac:spMkLst>
        </pc:spChg>
        <pc:spChg chg="mod">
          <ac:chgData name="Nick Robinson" userId="d0c2b313-4ae0-4040-8c6a-fec7a720a7b5" providerId="ADAL" clId="{9D26C270-5461-F844-9688-58D8512A9AEB}" dt="2021-10-28T10:35:25.146" v="12136" actId="1076"/>
          <ac:spMkLst>
            <pc:docMk/>
            <pc:sldMk cId="2486923475" sldId="2144446022"/>
            <ac:spMk id="7" creationId="{87954775-B6EF-A848-8925-17523ED53008}"/>
          </ac:spMkLst>
        </pc:spChg>
        <pc:spChg chg="mod">
          <ac:chgData name="Nick Robinson" userId="d0c2b313-4ae0-4040-8c6a-fec7a720a7b5" providerId="ADAL" clId="{9D26C270-5461-F844-9688-58D8512A9AEB}" dt="2021-10-28T10:35:25.146" v="12136" actId="1076"/>
          <ac:spMkLst>
            <pc:docMk/>
            <pc:sldMk cId="2486923475" sldId="2144446022"/>
            <ac:spMk id="9" creationId="{23B5D5BB-6B2A-E642-B3D5-48A3BA103EA0}"/>
          </ac:spMkLst>
        </pc:spChg>
        <pc:spChg chg="mod">
          <ac:chgData name="Nick Robinson" userId="d0c2b313-4ae0-4040-8c6a-fec7a720a7b5" providerId="ADAL" clId="{9D26C270-5461-F844-9688-58D8512A9AEB}" dt="2021-10-28T10:35:25.146" v="12136" actId="1076"/>
          <ac:spMkLst>
            <pc:docMk/>
            <pc:sldMk cId="2486923475" sldId="2144446022"/>
            <ac:spMk id="12" creationId="{9DE339CA-0DBC-484F-BE97-D06ED03E10A4}"/>
          </ac:spMkLst>
        </pc:spChg>
        <pc:spChg chg="mod">
          <ac:chgData name="Nick Robinson" userId="d0c2b313-4ae0-4040-8c6a-fec7a720a7b5" providerId="ADAL" clId="{9D26C270-5461-F844-9688-58D8512A9AEB}" dt="2021-10-28T10:35:25.146" v="12136" actId="1076"/>
          <ac:spMkLst>
            <pc:docMk/>
            <pc:sldMk cId="2486923475" sldId="2144446022"/>
            <ac:spMk id="26" creationId="{D59D3885-45B2-6744-A9A4-1A411CEA3A2A}"/>
          </ac:spMkLst>
        </pc:spChg>
        <pc:spChg chg="mod">
          <ac:chgData name="Nick Robinson" userId="d0c2b313-4ae0-4040-8c6a-fec7a720a7b5" providerId="ADAL" clId="{9D26C270-5461-F844-9688-58D8512A9AEB}" dt="2021-10-28T12:52:10.879" v="15845" actId="114"/>
          <ac:spMkLst>
            <pc:docMk/>
            <pc:sldMk cId="2486923475" sldId="2144446022"/>
            <ac:spMk id="29" creationId="{42F6B156-CB64-6D40-B178-C43BB9761915}"/>
          </ac:spMkLst>
        </pc:spChg>
        <pc:spChg chg="add del mod">
          <ac:chgData name="Nick Robinson" userId="d0c2b313-4ae0-4040-8c6a-fec7a720a7b5" providerId="ADAL" clId="{9D26C270-5461-F844-9688-58D8512A9AEB}" dt="2021-11-04T08:18:01.725" v="27503" actId="478"/>
          <ac:spMkLst>
            <pc:docMk/>
            <pc:sldMk cId="2486923475" sldId="2144446022"/>
            <ac:spMk id="30" creationId="{142D931E-2E72-D44F-8794-0AA4B25F699F}"/>
          </ac:spMkLst>
        </pc:spChg>
        <pc:spChg chg="mod">
          <ac:chgData name="Nick Robinson" userId="d0c2b313-4ae0-4040-8c6a-fec7a720a7b5" providerId="ADAL" clId="{9D26C270-5461-F844-9688-58D8512A9AEB}" dt="2021-10-28T10:35:25.146" v="12136" actId="1076"/>
          <ac:spMkLst>
            <pc:docMk/>
            <pc:sldMk cId="2486923475" sldId="2144446022"/>
            <ac:spMk id="38" creationId="{89AEDD87-3A41-BE45-BAB4-7308DB9B8E28}"/>
          </ac:spMkLst>
        </pc:spChg>
        <pc:spChg chg="mod">
          <ac:chgData name="Nick Robinson" userId="d0c2b313-4ae0-4040-8c6a-fec7a720a7b5" providerId="ADAL" clId="{9D26C270-5461-F844-9688-58D8512A9AEB}" dt="2021-10-28T10:35:25.146" v="12136" actId="1076"/>
          <ac:spMkLst>
            <pc:docMk/>
            <pc:sldMk cId="2486923475" sldId="2144446022"/>
            <ac:spMk id="39" creationId="{C0261730-120E-D844-BBA1-627CC6FA3C1A}"/>
          </ac:spMkLst>
        </pc:spChg>
        <pc:spChg chg="mod">
          <ac:chgData name="Nick Robinson" userId="d0c2b313-4ae0-4040-8c6a-fec7a720a7b5" providerId="ADAL" clId="{9D26C270-5461-F844-9688-58D8512A9AEB}" dt="2021-10-28T10:35:25.146" v="12136" actId="1076"/>
          <ac:spMkLst>
            <pc:docMk/>
            <pc:sldMk cId="2486923475" sldId="2144446022"/>
            <ac:spMk id="46" creationId="{7E49C800-D679-A144-B8D7-44F67AFEB8EE}"/>
          </ac:spMkLst>
        </pc:spChg>
        <pc:spChg chg="mod">
          <ac:chgData name="Nick Robinson" userId="d0c2b313-4ae0-4040-8c6a-fec7a720a7b5" providerId="ADAL" clId="{9D26C270-5461-F844-9688-58D8512A9AEB}" dt="2021-10-28T10:35:25.146" v="12136" actId="1076"/>
          <ac:spMkLst>
            <pc:docMk/>
            <pc:sldMk cId="2486923475" sldId="2144446022"/>
            <ac:spMk id="47" creationId="{86933884-1FAF-F441-BDFF-FDA9802B8085}"/>
          </ac:spMkLst>
        </pc:spChg>
        <pc:spChg chg="mod">
          <ac:chgData name="Nick Robinson" userId="d0c2b313-4ae0-4040-8c6a-fec7a720a7b5" providerId="ADAL" clId="{9D26C270-5461-F844-9688-58D8512A9AEB}" dt="2021-10-28T10:35:25.146" v="12136" actId="1076"/>
          <ac:spMkLst>
            <pc:docMk/>
            <pc:sldMk cId="2486923475" sldId="2144446022"/>
            <ac:spMk id="48" creationId="{18D912B0-2459-3A4E-BB42-0F7E4E7FAC08}"/>
          </ac:spMkLst>
        </pc:spChg>
        <pc:spChg chg="mod">
          <ac:chgData name="Nick Robinson" userId="d0c2b313-4ae0-4040-8c6a-fec7a720a7b5" providerId="ADAL" clId="{9D26C270-5461-F844-9688-58D8512A9AEB}" dt="2021-10-28T10:35:25.146" v="12136" actId="1076"/>
          <ac:spMkLst>
            <pc:docMk/>
            <pc:sldMk cId="2486923475" sldId="2144446022"/>
            <ac:spMk id="57" creationId="{2BAD90A0-1BC1-CD43-9C41-95030C9A8045}"/>
          </ac:spMkLst>
        </pc:spChg>
        <pc:spChg chg="mod">
          <ac:chgData name="Nick Robinson" userId="d0c2b313-4ae0-4040-8c6a-fec7a720a7b5" providerId="ADAL" clId="{9D26C270-5461-F844-9688-58D8512A9AEB}" dt="2021-11-08T11:36:43.817" v="57062"/>
          <ac:spMkLst>
            <pc:docMk/>
            <pc:sldMk cId="2486923475" sldId="2144446022"/>
            <ac:spMk id="59" creationId="{C09C62D9-B4F2-C744-A7D6-652634F97D02}"/>
          </ac:spMkLst>
        </pc:spChg>
        <pc:spChg chg="mod">
          <ac:chgData name="Nick Robinson" userId="d0c2b313-4ae0-4040-8c6a-fec7a720a7b5" providerId="ADAL" clId="{9D26C270-5461-F844-9688-58D8512A9AEB}" dt="2021-10-28T10:35:25.146" v="12136" actId="1076"/>
          <ac:spMkLst>
            <pc:docMk/>
            <pc:sldMk cId="2486923475" sldId="2144446022"/>
            <ac:spMk id="69" creationId="{7A0573A5-2839-DD4B-9FE6-73EF49776B68}"/>
          </ac:spMkLst>
        </pc:spChg>
        <pc:spChg chg="mod">
          <ac:chgData name="Nick Robinson" userId="d0c2b313-4ae0-4040-8c6a-fec7a720a7b5" providerId="ADAL" clId="{9D26C270-5461-F844-9688-58D8512A9AEB}" dt="2021-10-28T12:52:13.839" v="15846" actId="114"/>
          <ac:spMkLst>
            <pc:docMk/>
            <pc:sldMk cId="2486923475" sldId="2144446022"/>
            <ac:spMk id="70" creationId="{B3F10585-EBD0-F34A-ACA5-E2633E838377}"/>
          </ac:spMkLst>
        </pc:spChg>
        <pc:cxnChg chg="mod">
          <ac:chgData name="Nick Robinson" userId="d0c2b313-4ae0-4040-8c6a-fec7a720a7b5" providerId="ADAL" clId="{9D26C270-5461-F844-9688-58D8512A9AEB}" dt="2021-10-28T10:35:25.146" v="12136" actId="1076"/>
          <ac:cxnSpMkLst>
            <pc:docMk/>
            <pc:sldMk cId="2486923475" sldId="2144446022"/>
            <ac:cxnSpMk id="13" creationId="{3ACF3DD1-BE24-1F42-827E-0E6296CCC761}"/>
          </ac:cxnSpMkLst>
        </pc:cxnChg>
        <pc:cxnChg chg="mod">
          <ac:chgData name="Nick Robinson" userId="d0c2b313-4ae0-4040-8c6a-fec7a720a7b5" providerId="ADAL" clId="{9D26C270-5461-F844-9688-58D8512A9AEB}" dt="2021-10-28T10:35:25.146" v="12136" actId="1076"/>
          <ac:cxnSpMkLst>
            <pc:docMk/>
            <pc:sldMk cId="2486923475" sldId="2144446022"/>
            <ac:cxnSpMk id="17" creationId="{765C31A8-CA7D-CC42-A673-C306082F3980}"/>
          </ac:cxnSpMkLst>
        </pc:cxnChg>
        <pc:cxnChg chg="mod">
          <ac:chgData name="Nick Robinson" userId="d0c2b313-4ae0-4040-8c6a-fec7a720a7b5" providerId="ADAL" clId="{9D26C270-5461-F844-9688-58D8512A9AEB}" dt="2021-10-28T10:35:25.146" v="12136" actId="1076"/>
          <ac:cxnSpMkLst>
            <pc:docMk/>
            <pc:sldMk cId="2486923475" sldId="2144446022"/>
            <ac:cxnSpMk id="21" creationId="{F7200035-D86F-B742-8AED-1BFAED2D8FFF}"/>
          </ac:cxnSpMkLst>
        </pc:cxnChg>
        <pc:cxnChg chg="mod">
          <ac:chgData name="Nick Robinson" userId="d0c2b313-4ae0-4040-8c6a-fec7a720a7b5" providerId="ADAL" clId="{9D26C270-5461-F844-9688-58D8512A9AEB}" dt="2021-10-28T10:35:25.146" v="12136" actId="1076"/>
          <ac:cxnSpMkLst>
            <pc:docMk/>
            <pc:sldMk cId="2486923475" sldId="2144446022"/>
            <ac:cxnSpMk id="22" creationId="{EEA331FE-9166-2D4C-ADE9-367F859B9188}"/>
          </ac:cxnSpMkLst>
        </pc:cxnChg>
        <pc:cxnChg chg="mod">
          <ac:chgData name="Nick Robinson" userId="d0c2b313-4ae0-4040-8c6a-fec7a720a7b5" providerId="ADAL" clId="{9D26C270-5461-F844-9688-58D8512A9AEB}" dt="2021-10-28T10:35:25.146" v="12136" actId="1076"/>
          <ac:cxnSpMkLst>
            <pc:docMk/>
            <pc:sldMk cId="2486923475" sldId="2144446022"/>
            <ac:cxnSpMk id="43" creationId="{5A4D3811-01BD-3F45-8AC0-24859144E463}"/>
          </ac:cxnSpMkLst>
        </pc:cxnChg>
        <pc:cxnChg chg="mod">
          <ac:chgData name="Nick Robinson" userId="d0c2b313-4ae0-4040-8c6a-fec7a720a7b5" providerId="ADAL" clId="{9D26C270-5461-F844-9688-58D8512A9AEB}" dt="2021-10-28T10:35:25.146" v="12136" actId="1076"/>
          <ac:cxnSpMkLst>
            <pc:docMk/>
            <pc:sldMk cId="2486923475" sldId="2144446022"/>
            <ac:cxnSpMk id="45" creationId="{9A24A8B9-22F1-4E45-B248-8D45BB0EC079}"/>
          </ac:cxnSpMkLst>
        </pc:cxnChg>
        <pc:cxnChg chg="mod">
          <ac:chgData name="Nick Robinson" userId="d0c2b313-4ae0-4040-8c6a-fec7a720a7b5" providerId="ADAL" clId="{9D26C270-5461-F844-9688-58D8512A9AEB}" dt="2021-10-28T10:35:25.146" v="12136" actId="1076"/>
          <ac:cxnSpMkLst>
            <pc:docMk/>
            <pc:sldMk cId="2486923475" sldId="2144446022"/>
            <ac:cxnSpMk id="65" creationId="{7180BEE7-3A12-9A4D-83E0-B851663C02A1}"/>
          </ac:cxnSpMkLst>
        </pc:cxnChg>
        <pc:cxnChg chg="mod">
          <ac:chgData name="Nick Robinson" userId="d0c2b313-4ae0-4040-8c6a-fec7a720a7b5" providerId="ADAL" clId="{9D26C270-5461-F844-9688-58D8512A9AEB}" dt="2021-10-28T10:35:25.146" v="12136" actId="1076"/>
          <ac:cxnSpMkLst>
            <pc:docMk/>
            <pc:sldMk cId="2486923475" sldId="2144446022"/>
            <ac:cxnSpMk id="73" creationId="{E2D30AD7-EA07-064D-878C-C7835D91D5DB}"/>
          </ac:cxnSpMkLst>
        </pc:cxnChg>
        <pc:cxnChg chg="mod">
          <ac:chgData name="Nick Robinson" userId="d0c2b313-4ae0-4040-8c6a-fec7a720a7b5" providerId="ADAL" clId="{9D26C270-5461-F844-9688-58D8512A9AEB}" dt="2021-10-28T10:35:25.146" v="12136" actId="1076"/>
          <ac:cxnSpMkLst>
            <pc:docMk/>
            <pc:sldMk cId="2486923475" sldId="2144446022"/>
            <ac:cxnSpMk id="74" creationId="{A2FBA561-40C3-3B4D-9A91-62352E3022EA}"/>
          </ac:cxnSpMkLst>
        </pc:cxnChg>
      </pc:sldChg>
      <pc:sldChg chg="modSp mod">
        <pc:chgData name="Nick Robinson" userId="d0c2b313-4ae0-4040-8c6a-fec7a720a7b5" providerId="ADAL" clId="{9D26C270-5461-F844-9688-58D8512A9AEB}" dt="2021-11-08T11:36:43.817" v="57062"/>
        <pc:sldMkLst>
          <pc:docMk/>
          <pc:sldMk cId="1097537891" sldId="2145707132"/>
        </pc:sldMkLst>
        <pc:graphicFrameChg chg="mod modGraphic">
          <ac:chgData name="Nick Robinson" userId="d0c2b313-4ae0-4040-8c6a-fec7a720a7b5" providerId="ADAL" clId="{9D26C270-5461-F844-9688-58D8512A9AEB}" dt="2021-11-08T11:36:43.817" v="57062"/>
          <ac:graphicFrameMkLst>
            <pc:docMk/>
            <pc:sldMk cId="1097537891" sldId="2145707132"/>
            <ac:graphicFrameMk id="5" creationId="{A1A1E082-93A7-2341-B277-5872BC7FB95B}"/>
          </ac:graphicFrameMkLst>
        </pc:graphicFrameChg>
      </pc:sldChg>
      <pc:sldChg chg="modSp mod">
        <pc:chgData name="Nick Robinson" userId="d0c2b313-4ae0-4040-8c6a-fec7a720a7b5" providerId="ADAL" clId="{9D26C270-5461-F844-9688-58D8512A9AEB}" dt="2021-11-08T11:36:43.817" v="57062"/>
        <pc:sldMkLst>
          <pc:docMk/>
          <pc:sldMk cId="3222015481" sldId="2145707133"/>
        </pc:sldMkLst>
        <pc:graphicFrameChg chg="mod modGraphic">
          <ac:chgData name="Nick Robinson" userId="d0c2b313-4ae0-4040-8c6a-fec7a720a7b5" providerId="ADAL" clId="{9D26C270-5461-F844-9688-58D8512A9AEB}" dt="2021-11-08T11:36:43.817" v="57062"/>
          <ac:graphicFrameMkLst>
            <pc:docMk/>
            <pc:sldMk cId="3222015481" sldId="2145707133"/>
            <ac:graphicFrameMk id="5" creationId="{A1A1E082-93A7-2341-B277-5872BC7FB95B}"/>
          </ac:graphicFrameMkLst>
        </pc:graphicFrameChg>
      </pc:sldChg>
      <pc:sldChg chg="modSp">
        <pc:chgData name="Nick Robinson" userId="d0c2b313-4ae0-4040-8c6a-fec7a720a7b5" providerId="ADAL" clId="{9D26C270-5461-F844-9688-58D8512A9AEB}" dt="2021-11-08T11:36:43.817" v="57062"/>
        <pc:sldMkLst>
          <pc:docMk/>
          <pc:sldMk cId="3527498342" sldId="2145707134"/>
        </pc:sldMkLst>
        <pc:graphicFrameChg chg="mod">
          <ac:chgData name="Nick Robinson" userId="d0c2b313-4ae0-4040-8c6a-fec7a720a7b5" providerId="ADAL" clId="{9D26C270-5461-F844-9688-58D8512A9AEB}" dt="2021-11-08T11:36:43.817" v="57062"/>
          <ac:graphicFrameMkLst>
            <pc:docMk/>
            <pc:sldMk cId="3527498342" sldId="2145707134"/>
            <ac:graphicFrameMk id="5" creationId="{A1A1E082-93A7-2341-B277-5872BC7FB95B}"/>
          </ac:graphicFrameMkLst>
        </pc:graphicFrameChg>
      </pc:sldChg>
      <pc:sldChg chg="modSp mod">
        <pc:chgData name="Nick Robinson" userId="d0c2b313-4ae0-4040-8c6a-fec7a720a7b5" providerId="ADAL" clId="{9D26C270-5461-F844-9688-58D8512A9AEB}" dt="2021-11-08T11:36:43.817" v="57062"/>
        <pc:sldMkLst>
          <pc:docMk/>
          <pc:sldMk cId="1879835880" sldId="2145707136"/>
        </pc:sldMkLst>
        <pc:graphicFrameChg chg="mod modGraphic">
          <ac:chgData name="Nick Robinson" userId="d0c2b313-4ae0-4040-8c6a-fec7a720a7b5" providerId="ADAL" clId="{9D26C270-5461-F844-9688-58D8512A9AEB}" dt="2021-11-08T11:36:43.817" v="57062"/>
          <ac:graphicFrameMkLst>
            <pc:docMk/>
            <pc:sldMk cId="1879835880" sldId="2145707136"/>
            <ac:graphicFrameMk id="5" creationId="{A1A1E082-93A7-2341-B277-5872BC7FB95B}"/>
          </ac:graphicFrameMkLst>
        </pc:graphicFrameChg>
      </pc:sldChg>
      <pc:sldChg chg="modSp add mod">
        <pc:chgData name="Nick Robinson" userId="d0c2b313-4ae0-4040-8c6a-fec7a720a7b5" providerId="ADAL" clId="{9D26C270-5461-F844-9688-58D8512A9AEB}" dt="2021-11-08T11:36:43.817" v="57062"/>
        <pc:sldMkLst>
          <pc:docMk/>
          <pc:sldMk cId="3127622773" sldId="2145707137"/>
        </pc:sldMkLst>
        <pc:spChg chg="mod">
          <ac:chgData name="Nick Robinson" userId="d0c2b313-4ae0-4040-8c6a-fec7a720a7b5" providerId="ADAL" clId="{9D26C270-5461-F844-9688-58D8512A9AEB}" dt="2021-10-04T16:37:58.770" v="1"/>
          <ac:spMkLst>
            <pc:docMk/>
            <pc:sldMk cId="3127622773" sldId="2145707137"/>
            <ac:spMk id="2" creationId="{23C47170-A357-0540-A812-A0FEC348D32C}"/>
          </ac:spMkLst>
        </pc:spChg>
        <pc:graphicFrameChg chg="mod modGraphic">
          <ac:chgData name="Nick Robinson" userId="d0c2b313-4ae0-4040-8c6a-fec7a720a7b5" providerId="ADAL" clId="{9D26C270-5461-F844-9688-58D8512A9AEB}" dt="2021-11-08T11:36:43.817" v="57062"/>
          <ac:graphicFrameMkLst>
            <pc:docMk/>
            <pc:sldMk cId="3127622773" sldId="2145707137"/>
            <ac:graphicFrameMk id="5" creationId="{A1A1E082-93A7-2341-B277-5872BC7FB95B}"/>
          </ac:graphicFrameMkLst>
        </pc:graphicFrameChg>
      </pc:sldChg>
      <pc:sldChg chg="modSp add mod">
        <pc:chgData name="Nick Robinson" userId="d0c2b313-4ae0-4040-8c6a-fec7a720a7b5" providerId="ADAL" clId="{9D26C270-5461-F844-9688-58D8512A9AEB}" dt="2021-11-08T11:36:43.817" v="57062"/>
        <pc:sldMkLst>
          <pc:docMk/>
          <pc:sldMk cId="2137434531" sldId="2145707138"/>
        </pc:sldMkLst>
        <pc:spChg chg="mod">
          <ac:chgData name="Nick Robinson" userId="d0c2b313-4ae0-4040-8c6a-fec7a720a7b5" providerId="ADAL" clId="{9D26C270-5461-F844-9688-58D8512A9AEB}" dt="2021-10-05T09:29:45.788" v="63" actId="20577"/>
          <ac:spMkLst>
            <pc:docMk/>
            <pc:sldMk cId="2137434531" sldId="2145707138"/>
            <ac:spMk id="2" creationId="{23C47170-A357-0540-A812-A0FEC348D32C}"/>
          </ac:spMkLst>
        </pc:spChg>
        <pc:graphicFrameChg chg="mod modGraphic">
          <ac:chgData name="Nick Robinson" userId="d0c2b313-4ae0-4040-8c6a-fec7a720a7b5" providerId="ADAL" clId="{9D26C270-5461-F844-9688-58D8512A9AEB}" dt="2021-11-08T11:36:43.817" v="57062"/>
          <ac:graphicFrameMkLst>
            <pc:docMk/>
            <pc:sldMk cId="2137434531" sldId="2145707138"/>
            <ac:graphicFrameMk id="5" creationId="{A1A1E082-93A7-2341-B277-5872BC7FB95B}"/>
          </ac:graphicFrameMkLst>
        </pc:graphicFrameChg>
      </pc:sldChg>
      <pc:sldChg chg="modSp del mod ord">
        <pc:chgData name="Nick Robinson" userId="d0c2b313-4ae0-4040-8c6a-fec7a720a7b5" providerId="ADAL" clId="{9D26C270-5461-F844-9688-58D8512A9AEB}" dt="2021-10-06T10:25:35.043" v="128" actId="2696"/>
        <pc:sldMkLst>
          <pc:docMk/>
          <pc:sldMk cId="2537875688" sldId="2145707139"/>
        </pc:sldMkLst>
        <pc:spChg chg="mod">
          <ac:chgData name="Nick Robinson" userId="d0c2b313-4ae0-4040-8c6a-fec7a720a7b5" providerId="ADAL" clId="{9D26C270-5461-F844-9688-58D8512A9AEB}" dt="2021-10-06T09:07:06.473" v="112" actId="20577"/>
          <ac:spMkLst>
            <pc:docMk/>
            <pc:sldMk cId="2537875688" sldId="2145707139"/>
            <ac:spMk id="2" creationId="{23C47170-A357-0540-A812-A0FEC348D32C}"/>
          </ac:spMkLst>
        </pc:spChg>
        <pc:graphicFrameChg chg="mod modGraphic">
          <ac:chgData name="Nick Robinson" userId="d0c2b313-4ae0-4040-8c6a-fec7a720a7b5" providerId="ADAL" clId="{9D26C270-5461-F844-9688-58D8512A9AEB}" dt="2021-10-06T09:07:27.054" v="118" actId="20577"/>
          <ac:graphicFrameMkLst>
            <pc:docMk/>
            <pc:sldMk cId="2537875688" sldId="2145707139"/>
            <ac:graphicFrameMk id="5" creationId="{A1A1E082-93A7-2341-B277-5872BC7FB95B}"/>
          </ac:graphicFrameMkLst>
        </pc:graphicFrameChg>
      </pc:sldChg>
      <pc:sldChg chg="modSp add">
        <pc:chgData name="Nick Robinson" userId="d0c2b313-4ae0-4040-8c6a-fec7a720a7b5" providerId="ADAL" clId="{9D26C270-5461-F844-9688-58D8512A9AEB}" dt="2021-11-08T11:36:43.817" v="57062"/>
        <pc:sldMkLst>
          <pc:docMk/>
          <pc:sldMk cId="3269536815" sldId="2145707141"/>
        </pc:sldMkLst>
        <pc:spChg chg="mod">
          <ac:chgData name="Nick Robinson" userId="d0c2b313-4ae0-4040-8c6a-fec7a720a7b5" providerId="ADAL" clId="{9D26C270-5461-F844-9688-58D8512A9AEB}" dt="2021-11-08T11:36:43.817" v="57062"/>
          <ac:spMkLst>
            <pc:docMk/>
            <pc:sldMk cId="3269536815" sldId="2145707141"/>
            <ac:spMk id="2" creationId="{23C47170-A357-0540-A812-A0FEC348D32C}"/>
          </ac:spMkLst>
        </pc:spChg>
        <pc:graphicFrameChg chg="mod">
          <ac:chgData name="Nick Robinson" userId="d0c2b313-4ae0-4040-8c6a-fec7a720a7b5" providerId="ADAL" clId="{9D26C270-5461-F844-9688-58D8512A9AEB}" dt="2021-11-08T11:36:43.817" v="57062"/>
          <ac:graphicFrameMkLst>
            <pc:docMk/>
            <pc:sldMk cId="3269536815" sldId="2145707141"/>
            <ac:graphicFrameMk id="5" creationId="{A1A1E082-93A7-2341-B277-5872BC7FB95B}"/>
          </ac:graphicFrameMkLst>
        </pc:graphicFrameChg>
      </pc:sldChg>
      <pc:sldChg chg="modSp add mod">
        <pc:chgData name="Nick Robinson" userId="d0c2b313-4ae0-4040-8c6a-fec7a720a7b5" providerId="ADAL" clId="{9D26C270-5461-F844-9688-58D8512A9AEB}" dt="2021-11-08T11:36:43.817" v="57062"/>
        <pc:sldMkLst>
          <pc:docMk/>
          <pc:sldMk cId="811274468" sldId="2145707142"/>
        </pc:sldMkLst>
        <pc:spChg chg="mod">
          <ac:chgData name="Nick Robinson" userId="d0c2b313-4ae0-4040-8c6a-fec7a720a7b5" providerId="ADAL" clId="{9D26C270-5461-F844-9688-58D8512A9AEB}" dt="2021-10-06T11:19:22.119" v="152" actId="20577"/>
          <ac:spMkLst>
            <pc:docMk/>
            <pc:sldMk cId="811274468" sldId="2145707142"/>
            <ac:spMk id="2" creationId="{23C47170-A357-0540-A812-A0FEC348D32C}"/>
          </ac:spMkLst>
        </pc:spChg>
        <pc:graphicFrameChg chg="mod modGraphic">
          <ac:chgData name="Nick Robinson" userId="d0c2b313-4ae0-4040-8c6a-fec7a720a7b5" providerId="ADAL" clId="{9D26C270-5461-F844-9688-58D8512A9AEB}" dt="2021-11-08T11:36:43.817" v="57062"/>
          <ac:graphicFrameMkLst>
            <pc:docMk/>
            <pc:sldMk cId="811274468" sldId="2145707142"/>
            <ac:graphicFrameMk id="5" creationId="{A1A1E082-93A7-2341-B277-5872BC7FB95B}"/>
          </ac:graphicFrameMkLst>
        </pc:graphicFrameChg>
      </pc:sldChg>
      <pc:sldChg chg="modSp mod">
        <pc:chgData name="Nick Robinson" userId="d0c2b313-4ae0-4040-8c6a-fec7a720a7b5" providerId="ADAL" clId="{9D26C270-5461-F844-9688-58D8512A9AEB}" dt="2021-11-08T11:36:43.817" v="57062"/>
        <pc:sldMkLst>
          <pc:docMk/>
          <pc:sldMk cId="2049783955" sldId="2145707144"/>
        </pc:sldMkLst>
        <pc:graphicFrameChg chg="mod modGraphic">
          <ac:chgData name="Nick Robinson" userId="d0c2b313-4ae0-4040-8c6a-fec7a720a7b5" providerId="ADAL" clId="{9D26C270-5461-F844-9688-58D8512A9AEB}" dt="2021-11-08T11:36:43.817" v="57062"/>
          <ac:graphicFrameMkLst>
            <pc:docMk/>
            <pc:sldMk cId="2049783955" sldId="2145707144"/>
            <ac:graphicFrameMk id="5" creationId="{A1A1E082-93A7-2341-B277-5872BC7FB95B}"/>
          </ac:graphicFrameMkLst>
        </pc:graphicFrameChg>
      </pc:sldChg>
      <pc:sldChg chg="modSp mod">
        <pc:chgData name="Nick Robinson" userId="d0c2b313-4ae0-4040-8c6a-fec7a720a7b5" providerId="ADAL" clId="{9D26C270-5461-F844-9688-58D8512A9AEB}" dt="2021-11-08T11:36:43.817" v="57062"/>
        <pc:sldMkLst>
          <pc:docMk/>
          <pc:sldMk cId="186437211" sldId="2145707145"/>
        </pc:sldMkLst>
        <pc:graphicFrameChg chg="mod modGraphic">
          <ac:chgData name="Nick Robinson" userId="d0c2b313-4ae0-4040-8c6a-fec7a720a7b5" providerId="ADAL" clId="{9D26C270-5461-F844-9688-58D8512A9AEB}" dt="2021-11-08T11:36:43.817" v="57062"/>
          <ac:graphicFrameMkLst>
            <pc:docMk/>
            <pc:sldMk cId="186437211" sldId="2145707145"/>
            <ac:graphicFrameMk id="5" creationId="{A1A1E082-93A7-2341-B277-5872BC7FB95B}"/>
          </ac:graphicFrameMkLst>
        </pc:graphicFrameChg>
      </pc:sldChg>
      <pc:sldChg chg="modSp">
        <pc:chgData name="Nick Robinson" userId="d0c2b313-4ae0-4040-8c6a-fec7a720a7b5" providerId="ADAL" clId="{9D26C270-5461-F844-9688-58D8512A9AEB}" dt="2021-11-08T11:36:43.817" v="57062"/>
        <pc:sldMkLst>
          <pc:docMk/>
          <pc:sldMk cId="2099246873" sldId="2145707146"/>
        </pc:sldMkLst>
        <pc:graphicFrameChg chg="mod">
          <ac:chgData name="Nick Robinson" userId="d0c2b313-4ae0-4040-8c6a-fec7a720a7b5" providerId="ADAL" clId="{9D26C270-5461-F844-9688-58D8512A9AEB}" dt="2021-11-08T11:36:43.817" v="57062"/>
          <ac:graphicFrameMkLst>
            <pc:docMk/>
            <pc:sldMk cId="2099246873" sldId="2145707146"/>
            <ac:graphicFrameMk id="5" creationId="{A1A1E082-93A7-2341-B277-5872BC7FB95B}"/>
          </ac:graphicFrameMkLst>
        </pc:graphicFrameChg>
      </pc:sldChg>
      <pc:sldChg chg="modSp">
        <pc:chgData name="Nick Robinson" userId="d0c2b313-4ae0-4040-8c6a-fec7a720a7b5" providerId="ADAL" clId="{9D26C270-5461-F844-9688-58D8512A9AEB}" dt="2021-11-08T11:36:43.817" v="57062"/>
        <pc:sldMkLst>
          <pc:docMk/>
          <pc:sldMk cId="2975083381" sldId="2145707148"/>
        </pc:sldMkLst>
        <pc:graphicFrameChg chg="mod">
          <ac:chgData name="Nick Robinson" userId="d0c2b313-4ae0-4040-8c6a-fec7a720a7b5" providerId="ADAL" clId="{9D26C270-5461-F844-9688-58D8512A9AEB}" dt="2021-11-08T11:36:43.817" v="57062"/>
          <ac:graphicFrameMkLst>
            <pc:docMk/>
            <pc:sldMk cId="2975083381" sldId="2145707148"/>
            <ac:graphicFrameMk id="5" creationId="{A1A1E082-93A7-2341-B277-5872BC7FB95B}"/>
          </ac:graphicFrameMkLst>
        </pc:graphicFrameChg>
      </pc:sldChg>
      <pc:sldChg chg="addSp delSp modSp del mod ord">
        <pc:chgData name="Nick Robinson" userId="d0c2b313-4ae0-4040-8c6a-fec7a720a7b5" providerId="ADAL" clId="{9D26C270-5461-F844-9688-58D8512A9AEB}" dt="2021-10-27T13:02:31.228" v="1643" actId="2696"/>
        <pc:sldMkLst>
          <pc:docMk/>
          <pc:sldMk cId="3462806675" sldId="2145707150"/>
        </pc:sldMkLst>
        <pc:spChg chg="add mod">
          <ac:chgData name="Nick Robinson" userId="d0c2b313-4ae0-4040-8c6a-fec7a720a7b5" providerId="ADAL" clId="{9D26C270-5461-F844-9688-58D8512A9AEB}" dt="2021-10-27T12:43:15.014" v="662" actId="20577"/>
          <ac:spMkLst>
            <pc:docMk/>
            <pc:sldMk cId="3462806675" sldId="2145707150"/>
            <ac:spMk id="2" creationId="{3D2B0276-55F3-F741-90FE-6754E27A3D39}"/>
          </ac:spMkLst>
        </pc:spChg>
        <pc:spChg chg="mod">
          <ac:chgData name="Nick Robinson" userId="d0c2b313-4ae0-4040-8c6a-fec7a720a7b5" providerId="ADAL" clId="{9D26C270-5461-F844-9688-58D8512A9AEB}" dt="2021-10-27T12:43:19.109" v="670" actId="20577"/>
          <ac:spMkLst>
            <pc:docMk/>
            <pc:sldMk cId="3462806675" sldId="2145707150"/>
            <ac:spMk id="3" creationId="{9727F235-D435-AC40-9012-B1AFF6D2161F}"/>
          </ac:spMkLst>
        </pc:spChg>
        <pc:spChg chg="del">
          <ac:chgData name="Nick Robinson" userId="d0c2b313-4ae0-4040-8c6a-fec7a720a7b5" providerId="ADAL" clId="{9D26C270-5461-F844-9688-58D8512A9AEB}" dt="2021-10-27T12:43:01.927" v="577" actId="478"/>
          <ac:spMkLst>
            <pc:docMk/>
            <pc:sldMk cId="3462806675" sldId="2145707150"/>
            <ac:spMk id="4" creationId="{99542A22-9D28-E047-AE05-7E06C859E778}"/>
          </ac:spMkLst>
        </pc:spChg>
        <pc:spChg chg="add del mod">
          <ac:chgData name="Nick Robinson" userId="d0c2b313-4ae0-4040-8c6a-fec7a720a7b5" providerId="ADAL" clId="{9D26C270-5461-F844-9688-58D8512A9AEB}" dt="2021-10-27T13:00:39.839" v="1642" actId="478"/>
          <ac:spMkLst>
            <pc:docMk/>
            <pc:sldMk cId="3462806675" sldId="2145707150"/>
            <ac:spMk id="7" creationId="{7A0CF946-F411-B64E-AD99-DA9FC743EAF7}"/>
          </ac:spMkLst>
        </pc:spChg>
        <pc:spChg chg="del">
          <ac:chgData name="Nick Robinson" userId="d0c2b313-4ae0-4040-8c6a-fec7a720a7b5" providerId="ADAL" clId="{9D26C270-5461-F844-9688-58D8512A9AEB}" dt="2021-10-27T12:43:01.927" v="577" actId="478"/>
          <ac:spMkLst>
            <pc:docMk/>
            <pc:sldMk cId="3462806675" sldId="2145707150"/>
            <ac:spMk id="8" creationId="{638D8710-524F-E548-BE2D-31091AAAA5FC}"/>
          </ac:spMkLst>
        </pc:spChg>
        <pc:spChg chg="add mod">
          <ac:chgData name="Nick Robinson" userId="d0c2b313-4ae0-4040-8c6a-fec7a720a7b5" providerId="ADAL" clId="{9D26C270-5461-F844-9688-58D8512A9AEB}" dt="2021-10-27T13:00:30.229" v="1640"/>
          <ac:spMkLst>
            <pc:docMk/>
            <pc:sldMk cId="3462806675" sldId="2145707150"/>
            <ac:spMk id="9" creationId="{09592894-0A94-D34B-AEA4-261DC4A1033B}"/>
          </ac:spMkLst>
        </pc:spChg>
        <pc:graphicFrameChg chg="del">
          <ac:chgData name="Nick Robinson" userId="d0c2b313-4ae0-4040-8c6a-fec7a720a7b5" providerId="ADAL" clId="{9D26C270-5461-F844-9688-58D8512A9AEB}" dt="2021-10-27T12:43:01.927" v="577" actId="478"/>
          <ac:graphicFrameMkLst>
            <pc:docMk/>
            <pc:sldMk cId="3462806675" sldId="2145707150"/>
            <ac:graphicFrameMk id="6" creationId="{6F702D48-9599-724C-B5B3-CF659D19C36A}"/>
          </ac:graphicFrameMkLst>
        </pc:graphicFrameChg>
        <pc:picChg chg="del">
          <ac:chgData name="Nick Robinson" userId="d0c2b313-4ae0-4040-8c6a-fec7a720a7b5" providerId="ADAL" clId="{9D26C270-5461-F844-9688-58D8512A9AEB}" dt="2021-10-27T12:43:01.927" v="577" actId="478"/>
          <ac:picMkLst>
            <pc:docMk/>
            <pc:sldMk cId="3462806675" sldId="2145707150"/>
            <ac:picMk id="20" creationId="{B4E578F4-DF35-E147-8C03-9349EAE34444}"/>
          </ac:picMkLst>
        </pc:picChg>
      </pc:sldChg>
      <pc:sldChg chg="modSp add mod ord">
        <pc:chgData name="Nick Robinson" userId="d0c2b313-4ae0-4040-8c6a-fec7a720a7b5" providerId="ADAL" clId="{9D26C270-5461-F844-9688-58D8512A9AEB}" dt="2021-11-08T11:36:43.817" v="57062"/>
        <pc:sldMkLst>
          <pc:docMk/>
          <pc:sldMk cId="2619527506" sldId="2145707151"/>
        </pc:sldMkLst>
        <pc:spChg chg="mod">
          <ac:chgData name="Nick Robinson" userId="d0c2b313-4ae0-4040-8c6a-fec7a720a7b5" providerId="ADAL" clId="{9D26C270-5461-F844-9688-58D8512A9AEB}" dt="2021-10-08T13:42:33.265" v="444" actId="20577"/>
          <ac:spMkLst>
            <pc:docMk/>
            <pc:sldMk cId="2619527506" sldId="2145707151"/>
            <ac:spMk id="2" creationId="{23C47170-A357-0540-A812-A0FEC348D32C}"/>
          </ac:spMkLst>
        </pc:spChg>
        <pc:graphicFrameChg chg="mod modGraphic">
          <ac:chgData name="Nick Robinson" userId="d0c2b313-4ae0-4040-8c6a-fec7a720a7b5" providerId="ADAL" clId="{9D26C270-5461-F844-9688-58D8512A9AEB}" dt="2021-11-08T11:36:43.817" v="57062"/>
          <ac:graphicFrameMkLst>
            <pc:docMk/>
            <pc:sldMk cId="2619527506" sldId="2145707151"/>
            <ac:graphicFrameMk id="5" creationId="{A1A1E082-93A7-2341-B277-5872BC7FB95B}"/>
          </ac:graphicFrameMkLst>
        </pc:graphicFrameChg>
      </pc:sldChg>
      <pc:sldChg chg="modSp mod">
        <pc:chgData name="Nick Robinson" userId="d0c2b313-4ae0-4040-8c6a-fec7a720a7b5" providerId="ADAL" clId="{9D26C270-5461-F844-9688-58D8512A9AEB}" dt="2021-11-08T11:36:43.817" v="57062"/>
        <pc:sldMkLst>
          <pc:docMk/>
          <pc:sldMk cId="2450164866" sldId="2145707152"/>
        </pc:sldMkLst>
        <pc:graphicFrameChg chg="mod">
          <ac:chgData name="Nick Robinson" userId="d0c2b313-4ae0-4040-8c6a-fec7a720a7b5" providerId="ADAL" clId="{9D26C270-5461-F844-9688-58D8512A9AEB}" dt="2021-11-08T11:36:43.817" v="57062"/>
          <ac:graphicFrameMkLst>
            <pc:docMk/>
            <pc:sldMk cId="2450164866" sldId="2145707152"/>
            <ac:graphicFrameMk id="5" creationId="{A1A1E082-93A7-2341-B277-5872BC7FB95B}"/>
          </ac:graphicFrameMkLst>
        </pc:graphicFrameChg>
      </pc:sldChg>
      <pc:sldChg chg="modSp">
        <pc:chgData name="Nick Robinson" userId="d0c2b313-4ae0-4040-8c6a-fec7a720a7b5" providerId="ADAL" clId="{9D26C270-5461-F844-9688-58D8512A9AEB}" dt="2021-11-08T11:36:43.817" v="57062"/>
        <pc:sldMkLst>
          <pc:docMk/>
          <pc:sldMk cId="998408239" sldId="2145707153"/>
        </pc:sldMkLst>
        <pc:graphicFrameChg chg="mod">
          <ac:chgData name="Nick Robinson" userId="d0c2b313-4ae0-4040-8c6a-fec7a720a7b5" providerId="ADAL" clId="{9D26C270-5461-F844-9688-58D8512A9AEB}" dt="2021-11-08T11:36:43.817" v="57062"/>
          <ac:graphicFrameMkLst>
            <pc:docMk/>
            <pc:sldMk cId="998408239" sldId="2145707153"/>
            <ac:graphicFrameMk id="5" creationId="{A1A1E082-93A7-2341-B277-5872BC7FB95B}"/>
          </ac:graphicFrameMkLst>
        </pc:graphicFrameChg>
      </pc:sldChg>
      <pc:sldChg chg="modSp">
        <pc:chgData name="Nick Robinson" userId="d0c2b313-4ae0-4040-8c6a-fec7a720a7b5" providerId="ADAL" clId="{9D26C270-5461-F844-9688-58D8512A9AEB}" dt="2021-11-08T11:36:43.817" v="57062"/>
        <pc:sldMkLst>
          <pc:docMk/>
          <pc:sldMk cId="3000803748" sldId="2145707154"/>
        </pc:sldMkLst>
        <pc:graphicFrameChg chg="mod">
          <ac:chgData name="Nick Robinson" userId="d0c2b313-4ae0-4040-8c6a-fec7a720a7b5" providerId="ADAL" clId="{9D26C270-5461-F844-9688-58D8512A9AEB}" dt="2021-11-08T11:36:43.817" v="57062"/>
          <ac:graphicFrameMkLst>
            <pc:docMk/>
            <pc:sldMk cId="3000803748" sldId="2145707154"/>
            <ac:graphicFrameMk id="5" creationId="{A1A1E082-93A7-2341-B277-5872BC7FB95B}"/>
          </ac:graphicFrameMkLst>
        </pc:graphicFrameChg>
      </pc:sldChg>
      <pc:sldChg chg="modSp mod">
        <pc:chgData name="Nick Robinson" userId="d0c2b313-4ae0-4040-8c6a-fec7a720a7b5" providerId="ADAL" clId="{9D26C270-5461-F844-9688-58D8512A9AEB}" dt="2021-11-08T11:36:43.817" v="57062"/>
        <pc:sldMkLst>
          <pc:docMk/>
          <pc:sldMk cId="4151783051" sldId="2145707156"/>
        </pc:sldMkLst>
        <pc:graphicFrameChg chg="mod modGraphic">
          <ac:chgData name="Nick Robinson" userId="d0c2b313-4ae0-4040-8c6a-fec7a720a7b5" providerId="ADAL" clId="{9D26C270-5461-F844-9688-58D8512A9AEB}" dt="2021-11-08T11:36:43.817" v="57062"/>
          <ac:graphicFrameMkLst>
            <pc:docMk/>
            <pc:sldMk cId="4151783051" sldId="2145707156"/>
            <ac:graphicFrameMk id="5" creationId="{A1A1E082-93A7-2341-B277-5872BC7FB95B}"/>
          </ac:graphicFrameMkLst>
        </pc:graphicFrameChg>
      </pc:sldChg>
      <pc:sldChg chg="modSp">
        <pc:chgData name="Nick Robinson" userId="d0c2b313-4ae0-4040-8c6a-fec7a720a7b5" providerId="ADAL" clId="{9D26C270-5461-F844-9688-58D8512A9AEB}" dt="2021-11-08T11:36:43.817" v="57062"/>
        <pc:sldMkLst>
          <pc:docMk/>
          <pc:sldMk cId="1351592566" sldId="2145707157"/>
        </pc:sldMkLst>
        <pc:graphicFrameChg chg="mod">
          <ac:chgData name="Nick Robinson" userId="d0c2b313-4ae0-4040-8c6a-fec7a720a7b5" providerId="ADAL" clId="{9D26C270-5461-F844-9688-58D8512A9AEB}" dt="2021-11-08T11:36:43.817" v="57062"/>
          <ac:graphicFrameMkLst>
            <pc:docMk/>
            <pc:sldMk cId="1351592566" sldId="2145707157"/>
            <ac:graphicFrameMk id="5" creationId="{A1A1E082-93A7-2341-B277-5872BC7FB95B}"/>
          </ac:graphicFrameMkLst>
        </pc:graphicFrameChg>
      </pc:sldChg>
      <pc:sldChg chg="modSp">
        <pc:chgData name="Nick Robinson" userId="d0c2b313-4ae0-4040-8c6a-fec7a720a7b5" providerId="ADAL" clId="{9D26C270-5461-F844-9688-58D8512A9AEB}" dt="2021-11-08T11:36:43.817" v="57062"/>
        <pc:sldMkLst>
          <pc:docMk/>
          <pc:sldMk cId="268948547" sldId="2145707158"/>
        </pc:sldMkLst>
        <pc:graphicFrameChg chg="mod">
          <ac:chgData name="Nick Robinson" userId="d0c2b313-4ae0-4040-8c6a-fec7a720a7b5" providerId="ADAL" clId="{9D26C270-5461-F844-9688-58D8512A9AEB}" dt="2021-11-08T11:36:43.817" v="57062"/>
          <ac:graphicFrameMkLst>
            <pc:docMk/>
            <pc:sldMk cId="268948547" sldId="2145707158"/>
            <ac:graphicFrameMk id="5" creationId="{A1A1E082-93A7-2341-B277-5872BC7FB95B}"/>
          </ac:graphicFrameMkLst>
        </pc:graphicFrameChg>
      </pc:sldChg>
      <pc:sldChg chg="modSp">
        <pc:chgData name="Nick Robinson" userId="d0c2b313-4ae0-4040-8c6a-fec7a720a7b5" providerId="ADAL" clId="{9D26C270-5461-F844-9688-58D8512A9AEB}" dt="2021-11-08T11:36:43.817" v="57062"/>
        <pc:sldMkLst>
          <pc:docMk/>
          <pc:sldMk cId="631440114" sldId="2145707159"/>
        </pc:sldMkLst>
        <pc:graphicFrameChg chg="mod">
          <ac:chgData name="Nick Robinson" userId="d0c2b313-4ae0-4040-8c6a-fec7a720a7b5" providerId="ADAL" clId="{9D26C270-5461-F844-9688-58D8512A9AEB}" dt="2021-11-08T11:36:43.817" v="57062"/>
          <ac:graphicFrameMkLst>
            <pc:docMk/>
            <pc:sldMk cId="631440114" sldId="2145707159"/>
            <ac:graphicFrameMk id="5" creationId="{A1A1E082-93A7-2341-B277-5872BC7FB95B}"/>
          </ac:graphicFrameMkLst>
        </pc:graphicFrameChg>
      </pc:sldChg>
      <pc:sldChg chg="modSp">
        <pc:chgData name="Nick Robinson" userId="d0c2b313-4ae0-4040-8c6a-fec7a720a7b5" providerId="ADAL" clId="{9D26C270-5461-F844-9688-58D8512A9AEB}" dt="2021-11-08T11:36:43.817" v="57062"/>
        <pc:sldMkLst>
          <pc:docMk/>
          <pc:sldMk cId="1909228005" sldId="2145707160"/>
        </pc:sldMkLst>
        <pc:spChg chg="mod">
          <ac:chgData name="Nick Robinson" userId="d0c2b313-4ae0-4040-8c6a-fec7a720a7b5" providerId="ADAL" clId="{9D26C270-5461-F844-9688-58D8512A9AEB}" dt="2021-11-08T11:36:43.817" v="57062"/>
          <ac:spMkLst>
            <pc:docMk/>
            <pc:sldMk cId="1909228005" sldId="2145707160"/>
            <ac:spMk id="7" creationId="{B4CF97F0-A72F-3548-B6E2-F7FDA86E817B}"/>
          </ac:spMkLst>
        </pc:spChg>
        <pc:graphicFrameChg chg="mod">
          <ac:chgData name="Nick Robinson" userId="d0c2b313-4ae0-4040-8c6a-fec7a720a7b5" providerId="ADAL" clId="{9D26C270-5461-F844-9688-58D8512A9AEB}" dt="2021-11-08T11:36:43.817" v="57062"/>
          <ac:graphicFrameMkLst>
            <pc:docMk/>
            <pc:sldMk cId="1909228005" sldId="2145707160"/>
            <ac:graphicFrameMk id="9" creationId="{0A29D54C-1B74-B740-B224-E17F5D6326AE}"/>
          </ac:graphicFrameMkLst>
        </pc:graphicFrameChg>
      </pc:sldChg>
      <pc:sldChg chg="modSp">
        <pc:chgData name="Nick Robinson" userId="d0c2b313-4ae0-4040-8c6a-fec7a720a7b5" providerId="ADAL" clId="{9D26C270-5461-F844-9688-58D8512A9AEB}" dt="2021-11-08T11:36:43.817" v="57062"/>
        <pc:sldMkLst>
          <pc:docMk/>
          <pc:sldMk cId="642802485" sldId="2145707161"/>
        </pc:sldMkLst>
        <pc:graphicFrameChg chg="mod">
          <ac:chgData name="Nick Robinson" userId="d0c2b313-4ae0-4040-8c6a-fec7a720a7b5" providerId="ADAL" clId="{9D26C270-5461-F844-9688-58D8512A9AEB}" dt="2021-11-08T11:36:43.817" v="57062"/>
          <ac:graphicFrameMkLst>
            <pc:docMk/>
            <pc:sldMk cId="642802485" sldId="2145707161"/>
            <ac:graphicFrameMk id="5" creationId="{A1A1E082-93A7-2341-B277-5872BC7FB95B}"/>
          </ac:graphicFrameMkLst>
        </pc:graphicFrameChg>
      </pc:sldChg>
      <pc:sldChg chg="modSp">
        <pc:chgData name="Nick Robinson" userId="d0c2b313-4ae0-4040-8c6a-fec7a720a7b5" providerId="ADAL" clId="{9D26C270-5461-F844-9688-58D8512A9AEB}" dt="2021-11-08T11:36:43.817" v="57062"/>
        <pc:sldMkLst>
          <pc:docMk/>
          <pc:sldMk cId="451671605" sldId="2145707163"/>
        </pc:sldMkLst>
        <pc:graphicFrameChg chg="mod">
          <ac:chgData name="Nick Robinson" userId="d0c2b313-4ae0-4040-8c6a-fec7a720a7b5" providerId="ADAL" clId="{9D26C270-5461-F844-9688-58D8512A9AEB}" dt="2021-11-08T11:36:43.817" v="57062"/>
          <ac:graphicFrameMkLst>
            <pc:docMk/>
            <pc:sldMk cId="451671605" sldId="2145707163"/>
            <ac:graphicFrameMk id="7" creationId="{0652C58B-32C6-9446-B4B3-CCE2F64D5CB7}"/>
          </ac:graphicFrameMkLst>
        </pc:graphicFrameChg>
      </pc:sldChg>
      <pc:sldChg chg="modSp">
        <pc:chgData name="Nick Robinson" userId="d0c2b313-4ae0-4040-8c6a-fec7a720a7b5" providerId="ADAL" clId="{9D26C270-5461-F844-9688-58D8512A9AEB}" dt="2021-11-08T11:36:43.817" v="57062"/>
        <pc:sldMkLst>
          <pc:docMk/>
          <pc:sldMk cId="54800713" sldId="2145707164"/>
        </pc:sldMkLst>
        <pc:graphicFrameChg chg="mod">
          <ac:chgData name="Nick Robinson" userId="d0c2b313-4ae0-4040-8c6a-fec7a720a7b5" providerId="ADAL" clId="{9D26C270-5461-F844-9688-58D8512A9AEB}" dt="2021-11-08T11:36:43.817" v="57062"/>
          <ac:graphicFrameMkLst>
            <pc:docMk/>
            <pc:sldMk cId="54800713" sldId="2145707164"/>
            <ac:graphicFrameMk id="5" creationId="{A1A1E082-93A7-2341-B277-5872BC7FB95B}"/>
          </ac:graphicFrameMkLst>
        </pc:graphicFrameChg>
      </pc:sldChg>
      <pc:sldChg chg="modSp">
        <pc:chgData name="Nick Robinson" userId="d0c2b313-4ae0-4040-8c6a-fec7a720a7b5" providerId="ADAL" clId="{9D26C270-5461-F844-9688-58D8512A9AEB}" dt="2021-11-08T11:36:43.817" v="57062"/>
        <pc:sldMkLst>
          <pc:docMk/>
          <pc:sldMk cId="3160472428" sldId="2145707165"/>
        </pc:sldMkLst>
        <pc:graphicFrameChg chg="mod">
          <ac:chgData name="Nick Robinson" userId="d0c2b313-4ae0-4040-8c6a-fec7a720a7b5" providerId="ADAL" clId="{9D26C270-5461-F844-9688-58D8512A9AEB}" dt="2021-11-08T11:36:43.817" v="57062"/>
          <ac:graphicFrameMkLst>
            <pc:docMk/>
            <pc:sldMk cId="3160472428" sldId="2145707165"/>
            <ac:graphicFrameMk id="5" creationId="{A1A1E082-93A7-2341-B277-5872BC7FB95B}"/>
          </ac:graphicFrameMkLst>
        </pc:graphicFrameChg>
      </pc:sldChg>
      <pc:sldChg chg="modSp mod modShow">
        <pc:chgData name="Nick Robinson" userId="d0c2b313-4ae0-4040-8c6a-fec7a720a7b5" providerId="ADAL" clId="{9D26C270-5461-F844-9688-58D8512A9AEB}" dt="2021-11-08T11:36:43.817" v="57062"/>
        <pc:sldMkLst>
          <pc:docMk/>
          <pc:sldMk cId="453201455" sldId="2145707166"/>
        </pc:sldMkLst>
        <pc:graphicFrameChg chg="mod">
          <ac:chgData name="Nick Robinson" userId="d0c2b313-4ae0-4040-8c6a-fec7a720a7b5" providerId="ADAL" clId="{9D26C270-5461-F844-9688-58D8512A9AEB}" dt="2021-11-08T11:36:43.817" v="57062"/>
          <ac:graphicFrameMkLst>
            <pc:docMk/>
            <pc:sldMk cId="453201455" sldId="2145707166"/>
            <ac:graphicFrameMk id="7" creationId="{0652C58B-32C6-9446-B4B3-CCE2F64D5CB7}"/>
          </ac:graphicFrameMkLst>
        </pc:graphicFrameChg>
      </pc:sldChg>
      <pc:sldChg chg="modSp mod modShow">
        <pc:chgData name="Nick Robinson" userId="d0c2b313-4ae0-4040-8c6a-fec7a720a7b5" providerId="ADAL" clId="{9D26C270-5461-F844-9688-58D8512A9AEB}" dt="2021-11-08T11:36:43.817" v="57062"/>
        <pc:sldMkLst>
          <pc:docMk/>
          <pc:sldMk cId="561540980" sldId="2145707167"/>
        </pc:sldMkLst>
        <pc:spChg chg="mod">
          <ac:chgData name="Nick Robinson" userId="d0c2b313-4ae0-4040-8c6a-fec7a720a7b5" providerId="ADAL" clId="{9D26C270-5461-F844-9688-58D8512A9AEB}" dt="2021-11-08T11:36:43.817" v="57062"/>
          <ac:spMkLst>
            <pc:docMk/>
            <pc:sldMk cId="561540980" sldId="2145707167"/>
            <ac:spMk id="7" creationId="{B4CF97F0-A72F-3548-B6E2-F7FDA86E817B}"/>
          </ac:spMkLst>
        </pc:spChg>
        <pc:spChg chg="mod">
          <ac:chgData name="Nick Robinson" userId="d0c2b313-4ae0-4040-8c6a-fec7a720a7b5" providerId="ADAL" clId="{9D26C270-5461-F844-9688-58D8512A9AEB}" dt="2021-10-26T07:57:35.229" v="529" actId="1076"/>
          <ac:spMkLst>
            <pc:docMk/>
            <pc:sldMk cId="561540980" sldId="2145707167"/>
            <ac:spMk id="19" creationId="{A1274B1C-C051-2A45-BFB8-F91265C2D8E0}"/>
          </ac:spMkLst>
        </pc:spChg>
        <pc:graphicFrameChg chg="mod">
          <ac:chgData name="Nick Robinson" userId="d0c2b313-4ae0-4040-8c6a-fec7a720a7b5" providerId="ADAL" clId="{9D26C270-5461-F844-9688-58D8512A9AEB}" dt="2021-11-08T11:36:43.817" v="57062"/>
          <ac:graphicFrameMkLst>
            <pc:docMk/>
            <pc:sldMk cId="561540980" sldId="2145707167"/>
            <ac:graphicFrameMk id="9" creationId="{0A29D54C-1B74-B740-B224-E17F5D6326AE}"/>
          </ac:graphicFrameMkLst>
        </pc:graphicFrameChg>
      </pc:sldChg>
      <pc:sldChg chg="modSp mod modShow">
        <pc:chgData name="Nick Robinson" userId="d0c2b313-4ae0-4040-8c6a-fec7a720a7b5" providerId="ADAL" clId="{9D26C270-5461-F844-9688-58D8512A9AEB}" dt="2021-11-08T11:36:43.817" v="57062"/>
        <pc:sldMkLst>
          <pc:docMk/>
          <pc:sldMk cId="365222853" sldId="2145707168"/>
        </pc:sldMkLst>
        <pc:graphicFrameChg chg="mod">
          <ac:chgData name="Nick Robinson" userId="d0c2b313-4ae0-4040-8c6a-fec7a720a7b5" providerId="ADAL" clId="{9D26C270-5461-F844-9688-58D8512A9AEB}" dt="2021-11-08T11:36:43.817" v="57062"/>
          <ac:graphicFrameMkLst>
            <pc:docMk/>
            <pc:sldMk cId="365222853" sldId="2145707168"/>
            <ac:graphicFrameMk id="7" creationId="{0652C58B-32C6-9446-B4B3-CCE2F64D5CB7}"/>
          </ac:graphicFrameMkLst>
        </pc:graphicFrameChg>
      </pc:sldChg>
      <pc:sldChg chg="modSp mod modShow">
        <pc:chgData name="Nick Robinson" userId="d0c2b313-4ae0-4040-8c6a-fec7a720a7b5" providerId="ADAL" clId="{9D26C270-5461-F844-9688-58D8512A9AEB}" dt="2021-11-08T11:36:43.817" v="57062"/>
        <pc:sldMkLst>
          <pc:docMk/>
          <pc:sldMk cId="4102888677" sldId="2145707169"/>
        </pc:sldMkLst>
        <pc:spChg chg="mod">
          <ac:chgData name="Nick Robinson" userId="d0c2b313-4ae0-4040-8c6a-fec7a720a7b5" providerId="ADAL" clId="{9D26C270-5461-F844-9688-58D8512A9AEB}" dt="2021-11-08T11:36:43.817" v="57062"/>
          <ac:spMkLst>
            <pc:docMk/>
            <pc:sldMk cId="4102888677" sldId="2145707169"/>
            <ac:spMk id="6" creationId="{50A0CB93-7C17-44E6-84C9-2C20B915391E}"/>
          </ac:spMkLst>
        </pc:spChg>
        <pc:spChg chg="mod">
          <ac:chgData name="Nick Robinson" userId="d0c2b313-4ae0-4040-8c6a-fec7a720a7b5" providerId="ADAL" clId="{9D26C270-5461-F844-9688-58D8512A9AEB}" dt="2021-11-08T11:36:43.817" v="57062"/>
          <ac:spMkLst>
            <pc:docMk/>
            <pc:sldMk cId="4102888677" sldId="2145707169"/>
            <ac:spMk id="8" creationId="{F1C83EA9-5794-4990-80E0-DF214A10237B}"/>
          </ac:spMkLst>
        </pc:spChg>
        <pc:spChg chg="mod">
          <ac:chgData name="Nick Robinson" userId="d0c2b313-4ae0-4040-8c6a-fec7a720a7b5" providerId="ADAL" clId="{9D26C270-5461-F844-9688-58D8512A9AEB}" dt="2021-11-08T11:36:43.817" v="57062"/>
          <ac:spMkLst>
            <pc:docMk/>
            <pc:sldMk cId="4102888677" sldId="2145707169"/>
            <ac:spMk id="9" creationId="{79860903-8A7C-44AA-800A-CCC0B78373E6}"/>
          </ac:spMkLst>
        </pc:spChg>
        <pc:spChg chg="mod">
          <ac:chgData name="Nick Robinson" userId="d0c2b313-4ae0-4040-8c6a-fec7a720a7b5" providerId="ADAL" clId="{9D26C270-5461-F844-9688-58D8512A9AEB}" dt="2021-11-08T11:36:43.817" v="57062"/>
          <ac:spMkLst>
            <pc:docMk/>
            <pc:sldMk cId="4102888677" sldId="2145707169"/>
            <ac:spMk id="11" creationId="{FA588752-AE86-461B-AE77-6DA03FC9419A}"/>
          </ac:spMkLst>
        </pc:spChg>
        <pc:spChg chg="mod">
          <ac:chgData name="Nick Robinson" userId="d0c2b313-4ae0-4040-8c6a-fec7a720a7b5" providerId="ADAL" clId="{9D26C270-5461-F844-9688-58D8512A9AEB}" dt="2021-11-08T11:36:43.817" v="57062"/>
          <ac:spMkLst>
            <pc:docMk/>
            <pc:sldMk cId="4102888677" sldId="2145707169"/>
            <ac:spMk id="37" creationId="{B2EDEDD6-E6B3-4268-8C42-B897A0B946B5}"/>
          </ac:spMkLst>
        </pc:spChg>
      </pc:sldChg>
      <pc:sldChg chg="addSp delSp modSp mod ord modNotesTx">
        <pc:chgData name="Nick Robinson" userId="d0c2b313-4ae0-4040-8c6a-fec7a720a7b5" providerId="ADAL" clId="{9D26C270-5461-F844-9688-58D8512A9AEB}" dt="2021-11-09T10:52:26.546" v="61505" actId="20577"/>
        <pc:sldMkLst>
          <pc:docMk/>
          <pc:sldMk cId="2552193057" sldId="2145707170"/>
        </pc:sldMkLst>
        <pc:spChg chg="mod">
          <ac:chgData name="Nick Robinson" userId="d0c2b313-4ae0-4040-8c6a-fec7a720a7b5" providerId="ADAL" clId="{9D26C270-5461-F844-9688-58D8512A9AEB}" dt="2021-10-27T12:49:25.291" v="930" actId="20577"/>
          <ac:spMkLst>
            <pc:docMk/>
            <pc:sldMk cId="2552193057" sldId="2145707170"/>
            <ac:spMk id="2" creationId="{00000000-0000-0000-0000-000000000000}"/>
          </ac:spMkLst>
        </pc:spChg>
        <pc:spChg chg="add del mod">
          <ac:chgData name="Nick Robinson" userId="d0c2b313-4ae0-4040-8c6a-fec7a720a7b5" providerId="ADAL" clId="{9D26C270-5461-F844-9688-58D8512A9AEB}" dt="2021-10-28T12:21:16.986" v="13922" actId="478"/>
          <ac:spMkLst>
            <pc:docMk/>
            <pc:sldMk cId="2552193057" sldId="2145707170"/>
            <ac:spMk id="5" creationId="{75E89E80-87DC-7E4C-BEB4-3637EE5B8150}"/>
          </ac:spMkLst>
        </pc:spChg>
        <pc:spChg chg="add mod">
          <ac:chgData name="Nick Robinson" userId="d0c2b313-4ae0-4040-8c6a-fec7a720a7b5" providerId="ADAL" clId="{9D26C270-5461-F844-9688-58D8512A9AEB}" dt="2021-11-05T17:02:01.573" v="43594" actId="1036"/>
          <ac:spMkLst>
            <pc:docMk/>
            <pc:sldMk cId="2552193057" sldId="2145707170"/>
            <ac:spMk id="5" creationId="{B582D218-587D-214B-B2CF-AC10F263EF15}"/>
          </ac:spMkLst>
        </pc:spChg>
        <pc:spChg chg="add del mod">
          <ac:chgData name="Nick Robinson" userId="d0c2b313-4ae0-4040-8c6a-fec7a720a7b5" providerId="ADAL" clId="{9D26C270-5461-F844-9688-58D8512A9AEB}" dt="2021-11-05T08:38:22.355" v="39920" actId="478"/>
          <ac:spMkLst>
            <pc:docMk/>
            <pc:sldMk cId="2552193057" sldId="2145707170"/>
            <ac:spMk id="7" creationId="{9295C176-B6FD-AF4A-BA84-8D1A5989C43A}"/>
          </ac:spMkLst>
        </pc:spChg>
        <pc:spChg chg="add mod">
          <ac:chgData name="Nick Robinson" userId="d0c2b313-4ae0-4040-8c6a-fec7a720a7b5" providerId="ADAL" clId="{9D26C270-5461-F844-9688-58D8512A9AEB}" dt="2021-11-05T17:01:14.708" v="43589" actId="404"/>
          <ac:spMkLst>
            <pc:docMk/>
            <pc:sldMk cId="2552193057" sldId="2145707170"/>
            <ac:spMk id="16" creationId="{8C8F3348-B5D1-AB4F-9DCE-2D0D18FBF31F}"/>
          </ac:spMkLst>
        </pc:spChg>
        <pc:spChg chg="add mod">
          <ac:chgData name="Nick Robinson" userId="d0c2b313-4ae0-4040-8c6a-fec7a720a7b5" providerId="ADAL" clId="{9D26C270-5461-F844-9688-58D8512A9AEB}" dt="2021-11-09T10:51:56.299" v="61493" actId="20577"/>
          <ac:spMkLst>
            <pc:docMk/>
            <pc:sldMk cId="2552193057" sldId="2145707170"/>
            <ac:spMk id="17" creationId="{A0786D38-8BB9-C14A-96BF-033146F7208D}"/>
          </ac:spMkLst>
        </pc:spChg>
        <pc:spChg chg="add del mod">
          <ac:chgData name="Nick Robinson" userId="d0c2b313-4ae0-4040-8c6a-fec7a720a7b5" providerId="ADAL" clId="{9D26C270-5461-F844-9688-58D8512A9AEB}" dt="2021-11-07T15:48:33.985" v="43663" actId="478"/>
          <ac:spMkLst>
            <pc:docMk/>
            <pc:sldMk cId="2552193057" sldId="2145707170"/>
            <ac:spMk id="39" creationId="{9C520380-70BB-D54F-AE31-F24B0AE37CB0}"/>
          </ac:spMkLst>
        </pc:spChg>
        <pc:spChg chg="add mod">
          <ac:chgData name="Nick Robinson" userId="d0c2b313-4ae0-4040-8c6a-fec7a720a7b5" providerId="ADAL" clId="{9D26C270-5461-F844-9688-58D8512A9AEB}" dt="2021-11-08T11:36:43.817" v="57062"/>
          <ac:spMkLst>
            <pc:docMk/>
            <pc:sldMk cId="2552193057" sldId="2145707170"/>
            <ac:spMk id="40" creationId="{568B8E9D-D4C6-4744-A64C-9B4D1CC51DE0}"/>
          </ac:spMkLst>
        </pc:spChg>
        <pc:spChg chg="add del mod">
          <ac:chgData name="Nick Robinson" userId="d0c2b313-4ae0-4040-8c6a-fec7a720a7b5" providerId="ADAL" clId="{9D26C270-5461-F844-9688-58D8512A9AEB}" dt="2021-11-04T08:22:19.456" v="27718" actId="478"/>
          <ac:spMkLst>
            <pc:docMk/>
            <pc:sldMk cId="2552193057" sldId="2145707170"/>
            <ac:spMk id="41" creationId="{106137E0-3E4C-EE42-BF8C-DC94FA585196}"/>
          </ac:spMkLst>
        </pc:spChg>
        <pc:spChg chg="add del mod">
          <ac:chgData name="Nick Robinson" userId="d0c2b313-4ae0-4040-8c6a-fec7a720a7b5" providerId="ADAL" clId="{9D26C270-5461-F844-9688-58D8512A9AEB}" dt="2021-11-04T18:34:40.149" v="39489" actId="478"/>
          <ac:spMkLst>
            <pc:docMk/>
            <pc:sldMk cId="2552193057" sldId="2145707170"/>
            <ac:spMk id="42" creationId="{F804E095-220F-024D-86F3-A2B94B4EC281}"/>
          </ac:spMkLst>
        </pc:spChg>
        <pc:spChg chg="add del mod">
          <ac:chgData name="Nick Robinson" userId="d0c2b313-4ae0-4040-8c6a-fec7a720a7b5" providerId="ADAL" clId="{9D26C270-5461-F844-9688-58D8512A9AEB}" dt="2021-11-05T08:38:37.010" v="39961" actId="478"/>
          <ac:spMkLst>
            <pc:docMk/>
            <pc:sldMk cId="2552193057" sldId="2145707170"/>
            <ac:spMk id="43" creationId="{1F1A13E2-366E-234F-A775-5FB615FC4EE4}"/>
          </ac:spMkLst>
        </pc:spChg>
        <pc:spChg chg="add del mod">
          <ac:chgData name="Nick Robinson" userId="d0c2b313-4ae0-4040-8c6a-fec7a720a7b5" providerId="ADAL" clId="{9D26C270-5461-F844-9688-58D8512A9AEB}" dt="2021-11-05T08:38:13.637" v="39900" actId="478"/>
          <ac:spMkLst>
            <pc:docMk/>
            <pc:sldMk cId="2552193057" sldId="2145707170"/>
            <ac:spMk id="44" creationId="{630DE509-D827-534F-9603-8FF16C520004}"/>
          </ac:spMkLst>
        </pc:spChg>
        <pc:spChg chg="add del mod">
          <ac:chgData name="Nick Robinson" userId="d0c2b313-4ae0-4040-8c6a-fec7a720a7b5" providerId="ADAL" clId="{9D26C270-5461-F844-9688-58D8512A9AEB}" dt="2021-11-05T08:38:36.055" v="39960" actId="478"/>
          <ac:spMkLst>
            <pc:docMk/>
            <pc:sldMk cId="2552193057" sldId="2145707170"/>
            <ac:spMk id="45" creationId="{BB25C54F-9696-D249-8BB3-FCB9A135A394}"/>
          </ac:spMkLst>
        </pc:spChg>
        <pc:spChg chg="mod">
          <ac:chgData name="Nick Robinson" userId="d0c2b313-4ae0-4040-8c6a-fec7a720a7b5" providerId="ADAL" clId="{9D26C270-5461-F844-9688-58D8512A9AEB}" dt="2021-10-28T11:02:06.146" v="12591" actId="20577"/>
          <ac:spMkLst>
            <pc:docMk/>
            <pc:sldMk cId="2552193057" sldId="2145707170"/>
            <ac:spMk id="54" creationId="{A7DD93EE-2A6C-2D44-8C5F-34F2D3F3960E}"/>
          </ac:spMkLst>
        </pc:spChg>
        <pc:spChg chg="del mod">
          <ac:chgData name="Nick Robinson" userId="d0c2b313-4ae0-4040-8c6a-fec7a720a7b5" providerId="ADAL" clId="{9D26C270-5461-F844-9688-58D8512A9AEB}" dt="2021-10-28T12:30:53.036" v="14232" actId="478"/>
          <ac:spMkLst>
            <pc:docMk/>
            <pc:sldMk cId="2552193057" sldId="2145707170"/>
            <ac:spMk id="55" creationId="{814D53CC-E361-6043-87FD-A85102E17DC6}"/>
          </ac:spMkLst>
        </pc:spChg>
        <pc:spChg chg="mod">
          <ac:chgData name="Nick Robinson" userId="d0c2b313-4ae0-4040-8c6a-fec7a720a7b5" providerId="ADAL" clId="{9D26C270-5461-F844-9688-58D8512A9AEB}" dt="2021-11-08T11:36:43.817" v="57062"/>
          <ac:spMkLst>
            <pc:docMk/>
            <pc:sldMk cId="2552193057" sldId="2145707170"/>
            <ac:spMk id="56" creationId="{DCDD9483-E305-B942-9F92-6EA4CFD5688A}"/>
          </ac:spMkLst>
        </pc:spChg>
        <pc:spChg chg="add mod">
          <ac:chgData name="Nick Robinson" userId="d0c2b313-4ae0-4040-8c6a-fec7a720a7b5" providerId="ADAL" clId="{9D26C270-5461-F844-9688-58D8512A9AEB}" dt="2021-11-05T17:01:14.708" v="43589" actId="404"/>
          <ac:spMkLst>
            <pc:docMk/>
            <pc:sldMk cId="2552193057" sldId="2145707170"/>
            <ac:spMk id="58" creationId="{ED9A64EE-AF17-A64C-B946-4E35853BE102}"/>
          </ac:spMkLst>
        </pc:spChg>
        <pc:spChg chg="mod">
          <ac:chgData name="Nick Robinson" userId="d0c2b313-4ae0-4040-8c6a-fec7a720a7b5" providerId="ADAL" clId="{9D26C270-5461-F844-9688-58D8512A9AEB}" dt="2021-11-04T15:49:57.734" v="34432" actId="1076"/>
          <ac:spMkLst>
            <pc:docMk/>
            <pc:sldMk cId="2552193057" sldId="2145707170"/>
            <ac:spMk id="59" creationId="{7D0375EB-3B1A-4743-8C64-6FCF13F90551}"/>
          </ac:spMkLst>
        </pc:spChg>
        <pc:spChg chg="del mod">
          <ac:chgData name="Nick Robinson" userId="d0c2b313-4ae0-4040-8c6a-fec7a720a7b5" providerId="ADAL" clId="{9D26C270-5461-F844-9688-58D8512A9AEB}" dt="2021-11-04T15:48:57.610" v="34428" actId="478"/>
          <ac:spMkLst>
            <pc:docMk/>
            <pc:sldMk cId="2552193057" sldId="2145707170"/>
            <ac:spMk id="63" creationId="{3FC30631-A39C-CF4D-BA1E-77809547D44D}"/>
          </ac:spMkLst>
        </pc:spChg>
        <pc:spChg chg="del mod">
          <ac:chgData name="Nick Robinson" userId="d0c2b313-4ae0-4040-8c6a-fec7a720a7b5" providerId="ADAL" clId="{9D26C270-5461-F844-9688-58D8512A9AEB}" dt="2021-11-04T15:48:57.610" v="34428" actId="478"/>
          <ac:spMkLst>
            <pc:docMk/>
            <pc:sldMk cId="2552193057" sldId="2145707170"/>
            <ac:spMk id="64" creationId="{89D9A49B-79D9-474E-AAA4-785E2A014639}"/>
          </ac:spMkLst>
        </pc:spChg>
        <pc:spChg chg="del mod">
          <ac:chgData name="Nick Robinson" userId="d0c2b313-4ae0-4040-8c6a-fec7a720a7b5" providerId="ADAL" clId="{9D26C270-5461-F844-9688-58D8512A9AEB}" dt="2021-11-04T15:48:57.610" v="34428" actId="478"/>
          <ac:spMkLst>
            <pc:docMk/>
            <pc:sldMk cId="2552193057" sldId="2145707170"/>
            <ac:spMk id="65" creationId="{009F4CE3-7E3E-7343-A998-BC2AD9FDB910}"/>
          </ac:spMkLst>
        </pc:spChg>
        <pc:spChg chg="del mod">
          <ac:chgData name="Nick Robinson" userId="d0c2b313-4ae0-4040-8c6a-fec7a720a7b5" providerId="ADAL" clId="{9D26C270-5461-F844-9688-58D8512A9AEB}" dt="2021-11-04T15:48:57.610" v="34428" actId="478"/>
          <ac:spMkLst>
            <pc:docMk/>
            <pc:sldMk cId="2552193057" sldId="2145707170"/>
            <ac:spMk id="69" creationId="{2E06E59F-0800-1E40-B52A-945A8A5C9FCB}"/>
          </ac:spMkLst>
        </pc:spChg>
        <pc:spChg chg="del mod">
          <ac:chgData name="Nick Robinson" userId="d0c2b313-4ae0-4040-8c6a-fec7a720a7b5" providerId="ADAL" clId="{9D26C270-5461-F844-9688-58D8512A9AEB}" dt="2021-11-04T15:48:57.610" v="34428" actId="478"/>
          <ac:spMkLst>
            <pc:docMk/>
            <pc:sldMk cId="2552193057" sldId="2145707170"/>
            <ac:spMk id="70" creationId="{6A84328C-7DD1-4340-821A-8676405852D9}"/>
          </ac:spMkLst>
        </pc:spChg>
        <pc:spChg chg="del mod">
          <ac:chgData name="Nick Robinson" userId="d0c2b313-4ae0-4040-8c6a-fec7a720a7b5" providerId="ADAL" clId="{9D26C270-5461-F844-9688-58D8512A9AEB}" dt="2021-11-04T15:48:57.610" v="34428" actId="478"/>
          <ac:spMkLst>
            <pc:docMk/>
            <pc:sldMk cId="2552193057" sldId="2145707170"/>
            <ac:spMk id="71" creationId="{D5922031-34C1-7B4D-93AD-42E3FFA43CB9}"/>
          </ac:spMkLst>
        </pc:spChg>
        <pc:spChg chg="del mod">
          <ac:chgData name="Nick Robinson" userId="d0c2b313-4ae0-4040-8c6a-fec7a720a7b5" providerId="ADAL" clId="{9D26C270-5461-F844-9688-58D8512A9AEB}" dt="2021-11-04T15:48:57.610" v="34428" actId="478"/>
          <ac:spMkLst>
            <pc:docMk/>
            <pc:sldMk cId="2552193057" sldId="2145707170"/>
            <ac:spMk id="72" creationId="{C81186AB-869D-0E4A-B72D-EAB38207CABE}"/>
          </ac:spMkLst>
        </pc:spChg>
        <pc:spChg chg="del mod">
          <ac:chgData name="Nick Robinson" userId="d0c2b313-4ae0-4040-8c6a-fec7a720a7b5" providerId="ADAL" clId="{9D26C270-5461-F844-9688-58D8512A9AEB}" dt="2021-11-04T15:48:57.610" v="34428" actId="478"/>
          <ac:spMkLst>
            <pc:docMk/>
            <pc:sldMk cId="2552193057" sldId="2145707170"/>
            <ac:spMk id="73" creationId="{2FF4B294-B002-8344-A4B4-847018322C48}"/>
          </ac:spMkLst>
        </pc:spChg>
        <pc:spChg chg="del mod">
          <ac:chgData name="Nick Robinson" userId="d0c2b313-4ae0-4040-8c6a-fec7a720a7b5" providerId="ADAL" clId="{9D26C270-5461-F844-9688-58D8512A9AEB}" dt="2021-11-04T15:48:57.610" v="34428" actId="478"/>
          <ac:spMkLst>
            <pc:docMk/>
            <pc:sldMk cId="2552193057" sldId="2145707170"/>
            <ac:spMk id="74" creationId="{A43C3185-C335-E140-9396-E75FF082E6D8}"/>
          </ac:spMkLst>
        </pc:spChg>
        <pc:spChg chg="del mod">
          <ac:chgData name="Nick Robinson" userId="d0c2b313-4ae0-4040-8c6a-fec7a720a7b5" providerId="ADAL" clId="{9D26C270-5461-F844-9688-58D8512A9AEB}" dt="2021-11-04T15:48:57.610" v="34428" actId="478"/>
          <ac:spMkLst>
            <pc:docMk/>
            <pc:sldMk cId="2552193057" sldId="2145707170"/>
            <ac:spMk id="75" creationId="{9EB29A4F-FB04-D146-8896-698F2EF9209E}"/>
          </ac:spMkLst>
        </pc:spChg>
        <pc:spChg chg="del mod">
          <ac:chgData name="Nick Robinson" userId="d0c2b313-4ae0-4040-8c6a-fec7a720a7b5" providerId="ADAL" clId="{9D26C270-5461-F844-9688-58D8512A9AEB}" dt="2021-11-04T15:48:57.610" v="34428" actId="478"/>
          <ac:spMkLst>
            <pc:docMk/>
            <pc:sldMk cId="2552193057" sldId="2145707170"/>
            <ac:spMk id="76" creationId="{AD81AE7A-DA8C-2945-918D-5005B429177E}"/>
          </ac:spMkLst>
        </pc:spChg>
        <pc:spChg chg="add mod">
          <ac:chgData name="Nick Robinson" userId="d0c2b313-4ae0-4040-8c6a-fec7a720a7b5" providerId="ADAL" clId="{9D26C270-5461-F844-9688-58D8512A9AEB}" dt="2021-11-05T17:01:14.708" v="43589" actId="404"/>
          <ac:spMkLst>
            <pc:docMk/>
            <pc:sldMk cId="2552193057" sldId="2145707170"/>
            <ac:spMk id="81" creationId="{BEDAE4F4-70B1-8C4E-98A1-403D42B4BAE9}"/>
          </ac:spMkLst>
        </pc:spChg>
        <pc:spChg chg="del mod">
          <ac:chgData name="Nick Robinson" userId="d0c2b313-4ae0-4040-8c6a-fec7a720a7b5" providerId="ADAL" clId="{9D26C270-5461-F844-9688-58D8512A9AEB}" dt="2021-11-04T18:37:48.202" v="39639" actId="478"/>
          <ac:spMkLst>
            <pc:docMk/>
            <pc:sldMk cId="2552193057" sldId="2145707170"/>
            <ac:spMk id="82" creationId="{F12F2863-D7E7-9743-AC71-8456995792A8}"/>
          </ac:spMkLst>
        </pc:spChg>
        <pc:spChg chg="del mod">
          <ac:chgData name="Nick Robinson" userId="d0c2b313-4ae0-4040-8c6a-fec7a720a7b5" providerId="ADAL" clId="{9D26C270-5461-F844-9688-58D8512A9AEB}" dt="2021-11-04T15:48:57.610" v="34428" actId="478"/>
          <ac:spMkLst>
            <pc:docMk/>
            <pc:sldMk cId="2552193057" sldId="2145707170"/>
            <ac:spMk id="83" creationId="{679E229A-CDE8-384D-97D7-938E5F7A7C99}"/>
          </ac:spMkLst>
        </pc:spChg>
        <pc:spChg chg="del mod">
          <ac:chgData name="Nick Robinson" userId="d0c2b313-4ae0-4040-8c6a-fec7a720a7b5" providerId="ADAL" clId="{9D26C270-5461-F844-9688-58D8512A9AEB}" dt="2021-11-04T15:48:57.610" v="34428" actId="478"/>
          <ac:spMkLst>
            <pc:docMk/>
            <pc:sldMk cId="2552193057" sldId="2145707170"/>
            <ac:spMk id="84" creationId="{406C919D-E637-D848-8A9A-65D3C675B742}"/>
          </ac:spMkLst>
        </pc:spChg>
        <pc:spChg chg="del mod">
          <ac:chgData name="Nick Robinson" userId="d0c2b313-4ae0-4040-8c6a-fec7a720a7b5" providerId="ADAL" clId="{9D26C270-5461-F844-9688-58D8512A9AEB}" dt="2021-11-04T15:48:57.610" v="34428" actId="478"/>
          <ac:spMkLst>
            <pc:docMk/>
            <pc:sldMk cId="2552193057" sldId="2145707170"/>
            <ac:spMk id="85" creationId="{44B3EEF3-F825-874D-9602-CBAF9EEC2454}"/>
          </ac:spMkLst>
        </pc:spChg>
        <pc:spChg chg="del mod">
          <ac:chgData name="Nick Robinson" userId="d0c2b313-4ae0-4040-8c6a-fec7a720a7b5" providerId="ADAL" clId="{9D26C270-5461-F844-9688-58D8512A9AEB}" dt="2021-11-04T15:48:57.610" v="34428" actId="478"/>
          <ac:spMkLst>
            <pc:docMk/>
            <pc:sldMk cId="2552193057" sldId="2145707170"/>
            <ac:spMk id="86" creationId="{1CC97C8F-943A-3147-98F7-0EFB870C7A20}"/>
          </ac:spMkLst>
        </pc:spChg>
        <pc:spChg chg="mod">
          <ac:chgData name="Nick Robinson" userId="d0c2b313-4ae0-4040-8c6a-fec7a720a7b5" providerId="ADAL" clId="{9D26C270-5461-F844-9688-58D8512A9AEB}" dt="2021-11-04T18:36:53.894" v="39617" actId="167"/>
          <ac:spMkLst>
            <pc:docMk/>
            <pc:sldMk cId="2552193057" sldId="2145707170"/>
            <ac:spMk id="87" creationId="{D83E2979-DE42-B143-8096-9C02B2C3D084}"/>
          </ac:spMkLst>
        </pc:spChg>
        <pc:spChg chg="mod">
          <ac:chgData name="Nick Robinson" userId="d0c2b313-4ae0-4040-8c6a-fec7a720a7b5" providerId="ADAL" clId="{9D26C270-5461-F844-9688-58D8512A9AEB}" dt="2021-11-08T11:36:43.817" v="57062"/>
          <ac:spMkLst>
            <pc:docMk/>
            <pc:sldMk cId="2552193057" sldId="2145707170"/>
            <ac:spMk id="88" creationId="{6A05B7B1-4EF7-CD43-8D41-CC915F642A67}"/>
          </ac:spMkLst>
        </pc:spChg>
        <pc:spChg chg="add mod">
          <ac:chgData name="Nick Robinson" userId="d0c2b313-4ae0-4040-8c6a-fec7a720a7b5" providerId="ADAL" clId="{9D26C270-5461-F844-9688-58D8512A9AEB}" dt="2021-11-09T10:52:16.577" v="61504" actId="20577"/>
          <ac:spMkLst>
            <pc:docMk/>
            <pc:sldMk cId="2552193057" sldId="2145707170"/>
            <ac:spMk id="89" creationId="{D97D64F7-0C08-6C4B-A54A-0D71A9636618}"/>
          </ac:spMkLst>
        </pc:spChg>
        <pc:spChg chg="add mod">
          <ac:chgData name="Nick Robinson" userId="d0c2b313-4ae0-4040-8c6a-fec7a720a7b5" providerId="ADAL" clId="{9D26C270-5461-F844-9688-58D8512A9AEB}" dt="2021-11-09T10:52:26.546" v="61505" actId="20577"/>
          <ac:spMkLst>
            <pc:docMk/>
            <pc:sldMk cId="2552193057" sldId="2145707170"/>
            <ac:spMk id="90" creationId="{1C63EB04-22AF-B64F-B862-1AE4E85ED48A}"/>
          </ac:spMkLst>
        </pc:spChg>
        <pc:grpChg chg="del mod">
          <ac:chgData name="Nick Robinson" userId="d0c2b313-4ae0-4040-8c6a-fec7a720a7b5" providerId="ADAL" clId="{9D26C270-5461-F844-9688-58D8512A9AEB}" dt="2021-11-04T15:48:57.610" v="34428" actId="478"/>
          <ac:grpSpMkLst>
            <pc:docMk/>
            <pc:sldMk cId="2552193057" sldId="2145707170"/>
            <ac:grpSpMk id="60" creationId="{84BF1291-0313-924D-932B-2235BEFF541D}"/>
          </ac:grpSpMkLst>
        </pc:grpChg>
        <pc:grpChg chg="del mod">
          <ac:chgData name="Nick Robinson" userId="d0c2b313-4ae0-4040-8c6a-fec7a720a7b5" providerId="ADAL" clId="{9D26C270-5461-F844-9688-58D8512A9AEB}" dt="2021-11-04T15:48:57.610" v="34428" actId="478"/>
          <ac:grpSpMkLst>
            <pc:docMk/>
            <pc:sldMk cId="2552193057" sldId="2145707170"/>
            <ac:grpSpMk id="66" creationId="{323D5043-681D-8B47-86BA-EA00BCB7FE9B}"/>
          </ac:grpSpMkLst>
        </pc:grpChg>
        <pc:picChg chg="del mod">
          <ac:chgData name="Nick Robinson" userId="d0c2b313-4ae0-4040-8c6a-fec7a720a7b5" providerId="ADAL" clId="{9D26C270-5461-F844-9688-58D8512A9AEB}" dt="2021-11-04T15:48:57.610" v="34428" actId="478"/>
          <ac:picMkLst>
            <pc:docMk/>
            <pc:sldMk cId="2552193057" sldId="2145707170"/>
            <ac:picMk id="77" creationId="{F78ECA2E-F845-714B-A76E-2D868087AEA6}"/>
          </ac:picMkLst>
        </pc:picChg>
        <pc:picChg chg="del mod">
          <ac:chgData name="Nick Robinson" userId="d0c2b313-4ae0-4040-8c6a-fec7a720a7b5" providerId="ADAL" clId="{9D26C270-5461-F844-9688-58D8512A9AEB}" dt="2021-11-04T15:48:57.610" v="34428" actId="478"/>
          <ac:picMkLst>
            <pc:docMk/>
            <pc:sldMk cId="2552193057" sldId="2145707170"/>
            <ac:picMk id="78" creationId="{10AB5CD5-8EBE-204E-8DF0-BDA5AB5A89CE}"/>
          </ac:picMkLst>
        </pc:picChg>
        <pc:picChg chg="del mod">
          <ac:chgData name="Nick Robinson" userId="d0c2b313-4ae0-4040-8c6a-fec7a720a7b5" providerId="ADAL" clId="{9D26C270-5461-F844-9688-58D8512A9AEB}" dt="2021-11-04T15:48:57.610" v="34428" actId="478"/>
          <ac:picMkLst>
            <pc:docMk/>
            <pc:sldMk cId="2552193057" sldId="2145707170"/>
            <ac:picMk id="79" creationId="{7ABD7FB8-E703-514D-864F-54366F427693}"/>
          </ac:picMkLst>
        </pc:picChg>
        <pc:picChg chg="del mod">
          <ac:chgData name="Nick Robinson" userId="d0c2b313-4ae0-4040-8c6a-fec7a720a7b5" providerId="ADAL" clId="{9D26C270-5461-F844-9688-58D8512A9AEB}" dt="2021-11-04T15:48:57.610" v="34428" actId="478"/>
          <ac:picMkLst>
            <pc:docMk/>
            <pc:sldMk cId="2552193057" sldId="2145707170"/>
            <ac:picMk id="80" creationId="{551D1A1F-8194-1744-B2D3-A7C8BA8EC55B}"/>
          </ac:picMkLst>
        </pc:picChg>
        <pc:picChg chg="del">
          <ac:chgData name="Nick Robinson" userId="d0c2b313-4ae0-4040-8c6a-fec7a720a7b5" providerId="ADAL" clId="{9D26C270-5461-F844-9688-58D8512A9AEB}" dt="2021-10-28T11:13:53.478" v="12592" actId="478"/>
          <ac:picMkLst>
            <pc:docMk/>
            <pc:sldMk cId="2552193057" sldId="2145707170"/>
            <ac:picMk id="81" creationId="{D9245753-1458-784D-8667-34953EF77330}"/>
          </ac:picMkLst>
        </pc:picChg>
        <pc:picChg chg="del">
          <ac:chgData name="Nick Robinson" userId="d0c2b313-4ae0-4040-8c6a-fec7a720a7b5" providerId="ADAL" clId="{9D26C270-5461-F844-9688-58D8512A9AEB}" dt="2021-10-27T12:47:46.072" v="868" actId="478"/>
          <ac:picMkLst>
            <pc:docMk/>
            <pc:sldMk cId="2552193057" sldId="2145707170"/>
            <ac:picMk id="92" creationId="{AAD76E19-E086-654C-9FB2-36CCCF8BD131}"/>
          </ac:picMkLst>
        </pc:picChg>
        <pc:cxnChg chg="add del mod">
          <ac:chgData name="Nick Robinson" userId="d0c2b313-4ae0-4040-8c6a-fec7a720a7b5" providerId="ADAL" clId="{9D26C270-5461-F844-9688-58D8512A9AEB}" dt="2021-11-05T08:38:11.046" v="39898" actId="478"/>
          <ac:cxnSpMkLst>
            <pc:docMk/>
            <pc:sldMk cId="2552193057" sldId="2145707170"/>
            <ac:cxnSpMk id="9" creationId="{F3DD73D3-A9D9-0645-B917-EDC9AC13BEC6}"/>
          </ac:cxnSpMkLst>
        </pc:cxnChg>
        <pc:cxnChg chg="add del mod">
          <ac:chgData name="Nick Robinson" userId="d0c2b313-4ae0-4040-8c6a-fec7a720a7b5" providerId="ADAL" clId="{9D26C270-5461-F844-9688-58D8512A9AEB}" dt="2021-11-05T08:38:15.915" v="39902" actId="478"/>
          <ac:cxnSpMkLst>
            <pc:docMk/>
            <pc:sldMk cId="2552193057" sldId="2145707170"/>
            <ac:cxnSpMk id="48" creationId="{A01992D5-D419-344A-AA97-9158D9C2FBF1}"/>
          </ac:cxnSpMkLst>
        </pc:cxnChg>
        <pc:cxnChg chg="add del mod">
          <ac:chgData name="Nick Robinson" userId="d0c2b313-4ae0-4040-8c6a-fec7a720a7b5" providerId="ADAL" clId="{9D26C270-5461-F844-9688-58D8512A9AEB}" dt="2021-11-05T08:38:14.948" v="39901" actId="478"/>
          <ac:cxnSpMkLst>
            <pc:docMk/>
            <pc:sldMk cId="2552193057" sldId="2145707170"/>
            <ac:cxnSpMk id="50" creationId="{7001FCE4-6DD1-9D4C-9811-9D9555E893A9}"/>
          </ac:cxnSpMkLst>
        </pc:cxnChg>
        <pc:cxnChg chg="add del mod">
          <ac:chgData name="Nick Robinson" userId="d0c2b313-4ae0-4040-8c6a-fec7a720a7b5" providerId="ADAL" clId="{9D26C270-5461-F844-9688-58D8512A9AEB}" dt="2021-11-05T08:38:12.031" v="39899" actId="478"/>
          <ac:cxnSpMkLst>
            <pc:docMk/>
            <pc:sldMk cId="2552193057" sldId="2145707170"/>
            <ac:cxnSpMk id="52" creationId="{80D6680F-DD64-274B-9131-375FB002CA6C}"/>
          </ac:cxnSpMkLst>
        </pc:cxnChg>
      </pc:sldChg>
      <pc:sldChg chg="modSp mod modShow">
        <pc:chgData name="Nick Robinson" userId="d0c2b313-4ae0-4040-8c6a-fec7a720a7b5" providerId="ADAL" clId="{9D26C270-5461-F844-9688-58D8512A9AEB}" dt="2021-11-08T11:36:43.817" v="57062"/>
        <pc:sldMkLst>
          <pc:docMk/>
          <pc:sldMk cId="192151864" sldId="2145707171"/>
        </pc:sldMkLst>
        <pc:spChg chg="mod">
          <ac:chgData name="Nick Robinson" userId="d0c2b313-4ae0-4040-8c6a-fec7a720a7b5" providerId="ADAL" clId="{9D26C270-5461-F844-9688-58D8512A9AEB}" dt="2021-11-08T11:36:43.817" v="57062"/>
          <ac:spMkLst>
            <pc:docMk/>
            <pc:sldMk cId="192151864" sldId="2145707171"/>
            <ac:spMk id="2" creationId="{B9020E60-1107-8F40-9258-14E5FEFB2DDF}"/>
          </ac:spMkLst>
        </pc:spChg>
      </pc:sldChg>
      <pc:sldChg chg="modSp">
        <pc:chgData name="Nick Robinson" userId="d0c2b313-4ae0-4040-8c6a-fec7a720a7b5" providerId="ADAL" clId="{9D26C270-5461-F844-9688-58D8512A9AEB}" dt="2021-11-08T11:36:43.817" v="57062"/>
        <pc:sldMkLst>
          <pc:docMk/>
          <pc:sldMk cId="142993496" sldId="2145707173"/>
        </pc:sldMkLst>
        <pc:graphicFrameChg chg="mod">
          <ac:chgData name="Nick Robinson" userId="d0c2b313-4ae0-4040-8c6a-fec7a720a7b5" providerId="ADAL" clId="{9D26C270-5461-F844-9688-58D8512A9AEB}" dt="2021-11-08T11:36:43.817" v="57062"/>
          <ac:graphicFrameMkLst>
            <pc:docMk/>
            <pc:sldMk cId="142993496" sldId="2145707173"/>
            <ac:graphicFrameMk id="5" creationId="{A1A1E082-93A7-2341-B277-5872BC7FB95B}"/>
          </ac:graphicFrameMkLst>
        </pc:graphicFrameChg>
      </pc:sldChg>
      <pc:sldChg chg="modSp">
        <pc:chgData name="Nick Robinson" userId="d0c2b313-4ae0-4040-8c6a-fec7a720a7b5" providerId="ADAL" clId="{9D26C270-5461-F844-9688-58D8512A9AEB}" dt="2021-11-08T11:36:43.817" v="57062"/>
        <pc:sldMkLst>
          <pc:docMk/>
          <pc:sldMk cId="2534044850" sldId="2145707174"/>
        </pc:sldMkLst>
        <pc:graphicFrameChg chg="mod">
          <ac:chgData name="Nick Robinson" userId="d0c2b313-4ae0-4040-8c6a-fec7a720a7b5" providerId="ADAL" clId="{9D26C270-5461-F844-9688-58D8512A9AEB}" dt="2021-11-08T11:36:43.817" v="57062"/>
          <ac:graphicFrameMkLst>
            <pc:docMk/>
            <pc:sldMk cId="2534044850" sldId="2145707174"/>
            <ac:graphicFrameMk id="5" creationId="{A1A1E082-93A7-2341-B277-5872BC7FB95B}"/>
          </ac:graphicFrameMkLst>
        </pc:graphicFrameChg>
      </pc:sldChg>
      <pc:sldChg chg="modSp">
        <pc:chgData name="Nick Robinson" userId="d0c2b313-4ae0-4040-8c6a-fec7a720a7b5" providerId="ADAL" clId="{9D26C270-5461-F844-9688-58D8512A9AEB}" dt="2021-11-08T11:36:43.817" v="57062"/>
        <pc:sldMkLst>
          <pc:docMk/>
          <pc:sldMk cId="436909755" sldId="2145707175"/>
        </pc:sldMkLst>
        <pc:spChg chg="mod">
          <ac:chgData name="Nick Robinson" userId="d0c2b313-4ae0-4040-8c6a-fec7a720a7b5" providerId="ADAL" clId="{9D26C270-5461-F844-9688-58D8512A9AEB}" dt="2021-11-08T11:36:43.817" v="57062"/>
          <ac:spMkLst>
            <pc:docMk/>
            <pc:sldMk cId="436909755" sldId="2145707175"/>
            <ac:spMk id="11" creationId="{0485555A-50C3-584C-B24C-A11C331C6CE2}"/>
          </ac:spMkLst>
        </pc:spChg>
      </pc:sldChg>
      <pc:sldChg chg="modSp">
        <pc:chgData name="Nick Robinson" userId="d0c2b313-4ae0-4040-8c6a-fec7a720a7b5" providerId="ADAL" clId="{9D26C270-5461-F844-9688-58D8512A9AEB}" dt="2021-11-08T11:36:43.817" v="57062"/>
        <pc:sldMkLst>
          <pc:docMk/>
          <pc:sldMk cId="937874512" sldId="2145707176"/>
        </pc:sldMkLst>
        <pc:graphicFrameChg chg="mod">
          <ac:chgData name="Nick Robinson" userId="d0c2b313-4ae0-4040-8c6a-fec7a720a7b5" providerId="ADAL" clId="{9D26C270-5461-F844-9688-58D8512A9AEB}" dt="2021-11-08T11:36:43.817" v="57062"/>
          <ac:graphicFrameMkLst>
            <pc:docMk/>
            <pc:sldMk cId="937874512" sldId="2145707176"/>
            <ac:graphicFrameMk id="7" creationId="{0652C58B-32C6-9446-B4B3-CCE2F64D5CB7}"/>
          </ac:graphicFrameMkLst>
        </pc:graphicFrameChg>
      </pc:sldChg>
      <pc:sldChg chg="modSp">
        <pc:chgData name="Nick Robinson" userId="d0c2b313-4ae0-4040-8c6a-fec7a720a7b5" providerId="ADAL" clId="{9D26C270-5461-F844-9688-58D8512A9AEB}" dt="2021-11-08T11:36:43.817" v="57062"/>
        <pc:sldMkLst>
          <pc:docMk/>
          <pc:sldMk cId="990398270" sldId="2145707177"/>
        </pc:sldMkLst>
        <pc:graphicFrameChg chg="mod">
          <ac:chgData name="Nick Robinson" userId="d0c2b313-4ae0-4040-8c6a-fec7a720a7b5" providerId="ADAL" clId="{9D26C270-5461-F844-9688-58D8512A9AEB}" dt="2021-11-08T11:36:43.817" v="57062"/>
          <ac:graphicFrameMkLst>
            <pc:docMk/>
            <pc:sldMk cId="990398270" sldId="2145707177"/>
            <ac:graphicFrameMk id="7" creationId="{0652C58B-32C6-9446-B4B3-CCE2F64D5CB7}"/>
          </ac:graphicFrameMkLst>
        </pc:graphicFrameChg>
      </pc:sldChg>
      <pc:sldChg chg="modSp modNotes">
        <pc:chgData name="Nick Robinson" userId="d0c2b313-4ae0-4040-8c6a-fec7a720a7b5" providerId="ADAL" clId="{9D26C270-5461-F844-9688-58D8512A9AEB}" dt="2021-11-08T11:36:43.817" v="57062"/>
        <pc:sldMkLst>
          <pc:docMk/>
          <pc:sldMk cId="3102894989" sldId="2145707178"/>
        </pc:sldMkLst>
        <pc:graphicFrameChg chg="mod">
          <ac:chgData name="Nick Robinson" userId="d0c2b313-4ae0-4040-8c6a-fec7a720a7b5" providerId="ADAL" clId="{9D26C270-5461-F844-9688-58D8512A9AEB}" dt="2021-11-08T11:36:43.817" v="57062"/>
          <ac:graphicFrameMkLst>
            <pc:docMk/>
            <pc:sldMk cId="3102894989" sldId="2145707178"/>
            <ac:graphicFrameMk id="5" creationId="{A1A1E082-93A7-2341-B277-5872BC7FB95B}"/>
          </ac:graphicFrameMkLst>
        </pc:graphicFrameChg>
      </pc:sldChg>
      <pc:sldChg chg="modSp mod">
        <pc:chgData name="Nick Robinson" userId="d0c2b313-4ae0-4040-8c6a-fec7a720a7b5" providerId="ADAL" clId="{9D26C270-5461-F844-9688-58D8512A9AEB}" dt="2021-11-08T11:36:43.817" v="57062"/>
        <pc:sldMkLst>
          <pc:docMk/>
          <pc:sldMk cId="3189410595" sldId="2145707179"/>
        </pc:sldMkLst>
        <pc:graphicFrameChg chg="mod modGraphic">
          <ac:chgData name="Nick Robinson" userId="d0c2b313-4ae0-4040-8c6a-fec7a720a7b5" providerId="ADAL" clId="{9D26C270-5461-F844-9688-58D8512A9AEB}" dt="2021-11-08T11:36:43.817" v="57062"/>
          <ac:graphicFrameMkLst>
            <pc:docMk/>
            <pc:sldMk cId="3189410595" sldId="2145707179"/>
            <ac:graphicFrameMk id="5" creationId="{A1A1E082-93A7-2341-B277-5872BC7FB95B}"/>
          </ac:graphicFrameMkLst>
        </pc:graphicFrameChg>
      </pc:sldChg>
      <pc:sldChg chg="addSp delSp modSp new mod modClrScheme chgLayout">
        <pc:chgData name="Nick Robinson" userId="d0c2b313-4ae0-4040-8c6a-fec7a720a7b5" providerId="ADAL" clId="{9D26C270-5461-F844-9688-58D8512A9AEB}" dt="2021-11-09T14:42:16.436" v="61509" actId="700"/>
        <pc:sldMkLst>
          <pc:docMk/>
          <pc:sldMk cId="3817542409" sldId="2145707180"/>
        </pc:sldMkLst>
        <pc:spChg chg="mod ord">
          <ac:chgData name="Nick Robinson" userId="d0c2b313-4ae0-4040-8c6a-fec7a720a7b5" providerId="ADAL" clId="{9D26C270-5461-F844-9688-58D8512A9AEB}" dt="2021-11-09T14:42:16.436" v="61509" actId="700"/>
          <ac:spMkLst>
            <pc:docMk/>
            <pc:sldMk cId="3817542409" sldId="2145707180"/>
            <ac:spMk id="2" creationId="{97DF49F5-76E4-D045-9AE5-C5DFB0E4B946}"/>
          </ac:spMkLst>
        </pc:spChg>
        <pc:spChg chg="add del mod ord">
          <ac:chgData name="Nick Robinson" userId="d0c2b313-4ae0-4040-8c6a-fec7a720a7b5" providerId="ADAL" clId="{9D26C270-5461-F844-9688-58D8512A9AEB}" dt="2021-11-09T13:50:09.603" v="61507" actId="700"/>
          <ac:spMkLst>
            <pc:docMk/>
            <pc:sldMk cId="3817542409" sldId="2145707180"/>
            <ac:spMk id="3" creationId="{16724168-8FD8-0245-AFD4-E6AC1D125034}"/>
          </ac:spMkLst>
        </pc:spChg>
        <pc:spChg chg="add del mod ord">
          <ac:chgData name="Nick Robinson" userId="d0c2b313-4ae0-4040-8c6a-fec7a720a7b5" providerId="ADAL" clId="{9D26C270-5461-F844-9688-58D8512A9AEB}" dt="2021-11-09T14:42:16.436" v="61509" actId="700"/>
          <ac:spMkLst>
            <pc:docMk/>
            <pc:sldMk cId="3817542409" sldId="2145707180"/>
            <ac:spMk id="4" creationId="{2AD54BF3-E4E8-4B45-AF7C-1A1DFEA6FA87}"/>
          </ac:spMkLst>
        </pc:spChg>
      </pc:sldChg>
      <pc:sldChg chg="addSp delSp modSp add mod">
        <pc:chgData name="Nick Robinson" userId="d0c2b313-4ae0-4040-8c6a-fec7a720a7b5" providerId="ADAL" clId="{9D26C270-5461-F844-9688-58D8512A9AEB}" dt="2021-11-09T08:28:39.291" v="61071" actId="20577"/>
        <pc:sldMkLst>
          <pc:docMk/>
          <pc:sldMk cId="4278204829" sldId="2145707181"/>
        </pc:sldMkLst>
        <pc:spChg chg="add mod">
          <ac:chgData name="Nick Robinson" userId="d0c2b313-4ae0-4040-8c6a-fec7a720a7b5" providerId="ADAL" clId="{9D26C270-5461-F844-9688-58D8512A9AEB}" dt="2021-11-08T11:36:43.817" v="57062"/>
          <ac:spMkLst>
            <pc:docMk/>
            <pc:sldMk cId="4278204829" sldId="2145707181"/>
            <ac:spMk id="2" creationId="{0599F168-896D-064C-9115-9052FA7C1D6A}"/>
          </ac:spMkLst>
        </pc:spChg>
        <pc:spChg chg="mod">
          <ac:chgData name="Nick Robinson" userId="d0c2b313-4ae0-4040-8c6a-fec7a720a7b5" providerId="ADAL" clId="{9D26C270-5461-F844-9688-58D8512A9AEB}" dt="2021-10-29T07:29:30.090" v="22946" actId="1076"/>
          <ac:spMkLst>
            <pc:docMk/>
            <pc:sldMk cId="4278204829" sldId="2145707181"/>
            <ac:spMk id="3" creationId="{9727F235-D435-AC40-9012-B1AFF6D2161F}"/>
          </ac:spMkLst>
        </pc:spChg>
        <pc:spChg chg="mod">
          <ac:chgData name="Nick Robinson" userId="d0c2b313-4ae0-4040-8c6a-fec7a720a7b5" providerId="ADAL" clId="{9D26C270-5461-F844-9688-58D8512A9AEB}" dt="2021-11-05T08:29:33.851" v="39860" actId="1036"/>
          <ac:spMkLst>
            <pc:docMk/>
            <pc:sldMk cId="4278204829" sldId="2145707181"/>
            <ac:spMk id="4" creationId="{99542A22-9D28-E047-AE05-7E06C859E778}"/>
          </ac:spMkLst>
        </pc:spChg>
        <pc:spChg chg="mod">
          <ac:chgData name="Nick Robinson" userId="d0c2b313-4ae0-4040-8c6a-fec7a720a7b5" providerId="ADAL" clId="{9D26C270-5461-F844-9688-58D8512A9AEB}" dt="2021-11-08T12:05:12.187" v="58367" actId="20577"/>
          <ac:spMkLst>
            <pc:docMk/>
            <pc:sldMk cId="4278204829" sldId="2145707181"/>
            <ac:spMk id="5" creationId="{E01DC938-C4A5-8740-A6FF-914B6074CE62}"/>
          </ac:spMkLst>
        </pc:spChg>
        <pc:spChg chg="del mod">
          <ac:chgData name="Nick Robinson" userId="d0c2b313-4ae0-4040-8c6a-fec7a720a7b5" providerId="ADAL" clId="{9D26C270-5461-F844-9688-58D8512A9AEB}" dt="2021-10-28T09:57:55.339" v="10896" actId="478"/>
          <ac:spMkLst>
            <pc:docMk/>
            <pc:sldMk cId="4278204829" sldId="2145707181"/>
            <ac:spMk id="8" creationId="{638D8710-524F-E548-BE2D-31091AAAA5FC}"/>
          </ac:spMkLst>
        </pc:spChg>
        <pc:spChg chg="add del mod">
          <ac:chgData name="Nick Robinson" userId="d0c2b313-4ae0-4040-8c6a-fec7a720a7b5" providerId="ADAL" clId="{9D26C270-5461-F844-9688-58D8512A9AEB}" dt="2021-11-04T08:21:48.145" v="27667" actId="478"/>
          <ac:spMkLst>
            <pc:docMk/>
            <pc:sldMk cId="4278204829" sldId="2145707181"/>
            <ac:spMk id="9" creationId="{4506261E-65BD-1446-9434-8C9AAF8972E4}"/>
          </ac:spMkLst>
        </pc:spChg>
        <pc:spChg chg="add del mod">
          <ac:chgData name="Nick Robinson" userId="d0c2b313-4ae0-4040-8c6a-fec7a720a7b5" providerId="ADAL" clId="{9D26C270-5461-F844-9688-58D8512A9AEB}" dt="2021-11-04T15:00:16.294" v="32913" actId="478"/>
          <ac:spMkLst>
            <pc:docMk/>
            <pc:sldMk cId="4278204829" sldId="2145707181"/>
            <ac:spMk id="10" creationId="{772C6FF1-2BA1-CA4F-A027-9BB584239E63}"/>
          </ac:spMkLst>
        </pc:spChg>
        <pc:graphicFrameChg chg="add del mod modGraphic">
          <ac:chgData name="Nick Robinson" userId="d0c2b313-4ae0-4040-8c6a-fec7a720a7b5" providerId="ADAL" clId="{9D26C270-5461-F844-9688-58D8512A9AEB}" dt="2021-11-09T08:28:39.291" v="61071" actId="20577"/>
          <ac:graphicFrameMkLst>
            <pc:docMk/>
            <pc:sldMk cId="4278204829" sldId="2145707181"/>
            <ac:graphicFrameMk id="6" creationId="{6F702D48-9599-724C-B5B3-CF659D19C36A}"/>
          </ac:graphicFrameMkLst>
        </pc:graphicFrameChg>
        <pc:picChg chg="mod">
          <ac:chgData name="Nick Robinson" userId="d0c2b313-4ae0-4040-8c6a-fec7a720a7b5" providerId="ADAL" clId="{9D26C270-5461-F844-9688-58D8512A9AEB}" dt="2021-11-05T08:29:33.851" v="39860" actId="1036"/>
          <ac:picMkLst>
            <pc:docMk/>
            <pc:sldMk cId="4278204829" sldId="2145707181"/>
            <ac:picMk id="20" creationId="{B4E578F4-DF35-E147-8C03-9349EAE34444}"/>
          </ac:picMkLst>
        </pc:picChg>
      </pc:sldChg>
      <pc:sldChg chg="addSp delSp modSp add mod ord modShow modNotesTx">
        <pc:chgData name="Nick Robinson" userId="d0c2b313-4ae0-4040-8c6a-fec7a720a7b5" providerId="ADAL" clId="{9D26C270-5461-F844-9688-58D8512A9AEB}" dt="2021-11-08T11:36:43.817" v="57062"/>
        <pc:sldMkLst>
          <pc:docMk/>
          <pc:sldMk cId="203805431" sldId="2145707182"/>
        </pc:sldMkLst>
        <pc:spChg chg="mod">
          <ac:chgData name="Nick Robinson" userId="d0c2b313-4ae0-4040-8c6a-fec7a720a7b5" providerId="ADAL" clId="{9D26C270-5461-F844-9688-58D8512A9AEB}" dt="2021-10-27T13:02:47.864" v="1680" actId="20577"/>
          <ac:spMkLst>
            <pc:docMk/>
            <pc:sldMk cId="203805431" sldId="2145707182"/>
            <ac:spMk id="2" creationId="{B0B31CDD-9A09-ED44-9637-5E22E17CA552}"/>
          </ac:spMkLst>
        </pc:spChg>
        <pc:spChg chg="add del mod">
          <ac:chgData name="Nick Robinson" userId="d0c2b313-4ae0-4040-8c6a-fec7a720a7b5" providerId="ADAL" clId="{9D26C270-5461-F844-9688-58D8512A9AEB}" dt="2021-10-27T13:51:06.300" v="3010" actId="478"/>
          <ac:spMkLst>
            <pc:docMk/>
            <pc:sldMk cId="203805431" sldId="2145707182"/>
            <ac:spMk id="4" creationId="{756477BF-1C26-9147-9063-FEA95DD8E2A3}"/>
          </ac:spMkLst>
        </pc:spChg>
        <pc:spChg chg="add mod">
          <ac:chgData name="Nick Robinson" userId="d0c2b313-4ae0-4040-8c6a-fec7a720a7b5" providerId="ADAL" clId="{9D26C270-5461-F844-9688-58D8512A9AEB}" dt="2021-11-08T11:36:43.817" v="57062"/>
          <ac:spMkLst>
            <pc:docMk/>
            <pc:sldMk cId="203805431" sldId="2145707182"/>
            <ac:spMk id="5" creationId="{73FE7A07-285A-E54D-BCAB-84C8E1C8B64B}"/>
          </ac:spMkLst>
        </pc:spChg>
        <pc:spChg chg="del">
          <ac:chgData name="Nick Robinson" userId="d0c2b313-4ae0-4040-8c6a-fec7a720a7b5" providerId="ADAL" clId="{9D26C270-5461-F844-9688-58D8512A9AEB}" dt="2021-10-27T12:44:52.805" v="700" actId="478"/>
          <ac:spMkLst>
            <pc:docMk/>
            <pc:sldMk cId="203805431" sldId="2145707182"/>
            <ac:spMk id="6" creationId="{8D8F87FB-E709-7647-9B9D-7BF193576E96}"/>
          </ac:spMkLst>
        </pc:spChg>
        <pc:spChg chg="del">
          <ac:chgData name="Nick Robinson" userId="d0c2b313-4ae0-4040-8c6a-fec7a720a7b5" providerId="ADAL" clId="{9D26C270-5461-F844-9688-58D8512A9AEB}" dt="2021-10-27T12:44:52.805" v="700" actId="478"/>
          <ac:spMkLst>
            <pc:docMk/>
            <pc:sldMk cId="203805431" sldId="2145707182"/>
            <ac:spMk id="7" creationId="{87954775-B6EF-A848-8925-17523ED53008}"/>
          </ac:spMkLst>
        </pc:spChg>
        <pc:spChg chg="add mod">
          <ac:chgData name="Nick Robinson" userId="d0c2b313-4ae0-4040-8c6a-fec7a720a7b5" providerId="ADAL" clId="{9D26C270-5461-F844-9688-58D8512A9AEB}" dt="2021-10-28T12:43:13.904" v="15646" actId="1036"/>
          <ac:spMkLst>
            <pc:docMk/>
            <pc:sldMk cId="203805431" sldId="2145707182"/>
            <ac:spMk id="8" creationId="{8E05AC42-87F2-6C48-A86C-4E490430BD43}"/>
          </ac:spMkLst>
        </pc:spChg>
        <pc:spChg chg="del">
          <ac:chgData name="Nick Robinson" userId="d0c2b313-4ae0-4040-8c6a-fec7a720a7b5" providerId="ADAL" clId="{9D26C270-5461-F844-9688-58D8512A9AEB}" dt="2021-10-27T12:44:52.805" v="700" actId="478"/>
          <ac:spMkLst>
            <pc:docMk/>
            <pc:sldMk cId="203805431" sldId="2145707182"/>
            <ac:spMk id="9" creationId="{23B5D5BB-6B2A-E642-B3D5-48A3BA103EA0}"/>
          </ac:spMkLst>
        </pc:spChg>
        <pc:spChg chg="del">
          <ac:chgData name="Nick Robinson" userId="d0c2b313-4ae0-4040-8c6a-fec7a720a7b5" providerId="ADAL" clId="{9D26C270-5461-F844-9688-58D8512A9AEB}" dt="2021-10-27T12:44:52.805" v="700" actId="478"/>
          <ac:spMkLst>
            <pc:docMk/>
            <pc:sldMk cId="203805431" sldId="2145707182"/>
            <ac:spMk id="12" creationId="{9DE339CA-0DBC-484F-BE97-D06ED03E10A4}"/>
          </ac:spMkLst>
        </pc:spChg>
        <pc:spChg chg="add del mod">
          <ac:chgData name="Nick Robinson" userId="d0c2b313-4ae0-4040-8c6a-fec7a720a7b5" providerId="ADAL" clId="{9D26C270-5461-F844-9688-58D8512A9AEB}" dt="2021-11-05T08:27:42.706" v="39842" actId="478"/>
          <ac:spMkLst>
            <pc:docMk/>
            <pc:sldMk cId="203805431" sldId="2145707182"/>
            <ac:spMk id="14" creationId="{4B2C8E2D-096A-E449-8C67-37A26D1A8CB7}"/>
          </ac:spMkLst>
        </pc:spChg>
        <pc:spChg chg="del">
          <ac:chgData name="Nick Robinson" userId="d0c2b313-4ae0-4040-8c6a-fec7a720a7b5" providerId="ADAL" clId="{9D26C270-5461-F844-9688-58D8512A9AEB}" dt="2021-10-27T12:44:52.805" v="700" actId="478"/>
          <ac:spMkLst>
            <pc:docMk/>
            <pc:sldMk cId="203805431" sldId="2145707182"/>
            <ac:spMk id="26" creationId="{D59D3885-45B2-6744-A9A4-1A411CEA3A2A}"/>
          </ac:spMkLst>
        </pc:spChg>
        <pc:spChg chg="del">
          <ac:chgData name="Nick Robinson" userId="d0c2b313-4ae0-4040-8c6a-fec7a720a7b5" providerId="ADAL" clId="{9D26C270-5461-F844-9688-58D8512A9AEB}" dt="2021-10-27T12:44:52.805" v="700" actId="478"/>
          <ac:spMkLst>
            <pc:docMk/>
            <pc:sldMk cId="203805431" sldId="2145707182"/>
            <ac:spMk id="29" creationId="{42F6B156-CB64-6D40-B178-C43BB9761915}"/>
          </ac:spMkLst>
        </pc:spChg>
        <pc:spChg chg="add mod">
          <ac:chgData name="Nick Robinson" userId="d0c2b313-4ae0-4040-8c6a-fec7a720a7b5" providerId="ADAL" clId="{9D26C270-5461-F844-9688-58D8512A9AEB}" dt="2021-11-08T11:36:43.817" v="57062"/>
          <ac:spMkLst>
            <pc:docMk/>
            <pc:sldMk cId="203805431" sldId="2145707182"/>
            <ac:spMk id="30" creationId="{7FAC344C-6E6B-E041-83CA-0C5F04430204}"/>
          </ac:spMkLst>
        </pc:spChg>
        <pc:spChg chg="add mod">
          <ac:chgData name="Nick Robinson" userId="d0c2b313-4ae0-4040-8c6a-fec7a720a7b5" providerId="ADAL" clId="{9D26C270-5461-F844-9688-58D8512A9AEB}" dt="2021-11-08T11:36:43.817" v="57062"/>
          <ac:spMkLst>
            <pc:docMk/>
            <pc:sldMk cId="203805431" sldId="2145707182"/>
            <ac:spMk id="31" creationId="{50A667C1-4B1A-644B-B3D3-E8D5B3F06EC0}"/>
          </ac:spMkLst>
        </pc:spChg>
        <pc:spChg chg="add del mod">
          <ac:chgData name="Nick Robinson" userId="d0c2b313-4ae0-4040-8c6a-fec7a720a7b5" providerId="ADAL" clId="{9D26C270-5461-F844-9688-58D8512A9AEB}" dt="2021-10-27T13:06:58.933" v="1797" actId="478"/>
          <ac:spMkLst>
            <pc:docMk/>
            <pc:sldMk cId="203805431" sldId="2145707182"/>
            <ac:spMk id="32" creationId="{EC552E33-B7CD-D740-849C-FB1EC356C3C7}"/>
          </ac:spMkLst>
        </pc:spChg>
        <pc:spChg chg="add del mod">
          <ac:chgData name="Nick Robinson" userId="d0c2b313-4ae0-4040-8c6a-fec7a720a7b5" providerId="ADAL" clId="{9D26C270-5461-F844-9688-58D8512A9AEB}" dt="2021-10-28T10:24:17.436" v="11894" actId="478"/>
          <ac:spMkLst>
            <pc:docMk/>
            <pc:sldMk cId="203805431" sldId="2145707182"/>
            <ac:spMk id="33" creationId="{A93E34F0-2140-2E41-B91A-33A8D75D4FBC}"/>
          </ac:spMkLst>
        </pc:spChg>
        <pc:spChg chg="add del mod">
          <ac:chgData name="Nick Robinson" userId="d0c2b313-4ae0-4040-8c6a-fec7a720a7b5" providerId="ADAL" clId="{9D26C270-5461-F844-9688-58D8512A9AEB}" dt="2021-11-04T08:21:18.910" v="27603" actId="478"/>
          <ac:spMkLst>
            <pc:docMk/>
            <pc:sldMk cId="203805431" sldId="2145707182"/>
            <ac:spMk id="34" creationId="{D3535486-761A-A14A-93E1-8D6C5463A65B}"/>
          </ac:spMkLst>
        </pc:spChg>
        <pc:spChg chg="add del mod">
          <ac:chgData name="Nick Robinson" userId="d0c2b313-4ae0-4040-8c6a-fec7a720a7b5" providerId="ADAL" clId="{9D26C270-5461-F844-9688-58D8512A9AEB}" dt="2021-10-28T09:41:30.467" v="10800"/>
          <ac:spMkLst>
            <pc:docMk/>
            <pc:sldMk cId="203805431" sldId="2145707182"/>
            <ac:spMk id="35" creationId="{09C08E71-0944-9A44-B8DC-E1E7602C919B}"/>
          </ac:spMkLst>
        </pc:spChg>
        <pc:spChg chg="add del mod">
          <ac:chgData name="Nick Robinson" userId="d0c2b313-4ae0-4040-8c6a-fec7a720a7b5" providerId="ADAL" clId="{9D26C270-5461-F844-9688-58D8512A9AEB}" dt="2021-10-28T09:41:30.467" v="10800"/>
          <ac:spMkLst>
            <pc:docMk/>
            <pc:sldMk cId="203805431" sldId="2145707182"/>
            <ac:spMk id="36" creationId="{ECD9A741-423F-BF43-B684-E95D5DE84FE4}"/>
          </ac:spMkLst>
        </pc:spChg>
        <pc:spChg chg="add mod">
          <ac:chgData name="Nick Robinson" userId="d0c2b313-4ae0-4040-8c6a-fec7a720a7b5" providerId="ADAL" clId="{9D26C270-5461-F844-9688-58D8512A9AEB}" dt="2021-10-29T06:21:53.284" v="16945" actId="20577"/>
          <ac:spMkLst>
            <pc:docMk/>
            <pc:sldMk cId="203805431" sldId="2145707182"/>
            <ac:spMk id="37" creationId="{68C7A6E0-60A0-A64C-9E3D-57BDEF72462A}"/>
          </ac:spMkLst>
        </pc:spChg>
        <pc:spChg chg="del">
          <ac:chgData name="Nick Robinson" userId="d0c2b313-4ae0-4040-8c6a-fec7a720a7b5" providerId="ADAL" clId="{9D26C270-5461-F844-9688-58D8512A9AEB}" dt="2021-10-27T12:44:52.805" v="700" actId="478"/>
          <ac:spMkLst>
            <pc:docMk/>
            <pc:sldMk cId="203805431" sldId="2145707182"/>
            <ac:spMk id="38" creationId="{89AEDD87-3A41-BE45-BAB4-7308DB9B8E28}"/>
          </ac:spMkLst>
        </pc:spChg>
        <pc:spChg chg="del">
          <ac:chgData name="Nick Robinson" userId="d0c2b313-4ae0-4040-8c6a-fec7a720a7b5" providerId="ADAL" clId="{9D26C270-5461-F844-9688-58D8512A9AEB}" dt="2021-10-27T12:44:52.805" v="700" actId="478"/>
          <ac:spMkLst>
            <pc:docMk/>
            <pc:sldMk cId="203805431" sldId="2145707182"/>
            <ac:spMk id="39" creationId="{C0261730-120E-D844-BBA1-627CC6FA3C1A}"/>
          </ac:spMkLst>
        </pc:spChg>
        <pc:spChg chg="add mod">
          <ac:chgData name="Nick Robinson" userId="d0c2b313-4ae0-4040-8c6a-fec7a720a7b5" providerId="ADAL" clId="{9D26C270-5461-F844-9688-58D8512A9AEB}" dt="2021-11-08T11:36:43.817" v="57062"/>
          <ac:spMkLst>
            <pc:docMk/>
            <pc:sldMk cId="203805431" sldId="2145707182"/>
            <ac:spMk id="40" creationId="{238EDF1A-115C-EC40-87BD-FBEB3435FC93}"/>
          </ac:spMkLst>
        </pc:spChg>
        <pc:spChg chg="add mod">
          <ac:chgData name="Nick Robinson" userId="d0c2b313-4ae0-4040-8c6a-fec7a720a7b5" providerId="ADAL" clId="{9D26C270-5461-F844-9688-58D8512A9AEB}" dt="2021-10-28T12:47:56.639" v="15774" actId="207"/>
          <ac:spMkLst>
            <pc:docMk/>
            <pc:sldMk cId="203805431" sldId="2145707182"/>
            <ac:spMk id="41" creationId="{6C92FEA8-6654-DC44-9880-524EEC85B84D}"/>
          </ac:spMkLst>
        </pc:spChg>
        <pc:spChg chg="add del mod">
          <ac:chgData name="Nick Robinson" userId="d0c2b313-4ae0-4040-8c6a-fec7a720a7b5" providerId="ADAL" clId="{9D26C270-5461-F844-9688-58D8512A9AEB}" dt="2021-10-28T12:42:32.754" v="15596" actId="478"/>
          <ac:spMkLst>
            <pc:docMk/>
            <pc:sldMk cId="203805431" sldId="2145707182"/>
            <ac:spMk id="42" creationId="{425F4EB5-1D9C-D342-B2C8-0AC4F0881384}"/>
          </ac:spMkLst>
        </pc:spChg>
        <pc:spChg chg="add mod">
          <ac:chgData name="Nick Robinson" userId="d0c2b313-4ae0-4040-8c6a-fec7a720a7b5" providerId="ADAL" clId="{9D26C270-5461-F844-9688-58D8512A9AEB}" dt="2021-11-08T11:36:43.817" v="57062"/>
          <ac:spMkLst>
            <pc:docMk/>
            <pc:sldMk cId="203805431" sldId="2145707182"/>
            <ac:spMk id="44" creationId="{D141012B-711C-3F46-A34C-D768EA47D056}"/>
          </ac:spMkLst>
        </pc:spChg>
        <pc:spChg chg="del">
          <ac:chgData name="Nick Robinson" userId="d0c2b313-4ae0-4040-8c6a-fec7a720a7b5" providerId="ADAL" clId="{9D26C270-5461-F844-9688-58D8512A9AEB}" dt="2021-10-27T12:44:52.805" v="700" actId="478"/>
          <ac:spMkLst>
            <pc:docMk/>
            <pc:sldMk cId="203805431" sldId="2145707182"/>
            <ac:spMk id="46" creationId="{7E49C800-D679-A144-B8D7-44F67AFEB8EE}"/>
          </ac:spMkLst>
        </pc:spChg>
        <pc:spChg chg="del">
          <ac:chgData name="Nick Robinson" userId="d0c2b313-4ae0-4040-8c6a-fec7a720a7b5" providerId="ADAL" clId="{9D26C270-5461-F844-9688-58D8512A9AEB}" dt="2021-10-27T12:44:52.805" v="700" actId="478"/>
          <ac:spMkLst>
            <pc:docMk/>
            <pc:sldMk cId="203805431" sldId="2145707182"/>
            <ac:spMk id="47" creationId="{86933884-1FAF-F441-BDFF-FDA9802B8085}"/>
          </ac:spMkLst>
        </pc:spChg>
        <pc:spChg chg="del">
          <ac:chgData name="Nick Robinson" userId="d0c2b313-4ae0-4040-8c6a-fec7a720a7b5" providerId="ADAL" clId="{9D26C270-5461-F844-9688-58D8512A9AEB}" dt="2021-10-27T12:44:52.805" v="700" actId="478"/>
          <ac:spMkLst>
            <pc:docMk/>
            <pc:sldMk cId="203805431" sldId="2145707182"/>
            <ac:spMk id="48" creationId="{18D912B0-2459-3A4E-BB42-0F7E4E7FAC08}"/>
          </ac:spMkLst>
        </pc:spChg>
        <pc:spChg chg="add mod">
          <ac:chgData name="Nick Robinson" userId="d0c2b313-4ae0-4040-8c6a-fec7a720a7b5" providerId="ADAL" clId="{9D26C270-5461-F844-9688-58D8512A9AEB}" dt="2021-10-28T12:45:33.748" v="15725" actId="6549"/>
          <ac:spMkLst>
            <pc:docMk/>
            <pc:sldMk cId="203805431" sldId="2145707182"/>
            <ac:spMk id="49" creationId="{F0AA2D88-19C7-104A-9495-AEB81A9D0C78}"/>
          </ac:spMkLst>
        </pc:spChg>
        <pc:spChg chg="del">
          <ac:chgData name="Nick Robinson" userId="d0c2b313-4ae0-4040-8c6a-fec7a720a7b5" providerId="ADAL" clId="{9D26C270-5461-F844-9688-58D8512A9AEB}" dt="2021-10-27T12:44:52.805" v="700" actId="478"/>
          <ac:spMkLst>
            <pc:docMk/>
            <pc:sldMk cId="203805431" sldId="2145707182"/>
            <ac:spMk id="57" creationId="{2BAD90A0-1BC1-CD43-9C41-95030C9A8045}"/>
          </ac:spMkLst>
        </pc:spChg>
        <pc:spChg chg="del">
          <ac:chgData name="Nick Robinson" userId="d0c2b313-4ae0-4040-8c6a-fec7a720a7b5" providerId="ADAL" clId="{9D26C270-5461-F844-9688-58D8512A9AEB}" dt="2021-10-27T12:44:52.805" v="700" actId="478"/>
          <ac:spMkLst>
            <pc:docMk/>
            <pc:sldMk cId="203805431" sldId="2145707182"/>
            <ac:spMk id="59" creationId="{C09C62D9-B4F2-C744-A7D6-652634F97D02}"/>
          </ac:spMkLst>
        </pc:spChg>
        <pc:spChg chg="del">
          <ac:chgData name="Nick Robinson" userId="d0c2b313-4ae0-4040-8c6a-fec7a720a7b5" providerId="ADAL" clId="{9D26C270-5461-F844-9688-58D8512A9AEB}" dt="2021-10-27T12:44:52.805" v="700" actId="478"/>
          <ac:spMkLst>
            <pc:docMk/>
            <pc:sldMk cId="203805431" sldId="2145707182"/>
            <ac:spMk id="69" creationId="{7A0573A5-2839-DD4B-9FE6-73EF49776B68}"/>
          </ac:spMkLst>
        </pc:spChg>
        <pc:spChg chg="del">
          <ac:chgData name="Nick Robinson" userId="d0c2b313-4ae0-4040-8c6a-fec7a720a7b5" providerId="ADAL" clId="{9D26C270-5461-F844-9688-58D8512A9AEB}" dt="2021-10-27T12:44:52.805" v="700" actId="478"/>
          <ac:spMkLst>
            <pc:docMk/>
            <pc:sldMk cId="203805431" sldId="2145707182"/>
            <ac:spMk id="70" creationId="{B3F10585-EBD0-F34A-ACA5-E2633E838377}"/>
          </ac:spMkLst>
        </pc:spChg>
        <pc:cxnChg chg="del">
          <ac:chgData name="Nick Robinson" userId="d0c2b313-4ae0-4040-8c6a-fec7a720a7b5" providerId="ADAL" clId="{9D26C270-5461-F844-9688-58D8512A9AEB}" dt="2021-10-27T12:44:52.805" v="700" actId="478"/>
          <ac:cxnSpMkLst>
            <pc:docMk/>
            <pc:sldMk cId="203805431" sldId="2145707182"/>
            <ac:cxnSpMk id="13" creationId="{3ACF3DD1-BE24-1F42-827E-0E6296CCC761}"/>
          </ac:cxnSpMkLst>
        </pc:cxnChg>
        <pc:cxnChg chg="del">
          <ac:chgData name="Nick Robinson" userId="d0c2b313-4ae0-4040-8c6a-fec7a720a7b5" providerId="ADAL" clId="{9D26C270-5461-F844-9688-58D8512A9AEB}" dt="2021-10-27T12:44:52.805" v="700" actId="478"/>
          <ac:cxnSpMkLst>
            <pc:docMk/>
            <pc:sldMk cId="203805431" sldId="2145707182"/>
            <ac:cxnSpMk id="17" creationId="{765C31A8-CA7D-CC42-A673-C306082F3980}"/>
          </ac:cxnSpMkLst>
        </pc:cxnChg>
        <pc:cxnChg chg="del">
          <ac:chgData name="Nick Robinson" userId="d0c2b313-4ae0-4040-8c6a-fec7a720a7b5" providerId="ADAL" clId="{9D26C270-5461-F844-9688-58D8512A9AEB}" dt="2021-10-27T12:44:52.805" v="700" actId="478"/>
          <ac:cxnSpMkLst>
            <pc:docMk/>
            <pc:sldMk cId="203805431" sldId="2145707182"/>
            <ac:cxnSpMk id="21" creationId="{F7200035-D86F-B742-8AED-1BFAED2D8FFF}"/>
          </ac:cxnSpMkLst>
        </pc:cxnChg>
        <pc:cxnChg chg="del">
          <ac:chgData name="Nick Robinson" userId="d0c2b313-4ae0-4040-8c6a-fec7a720a7b5" providerId="ADAL" clId="{9D26C270-5461-F844-9688-58D8512A9AEB}" dt="2021-10-27T12:44:52.805" v="700" actId="478"/>
          <ac:cxnSpMkLst>
            <pc:docMk/>
            <pc:sldMk cId="203805431" sldId="2145707182"/>
            <ac:cxnSpMk id="22" creationId="{EEA331FE-9166-2D4C-ADE9-367F859B9188}"/>
          </ac:cxnSpMkLst>
        </pc:cxnChg>
        <pc:cxnChg chg="del">
          <ac:chgData name="Nick Robinson" userId="d0c2b313-4ae0-4040-8c6a-fec7a720a7b5" providerId="ADAL" clId="{9D26C270-5461-F844-9688-58D8512A9AEB}" dt="2021-10-27T12:44:52.805" v="700" actId="478"/>
          <ac:cxnSpMkLst>
            <pc:docMk/>
            <pc:sldMk cId="203805431" sldId="2145707182"/>
            <ac:cxnSpMk id="43" creationId="{5A4D3811-01BD-3F45-8AC0-24859144E463}"/>
          </ac:cxnSpMkLst>
        </pc:cxnChg>
        <pc:cxnChg chg="del">
          <ac:chgData name="Nick Robinson" userId="d0c2b313-4ae0-4040-8c6a-fec7a720a7b5" providerId="ADAL" clId="{9D26C270-5461-F844-9688-58D8512A9AEB}" dt="2021-10-27T12:44:52.805" v="700" actId="478"/>
          <ac:cxnSpMkLst>
            <pc:docMk/>
            <pc:sldMk cId="203805431" sldId="2145707182"/>
            <ac:cxnSpMk id="45" creationId="{9A24A8B9-22F1-4E45-B248-8D45BB0EC079}"/>
          </ac:cxnSpMkLst>
        </pc:cxnChg>
        <pc:cxnChg chg="del">
          <ac:chgData name="Nick Robinson" userId="d0c2b313-4ae0-4040-8c6a-fec7a720a7b5" providerId="ADAL" clId="{9D26C270-5461-F844-9688-58D8512A9AEB}" dt="2021-10-27T12:44:52.805" v="700" actId="478"/>
          <ac:cxnSpMkLst>
            <pc:docMk/>
            <pc:sldMk cId="203805431" sldId="2145707182"/>
            <ac:cxnSpMk id="65" creationId="{7180BEE7-3A12-9A4D-83E0-B851663C02A1}"/>
          </ac:cxnSpMkLst>
        </pc:cxnChg>
        <pc:cxnChg chg="del">
          <ac:chgData name="Nick Robinson" userId="d0c2b313-4ae0-4040-8c6a-fec7a720a7b5" providerId="ADAL" clId="{9D26C270-5461-F844-9688-58D8512A9AEB}" dt="2021-10-27T12:44:52.805" v="700" actId="478"/>
          <ac:cxnSpMkLst>
            <pc:docMk/>
            <pc:sldMk cId="203805431" sldId="2145707182"/>
            <ac:cxnSpMk id="73" creationId="{E2D30AD7-EA07-064D-878C-C7835D91D5DB}"/>
          </ac:cxnSpMkLst>
        </pc:cxnChg>
        <pc:cxnChg chg="del">
          <ac:chgData name="Nick Robinson" userId="d0c2b313-4ae0-4040-8c6a-fec7a720a7b5" providerId="ADAL" clId="{9D26C270-5461-F844-9688-58D8512A9AEB}" dt="2021-10-27T12:44:52.805" v="700" actId="478"/>
          <ac:cxnSpMkLst>
            <pc:docMk/>
            <pc:sldMk cId="203805431" sldId="2145707182"/>
            <ac:cxnSpMk id="74" creationId="{A2FBA561-40C3-3B4D-9A91-62352E3022EA}"/>
          </ac:cxnSpMkLst>
        </pc:cxnChg>
      </pc:sldChg>
      <pc:sldChg chg="modSp add del mod">
        <pc:chgData name="Nick Robinson" userId="d0c2b313-4ae0-4040-8c6a-fec7a720a7b5" providerId="ADAL" clId="{9D26C270-5461-F844-9688-58D8512A9AEB}" dt="2021-10-27T12:49:30.517" v="931" actId="2696"/>
        <pc:sldMkLst>
          <pc:docMk/>
          <pc:sldMk cId="2577134769" sldId="2145707183"/>
        </pc:sldMkLst>
        <pc:spChg chg="mod">
          <ac:chgData name="Nick Robinson" userId="d0c2b313-4ae0-4040-8c6a-fec7a720a7b5" providerId="ADAL" clId="{9D26C270-5461-F844-9688-58D8512A9AEB}" dt="2021-10-27T12:45:21.599" v="747" actId="20577"/>
          <ac:spMkLst>
            <pc:docMk/>
            <pc:sldMk cId="2577134769" sldId="2145707183"/>
            <ac:spMk id="2" creationId="{B0B31CDD-9A09-ED44-9637-5E22E17CA552}"/>
          </ac:spMkLst>
        </pc:spChg>
      </pc:sldChg>
      <pc:sldChg chg="addSp modSp add mod ord modShow">
        <pc:chgData name="Nick Robinson" userId="d0c2b313-4ae0-4040-8c6a-fec7a720a7b5" providerId="ADAL" clId="{9D26C270-5461-F844-9688-58D8512A9AEB}" dt="2021-10-28T12:37:17.711" v="15235" actId="20578"/>
        <pc:sldMkLst>
          <pc:docMk/>
          <pc:sldMk cId="3316898016" sldId="2145707184"/>
        </pc:sldMkLst>
        <pc:spChg chg="mod">
          <ac:chgData name="Nick Robinson" userId="d0c2b313-4ae0-4040-8c6a-fec7a720a7b5" providerId="ADAL" clId="{9D26C270-5461-F844-9688-58D8512A9AEB}" dt="2021-10-27T12:45:38.357" v="772" actId="20577"/>
          <ac:spMkLst>
            <pc:docMk/>
            <pc:sldMk cId="3316898016" sldId="2145707184"/>
            <ac:spMk id="2" creationId="{B0B31CDD-9A09-ED44-9637-5E22E17CA552}"/>
          </ac:spMkLst>
        </pc:spChg>
        <pc:spChg chg="add mod">
          <ac:chgData name="Nick Robinson" userId="d0c2b313-4ae0-4040-8c6a-fec7a720a7b5" providerId="ADAL" clId="{9D26C270-5461-F844-9688-58D8512A9AEB}" dt="2021-10-27T12:49:53.231" v="934"/>
          <ac:spMkLst>
            <pc:docMk/>
            <pc:sldMk cId="3316898016" sldId="2145707184"/>
            <ac:spMk id="4" creationId="{D3E58341-5CCB-584C-B2EB-F1159660CC08}"/>
          </ac:spMkLst>
        </pc:spChg>
        <pc:spChg chg="add mod">
          <ac:chgData name="Nick Robinson" userId="d0c2b313-4ae0-4040-8c6a-fec7a720a7b5" providerId="ADAL" clId="{9D26C270-5461-F844-9688-58D8512A9AEB}" dt="2021-10-27T12:51:43.750" v="1003" actId="1582"/>
          <ac:spMkLst>
            <pc:docMk/>
            <pc:sldMk cId="3316898016" sldId="2145707184"/>
            <ac:spMk id="5" creationId="{E81B31F6-553D-2D41-B3A5-B1FF35C0CB89}"/>
          </ac:spMkLst>
        </pc:spChg>
        <pc:spChg chg="add mod">
          <ac:chgData name="Nick Robinson" userId="d0c2b313-4ae0-4040-8c6a-fec7a720a7b5" providerId="ADAL" clId="{9D26C270-5461-F844-9688-58D8512A9AEB}" dt="2021-10-27T12:51:43.750" v="1003" actId="1582"/>
          <ac:spMkLst>
            <pc:docMk/>
            <pc:sldMk cId="3316898016" sldId="2145707184"/>
            <ac:spMk id="6" creationId="{67ADA07C-5012-844B-83D0-EF57B76E8AB8}"/>
          </ac:spMkLst>
        </pc:spChg>
        <pc:spChg chg="add mod">
          <ac:chgData name="Nick Robinson" userId="d0c2b313-4ae0-4040-8c6a-fec7a720a7b5" providerId="ADAL" clId="{9D26C270-5461-F844-9688-58D8512A9AEB}" dt="2021-10-27T12:50:49.816" v="993" actId="13926"/>
          <ac:spMkLst>
            <pc:docMk/>
            <pc:sldMk cId="3316898016" sldId="2145707184"/>
            <ac:spMk id="7" creationId="{235F0203-F081-BF41-B8D5-D409184895D9}"/>
          </ac:spMkLst>
        </pc:spChg>
        <pc:spChg chg="add mod">
          <ac:chgData name="Nick Robinson" userId="d0c2b313-4ae0-4040-8c6a-fec7a720a7b5" providerId="ADAL" clId="{9D26C270-5461-F844-9688-58D8512A9AEB}" dt="2021-10-28T10:32:16.014" v="12132" actId="207"/>
          <ac:spMkLst>
            <pc:docMk/>
            <pc:sldMk cId="3316898016" sldId="2145707184"/>
            <ac:spMk id="8" creationId="{3AF768CF-D859-6944-801D-B03113FE478C}"/>
          </ac:spMkLst>
        </pc:spChg>
        <pc:spChg chg="add mod">
          <ac:chgData name="Nick Robinson" userId="d0c2b313-4ae0-4040-8c6a-fec7a720a7b5" providerId="ADAL" clId="{9D26C270-5461-F844-9688-58D8512A9AEB}" dt="2021-10-28T10:32:16.014" v="12132" actId="207"/>
          <ac:spMkLst>
            <pc:docMk/>
            <pc:sldMk cId="3316898016" sldId="2145707184"/>
            <ac:spMk id="9" creationId="{994D0342-B636-CE47-8A5F-EB2AB2850044}"/>
          </ac:spMkLst>
        </pc:spChg>
        <pc:spChg chg="add mod">
          <ac:chgData name="Nick Robinson" userId="d0c2b313-4ae0-4040-8c6a-fec7a720a7b5" providerId="ADAL" clId="{9D26C270-5461-F844-9688-58D8512A9AEB}" dt="2021-10-28T10:28:30.198" v="11968" actId="20577"/>
          <ac:spMkLst>
            <pc:docMk/>
            <pc:sldMk cId="3316898016" sldId="2145707184"/>
            <ac:spMk id="10" creationId="{35920E95-65FD-D148-9316-F734E51B66AF}"/>
          </ac:spMkLst>
        </pc:spChg>
        <pc:spChg chg="add mod">
          <ac:chgData name="Nick Robinson" userId="d0c2b313-4ae0-4040-8c6a-fec7a720a7b5" providerId="ADAL" clId="{9D26C270-5461-F844-9688-58D8512A9AEB}" dt="2021-10-28T10:27:53.016" v="11956" actId="1076"/>
          <ac:spMkLst>
            <pc:docMk/>
            <pc:sldMk cId="3316898016" sldId="2145707184"/>
            <ac:spMk id="11" creationId="{2A5AE133-4A0A-9145-ADE4-5E1B66A393F0}"/>
          </ac:spMkLst>
        </pc:spChg>
        <pc:spChg chg="add mod">
          <ac:chgData name="Nick Robinson" userId="d0c2b313-4ae0-4040-8c6a-fec7a720a7b5" providerId="ADAL" clId="{9D26C270-5461-F844-9688-58D8512A9AEB}" dt="2021-10-28T10:27:44.784" v="11954" actId="1076"/>
          <ac:spMkLst>
            <pc:docMk/>
            <pc:sldMk cId="3316898016" sldId="2145707184"/>
            <ac:spMk id="12" creationId="{1345F686-8CC6-C345-B819-8426B4EB091B}"/>
          </ac:spMkLst>
        </pc:spChg>
        <pc:spChg chg="add mod">
          <ac:chgData name="Nick Robinson" userId="d0c2b313-4ae0-4040-8c6a-fec7a720a7b5" providerId="ADAL" clId="{9D26C270-5461-F844-9688-58D8512A9AEB}" dt="2021-10-28T10:28:03.366" v="11958" actId="1076"/>
          <ac:spMkLst>
            <pc:docMk/>
            <pc:sldMk cId="3316898016" sldId="2145707184"/>
            <ac:spMk id="13" creationId="{379ADFD9-55E0-7C47-8147-AFE738575E3D}"/>
          </ac:spMkLst>
        </pc:spChg>
        <pc:spChg chg="add mod">
          <ac:chgData name="Nick Robinson" userId="d0c2b313-4ae0-4040-8c6a-fec7a720a7b5" providerId="ADAL" clId="{9D26C270-5461-F844-9688-58D8512A9AEB}" dt="2021-10-28T10:27:51.203" v="11955" actId="1076"/>
          <ac:spMkLst>
            <pc:docMk/>
            <pc:sldMk cId="3316898016" sldId="2145707184"/>
            <ac:spMk id="14" creationId="{FC08380D-4226-C249-941D-12E23CE818FF}"/>
          </ac:spMkLst>
        </pc:spChg>
        <pc:spChg chg="add mod">
          <ac:chgData name="Nick Robinson" userId="d0c2b313-4ae0-4040-8c6a-fec7a720a7b5" providerId="ADAL" clId="{9D26C270-5461-F844-9688-58D8512A9AEB}" dt="2021-10-27T12:50:53.065" v="994" actId="13926"/>
          <ac:spMkLst>
            <pc:docMk/>
            <pc:sldMk cId="3316898016" sldId="2145707184"/>
            <ac:spMk id="15" creationId="{3AAFD16F-C3E7-7B40-AB17-3CB836B85505}"/>
          </ac:spMkLst>
        </pc:spChg>
        <pc:spChg chg="add mod">
          <ac:chgData name="Nick Robinson" userId="d0c2b313-4ae0-4040-8c6a-fec7a720a7b5" providerId="ADAL" clId="{9D26C270-5461-F844-9688-58D8512A9AEB}" dt="2021-10-28T10:29:20.179" v="11990" actId="20577"/>
          <ac:spMkLst>
            <pc:docMk/>
            <pc:sldMk cId="3316898016" sldId="2145707184"/>
            <ac:spMk id="16" creationId="{12DAC237-D82C-DF4F-8F61-2CF935F4D9F8}"/>
          </ac:spMkLst>
        </pc:spChg>
        <pc:spChg chg="add mod">
          <ac:chgData name="Nick Robinson" userId="d0c2b313-4ae0-4040-8c6a-fec7a720a7b5" providerId="ADAL" clId="{9D26C270-5461-F844-9688-58D8512A9AEB}" dt="2021-10-28T10:32:06.657" v="12130" actId="208"/>
          <ac:spMkLst>
            <pc:docMk/>
            <pc:sldMk cId="3316898016" sldId="2145707184"/>
            <ac:spMk id="17" creationId="{C1F5670E-0C8B-EF4A-81DD-483B5D593CA5}"/>
          </ac:spMkLst>
        </pc:spChg>
        <pc:spChg chg="add mod">
          <ac:chgData name="Nick Robinson" userId="d0c2b313-4ae0-4040-8c6a-fec7a720a7b5" providerId="ADAL" clId="{9D26C270-5461-F844-9688-58D8512A9AEB}" dt="2021-10-28T10:32:06.657" v="12130" actId="208"/>
          <ac:spMkLst>
            <pc:docMk/>
            <pc:sldMk cId="3316898016" sldId="2145707184"/>
            <ac:spMk id="18" creationId="{57346C32-710F-834C-AA35-D945EC74562B}"/>
          </ac:spMkLst>
        </pc:spChg>
        <pc:spChg chg="add mod">
          <ac:chgData name="Nick Robinson" userId="d0c2b313-4ae0-4040-8c6a-fec7a720a7b5" providerId="ADAL" clId="{9D26C270-5461-F844-9688-58D8512A9AEB}" dt="2021-10-28T10:32:06.657" v="12130" actId="208"/>
          <ac:spMkLst>
            <pc:docMk/>
            <pc:sldMk cId="3316898016" sldId="2145707184"/>
            <ac:spMk id="19" creationId="{64F316F3-7261-1B47-8534-4595BE92F7C3}"/>
          </ac:spMkLst>
        </pc:spChg>
        <pc:spChg chg="add mod">
          <ac:chgData name="Nick Robinson" userId="d0c2b313-4ae0-4040-8c6a-fec7a720a7b5" providerId="ADAL" clId="{9D26C270-5461-F844-9688-58D8512A9AEB}" dt="2021-10-28T10:32:06.657" v="12130" actId="208"/>
          <ac:spMkLst>
            <pc:docMk/>
            <pc:sldMk cId="3316898016" sldId="2145707184"/>
            <ac:spMk id="20" creationId="{05E2357C-71E4-7A46-8B39-EA629ADE67B6}"/>
          </ac:spMkLst>
        </pc:spChg>
        <pc:spChg chg="add mod">
          <ac:chgData name="Nick Robinson" userId="d0c2b313-4ae0-4040-8c6a-fec7a720a7b5" providerId="ADAL" clId="{9D26C270-5461-F844-9688-58D8512A9AEB}" dt="2021-10-28T12:37:08.847" v="15234" actId="20577"/>
          <ac:spMkLst>
            <pc:docMk/>
            <pc:sldMk cId="3316898016" sldId="2145707184"/>
            <ac:spMk id="21" creationId="{E4FFEDEB-135A-8844-9608-EC8CE336E6A1}"/>
          </ac:spMkLst>
        </pc:spChg>
        <pc:spChg chg="add mod">
          <ac:chgData name="Nick Robinson" userId="d0c2b313-4ae0-4040-8c6a-fec7a720a7b5" providerId="ADAL" clId="{9D26C270-5461-F844-9688-58D8512A9AEB}" dt="2021-10-28T10:27:57.492" v="11957" actId="1076"/>
          <ac:spMkLst>
            <pc:docMk/>
            <pc:sldMk cId="3316898016" sldId="2145707184"/>
            <ac:spMk id="22" creationId="{62E420D3-0E40-2B48-A1AF-C0ECCD8226AE}"/>
          </ac:spMkLst>
        </pc:spChg>
        <pc:spChg chg="add mod">
          <ac:chgData name="Nick Robinson" userId="d0c2b313-4ae0-4040-8c6a-fec7a720a7b5" providerId="ADAL" clId="{9D26C270-5461-F844-9688-58D8512A9AEB}" dt="2021-10-28T10:28:21.173" v="11966" actId="207"/>
          <ac:spMkLst>
            <pc:docMk/>
            <pc:sldMk cId="3316898016" sldId="2145707184"/>
            <ac:spMk id="23" creationId="{FDD7FE7E-03BE-8943-9DE6-4F58DE9261FE}"/>
          </ac:spMkLst>
        </pc:spChg>
        <pc:spChg chg="add mod">
          <ac:chgData name="Nick Robinson" userId="d0c2b313-4ae0-4040-8c6a-fec7a720a7b5" providerId="ADAL" clId="{9D26C270-5461-F844-9688-58D8512A9AEB}" dt="2021-10-28T10:32:06.657" v="12130" actId="208"/>
          <ac:spMkLst>
            <pc:docMk/>
            <pc:sldMk cId="3316898016" sldId="2145707184"/>
            <ac:spMk id="24" creationId="{0EA3E25F-5356-3542-9A88-90FF015978F4}"/>
          </ac:spMkLst>
        </pc:spChg>
        <pc:spChg chg="add mod">
          <ac:chgData name="Nick Robinson" userId="d0c2b313-4ae0-4040-8c6a-fec7a720a7b5" providerId="ADAL" clId="{9D26C270-5461-F844-9688-58D8512A9AEB}" dt="2021-10-28T10:32:06.657" v="12130" actId="208"/>
          <ac:spMkLst>
            <pc:docMk/>
            <pc:sldMk cId="3316898016" sldId="2145707184"/>
            <ac:spMk id="25" creationId="{772744EA-66A4-0B4F-9B3A-FFFBD47438AA}"/>
          </ac:spMkLst>
        </pc:spChg>
      </pc:sldChg>
      <pc:sldChg chg="addSp delSp modSp add mod ord modClrScheme chgLayout">
        <pc:chgData name="Nick Robinson" userId="d0c2b313-4ae0-4040-8c6a-fec7a720a7b5" providerId="ADAL" clId="{9D26C270-5461-F844-9688-58D8512A9AEB}" dt="2021-11-09T14:42:16.436" v="61509" actId="700"/>
        <pc:sldMkLst>
          <pc:docMk/>
          <pc:sldMk cId="1279341331" sldId="2145707185"/>
        </pc:sldMkLst>
        <pc:spChg chg="mod ord">
          <ac:chgData name="Nick Robinson" userId="d0c2b313-4ae0-4040-8c6a-fec7a720a7b5" providerId="ADAL" clId="{9D26C270-5461-F844-9688-58D8512A9AEB}" dt="2021-11-09T14:42:16.436" v="61509" actId="700"/>
          <ac:spMkLst>
            <pc:docMk/>
            <pc:sldMk cId="1279341331" sldId="2145707185"/>
            <ac:spMk id="2" creationId="{97DF49F5-76E4-D045-9AE5-C5DFB0E4B946}"/>
          </ac:spMkLst>
        </pc:spChg>
        <pc:spChg chg="add del mod ord">
          <ac:chgData name="Nick Robinson" userId="d0c2b313-4ae0-4040-8c6a-fec7a720a7b5" providerId="ADAL" clId="{9D26C270-5461-F844-9688-58D8512A9AEB}" dt="2021-11-09T13:50:09.603" v="61507" actId="700"/>
          <ac:spMkLst>
            <pc:docMk/>
            <pc:sldMk cId="1279341331" sldId="2145707185"/>
            <ac:spMk id="3" creationId="{3196D405-6661-6B42-89DC-7C88789B2BF1}"/>
          </ac:spMkLst>
        </pc:spChg>
        <pc:spChg chg="add del mod ord">
          <ac:chgData name="Nick Robinson" userId="d0c2b313-4ae0-4040-8c6a-fec7a720a7b5" providerId="ADAL" clId="{9D26C270-5461-F844-9688-58D8512A9AEB}" dt="2021-11-09T14:42:16.436" v="61509" actId="700"/>
          <ac:spMkLst>
            <pc:docMk/>
            <pc:sldMk cId="1279341331" sldId="2145707185"/>
            <ac:spMk id="4" creationId="{66608B5E-9369-B44C-9C94-EF0C86B6F6F7}"/>
          </ac:spMkLst>
        </pc:spChg>
      </pc:sldChg>
      <pc:sldChg chg="addSp delSp modSp add del mod ord">
        <pc:chgData name="Nick Robinson" userId="d0c2b313-4ae0-4040-8c6a-fec7a720a7b5" providerId="ADAL" clId="{9D26C270-5461-F844-9688-58D8512A9AEB}" dt="2021-10-28T09:05:48.858" v="9882" actId="2696"/>
        <pc:sldMkLst>
          <pc:docMk/>
          <pc:sldMk cId="2979090836" sldId="2145707186"/>
        </pc:sldMkLst>
        <pc:spChg chg="mod">
          <ac:chgData name="Nick Robinson" userId="d0c2b313-4ae0-4040-8c6a-fec7a720a7b5" providerId="ADAL" clId="{9D26C270-5461-F844-9688-58D8512A9AEB}" dt="2021-10-27T12:46:46.335" v="841" actId="20577"/>
          <ac:spMkLst>
            <pc:docMk/>
            <pc:sldMk cId="2979090836" sldId="2145707186"/>
            <ac:spMk id="2" creationId="{B0B31CDD-9A09-ED44-9637-5E22E17CA552}"/>
          </ac:spMkLst>
        </pc:spChg>
        <pc:spChg chg="add mod">
          <ac:chgData name="Nick Robinson" userId="d0c2b313-4ae0-4040-8c6a-fec7a720a7b5" providerId="ADAL" clId="{9D26C270-5461-F844-9688-58D8512A9AEB}" dt="2021-10-27T13:52:53.724" v="3102" actId="20577"/>
          <ac:spMkLst>
            <pc:docMk/>
            <pc:sldMk cId="2979090836" sldId="2145707186"/>
            <ac:spMk id="4" creationId="{493ED53C-A9F5-9743-8F76-EEB59BAFC515}"/>
          </ac:spMkLst>
        </pc:spChg>
        <pc:spChg chg="add mod">
          <ac:chgData name="Nick Robinson" userId="d0c2b313-4ae0-4040-8c6a-fec7a720a7b5" providerId="ADAL" clId="{9D26C270-5461-F844-9688-58D8512A9AEB}" dt="2021-10-27T14:11:07.027" v="3724" actId="20577"/>
          <ac:spMkLst>
            <pc:docMk/>
            <pc:sldMk cId="2979090836" sldId="2145707186"/>
            <ac:spMk id="5" creationId="{D81F271D-87F7-304A-9132-87966C6C68BD}"/>
          </ac:spMkLst>
        </pc:spChg>
        <pc:picChg chg="add del mod">
          <ac:chgData name="Nick Robinson" userId="d0c2b313-4ae0-4040-8c6a-fec7a720a7b5" providerId="ADAL" clId="{9D26C270-5461-F844-9688-58D8512A9AEB}" dt="2021-10-27T16:39:01.543" v="6570"/>
          <ac:picMkLst>
            <pc:docMk/>
            <pc:sldMk cId="2979090836" sldId="2145707186"/>
            <ac:picMk id="6" creationId="{E4EADC83-3C7A-1142-A7C3-1ACA050A8603}"/>
          </ac:picMkLst>
        </pc:picChg>
      </pc:sldChg>
      <pc:sldChg chg="addSp delSp modSp add mod ord modShow">
        <pc:chgData name="Nick Robinson" userId="d0c2b313-4ae0-4040-8c6a-fec7a720a7b5" providerId="ADAL" clId="{9D26C270-5461-F844-9688-58D8512A9AEB}" dt="2021-11-08T11:36:43.817" v="57062"/>
        <pc:sldMkLst>
          <pc:docMk/>
          <pc:sldMk cId="411085113" sldId="2145707187"/>
        </pc:sldMkLst>
        <pc:spChg chg="mod">
          <ac:chgData name="Nick Robinson" userId="d0c2b313-4ae0-4040-8c6a-fec7a720a7b5" providerId="ADAL" clId="{9D26C270-5461-F844-9688-58D8512A9AEB}" dt="2021-10-28T09:06:08.985" v="9909" actId="20577"/>
          <ac:spMkLst>
            <pc:docMk/>
            <pc:sldMk cId="411085113" sldId="2145707187"/>
            <ac:spMk id="2" creationId="{B0B31CDD-9A09-ED44-9637-5E22E17CA552}"/>
          </ac:spMkLst>
        </pc:spChg>
        <pc:spChg chg="add del mod">
          <ac:chgData name="Nick Robinson" userId="d0c2b313-4ae0-4040-8c6a-fec7a720a7b5" providerId="ADAL" clId="{9D26C270-5461-F844-9688-58D8512A9AEB}" dt="2021-10-27T13:21:19.560" v="2855"/>
          <ac:spMkLst>
            <pc:docMk/>
            <pc:sldMk cId="411085113" sldId="2145707187"/>
            <ac:spMk id="4" creationId="{30B5567C-E864-9649-892C-EA1EB645B70E}"/>
          </ac:spMkLst>
        </pc:spChg>
        <pc:spChg chg="mod">
          <ac:chgData name="Nick Robinson" userId="d0c2b313-4ae0-4040-8c6a-fec7a720a7b5" providerId="ADAL" clId="{9D26C270-5461-F844-9688-58D8512A9AEB}" dt="2021-10-28T09:19:04.473" v="10694" actId="1076"/>
          <ac:spMkLst>
            <pc:docMk/>
            <pc:sldMk cId="411085113" sldId="2145707187"/>
            <ac:spMk id="6" creationId="{92CB8E64-72A6-9441-BC6E-C2E336E63D59}"/>
          </ac:spMkLst>
        </pc:spChg>
        <pc:spChg chg="mod">
          <ac:chgData name="Nick Robinson" userId="d0c2b313-4ae0-4040-8c6a-fec7a720a7b5" providerId="ADAL" clId="{9D26C270-5461-F844-9688-58D8512A9AEB}" dt="2021-10-28T13:38:11.612" v="16830" actId="20577"/>
          <ac:spMkLst>
            <pc:docMk/>
            <pc:sldMk cId="411085113" sldId="2145707187"/>
            <ac:spMk id="7" creationId="{8175B6F3-84EA-0046-ABFB-B6A53EC3D309}"/>
          </ac:spMkLst>
        </pc:spChg>
        <pc:spChg chg="mod">
          <ac:chgData name="Nick Robinson" userId="d0c2b313-4ae0-4040-8c6a-fec7a720a7b5" providerId="ADAL" clId="{9D26C270-5461-F844-9688-58D8512A9AEB}" dt="2021-10-28T09:07:15.729" v="9979" actId="20577"/>
          <ac:spMkLst>
            <pc:docMk/>
            <pc:sldMk cId="411085113" sldId="2145707187"/>
            <ac:spMk id="9" creationId="{E12178B5-7BA0-184F-A062-942E89595F71}"/>
          </ac:spMkLst>
        </pc:spChg>
        <pc:spChg chg="mod">
          <ac:chgData name="Nick Robinson" userId="d0c2b313-4ae0-4040-8c6a-fec7a720a7b5" providerId="ADAL" clId="{9D26C270-5461-F844-9688-58D8512A9AEB}" dt="2021-11-08T11:36:43.817" v="57062"/>
          <ac:spMkLst>
            <pc:docMk/>
            <pc:sldMk cId="411085113" sldId="2145707187"/>
            <ac:spMk id="10" creationId="{5B19BCBF-869D-9E45-9604-8FD87AB122D8}"/>
          </ac:spMkLst>
        </pc:spChg>
        <pc:spChg chg="mod">
          <ac:chgData name="Nick Robinson" userId="d0c2b313-4ae0-4040-8c6a-fec7a720a7b5" providerId="ADAL" clId="{9D26C270-5461-F844-9688-58D8512A9AEB}" dt="2021-10-28T09:07:08.269" v="9968" actId="20577"/>
          <ac:spMkLst>
            <pc:docMk/>
            <pc:sldMk cId="411085113" sldId="2145707187"/>
            <ac:spMk id="12" creationId="{1B2A0F14-DA79-7449-8011-47A989D42F6E}"/>
          </ac:spMkLst>
        </pc:spChg>
        <pc:spChg chg="mod">
          <ac:chgData name="Nick Robinson" userId="d0c2b313-4ae0-4040-8c6a-fec7a720a7b5" providerId="ADAL" clId="{9D26C270-5461-F844-9688-58D8512A9AEB}" dt="2021-11-08T11:36:43.817" v="57062"/>
          <ac:spMkLst>
            <pc:docMk/>
            <pc:sldMk cId="411085113" sldId="2145707187"/>
            <ac:spMk id="13" creationId="{BE0FD6E4-D370-1C4A-A3FE-BA91B5734C99}"/>
          </ac:spMkLst>
        </pc:spChg>
        <pc:spChg chg="add mod">
          <ac:chgData name="Nick Robinson" userId="d0c2b313-4ae0-4040-8c6a-fec7a720a7b5" providerId="ADAL" clId="{9D26C270-5461-F844-9688-58D8512A9AEB}" dt="2021-10-28T09:25:00.769" v="10772" actId="20577"/>
          <ac:spMkLst>
            <pc:docMk/>
            <pc:sldMk cId="411085113" sldId="2145707187"/>
            <ac:spMk id="14" creationId="{37090FE7-C84A-E24F-BECA-5F10D68EC207}"/>
          </ac:spMkLst>
        </pc:spChg>
        <pc:spChg chg="add del mod">
          <ac:chgData name="Nick Robinson" userId="d0c2b313-4ae0-4040-8c6a-fec7a720a7b5" providerId="ADAL" clId="{9D26C270-5461-F844-9688-58D8512A9AEB}" dt="2021-11-03T12:48:14.892" v="26310" actId="20577"/>
          <ac:spMkLst>
            <pc:docMk/>
            <pc:sldMk cId="411085113" sldId="2145707187"/>
            <ac:spMk id="15" creationId="{47803EFB-81D2-A64F-B016-AD7E857403CE}"/>
          </ac:spMkLst>
        </pc:spChg>
        <pc:spChg chg="add mod">
          <ac:chgData name="Nick Robinson" userId="d0c2b313-4ae0-4040-8c6a-fec7a720a7b5" providerId="ADAL" clId="{9D26C270-5461-F844-9688-58D8512A9AEB}" dt="2021-10-28T11:34:39.415" v="13100" actId="1076"/>
          <ac:spMkLst>
            <pc:docMk/>
            <pc:sldMk cId="411085113" sldId="2145707187"/>
            <ac:spMk id="17" creationId="{C7C6F4A5-D693-CA4E-A56C-3C75B8CD5F21}"/>
          </ac:spMkLst>
        </pc:spChg>
        <pc:spChg chg="add mod">
          <ac:chgData name="Nick Robinson" userId="d0c2b313-4ae0-4040-8c6a-fec7a720a7b5" providerId="ADAL" clId="{9D26C270-5461-F844-9688-58D8512A9AEB}" dt="2021-10-28T11:35:00.549" v="13102" actId="1076"/>
          <ac:spMkLst>
            <pc:docMk/>
            <pc:sldMk cId="411085113" sldId="2145707187"/>
            <ac:spMk id="19" creationId="{D5702503-BEB7-EC44-AC7B-76D8F3B093D4}"/>
          </ac:spMkLst>
        </pc:spChg>
        <pc:spChg chg="add mod">
          <ac:chgData name="Nick Robinson" userId="d0c2b313-4ae0-4040-8c6a-fec7a720a7b5" providerId="ADAL" clId="{9D26C270-5461-F844-9688-58D8512A9AEB}" dt="2021-10-28T11:35:26.113" v="13104" actId="1076"/>
          <ac:spMkLst>
            <pc:docMk/>
            <pc:sldMk cId="411085113" sldId="2145707187"/>
            <ac:spMk id="21" creationId="{83676F63-0FAC-A643-9C03-0B38F6A60565}"/>
          </ac:spMkLst>
        </pc:spChg>
        <pc:spChg chg="add mod">
          <ac:chgData name="Nick Robinson" userId="d0c2b313-4ae0-4040-8c6a-fec7a720a7b5" providerId="ADAL" clId="{9D26C270-5461-F844-9688-58D8512A9AEB}" dt="2021-10-28T11:35:44" v="13106" actId="1076"/>
          <ac:spMkLst>
            <pc:docMk/>
            <pc:sldMk cId="411085113" sldId="2145707187"/>
            <ac:spMk id="23" creationId="{D9D0E682-E5E7-0A47-9F3D-6906727231E8}"/>
          </ac:spMkLst>
        </pc:spChg>
        <pc:spChg chg="add mod">
          <ac:chgData name="Nick Robinson" userId="d0c2b313-4ae0-4040-8c6a-fec7a720a7b5" providerId="ADAL" clId="{9D26C270-5461-F844-9688-58D8512A9AEB}" dt="2021-10-28T11:37:48.108" v="13108" actId="1076"/>
          <ac:spMkLst>
            <pc:docMk/>
            <pc:sldMk cId="411085113" sldId="2145707187"/>
            <ac:spMk id="25" creationId="{57BB6FF1-DC7B-D34C-B550-C28AFD9153BD}"/>
          </ac:spMkLst>
        </pc:spChg>
        <pc:grpChg chg="add del mod">
          <ac:chgData name="Nick Robinson" userId="d0c2b313-4ae0-4040-8c6a-fec7a720a7b5" providerId="ADAL" clId="{9D26C270-5461-F844-9688-58D8512A9AEB}" dt="2021-10-28T12:37:55.737" v="15261" actId="1076"/>
          <ac:grpSpMkLst>
            <pc:docMk/>
            <pc:sldMk cId="411085113" sldId="2145707187"/>
            <ac:grpSpMk id="5" creationId="{66F65BCE-C372-0A44-87FE-681EBF65E873}"/>
          </ac:grpSpMkLst>
        </pc:grpChg>
        <pc:grpChg chg="add mod">
          <ac:chgData name="Nick Robinson" userId="d0c2b313-4ae0-4040-8c6a-fec7a720a7b5" providerId="ADAL" clId="{9D26C270-5461-F844-9688-58D8512A9AEB}" dt="2021-10-28T09:19:47.249" v="10717" actId="1035"/>
          <ac:grpSpMkLst>
            <pc:docMk/>
            <pc:sldMk cId="411085113" sldId="2145707187"/>
            <ac:grpSpMk id="8" creationId="{6B0ED50B-0E8A-C141-AB6E-EF91D20C58BE}"/>
          </ac:grpSpMkLst>
        </pc:grpChg>
        <pc:grpChg chg="add mod">
          <ac:chgData name="Nick Robinson" userId="d0c2b313-4ae0-4040-8c6a-fec7a720a7b5" providerId="ADAL" clId="{9D26C270-5461-F844-9688-58D8512A9AEB}" dt="2021-10-28T09:19:10.659" v="10695" actId="14100"/>
          <ac:grpSpMkLst>
            <pc:docMk/>
            <pc:sldMk cId="411085113" sldId="2145707187"/>
            <ac:grpSpMk id="11" creationId="{A570CAAF-FECD-5243-BEEB-163E3B9B955B}"/>
          </ac:grpSpMkLst>
        </pc:grpChg>
      </pc:sldChg>
      <pc:sldChg chg="modSp add del mod ord">
        <pc:chgData name="Nick Robinson" userId="d0c2b313-4ae0-4040-8c6a-fec7a720a7b5" providerId="ADAL" clId="{9D26C270-5461-F844-9688-58D8512A9AEB}" dt="2021-10-28T09:20:29.388" v="10722" actId="2696"/>
        <pc:sldMkLst>
          <pc:docMk/>
          <pc:sldMk cId="4125633381" sldId="2145707188"/>
        </pc:sldMkLst>
        <pc:spChg chg="mod">
          <ac:chgData name="Nick Robinson" userId="d0c2b313-4ae0-4040-8c6a-fec7a720a7b5" providerId="ADAL" clId="{9D26C270-5461-F844-9688-58D8512A9AEB}" dt="2021-10-28T09:15:17.426" v="10661" actId="20577"/>
          <ac:spMkLst>
            <pc:docMk/>
            <pc:sldMk cId="4125633381" sldId="2145707188"/>
            <ac:spMk id="2" creationId="{B0B31CDD-9A09-ED44-9637-5E22E17CA552}"/>
          </ac:spMkLst>
        </pc:spChg>
      </pc:sldChg>
      <pc:sldChg chg="modSp add del mod">
        <pc:chgData name="Nick Robinson" userId="d0c2b313-4ae0-4040-8c6a-fec7a720a7b5" providerId="ADAL" clId="{9D26C270-5461-F844-9688-58D8512A9AEB}" dt="2021-10-28T09:15:03.843" v="10632" actId="2696"/>
        <pc:sldMkLst>
          <pc:docMk/>
          <pc:sldMk cId="3844777074" sldId="2145707189"/>
        </pc:sldMkLst>
        <pc:spChg chg="mod">
          <ac:chgData name="Nick Robinson" userId="d0c2b313-4ae0-4040-8c6a-fec7a720a7b5" providerId="ADAL" clId="{9D26C270-5461-F844-9688-58D8512A9AEB}" dt="2021-10-27T12:46:50.996" v="850" actId="20577"/>
          <ac:spMkLst>
            <pc:docMk/>
            <pc:sldMk cId="3844777074" sldId="2145707189"/>
            <ac:spMk id="2" creationId="{B0B31CDD-9A09-ED44-9637-5E22E17CA552}"/>
          </ac:spMkLst>
        </pc:spChg>
      </pc:sldChg>
      <pc:sldChg chg="modSp add del mod ord">
        <pc:chgData name="Nick Robinson" userId="d0c2b313-4ae0-4040-8c6a-fec7a720a7b5" providerId="ADAL" clId="{9D26C270-5461-F844-9688-58D8512A9AEB}" dt="2021-10-27T12:53:22.109" v="1036" actId="2696"/>
        <pc:sldMkLst>
          <pc:docMk/>
          <pc:sldMk cId="996815340" sldId="2145707190"/>
        </pc:sldMkLst>
        <pc:spChg chg="mod">
          <ac:chgData name="Nick Robinson" userId="d0c2b313-4ae0-4040-8c6a-fec7a720a7b5" providerId="ADAL" clId="{9D26C270-5461-F844-9688-58D8512A9AEB}" dt="2021-10-27T12:53:06.730" v="1032" actId="20577"/>
          <ac:spMkLst>
            <pc:docMk/>
            <pc:sldMk cId="996815340" sldId="2145707190"/>
            <ac:spMk id="2" creationId="{97DF49F5-76E4-D045-9AE5-C5DFB0E4B946}"/>
          </ac:spMkLst>
        </pc:spChg>
      </pc:sldChg>
      <pc:sldChg chg="addSp modSp add del mod ord">
        <pc:chgData name="Nick Robinson" userId="d0c2b313-4ae0-4040-8c6a-fec7a720a7b5" providerId="ADAL" clId="{9D26C270-5461-F844-9688-58D8512A9AEB}" dt="2021-10-28T08:19:18.468" v="7770" actId="2696"/>
        <pc:sldMkLst>
          <pc:docMk/>
          <pc:sldMk cId="2032148369" sldId="2145707191"/>
        </pc:sldMkLst>
        <pc:spChg chg="mod">
          <ac:chgData name="Nick Robinson" userId="d0c2b313-4ae0-4040-8c6a-fec7a720a7b5" providerId="ADAL" clId="{9D26C270-5461-F844-9688-58D8512A9AEB}" dt="2021-10-27T12:53:39.605" v="1064" actId="20577"/>
          <ac:spMkLst>
            <pc:docMk/>
            <pc:sldMk cId="2032148369" sldId="2145707191"/>
            <ac:spMk id="2" creationId="{B0B31CDD-9A09-ED44-9637-5E22E17CA552}"/>
          </ac:spMkLst>
        </pc:spChg>
        <pc:spChg chg="add mod">
          <ac:chgData name="Nick Robinson" userId="d0c2b313-4ae0-4040-8c6a-fec7a720a7b5" providerId="ADAL" clId="{9D26C270-5461-F844-9688-58D8512A9AEB}" dt="2021-10-27T12:53:51.627" v="1121" actId="20577"/>
          <ac:spMkLst>
            <pc:docMk/>
            <pc:sldMk cId="2032148369" sldId="2145707191"/>
            <ac:spMk id="4" creationId="{71B4E91A-D0DB-C240-9B1A-38A7AA7CCDB2}"/>
          </ac:spMkLst>
        </pc:spChg>
      </pc:sldChg>
      <pc:sldChg chg="addSp delSp modSp add mod ord modClrScheme chgLayout">
        <pc:chgData name="Nick Robinson" userId="d0c2b313-4ae0-4040-8c6a-fec7a720a7b5" providerId="ADAL" clId="{9D26C270-5461-F844-9688-58D8512A9AEB}" dt="2021-11-09T14:42:16.436" v="61509" actId="700"/>
        <pc:sldMkLst>
          <pc:docMk/>
          <pc:sldMk cId="120769523" sldId="2145707192"/>
        </pc:sldMkLst>
        <pc:spChg chg="mod ord">
          <ac:chgData name="Nick Robinson" userId="d0c2b313-4ae0-4040-8c6a-fec7a720a7b5" providerId="ADAL" clId="{9D26C270-5461-F844-9688-58D8512A9AEB}" dt="2021-11-09T14:42:16.436" v="61509" actId="700"/>
          <ac:spMkLst>
            <pc:docMk/>
            <pc:sldMk cId="120769523" sldId="2145707192"/>
            <ac:spMk id="2" creationId="{97DF49F5-76E4-D045-9AE5-C5DFB0E4B946}"/>
          </ac:spMkLst>
        </pc:spChg>
        <pc:spChg chg="add del mod ord">
          <ac:chgData name="Nick Robinson" userId="d0c2b313-4ae0-4040-8c6a-fec7a720a7b5" providerId="ADAL" clId="{9D26C270-5461-F844-9688-58D8512A9AEB}" dt="2021-11-09T13:50:09.603" v="61507" actId="700"/>
          <ac:spMkLst>
            <pc:docMk/>
            <pc:sldMk cId="120769523" sldId="2145707192"/>
            <ac:spMk id="3" creationId="{AE57FE01-4045-6047-B30F-4E76D91AF0B9}"/>
          </ac:spMkLst>
        </pc:spChg>
        <pc:spChg chg="add del mod ord">
          <ac:chgData name="Nick Robinson" userId="d0c2b313-4ae0-4040-8c6a-fec7a720a7b5" providerId="ADAL" clId="{9D26C270-5461-F844-9688-58D8512A9AEB}" dt="2021-11-09T14:42:16.436" v="61509" actId="700"/>
          <ac:spMkLst>
            <pc:docMk/>
            <pc:sldMk cId="120769523" sldId="2145707192"/>
            <ac:spMk id="4" creationId="{B94C9559-9DE6-D642-A072-21277E898043}"/>
          </ac:spMkLst>
        </pc:spChg>
      </pc:sldChg>
      <pc:sldChg chg="addSp delSp modSp add mod ord">
        <pc:chgData name="Nick Robinson" userId="d0c2b313-4ae0-4040-8c6a-fec7a720a7b5" providerId="ADAL" clId="{9D26C270-5461-F844-9688-58D8512A9AEB}" dt="2021-11-08T12:48:55.038" v="59579" actId="20577"/>
        <pc:sldMkLst>
          <pc:docMk/>
          <pc:sldMk cId="3988442953" sldId="2145707193"/>
        </pc:sldMkLst>
        <pc:spChg chg="mod">
          <ac:chgData name="Nick Robinson" userId="d0c2b313-4ae0-4040-8c6a-fec7a720a7b5" providerId="ADAL" clId="{9D26C270-5461-F844-9688-58D8512A9AEB}" dt="2021-11-08T12:48:55.038" v="59579" actId="20577"/>
          <ac:spMkLst>
            <pc:docMk/>
            <pc:sldMk cId="3988442953" sldId="2145707193"/>
            <ac:spMk id="2" creationId="{B0B31CDD-9A09-ED44-9637-5E22E17CA552}"/>
          </ac:spMkLst>
        </pc:spChg>
        <pc:spChg chg="add del mod">
          <ac:chgData name="Nick Robinson" userId="d0c2b313-4ae0-4040-8c6a-fec7a720a7b5" providerId="ADAL" clId="{9D26C270-5461-F844-9688-58D8512A9AEB}" dt="2021-11-07T19:19:11.612" v="50246" actId="478"/>
          <ac:spMkLst>
            <pc:docMk/>
            <pc:sldMk cId="3988442953" sldId="2145707193"/>
            <ac:spMk id="4" creationId="{BB40CCF4-A08D-3E4A-B1A1-D0DB58273CCE}"/>
          </ac:spMkLst>
        </pc:spChg>
        <pc:spChg chg="add del mod">
          <ac:chgData name="Nick Robinson" userId="d0c2b313-4ae0-4040-8c6a-fec7a720a7b5" providerId="ADAL" clId="{9D26C270-5461-F844-9688-58D8512A9AEB}" dt="2021-11-07T19:28:33.210" v="51331" actId="478"/>
          <ac:spMkLst>
            <pc:docMk/>
            <pc:sldMk cId="3988442953" sldId="2145707193"/>
            <ac:spMk id="5" creationId="{F515F4F2-3C1F-4049-BFDC-2E8744D76061}"/>
          </ac:spMkLst>
        </pc:spChg>
        <pc:spChg chg="add mod">
          <ac:chgData name="Nick Robinson" userId="d0c2b313-4ae0-4040-8c6a-fec7a720a7b5" providerId="ADAL" clId="{9D26C270-5461-F844-9688-58D8512A9AEB}" dt="2021-11-08T11:36:43.817" v="57062"/>
          <ac:spMkLst>
            <pc:docMk/>
            <pc:sldMk cId="3988442953" sldId="2145707193"/>
            <ac:spMk id="6" creationId="{83204DAD-00AB-B349-9132-3B9BE197FECF}"/>
          </ac:spMkLst>
        </pc:spChg>
        <pc:spChg chg="add del mod">
          <ac:chgData name="Nick Robinson" userId="d0c2b313-4ae0-4040-8c6a-fec7a720a7b5" providerId="ADAL" clId="{9D26C270-5461-F844-9688-58D8512A9AEB}" dt="2021-11-07T19:20:40.931" v="50487" actId="478"/>
          <ac:spMkLst>
            <pc:docMk/>
            <pc:sldMk cId="3988442953" sldId="2145707193"/>
            <ac:spMk id="7" creationId="{9D4FB814-1ACC-7541-8056-9CFA3AACE29B}"/>
          </ac:spMkLst>
        </pc:spChg>
        <pc:spChg chg="add del mod">
          <ac:chgData name="Nick Robinson" userId="d0c2b313-4ae0-4040-8c6a-fec7a720a7b5" providerId="ADAL" clId="{9D26C270-5461-F844-9688-58D8512A9AEB}" dt="2021-11-07T19:24:50.781" v="50919" actId="478"/>
          <ac:spMkLst>
            <pc:docMk/>
            <pc:sldMk cId="3988442953" sldId="2145707193"/>
            <ac:spMk id="8" creationId="{C2F9EE0E-AC8E-FF49-B4D1-C27B7123C204}"/>
          </ac:spMkLst>
        </pc:spChg>
        <pc:spChg chg="add del mod">
          <ac:chgData name="Nick Robinson" userId="d0c2b313-4ae0-4040-8c6a-fec7a720a7b5" providerId="ADAL" clId="{9D26C270-5461-F844-9688-58D8512A9AEB}" dt="2021-11-07T19:20:29.489" v="50485" actId="478"/>
          <ac:spMkLst>
            <pc:docMk/>
            <pc:sldMk cId="3988442953" sldId="2145707193"/>
            <ac:spMk id="9" creationId="{10A3C53D-C96E-474D-903B-5689906E18C3}"/>
          </ac:spMkLst>
        </pc:spChg>
        <pc:spChg chg="add del mod">
          <ac:chgData name="Nick Robinson" userId="d0c2b313-4ae0-4040-8c6a-fec7a720a7b5" providerId="ADAL" clId="{9D26C270-5461-F844-9688-58D8512A9AEB}" dt="2021-11-07T19:20:54.701" v="50492" actId="478"/>
          <ac:spMkLst>
            <pc:docMk/>
            <pc:sldMk cId="3988442953" sldId="2145707193"/>
            <ac:spMk id="10" creationId="{337686E1-21B6-854F-BB05-0B278B3EBD40}"/>
          </ac:spMkLst>
        </pc:spChg>
        <pc:spChg chg="add mod">
          <ac:chgData name="Nick Robinson" userId="d0c2b313-4ae0-4040-8c6a-fec7a720a7b5" providerId="ADAL" clId="{9D26C270-5461-F844-9688-58D8512A9AEB}" dt="2021-11-08T11:36:43.817" v="57062"/>
          <ac:spMkLst>
            <pc:docMk/>
            <pc:sldMk cId="3988442953" sldId="2145707193"/>
            <ac:spMk id="17" creationId="{1B83EBFB-E478-4F4D-8C65-20E3FA5669B7}"/>
          </ac:spMkLst>
        </pc:spChg>
        <pc:spChg chg="add mod">
          <ac:chgData name="Nick Robinson" userId="d0c2b313-4ae0-4040-8c6a-fec7a720a7b5" providerId="ADAL" clId="{9D26C270-5461-F844-9688-58D8512A9AEB}" dt="2021-11-08T11:36:43.817" v="57062"/>
          <ac:spMkLst>
            <pc:docMk/>
            <pc:sldMk cId="3988442953" sldId="2145707193"/>
            <ac:spMk id="18" creationId="{D19CF441-862B-DE41-AC3E-4595ADDF8171}"/>
          </ac:spMkLst>
        </pc:spChg>
        <pc:picChg chg="add mod">
          <ac:chgData name="Nick Robinson" userId="d0c2b313-4ae0-4040-8c6a-fec7a720a7b5" providerId="ADAL" clId="{9D26C270-5461-F844-9688-58D8512A9AEB}" dt="2021-11-07T19:25:10.418" v="50924" actId="207"/>
          <ac:picMkLst>
            <pc:docMk/>
            <pc:sldMk cId="3988442953" sldId="2145707193"/>
            <ac:picMk id="12" creationId="{0D7B83A4-C3C6-294C-9DCD-A2A58145ADBC}"/>
          </ac:picMkLst>
        </pc:picChg>
        <pc:picChg chg="add del mod">
          <ac:chgData name="Nick Robinson" userId="d0c2b313-4ae0-4040-8c6a-fec7a720a7b5" providerId="ADAL" clId="{9D26C270-5461-F844-9688-58D8512A9AEB}" dt="2021-11-07T19:21:47.761" v="50497" actId="478"/>
          <ac:picMkLst>
            <pc:docMk/>
            <pc:sldMk cId="3988442953" sldId="2145707193"/>
            <ac:picMk id="14" creationId="{BC59914C-5ECA-0849-BBEB-D678A4E5F90A}"/>
          </ac:picMkLst>
        </pc:picChg>
        <pc:picChg chg="add mod">
          <ac:chgData name="Nick Robinson" userId="d0c2b313-4ae0-4040-8c6a-fec7a720a7b5" providerId="ADAL" clId="{9D26C270-5461-F844-9688-58D8512A9AEB}" dt="2021-11-07T19:25:10.418" v="50924" actId="207"/>
          <ac:picMkLst>
            <pc:docMk/>
            <pc:sldMk cId="3988442953" sldId="2145707193"/>
            <ac:picMk id="16" creationId="{7C8C8B54-38BB-1441-BF15-BFF0E8ED802C}"/>
          </ac:picMkLst>
        </pc:picChg>
        <pc:cxnChg chg="add del mod">
          <ac:chgData name="Nick Robinson" userId="d0c2b313-4ae0-4040-8c6a-fec7a720a7b5" providerId="ADAL" clId="{9D26C270-5461-F844-9688-58D8512A9AEB}" dt="2021-11-07T19:27:58.281" v="51324" actId="478"/>
          <ac:cxnSpMkLst>
            <pc:docMk/>
            <pc:sldMk cId="3988442953" sldId="2145707193"/>
            <ac:cxnSpMk id="20" creationId="{E3ECE7BB-2760-F74D-8492-5F479F8997B5}"/>
          </ac:cxnSpMkLst>
        </pc:cxnChg>
      </pc:sldChg>
      <pc:sldChg chg="modSp add del mod">
        <pc:chgData name="Nick Robinson" userId="d0c2b313-4ae0-4040-8c6a-fec7a720a7b5" providerId="ADAL" clId="{9D26C270-5461-F844-9688-58D8512A9AEB}" dt="2021-10-28T16:58:45.077" v="16855" actId="2696"/>
        <pc:sldMkLst>
          <pc:docMk/>
          <pc:sldMk cId="1895951766" sldId="2145707194"/>
        </pc:sldMkLst>
        <pc:spChg chg="mod">
          <ac:chgData name="Nick Robinson" userId="d0c2b313-4ae0-4040-8c6a-fec7a720a7b5" providerId="ADAL" clId="{9D26C270-5461-F844-9688-58D8512A9AEB}" dt="2021-10-27T12:54:40.729" v="1238" actId="20577"/>
          <ac:spMkLst>
            <pc:docMk/>
            <pc:sldMk cId="1895951766" sldId="2145707194"/>
            <ac:spMk id="2" creationId="{B0B31CDD-9A09-ED44-9637-5E22E17CA552}"/>
          </ac:spMkLst>
        </pc:spChg>
        <pc:spChg chg="mod">
          <ac:chgData name="Nick Robinson" userId="d0c2b313-4ae0-4040-8c6a-fec7a720a7b5" providerId="ADAL" clId="{9D26C270-5461-F844-9688-58D8512A9AEB}" dt="2021-10-27T12:54:48.659" v="1255" actId="20577"/>
          <ac:spMkLst>
            <pc:docMk/>
            <pc:sldMk cId="1895951766" sldId="2145707194"/>
            <ac:spMk id="4" creationId="{BB40CCF4-A08D-3E4A-B1A1-D0DB58273CCE}"/>
          </ac:spMkLst>
        </pc:spChg>
      </pc:sldChg>
      <pc:sldChg chg="modSp add del mod">
        <pc:chgData name="Nick Robinson" userId="d0c2b313-4ae0-4040-8c6a-fec7a720a7b5" providerId="ADAL" clId="{9D26C270-5461-F844-9688-58D8512A9AEB}" dt="2021-10-28T16:58:44.083" v="16854" actId="2696"/>
        <pc:sldMkLst>
          <pc:docMk/>
          <pc:sldMk cId="3931840266" sldId="2145707195"/>
        </pc:sldMkLst>
        <pc:spChg chg="mod">
          <ac:chgData name="Nick Robinson" userId="d0c2b313-4ae0-4040-8c6a-fec7a720a7b5" providerId="ADAL" clId="{9D26C270-5461-F844-9688-58D8512A9AEB}" dt="2021-10-27T12:54:59.632" v="1273" actId="20577"/>
          <ac:spMkLst>
            <pc:docMk/>
            <pc:sldMk cId="3931840266" sldId="2145707195"/>
            <ac:spMk id="2" creationId="{B0B31CDD-9A09-ED44-9637-5E22E17CA552}"/>
          </ac:spMkLst>
        </pc:spChg>
        <pc:spChg chg="mod">
          <ac:chgData name="Nick Robinson" userId="d0c2b313-4ae0-4040-8c6a-fec7a720a7b5" providerId="ADAL" clId="{9D26C270-5461-F844-9688-58D8512A9AEB}" dt="2021-10-27T12:55:12.695" v="1344" actId="1076"/>
          <ac:spMkLst>
            <pc:docMk/>
            <pc:sldMk cId="3931840266" sldId="2145707195"/>
            <ac:spMk id="4" creationId="{BB40CCF4-A08D-3E4A-B1A1-D0DB58273CCE}"/>
          </ac:spMkLst>
        </pc:spChg>
      </pc:sldChg>
      <pc:sldChg chg="addSp delSp modSp add mod ord modClrScheme chgLayout">
        <pc:chgData name="Nick Robinson" userId="d0c2b313-4ae0-4040-8c6a-fec7a720a7b5" providerId="ADAL" clId="{9D26C270-5461-F844-9688-58D8512A9AEB}" dt="2021-11-09T14:42:16.436" v="61509" actId="700"/>
        <pc:sldMkLst>
          <pc:docMk/>
          <pc:sldMk cId="4134235827" sldId="2145707196"/>
        </pc:sldMkLst>
        <pc:spChg chg="mod ord">
          <ac:chgData name="Nick Robinson" userId="d0c2b313-4ae0-4040-8c6a-fec7a720a7b5" providerId="ADAL" clId="{9D26C270-5461-F844-9688-58D8512A9AEB}" dt="2021-11-09T14:42:16.436" v="61509" actId="700"/>
          <ac:spMkLst>
            <pc:docMk/>
            <pc:sldMk cId="4134235827" sldId="2145707196"/>
            <ac:spMk id="2" creationId="{97DF49F5-76E4-D045-9AE5-C5DFB0E4B946}"/>
          </ac:spMkLst>
        </pc:spChg>
        <pc:spChg chg="add del mod ord">
          <ac:chgData name="Nick Robinson" userId="d0c2b313-4ae0-4040-8c6a-fec7a720a7b5" providerId="ADAL" clId="{9D26C270-5461-F844-9688-58D8512A9AEB}" dt="2021-11-09T13:50:09.603" v="61507" actId="700"/>
          <ac:spMkLst>
            <pc:docMk/>
            <pc:sldMk cId="4134235827" sldId="2145707196"/>
            <ac:spMk id="3" creationId="{3661608F-126A-4E45-8AF3-E852C3C57887}"/>
          </ac:spMkLst>
        </pc:spChg>
        <pc:spChg chg="add del mod ord">
          <ac:chgData name="Nick Robinson" userId="d0c2b313-4ae0-4040-8c6a-fec7a720a7b5" providerId="ADAL" clId="{9D26C270-5461-F844-9688-58D8512A9AEB}" dt="2021-11-09T14:42:16.436" v="61509" actId="700"/>
          <ac:spMkLst>
            <pc:docMk/>
            <pc:sldMk cId="4134235827" sldId="2145707196"/>
            <ac:spMk id="4" creationId="{12D7A500-705B-044A-AEFC-9A7077541C42}"/>
          </ac:spMkLst>
        </pc:spChg>
      </pc:sldChg>
      <pc:sldChg chg="addSp delSp modSp add del mod ord">
        <pc:chgData name="Nick Robinson" userId="d0c2b313-4ae0-4040-8c6a-fec7a720a7b5" providerId="ADAL" clId="{9D26C270-5461-F844-9688-58D8512A9AEB}" dt="2021-11-04T15:42:46.568" v="34290" actId="2696"/>
        <pc:sldMkLst>
          <pc:docMk/>
          <pc:sldMk cId="2654759234" sldId="2145707197"/>
        </pc:sldMkLst>
        <pc:spChg chg="mod">
          <ac:chgData name="Nick Robinson" userId="d0c2b313-4ae0-4040-8c6a-fec7a720a7b5" providerId="ADAL" clId="{9D26C270-5461-F844-9688-58D8512A9AEB}" dt="2021-10-27T12:56:17.068" v="1433" actId="20577"/>
          <ac:spMkLst>
            <pc:docMk/>
            <pc:sldMk cId="2654759234" sldId="2145707197"/>
            <ac:spMk id="2" creationId="{B0B31CDD-9A09-ED44-9637-5E22E17CA552}"/>
          </ac:spMkLst>
        </pc:spChg>
        <pc:spChg chg="mod">
          <ac:chgData name="Nick Robinson" userId="d0c2b313-4ae0-4040-8c6a-fec7a720a7b5" providerId="ADAL" clId="{9D26C270-5461-F844-9688-58D8512A9AEB}" dt="2021-10-27T12:56:46.217" v="1548" actId="20577"/>
          <ac:spMkLst>
            <pc:docMk/>
            <pc:sldMk cId="2654759234" sldId="2145707197"/>
            <ac:spMk id="4" creationId="{BB40CCF4-A08D-3E4A-B1A1-D0DB58273CCE}"/>
          </ac:spMkLst>
        </pc:spChg>
        <pc:spChg chg="add del mod">
          <ac:chgData name="Nick Robinson" userId="d0c2b313-4ae0-4040-8c6a-fec7a720a7b5" providerId="ADAL" clId="{9D26C270-5461-F844-9688-58D8512A9AEB}" dt="2021-10-27T12:55:57.793" v="1395" actId="478"/>
          <ac:spMkLst>
            <pc:docMk/>
            <pc:sldMk cId="2654759234" sldId="2145707197"/>
            <ac:spMk id="5" creationId="{754F7D49-49BB-A743-BDB1-83DFDC3BC749}"/>
          </ac:spMkLst>
        </pc:spChg>
      </pc:sldChg>
      <pc:sldChg chg="addSp delSp modSp add mod ord modClrScheme chgLayout">
        <pc:chgData name="Nick Robinson" userId="d0c2b313-4ae0-4040-8c6a-fec7a720a7b5" providerId="ADAL" clId="{9D26C270-5461-F844-9688-58D8512A9AEB}" dt="2021-11-09T14:42:16.436" v="61509" actId="700"/>
        <pc:sldMkLst>
          <pc:docMk/>
          <pc:sldMk cId="420552208" sldId="2145707198"/>
        </pc:sldMkLst>
        <pc:spChg chg="mod ord">
          <ac:chgData name="Nick Robinson" userId="d0c2b313-4ae0-4040-8c6a-fec7a720a7b5" providerId="ADAL" clId="{9D26C270-5461-F844-9688-58D8512A9AEB}" dt="2021-11-09T14:42:16.436" v="61509" actId="700"/>
          <ac:spMkLst>
            <pc:docMk/>
            <pc:sldMk cId="420552208" sldId="2145707198"/>
            <ac:spMk id="2" creationId="{97DF49F5-76E4-D045-9AE5-C5DFB0E4B946}"/>
          </ac:spMkLst>
        </pc:spChg>
        <pc:spChg chg="add del mod ord">
          <ac:chgData name="Nick Robinson" userId="d0c2b313-4ae0-4040-8c6a-fec7a720a7b5" providerId="ADAL" clId="{9D26C270-5461-F844-9688-58D8512A9AEB}" dt="2021-11-09T13:50:09.603" v="61507" actId="700"/>
          <ac:spMkLst>
            <pc:docMk/>
            <pc:sldMk cId="420552208" sldId="2145707198"/>
            <ac:spMk id="3" creationId="{5330911E-2329-1946-A7CD-F61A812213F0}"/>
          </ac:spMkLst>
        </pc:spChg>
        <pc:spChg chg="add del mod ord">
          <ac:chgData name="Nick Robinson" userId="d0c2b313-4ae0-4040-8c6a-fec7a720a7b5" providerId="ADAL" clId="{9D26C270-5461-F844-9688-58D8512A9AEB}" dt="2021-11-09T14:42:16.436" v="61509" actId="700"/>
          <ac:spMkLst>
            <pc:docMk/>
            <pc:sldMk cId="420552208" sldId="2145707198"/>
            <ac:spMk id="4" creationId="{904C673D-9A1A-234B-846B-DBAC676366A5}"/>
          </ac:spMkLst>
        </pc:spChg>
      </pc:sldChg>
      <pc:sldChg chg="modSp add mod ord">
        <pc:chgData name="Nick Robinson" userId="d0c2b313-4ae0-4040-8c6a-fec7a720a7b5" providerId="ADAL" clId="{9D26C270-5461-F844-9688-58D8512A9AEB}" dt="2021-10-27T12:57:51.481" v="1639" actId="20578"/>
        <pc:sldMkLst>
          <pc:docMk/>
          <pc:sldMk cId="2942823425" sldId="2145707199"/>
        </pc:sldMkLst>
        <pc:spChg chg="mod">
          <ac:chgData name="Nick Robinson" userId="d0c2b313-4ae0-4040-8c6a-fec7a720a7b5" providerId="ADAL" clId="{9D26C270-5461-F844-9688-58D8512A9AEB}" dt="2021-10-27T12:57:46.826" v="1637" actId="20577"/>
          <ac:spMkLst>
            <pc:docMk/>
            <pc:sldMk cId="2942823425" sldId="2145707199"/>
            <ac:spMk id="2" creationId="{97DF49F5-76E4-D045-9AE5-C5DFB0E4B946}"/>
          </ac:spMkLst>
        </pc:spChg>
      </pc:sldChg>
      <pc:sldChg chg="addSp delSp modSp add del mod ord">
        <pc:chgData name="Nick Robinson" userId="d0c2b313-4ae0-4040-8c6a-fec7a720a7b5" providerId="ADAL" clId="{9D26C270-5461-F844-9688-58D8512A9AEB}" dt="2021-11-04T08:22:39.614" v="27789" actId="2696"/>
        <pc:sldMkLst>
          <pc:docMk/>
          <pc:sldMk cId="1933139193" sldId="2145707200"/>
        </pc:sldMkLst>
        <pc:spChg chg="mod">
          <ac:chgData name="Nick Robinson" userId="d0c2b313-4ae0-4040-8c6a-fec7a720a7b5" providerId="ADAL" clId="{9D26C270-5461-F844-9688-58D8512A9AEB}" dt="2021-10-27T14:35:23.844" v="4484" actId="20577"/>
          <ac:spMkLst>
            <pc:docMk/>
            <pc:sldMk cId="1933139193" sldId="2145707200"/>
            <ac:spMk id="2" creationId="{00000000-0000-0000-0000-000000000000}"/>
          </ac:spMkLst>
        </pc:spChg>
        <pc:spChg chg="add del mod">
          <ac:chgData name="Nick Robinson" userId="d0c2b313-4ae0-4040-8c6a-fec7a720a7b5" providerId="ADAL" clId="{9D26C270-5461-F844-9688-58D8512A9AEB}" dt="2021-10-27T14:35:30.932" v="4485" actId="478"/>
          <ac:spMkLst>
            <pc:docMk/>
            <pc:sldMk cId="1933139193" sldId="2145707200"/>
            <ac:spMk id="8" creationId="{29DE7F4B-1F10-6F41-B09E-918CCDC117E4}"/>
          </ac:spMkLst>
        </pc:spChg>
        <pc:spChg chg="add mod">
          <ac:chgData name="Nick Robinson" userId="d0c2b313-4ae0-4040-8c6a-fec7a720a7b5" providerId="ADAL" clId="{9D26C270-5461-F844-9688-58D8512A9AEB}" dt="2021-10-29T06:28:35.879" v="17005" actId="14100"/>
          <ac:spMkLst>
            <pc:docMk/>
            <pc:sldMk cId="1933139193" sldId="2145707200"/>
            <ac:spMk id="10" creationId="{6278CCDA-C0D4-9C4F-B1BE-634B0184B444}"/>
          </ac:spMkLst>
        </pc:spChg>
        <pc:spChg chg="add mod">
          <ac:chgData name="Nick Robinson" userId="d0c2b313-4ae0-4040-8c6a-fec7a720a7b5" providerId="ADAL" clId="{9D26C270-5461-F844-9688-58D8512A9AEB}" dt="2021-10-28T13:33:46.662" v="16659" actId="1076"/>
          <ac:spMkLst>
            <pc:docMk/>
            <pc:sldMk cId="1933139193" sldId="2145707200"/>
            <ac:spMk id="11" creationId="{82FF3C75-490C-B54F-9FF1-ECF82E386F74}"/>
          </ac:spMkLst>
        </pc:spChg>
        <pc:spChg chg="add mod">
          <ac:chgData name="Nick Robinson" userId="d0c2b313-4ae0-4040-8c6a-fec7a720a7b5" providerId="ADAL" clId="{9D26C270-5461-F844-9688-58D8512A9AEB}" dt="2021-10-29T06:28:39.900" v="17006" actId="14100"/>
          <ac:spMkLst>
            <pc:docMk/>
            <pc:sldMk cId="1933139193" sldId="2145707200"/>
            <ac:spMk id="12" creationId="{EE7A6518-2BAA-674C-9BAB-F4A1386B7480}"/>
          </ac:spMkLst>
        </pc:spChg>
        <pc:spChg chg="add mod">
          <ac:chgData name="Nick Robinson" userId="d0c2b313-4ae0-4040-8c6a-fec7a720a7b5" providerId="ADAL" clId="{9D26C270-5461-F844-9688-58D8512A9AEB}" dt="2021-10-28T13:34:38.650" v="16692" actId="20577"/>
          <ac:spMkLst>
            <pc:docMk/>
            <pc:sldMk cId="1933139193" sldId="2145707200"/>
            <ac:spMk id="13" creationId="{641F9A8F-B02A-4540-B596-3CAA63C7C865}"/>
          </ac:spMkLst>
        </pc:spChg>
        <pc:spChg chg="add mod">
          <ac:chgData name="Nick Robinson" userId="d0c2b313-4ae0-4040-8c6a-fec7a720a7b5" providerId="ADAL" clId="{9D26C270-5461-F844-9688-58D8512A9AEB}" dt="2021-10-29T06:28:14.204" v="17004" actId="20577"/>
          <ac:spMkLst>
            <pc:docMk/>
            <pc:sldMk cId="1933139193" sldId="2145707200"/>
            <ac:spMk id="16" creationId="{F7ACEB61-DED4-EF48-A6D7-6DEA0435F319}"/>
          </ac:spMkLst>
        </pc:spChg>
        <pc:spChg chg="add mod">
          <ac:chgData name="Nick Robinson" userId="d0c2b313-4ae0-4040-8c6a-fec7a720a7b5" providerId="ADAL" clId="{9D26C270-5461-F844-9688-58D8512A9AEB}" dt="2021-10-28T13:33:52.509" v="16679" actId="20577"/>
          <ac:spMkLst>
            <pc:docMk/>
            <pc:sldMk cId="1933139193" sldId="2145707200"/>
            <ac:spMk id="19" creationId="{776F0D82-B8C9-BC4E-B715-64C20213FAE3}"/>
          </ac:spMkLst>
        </pc:spChg>
        <pc:graphicFrameChg chg="del mod modGraphic">
          <ac:chgData name="Nick Robinson" userId="d0c2b313-4ae0-4040-8c6a-fec7a720a7b5" providerId="ADAL" clId="{9D26C270-5461-F844-9688-58D8512A9AEB}" dt="2021-10-27T14:35:17.984" v="4467" actId="478"/>
          <ac:graphicFrameMkLst>
            <pc:docMk/>
            <pc:sldMk cId="1933139193" sldId="2145707200"/>
            <ac:graphicFrameMk id="7" creationId="{0652C58B-32C6-9446-B4B3-CCE2F64D5CB7}"/>
          </ac:graphicFrameMkLst>
        </pc:graphicFrameChg>
        <pc:picChg chg="add del mod">
          <ac:chgData name="Nick Robinson" userId="d0c2b313-4ae0-4040-8c6a-fec7a720a7b5" providerId="ADAL" clId="{9D26C270-5461-F844-9688-58D8512A9AEB}" dt="2021-10-28T12:48:51.367" v="15795" actId="478"/>
          <ac:picMkLst>
            <pc:docMk/>
            <pc:sldMk cId="1933139193" sldId="2145707200"/>
            <ac:picMk id="5" creationId="{E7EAF364-D5C9-E94B-9338-DFCB6BCC67E6}"/>
          </ac:picMkLst>
        </pc:picChg>
        <pc:picChg chg="add del mod">
          <ac:chgData name="Nick Robinson" userId="d0c2b313-4ae0-4040-8c6a-fec7a720a7b5" providerId="ADAL" clId="{9D26C270-5461-F844-9688-58D8512A9AEB}" dt="2021-10-27T14:46:13.152" v="4896" actId="478"/>
          <ac:picMkLst>
            <pc:docMk/>
            <pc:sldMk cId="1933139193" sldId="2145707200"/>
            <ac:picMk id="14" creationId="{DB26D7BA-30FC-224E-A12B-8B4FD283A5B2}"/>
          </ac:picMkLst>
        </pc:picChg>
        <pc:picChg chg="add del mod">
          <ac:chgData name="Nick Robinson" userId="d0c2b313-4ae0-4040-8c6a-fec7a720a7b5" providerId="ADAL" clId="{9D26C270-5461-F844-9688-58D8512A9AEB}" dt="2021-10-27T14:46:28.603" v="4902" actId="478"/>
          <ac:picMkLst>
            <pc:docMk/>
            <pc:sldMk cId="1933139193" sldId="2145707200"/>
            <ac:picMk id="15" creationId="{2D4AC630-71A9-9A41-8DD4-1CE12D81A8F2}"/>
          </ac:picMkLst>
        </pc:picChg>
        <pc:picChg chg="add del mod">
          <ac:chgData name="Nick Robinson" userId="d0c2b313-4ae0-4040-8c6a-fec7a720a7b5" providerId="ADAL" clId="{9D26C270-5461-F844-9688-58D8512A9AEB}" dt="2021-10-27T14:46:35.914" v="4905" actId="478"/>
          <ac:picMkLst>
            <pc:docMk/>
            <pc:sldMk cId="1933139193" sldId="2145707200"/>
            <ac:picMk id="17" creationId="{4D58547B-1EC8-4844-A3E6-820C059493E4}"/>
          </ac:picMkLst>
        </pc:picChg>
        <pc:picChg chg="add del mod">
          <ac:chgData name="Nick Robinson" userId="d0c2b313-4ae0-4040-8c6a-fec7a720a7b5" providerId="ADAL" clId="{9D26C270-5461-F844-9688-58D8512A9AEB}" dt="2021-10-28T12:49:55.053" v="15814" actId="478"/>
          <ac:picMkLst>
            <pc:docMk/>
            <pc:sldMk cId="1933139193" sldId="2145707200"/>
            <ac:picMk id="18" creationId="{07C253B7-FD52-1540-89BA-E06E58EB0FD2}"/>
          </ac:picMkLst>
        </pc:picChg>
        <pc:picChg chg="add mod">
          <ac:chgData name="Nick Robinson" userId="d0c2b313-4ae0-4040-8c6a-fec7a720a7b5" providerId="ADAL" clId="{9D26C270-5461-F844-9688-58D8512A9AEB}" dt="2021-10-28T13:33:46.662" v="16659" actId="1076"/>
          <ac:picMkLst>
            <pc:docMk/>
            <pc:sldMk cId="1933139193" sldId="2145707200"/>
            <ac:picMk id="20" creationId="{636C459F-4505-8146-9999-5497BFE1C954}"/>
          </ac:picMkLst>
        </pc:picChg>
        <pc:picChg chg="add mod">
          <ac:chgData name="Nick Robinson" userId="d0c2b313-4ae0-4040-8c6a-fec7a720a7b5" providerId="ADAL" clId="{9D26C270-5461-F844-9688-58D8512A9AEB}" dt="2021-10-28T13:33:46.662" v="16659" actId="1076"/>
          <ac:picMkLst>
            <pc:docMk/>
            <pc:sldMk cId="1933139193" sldId="2145707200"/>
            <ac:picMk id="21" creationId="{6D662929-31E5-0A40-A197-21DE8670857D}"/>
          </ac:picMkLst>
        </pc:picChg>
        <pc:picChg chg="add mod">
          <ac:chgData name="Nick Robinson" userId="d0c2b313-4ae0-4040-8c6a-fec7a720a7b5" providerId="ADAL" clId="{9D26C270-5461-F844-9688-58D8512A9AEB}" dt="2021-10-28T13:33:35.714" v="16656" actId="1076"/>
          <ac:picMkLst>
            <pc:docMk/>
            <pc:sldMk cId="1933139193" sldId="2145707200"/>
            <ac:picMk id="22" creationId="{2E865A1E-40FA-984C-A91E-AB6D76E460CF}"/>
          </ac:picMkLst>
        </pc:picChg>
        <pc:picChg chg="add mod">
          <ac:chgData name="Nick Robinson" userId="d0c2b313-4ae0-4040-8c6a-fec7a720a7b5" providerId="ADAL" clId="{9D26C270-5461-F844-9688-58D8512A9AEB}" dt="2021-10-28T13:33:35.714" v="16656" actId="1076"/>
          <ac:picMkLst>
            <pc:docMk/>
            <pc:sldMk cId="1933139193" sldId="2145707200"/>
            <ac:picMk id="23" creationId="{F2C546D2-E384-494D-B483-FF091B50B847}"/>
          </ac:picMkLst>
        </pc:picChg>
        <pc:cxnChg chg="add mod">
          <ac:chgData name="Nick Robinson" userId="d0c2b313-4ae0-4040-8c6a-fec7a720a7b5" providerId="ADAL" clId="{9D26C270-5461-F844-9688-58D8512A9AEB}" dt="2021-11-03T18:08:16.862" v="27333" actId="1037"/>
          <ac:cxnSpMkLst>
            <pc:docMk/>
            <pc:sldMk cId="1933139193" sldId="2145707200"/>
            <ac:cxnSpMk id="9" creationId="{45BC21A9-BD0B-334F-8289-CF40B2AA2F6C}"/>
          </ac:cxnSpMkLst>
        </pc:cxnChg>
      </pc:sldChg>
      <pc:sldChg chg="addSp delSp modSp add mod modShow">
        <pc:chgData name="Nick Robinson" userId="d0c2b313-4ae0-4040-8c6a-fec7a720a7b5" providerId="ADAL" clId="{9D26C270-5461-F844-9688-58D8512A9AEB}" dt="2021-11-08T11:36:43.817" v="57062"/>
        <pc:sldMkLst>
          <pc:docMk/>
          <pc:sldMk cId="552946183" sldId="2145707201"/>
        </pc:sldMkLst>
        <pc:spChg chg="mod">
          <ac:chgData name="Nick Robinson" userId="d0c2b313-4ae0-4040-8c6a-fec7a720a7b5" providerId="ADAL" clId="{9D26C270-5461-F844-9688-58D8512A9AEB}" dt="2021-10-27T16:07:37.646" v="5190" actId="14100"/>
          <ac:spMkLst>
            <pc:docMk/>
            <pc:sldMk cId="552946183" sldId="2145707201"/>
            <ac:spMk id="2" creationId="{00000000-0000-0000-0000-000000000000}"/>
          </ac:spMkLst>
        </pc:spChg>
        <pc:spChg chg="add del mod">
          <ac:chgData name="Nick Robinson" userId="d0c2b313-4ae0-4040-8c6a-fec7a720a7b5" providerId="ADAL" clId="{9D26C270-5461-F844-9688-58D8512A9AEB}" dt="2021-10-28T07:59:45.189" v="7652" actId="478"/>
          <ac:spMkLst>
            <pc:docMk/>
            <pc:sldMk cId="552946183" sldId="2145707201"/>
            <ac:spMk id="5" creationId="{36E57A76-CE73-704A-AAFA-7B9B811AE25D}"/>
          </ac:spMkLst>
        </pc:spChg>
        <pc:spChg chg="add mod">
          <ac:chgData name="Nick Robinson" userId="d0c2b313-4ae0-4040-8c6a-fec7a720a7b5" providerId="ADAL" clId="{9D26C270-5461-F844-9688-58D8512A9AEB}" dt="2021-10-28T08:04:41.530" v="7730" actId="14100"/>
          <ac:spMkLst>
            <pc:docMk/>
            <pc:sldMk cId="552946183" sldId="2145707201"/>
            <ac:spMk id="8" creationId="{312CFC3D-757A-4147-9D9A-36A53E5300D6}"/>
          </ac:spMkLst>
        </pc:spChg>
        <pc:spChg chg="add del mod">
          <ac:chgData name="Nick Robinson" userId="d0c2b313-4ae0-4040-8c6a-fec7a720a7b5" providerId="ADAL" clId="{9D26C270-5461-F844-9688-58D8512A9AEB}" dt="2021-10-27T16:12:32.180" v="5311" actId="478"/>
          <ac:spMkLst>
            <pc:docMk/>
            <pc:sldMk cId="552946183" sldId="2145707201"/>
            <ac:spMk id="9" creationId="{2ED69B6D-301C-3E46-9A73-7507C9CB83B8}"/>
          </ac:spMkLst>
        </pc:spChg>
        <pc:spChg chg="add del mod">
          <ac:chgData name="Nick Robinson" userId="d0c2b313-4ae0-4040-8c6a-fec7a720a7b5" providerId="ADAL" clId="{9D26C270-5461-F844-9688-58D8512A9AEB}" dt="2021-10-28T07:55:07.820" v="7565" actId="478"/>
          <ac:spMkLst>
            <pc:docMk/>
            <pc:sldMk cId="552946183" sldId="2145707201"/>
            <ac:spMk id="10" creationId="{83B635AC-6D0E-D745-A3EC-F41A1D3FF2F4}"/>
          </ac:spMkLst>
        </pc:spChg>
        <pc:spChg chg="add del mod">
          <ac:chgData name="Nick Robinson" userId="d0c2b313-4ae0-4040-8c6a-fec7a720a7b5" providerId="ADAL" clId="{9D26C270-5461-F844-9688-58D8512A9AEB}" dt="2021-10-28T07:59:03.686" v="7644" actId="478"/>
          <ac:spMkLst>
            <pc:docMk/>
            <pc:sldMk cId="552946183" sldId="2145707201"/>
            <ac:spMk id="11" creationId="{E77DA4AA-CE9B-614E-B2E5-704A618BDB6E}"/>
          </ac:spMkLst>
        </pc:spChg>
        <pc:spChg chg="mod">
          <ac:chgData name="Nick Robinson" userId="d0c2b313-4ae0-4040-8c6a-fec7a720a7b5" providerId="ADAL" clId="{9D26C270-5461-F844-9688-58D8512A9AEB}" dt="2021-10-28T07:57:27.832" v="7604" actId="14100"/>
          <ac:spMkLst>
            <pc:docMk/>
            <pc:sldMk cId="552946183" sldId="2145707201"/>
            <ac:spMk id="14" creationId="{01868D03-2D0A-2246-9A7C-8DCB27F031CA}"/>
          </ac:spMkLst>
        </pc:spChg>
        <pc:spChg chg="mod">
          <ac:chgData name="Nick Robinson" userId="d0c2b313-4ae0-4040-8c6a-fec7a720a7b5" providerId="ADAL" clId="{9D26C270-5461-F844-9688-58D8512A9AEB}" dt="2021-11-08T11:36:43.817" v="57062"/>
          <ac:spMkLst>
            <pc:docMk/>
            <pc:sldMk cId="552946183" sldId="2145707201"/>
            <ac:spMk id="15" creationId="{8A7862F1-2170-1F40-AF46-62C0FD0A0C35}"/>
          </ac:spMkLst>
        </pc:spChg>
        <pc:spChg chg="mod">
          <ac:chgData name="Nick Robinson" userId="d0c2b313-4ae0-4040-8c6a-fec7a720a7b5" providerId="ADAL" clId="{9D26C270-5461-F844-9688-58D8512A9AEB}" dt="2021-10-28T07:58:00.222" v="7632" actId="20577"/>
          <ac:spMkLst>
            <pc:docMk/>
            <pc:sldMk cId="552946183" sldId="2145707201"/>
            <ac:spMk id="17" creationId="{AE32601C-CD9F-3349-8D84-DD20F0651E9F}"/>
          </ac:spMkLst>
        </pc:spChg>
        <pc:spChg chg="mod">
          <ac:chgData name="Nick Robinson" userId="d0c2b313-4ae0-4040-8c6a-fec7a720a7b5" providerId="ADAL" clId="{9D26C270-5461-F844-9688-58D8512A9AEB}" dt="2021-11-08T11:36:43.817" v="57062"/>
          <ac:spMkLst>
            <pc:docMk/>
            <pc:sldMk cId="552946183" sldId="2145707201"/>
            <ac:spMk id="18" creationId="{A1F917BB-0F72-7F45-BE9B-9F155D30B64D}"/>
          </ac:spMkLst>
        </pc:spChg>
        <pc:spChg chg="add del mod">
          <ac:chgData name="Nick Robinson" userId="d0c2b313-4ae0-4040-8c6a-fec7a720a7b5" providerId="ADAL" clId="{9D26C270-5461-F844-9688-58D8512A9AEB}" dt="2021-10-28T08:02:04.340" v="7693" actId="478"/>
          <ac:spMkLst>
            <pc:docMk/>
            <pc:sldMk cId="552946183" sldId="2145707201"/>
            <ac:spMk id="19" creationId="{644D9735-C8EB-5B42-85A8-45692241E209}"/>
          </ac:spMkLst>
        </pc:spChg>
        <pc:spChg chg="mod">
          <ac:chgData name="Nick Robinson" userId="d0c2b313-4ae0-4040-8c6a-fec7a720a7b5" providerId="ADAL" clId="{9D26C270-5461-F844-9688-58D8512A9AEB}" dt="2021-10-28T08:01:49.753" v="7690" actId="20577"/>
          <ac:spMkLst>
            <pc:docMk/>
            <pc:sldMk cId="552946183" sldId="2145707201"/>
            <ac:spMk id="21" creationId="{F8C7EE2F-156D-9C46-9C54-74AE4B2D2351}"/>
          </ac:spMkLst>
        </pc:spChg>
        <pc:spChg chg="mod">
          <ac:chgData name="Nick Robinson" userId="d0c2b313-4ae0-4040-8c6a-fec7a720a7b5" providerId="ADAL" clId="{9D26C270-5461-F844-9688-58D8512A9AEB}" dt="2021-11-08T11:36:43.817" v="57062"/>
          <ac:spMkLst>
            <pc:docMk/>
            <pc:sldMk cId="552946183" sldId="2145707201"/>
            <ac:spMk id="22" creationId="{BE24D51A-C253-E440-BDA3-129E56ED0252}"/>
          </ac:spMkLst>
        </pc:spChg>
        <pc:spChg chg="add del mod">
          <ac:chgData name="Nick Robinson" userId="d0c2b313-4ae0-4040-8c6a-fec7a720a7b5" providerId="ADAL" clId="{9D26C270-5461-F844-9688-58D8512A9AEB}" dt="2021-10-29T06:37:40.025" v="18359" actId="20577"/>
          <ac:spMkLst>
            <pc:docMk/>
            <pc:sldMk cId="552946183" sldId="2145707201"/>
            <ac:spMk id="23" creationId="{124A4D85-156A-894F-B6F1-EA7ED1F5CA89}"/>
          </ac:spMkLst>
        </pc:spChg>
        <pc:grpChg chg="add mod">
          <ac:chgData name="Nick Robinson" userId="d0c2b313-4ae0-4040-8c6a-fec7a720a7b5" providerId="ADAL" clId="{9D26C270-5461-F844-9688-58D8512A9AEB}" dt="2021-10-28T08:01:26.290" v="7667" actId="14100"/>
          <ac:grpSpMkLst>
            <pc:docMk/>
            <pc:sldMk cId="552946183" sldId="2145707201"/>
            <ac:grpSpMk id="13" creationId="{8DCCAF5B-0002-B042-8A1F-E5E8036CC1B2}"/>
          </ac:grpSpMkLst>
        </pc:grpChg>
        <pc:grpChg chg="add mod">
          <ac:chgData name="Nick Robinson" userId="d0c2b313-4ae0-4040-8c6a-fec7a720a7b5" providerId="ADAL" clId="{9D26C270-5461-F844-9688-58D8512A9AEB}" dt="2021-10-28T08:01:07.941" v="7664" actId="1076"/>
          <ac:grpSpMkLst>
            <pc:docMk/>
            <pc:sldMk cId="552946183" sldId="2145707201"/>
            <ac:grpSpMk id="16" creationId="{01872759-FDED-AF4A-9A9C-327B60F60001}"/>
          </ac:grpSpMkLst>
        </pc:grpChg>
        <pc:grpChg chg="add mod">
          <ac:chgData name="Nick Robinson" userId="d0c2b313-4ae0-4040-8c6a-fec7a720a7b5" providerId="ADAL" clId="{9D26C270-5461-F844-9688-58D8512A9AEB}" dt="2021-10-28T08:02:16.143" v="7694" actId="1076"/>
          <ac:grpSpMkLst>
            <pc:docMk/>
            <pc:sldMk cId="552946183" sldId="2145707201"/>
            <ac:grpSpMk id="20" creationId="{0C805AEE-C609-4341-AEB4-6FD2B552FC46}"/>
          </ac:grpSpMkLst>
        </pc:grpChg>
        <pc:graphicFrameChg chg="del">
          <ac:chgData name="Nick Robinson" userId="d0c2b313-4ae0-4040-8c6a-fec7a720a7b5" providerId="ADAL" clId="{9D26C270-5461-F844-9688-58D8512A9AEB}" dt="2021-10-27T14:14:16.563" v="3727" actId="478"/>
          <ac:graphicFrameMkLst>
            <pc:docMk/>
            <pc:sldMk cId="552946183" sldId="2145707201"/>
            <ac:graphicFrameMk id="7" creationId="{0652C58B-32C6-9446-B4B3-CCE2F64D5CB7}"/>
          </ac:graphicFrameMkLst>
        </pc:graphicFrameChg>
        <pc:picChg chg="add mod">
          <ac:chgData name="Nick Robinson" userId="d0c2b313-4ae0-4040-8c6a-fec7a720a7b5" providerId="ADAL" clId="{9D26C270-5461-F844-9688-58D8512A9AEB}" dt="2021-10-27T16:07:39.296" v="5193" actId="1035"/>
          <ac:picMkLst>
            <pc:docMk/>
            <pc:sldMk cId="552946183" sldId="2145707201"/>
            <ac:picMk id="12" creationId="{60F226B5-544C-FF43-A1BB-639E7793E597}"/>
          </ac:picMkLst>
        </pc:picChg>
      </pc:sldChg>
      <pc:sldChg chg="addSp modSp add del mod ord modShow">
        <pc:chgData name="Nick Robinson" userId="d0c2b313-4ae0-4040-8c6a-fec7a720a7b5" providerId="ADAL" clId="{9D26C270-5461-F844-9688-58D8512A9AEB}" dt="2021-10-28T09:06:00.041" v="9887" actId="2696"/>
        <pc:sldMkLst>
          <pc:docMk/>
          <pc:sldMk cId="2855966177" sldId="2145707202"/>
        </pc:sldMkLst>
        <pc:spChg chg="add mod">
          <ac:chgData name="Nick Robinson" userId="d0c2b313-4ae0-4040-8c6a-fec7a720a7b5" providerId="ADAL" clId="{9D26C270-5461-F844-9688-58D8512A9AEB}" dt="2021-10-28T08:29:32.028" v="8273" actId="20577"/>
          <ac:spMkLst>
            <pc:docMk/>
            <pc:sldMk cId="2855966177" sldId="2145707202"/>
            <ac:spMk id="8" creationId="{11BFE6CC-9A9E-384B-AD28-5267665B9509}"/>
          </ac:spMkLst>
        </pc:spChg>
        <pc:graphicFrameChg chg="mod">
          <ac:chgData name="Nick Robinson" userId="d0c2b313-4ae0-4040-8c6a-fec7a720a7b5" providerId="ADAL" clId="{9D26C270-5461-F844-9688-58D8512A9AEB}" dt="2021-10-28T08:25:40.453" v="7782" actId="1076"/>
          <ac:graphicFrameMkLst>
            <pc:docMk/>
            <pc:sldMk cId="2855966177" sldId="2145707202"/>
            <ac:graphicFrameMk id="7" creationId="{0652C58B-32C6-9446-B4B3-CCE2F64D5CB7}"/>
          </ac:graphicFrameMkLst>
        </pc:graphicFrameChg>
      </pc:sldChg>
      <pc:sldChg chg="modSp add mod">
        <pc:chgData name="Nick Robinson" userId="d0c2b313-4ae0-4040-8c6a-fec7a720a7b5" providerId="ADAL" clId="{9D26C270-5461-F844-9688-58D8512A9AEB}" dt="2021-10-27T15:56:58.268" v="5069" actId="12"/>
        <pc:sldMkLst>
          <pc:docMk/>
          <pc:sldMk cId="4143148250" sldId="2145707203"/>
        </pc:sldMkLst>
        <pc:graphicFrameChg chg="mod modGraphic">
          <ac:chgData name="Nick Robinson" userId="d0c2b313-4ae0-4040-8c6a-fec7a720a7b5" providerId="ADAL" clId="{9D26C270-5461-F844-9688-58D8512A9AEB}" dt="2021-10-27T15:56:58.268" v="5069" actId="12"/>
          <ac:graphicFrameMkLst>
            <pc:docMk/>
            <pc:sldMk cId="4143148250" sldId="2145707203"/>
            <ac:graphicFrameMk id="7" creationId="{0652C58B-32C6-9446-B4B3-CCE2F64D5CB7}"/>
          </ac:graphicFrameMkLst>
        </pc:graphicFrameChg>
      </pc:sldChg>
      <pc:sldChg chg="modSp">
        <pc:chgData name="Nick Robinson" userId="d0c2b313-4ae0-4040-8c6a-fec7a720a7b5" providerId="ADAL" clId="{9D26C270-5461-F844-9688-58D8512A9AEB}" dt="2021-11-08T11:36:43.817" v="57062"/>
        <pc:sldMkLst>
          <pc:docMk/>
          <pc:sldMk cId="2787873799" sldId="2145707204"/>
        </pc:sldMkLst>
        <pc:graphicFrameChg chg="mod">
          <ac:chgData name="Nick Robinson" userId="d0c2b313-4ae0-4040-8c6a-fec7a720a7b5" providerId="ADAL" clId="{9D26C270-5461-F844-9688-58D8512A9AEB}" dt="2021-11-08T11:36:43.817" v="57062"/>
          <ac:graphicFrameMkLst>
            <pc:docMk/>
            <pc:sldMk cId="2787873799" sldId="2145707204"/>
            <ac:graphicFrameMk id="7" creationId="{0652C58B-32C6-9446-B4B3-CCE2F64D5CB7}"/>
          </ac:graphicFrameMkLst>
        </pc:graphicFrameChg>
      </pc:sldChg>
      <pc:sldChg chg="modSp">
        <pc:chgData name="Nick Robinson" userId="d0c2b313-4ae0-4040-8c6a-fec7a720a7b5" providerId="ADAL" clId="{9D26C270-5461-F844-9688-58D8512A9AEB}" dt="2021-11-08T11:36:43.817" v="57062"/>
        <pc:sldMkLst>
          <pc:docMk/>
          <pc:sldMk cId="3351432992" sldId="2145707205"/>
        </pc:sldMkLst>
        <pc:graphicFrameChg chg="mod">
          <ac:chgData name="Nick Robinson" userId="d0c2b313-4ae0-4040-8c6a-fec7a720a7b5" providerId="ADAL" clId="{9D26C270-5461-F844-9688-58D8512A9AEB}" dt="2021-11-08T11:36:43.817" v="57062"/>
          <ac:graphicFrameMkLst>
            <pc:docMk/>
            <pc:sldMk cId="3351432992" sldId="2145707205"/>
            <ac:graphicFrameMk id="5" creationId="{A1A1E082-93A7-2341-B277-5872BC7FB95B}"/>
          </ac:graphicFrameMkLst>
        </pc:graphicFrameChg>
      </pc:sldChg>
      <pc:sldChg chg="addSp delSp modSp mod ord modShow">
        <pc:chgData name="Nick Robinson" userId="d0c2b313-4ae0-4040-8c6a-fec7a720a7b5" providerId="ADAL" clId="{9D26C270-5461-F844-9688-58D8512A9AEB}" dt="2021-11-08T11:36:43.817" v="57062"/>
        <pc:sldMkLst>
          <pc:docMk/>
          <pc:sldMk cId="1352740164" sldId="2145707206"/>
        </pc:sldMkLst>
        <pc:spChg chg="add mod">
          <ac:chgData name="Nick Robinson" userId="d0c2b313-4ae0-4040-8c6a-fec7a720a7b5" providerId="ADAL" clId="{9D26C270-5461-F844-9688-58D8512A9AEB}" dt="2021-10-27T16:01:44.490" v="5083"/>
          <ac:spMkLst>
            <pc:docMk/>
            <pc:sldMk cId="1352740164" sldId="2145707206"/>
            <ac:spMk id="8" creationId="{35756758-5DAC-2B42-AA11-8F58D9B6F48E}"/>
          </ac:spMkLst>
        </pc:spChg>
        <pc:spChg chg="mod">
          <ac:chgData name="Nick Robinson" userId="d0c2b313-4ae0-4040-8c6a-fec7a720a7b5" providerId="ADAL" clId="{9D26C270-5461-F844-9688-58D8512A9AEB}" dt="2021-11-08T11:36:43.817" v="57062"/>
          <ac:spMkLst>
            <pc:docMk/>
            <pc:sldMk cId="1352740164" sldId="2145707206"/>
            <ac:spMk id="9" creationId="{0E21E275-F6DD-E647-AA25-29499D14E0C6}"/>
          </ac:spMkLst>
        </pc:spChg>
        <pc:spChg chg="add del mod">
          <ac:chgData name="Nick Robinson" userId="d0c2b313-4ae0-4040-8c6a-fec7a720a7b5" providerId="ADAL" clId="{9D26C270-5461-F844-9688-58D8512A9AEB}" dt="2021-11-04T08:22:50.193" v="27790" actId="478"/>
          <ac:spMkLst>
            <pc:docMk/>
            <pc:sldMk cId="1352740164" sldId="2145707206"/>
            <ac:spMk id="16" creationId="{F019A805-3949-7C41-994F-8A40B6E6C863}"/>
          </ac:spMkLst>
        </pc:spChg>
        <pc:spChg chg="add mod">
          <ac:chgData name="Nick Robinson" userId="d0c2b313-4ae0-4040-8c6a-fec7a720a7b5" providerId="ADAL" clId="{9D26C270-5461-F844-9688-58D8512A9AEB}" dt="2021-11-04T08:23:03.921" v="27838" actId="20577"/>
          <ac:spMkLst>
            <pc:docMk/>
            <pc:sldMk cId="1352740164" sldId="2145707206"/>
            <ac:spMk id="18" creationId="{55B7A6DE-8032-6943-904B-7122F46C8ABA}"/>
          </ac:spMkLst>
        </pc:spChg>
        <pc:graphicFrameChg chg="mod modGraphic">
          <ac:chgData name="Nick Robinson" userId="d0c2b313-4ae0-4040-8c6a-fec7a720a7b5" providerId="ADAL" clId="{9D26C270-5461-F844-9688-58D8512A9AEB}" dt="2021-10-29T06:29:56.364" v="17057" actId="20577"/>
          <ac:graphicFrameMkLst>
            <pc:docMk/>
            <pc:sldMk cId="1352740164" sldId="2145707206"/>
            <ac:graphicFrameMk id="7" creationId="{0652C58B-32C6-9446-B4B3-CCE2F64D5CB7}"/>
          </ac:graphicFrameMkLst>
        </pc:graphicFrameChg>
        <pc:picChg chg="add mod">
          <ac:chgData name="Nick Robinson" userId="d0c2b313-4ae0-4040-8c6a-fec7a720a7b5" providerId="ADAL" clId="{9D26C270-5461-F844-9688-58D8512A9AEB}" dt="2021-10-28T08:24:57.643" v="7781" actId="1035"/>
          <ac:picMkLst>
            <pc:docMk/>
            <pc:sldMk cId="1352740164" sldId="2145707206"/>
            <ac:picMk id="11" creationId="{547A6859-B369-8041-80AA-0A1311EBF4A7}"/>
          </ac:picMkLst>
        </pc:picChg>
        <pc:picChg chg="add del mod">
          <ac:chgData name="Nick Robinson" userId="d0c2b313-4ae0-4040-8c6a-fec7a720a7b5" providerId="ADAL" clId="{9D26C270-5461-F844-9688-58D8512A9AEB}" dt="2021-10-27T16:03:50.008" v="5111" actId="478"/>
          <ac:picMkLst>
            <pc:docMk/>
            <pc:sldMk cId="1352740164" sldId="2145707206"/>
            <ac:picMk id="13" creationId="{638C7349-4BA4-FB42-B313-6895CDED6388}"/>
          </ac:picMkLst>
        </pc:picChg>
        <pc:picChg chg="add mod">
          <ac:chgData name="Nick Robinson" userId="d0c2b313-4ae0-4040-8c6a-fec7a720a7b5" providerId="ADAL" clId="{9D26C270-5461-F844-9688-58D8512A9AEB}" dt="2021-10-28T08:24:57.643" v="7781" actId="1035"/>
          <ac:picMkLst>
            <pc:docMk/>
            <pc:sldMk cId="1352740164" sldId="2145707206"/>
            <ac:picMk id="15" creationId="{B9FC9CE0-F740-0B44-A8C8-42715430AA2B}"/>
          </ac:picMkLst>
        </pc:picChg>
        <pc:picChg chg="add mod">
          <ac:chgData name="Nick Robinson" userId="d0c2b313-4ae0-4040-8c6a-fec7a720a7b5" providerId="ADAL" clId="{9D26C270-5461-F844-9688-58D8512A9AEB}" dt="2021-10-28T08:24:57.643" v="7781" actId="1035"/>
          <ac:picMkLst>
            <pc:docMk/>
            <pc:sldMk cId="1352740164" sldId="2145707206"/>
            <ac:picMk id="17" creationId="{8C05A87F-A91C-F74A-84F3-4041D9EF279A}"/>
          </ac:picMkLst>
        </pc:picChg>
        <pc:picChg chg="add del mod">
          <ac:chgData name="Nick Robinson" userId="d0c2b313-4ae0-4040-8c6a-fec7a720a7b5" providerId="ADAL" clId="{9D26C270-5461-F844-9688-58D8512A9AEB}" dt="2021-10-27T16:04:40.004" v="5119" actId="478"/>
          <ac:picMkLst>
            <pc:docMk/>
            <pc:sldMk cId="1352740164" sldId="2145707206"/>
            <ac:picMk id="19" creationId="{7DB83D08-A6AF-F24F-AC7D-87BFB65D44B2}"/>
          </ac:picMkLst>
        </pc:picChg>
        <pc:picChg chg="add mod">
          <ac:chgData name="Nick Robinson" userId="d0c2b313-4ae0-4040-8c6a-fec7a720a7b5" providerId="ADAL" clId="{9D26C270-5461-F844-9688-58D8512A9AEB}" dt="2021-10-28T08:24:57.643" v="7781" actId="1035"/>
          <ac:picMkLst>
            <pc:docMk/>
            <pc:sldMk cId="1352740164" sldId="2145707206"/>
            <ac:picMk id="21" creationId="{8EEAFA2E-7BFE-C54B-9E83-C29A15992FE2}"/>
          </ac:picMkLst>
        </pc:picChg>
        <pc:picChg chg="add mod">
          <ac:chgData name="Nick Robinson" userId="d0c2b313-4ae0-4040-8c6a-fec7a720a7b5" providerId="ADAL" clId="{9D26C270-5461-F844-9688-58D8512A9AEB}" dt="2021-10-28T08:24:57.643" v="7781" actId="1035"/>
          <ac:picMkLst>
            <pc:docMk/>
            <pc:sldMk cId="1352740164" sldId="2145707206"/>
            <ac:picMk id="23" creationId="{AC537BED-AC2A-6E41-96B7-0BED74719E3A}"/>
          </ac:picMkLst>
        </pc:picChg>
        <pc:picChg chg="add mod">
          <ac:chgData name="Nick Robinson" userId="d0c2b313-4ae0-4040-8c6a-fec7a720a7b5" providerId="ADAL" clId="{9D26C270-5461-F844-9688-58D8512A9AEB}" dt="2021-10-28T08:24:57.643" v="7781" actId="1035"/>
          <ac:picMkLst>
            <pc:docMk/>
            <pc:sldMk cId="1352740164" sldId="2145707206"/>
            <ac:picMk id="25" creationId="{7105EA1B-0D3A-0648-8994-79EBFFF1ABF3}"/>
          </ac:picMkLst>
        </pc:picChg>
      </pc:sldChg>
      <pc:sldChg chg="addSp delSp modSp add mod ord">
        <pc:chgData name="Nick Robinson" userId="d0c2b313-4ae0-4040-8c6a-fec7a720a7b5" providerId="ADAL" clId="{9D26C270-5461-F844-9688-58D8512A9AEB}" dt="2021-11-08T11:36:43.817" v="57062"/>
        <pc:sldMkLst>
          <pc:docMk/>
          <pc:sldMk cId="1000800879" sldId="2145707207"/>
        </pc:sldMkLst>
        <pc:spChg chg="mod">
          <ac:chgData name="Nick Robinson" userId="d0c2b313-4ae0-4040-8c6a-fec7a720a7b5" providerId="ADAL" clId="{9D26C270-5461-F844-9688-58D8512A9AEB}" dt="2021-11-08T11:36:43.817" v="57062"/>
          <ac:spMkLst>
            <pc:docMk/>
            <pc:sldMk cId="1000800879" sldId="2145707207"/>
            <ac:spMk id="2" creationId="{00000000-0000-0000-0000-000000000000}"/>
          </ac:spMkLst>
        </pc:spChg>
        <pc:spChg chg="del mod">
          <ac:chgData name="Nick Robinson" userId="d0c2b313-4ae0-4040-8c6a-fec7a720a7b5" providerId="ADAL" clId="{9D26C270-5461-F844-9688-58D8512A9AEB}" dt="2021-10-28T09:13:06.164" v="10618" actId="478"/>
          <ac:spMkLst>
            <pc:docMk/>
            <pc:sldMk cId="1000800879" sldId="2145707207"/>
            <ac:spMk id="5" creationId="{36E57A76-CE73-704A-AAFA-7B9B811AE25D}"/>
          </ac:spMkLst>
        </pc:spChg>
        <pc:spChg chg="add del mod">
          <ac:chgData name="Nick Robinson" userId="d0c2b313-4ae0-4040-8c6a-fec7a720a7b5" providerId="ADAL" clId="{9D26C270-5461-F844-9688-58D8512A9AEB}" dt="2021-10-29T12:38:30.701" v="23364"/>
          <ac:spMkLst>
            <pc:docMk/>
            <pc:sldMk cId="1000800879" sldId="2145707207"/>
            <ac:spMk id="5" creationId="{D5B7A2B4-C979-5543-ACE6-5696F08CC783}"/>
          </ac:spMkLst>
        </pc:spChg>
        <pc:spChg chg="add del mod">
          <ac:chgData name="Nick Robinson" userId="d0c2b313-4ae0-4040-8c6a-fec7a720a7b5" providerId="ADAL" clId="{9D26C270-5461-F844-9688-58D8512A9AEB}" dt="2021-11-08T08:29:59.759" v="54392" actId="478"/>
          <ac:spMkLst>
            <pc:docMk/>
            <pc:sldMk cId="1000800879" sldId="2145707207"/>
            <ac:spMk id="7" creationId="{AB836920-EB4D-DA4B-BA96-450771AA3E63}"/>
          </ac:spMkLst>
        </pc:spChg>
        <pc:spChg chg="del mod">
          <ac:chgData name="Nick Robinson" userId="d0c2b313-4ae0-4040-8c6a-fec7a720a7b5" providerId="ADAL" clId="{9D26C270-5461-F844-9688-58D8512A9AEB}" dt="2021-10-28T09:13:07.299" v="10619" actId="478"/>
          <ac:spMkLst>
            <pc:docMk/>
            <pc:sldMk cId="1000800879" sldId="2145707207"/>
            <ac:spMk id="8" creationId="{312CFC3D-757A-4147-9D9A-36A53E5300D6}"/>
          </ac:spMkLst>
        </pc:spChg>
        <pc:spChg chg="del">
          <ac:chgData name="Nick Robinson" userId="d0c2b313-4ae0-4040-8c6a-fec7a720a7b5" providerId="ADAL" clId="{9D26C270-5461-F844-9688-58D8512A9AEB}" dt="2021-10-28T09:13:04.211" v="10617" actId="478"/>
          <ac:spMkLst>
            <pc:docMk/>
            <pc:sldMk cId="1000800879" sldId="2145707207"/>
            <ac:spMk id="10" creationId="{83B635AC-6D0E-D745-A3EC-F41A1D3FF2F4}"/>
          </ac:spMkLst>
        </pc:spChg>
        <pc:spChg chg="del mod">
          <ac:chgData name="Nick Robinson" userId="d0c2b313-4ae0-4040-8c6a-fec7a720a7b5" providerId="ADAL" clId="{9D26C270-5461-F844-9688-58D8512A9AEB}" dt="2021-10-28T07:34:35.513" v="6747" actId="478"/>
          <ac:spMkLst>
            <pc:docMk/>
            <pc:sldMk cId="1000800879" sldId="2145707207"/>
            <ac:spMk id="11" creationId="{E77DA4AA-CE9B-614E-B2E5-704A618BDB6E}"/>
          </ac:spMkLst>
        </pc:spChg>
        <pc:spChg chg="add del mod">
          <ac:chgData name="Nick Robinson" userId="d0c2b313-4ae0-4040-8c6a-fec7a720a7b5" providerId="ADAL" clId="{9D26C270-5461-F844-9688-58D8512A9AEB}" dt="2021-10-28T09:12:54.525" v="10616" actId="478"/>
          <ac:spMkLst>
            <pc:docMk/>
            <pc:sldMk cId="1000800879" sldId="2145707207"/>
            <ac:spMk id="14" creationId="{D157C7DC-E35F-F245-8420-C2C0B0CB941E}"/>
          </ac:spMkLst>
        </pc:spChg>
        <pc:spChg chg="add del mod">
          <ac:chgData name="Nick Robinson" userId="d0c2b313-4ae0-4040-8c6a-fec7a720a7b5" providerId="ADAL" clId="{9D26C270-5461-F844-9688-58D8512A9AEB}" dt="2021-11-07T20:03:49.870" v="52570" actId="478"/>
          <ac:spMkLst>
            <pc:docMk/>
            <pc:sldMk cId="1000800879" sldId="2145707207"/>
            <ac:spMk id="15" creationId="{D52003E6-351B-F549-85A3-AE74C3FEB25D}"/>
          </ac:spMkLst>
        </pc:spChg>
        <pc:spChg chg="add mod">
          <ac:chgData name="Nick Robinson" userId="d0c2b313-4ae0-4040-8c6a-fec7a720a7b5" providerId="ADAL" clId="{9D26C270-5461-F844-9688-58D8512A9AEB}" dt="2021-11-08T11:36:43.817" v="57062"/>
          <ac:spMkLst>
            <pc:docMk/>
            <pc:sldMk cId="1000800879" sldId="2145707207"/>
            <ac:spMk id="16" creationId="{F715D659-0B3D-3441-8784-EDED0A7173C7}"/>
          </ac:spMkLst>
        </pc:spChg>
        <pc:spChg chg="mod">
          <ac:chgData name="Nick Robinson" userId="d0c2b313-4ae0-4040-8c6a-fec7a720a7b5" providerId="ADAL" clId="{9D26C270-5461-F844-9688-58D8512A9AEB}" dt="2021-10-28T09:13:09.812" v="10620"/>
          <ac:spMkLst>
            <pc:docMk/>
            <pc:sldMk cId="1000800879" sldId="2145707207"/>
            <ac:spMk id="18" creationId="{EB197626-4418-9546-B2D3-D67C10A60EA7}"/>
          </ac:spMkLst>
        </pc:spChg>
        <pc:spChg chg="mod">
          <ac:chgData name="Nick Robinson" userId="d0c2b313-4ae0-4040-8c6a-fec7a720a7b5" providerId="ADAL" clId="{9D26C270-5461-F844-9688-58D8512A9AEB}" dt="2021-10-28T09:13:20.764" v="10631" actId="20577"/>
          <ac:spMkLst>
            <pc:docMk/>
            <pc:sldMk cId="1000800879" sldId="2145707207"/>
            <ac:spMk id="19" creationId="{6D014537-65C5-6A4B-AE02-C418EA775AF8}"/>
          </ac:spMkLst>
        </pc:spChg>
        <pc:spChg chg="mod">
          <ac:chgData name="Nick Robinson" userId="d0c2b313-4ae0-4040-8c6a-fec7a720a7b5" providerId="ADAL" clId="{9D26C270-5461-F844-9688-58D8512A9AEB}" dt="2021-10-28T09:13:09.812" v="10620"/>
          <ac:spMkLst>
            <pc:docMk/>
            <pc:sldMk cId="1000800879" sldId="2145707207"/>
            <ac:spMk id="21" creationId="{836814DB-B7A5-0C42-8074-DE06FA285CF4}"/>
          </ac:spMkLst>
        </pc:spChg>
        <pc:spChg chg="mod">
          <ac:chgData name="Nick Robinson" userId="d0c2b313-4ae0-4040-8c6a-fec7a720a7b5" providerId="ADAL" clId="{9D26C270-5461-F844-9688-58D8512A9AEB}" dt="2021-10-28T09:13:09.812" v="10620"/>
          <ac:spMkLst>
            <pc:docMk/>
            <pc:sldMk cId="1000800879" sldId="2145707207"/>
            <ac:spMk id="22" creationId="{2A408C95-8E62-BF45-AE08-E03BB4D3307A}"/>
          </ac:spMkLst>
        </pc:spChg>
        <pc:spChg chg="mod">
          <ac:chgData name="Nick Robinson" userId="d0c2b313-4ae0-4040-8c6a-fec7a720a7b5" providerId="ADAL" clId="{9D26C270-5461-F844-9688-58D8512A9AEB}" dt="2021-10-28T09:13:09.812" v="10620"/>
          <ac:spMkLst>
            <pc:docMk/>
            <pc:sldMk cId="1000800879" sldId="2145707207"/>
            <ac:spMk id="24" creationId="{843D86F3-9CB9-F443-B0F6-8290C199EC85}"/>
          </ac:spMkLst>
        </pc:spChg>
        <pc:spChg chg="mod">
          <ac:chgData name="Nick Robinson" userId="d0c2b313-4ae0-4040-8c6a-fec7a720a7b5" providerId="ADAL" clId="{9D26C270-5461-F844-9688-58D8512A9AEB}" dt="2021-10-28T09:13:09.812" v="10620"/>
          <ac:spMkLst>
            <pc:docMk/>
            <pc:sldMk cId="1000800879" sldId="2145707207"/>
            <ac:spMk id="25" creationId="{5298410F-7624-8B49-B8C1-28695D57EB0A}"/>
          </ac:spMkLst>
        </pc:spChg>
        <pc:spChg chg="add del">
          <ac:chgData name="Nick Robinson" userId="d0c2b313-4ae0-4040-8c6a-fec7a720a7b5" providerId="ADAL" clId="{9D26C270-5461-F844-9688-58D8512A9AEB}" dt="2021-11-04T13:43:20.811" v="29642" actId="478"/>
          <ac:spMkLst>
            <pc:docMk/>
            <pc:sldMk cId="1000800879" sldId="2145707207"/>
            <ac:spMk id="27" creationId="{24143F2A-BC35-C74F-B2F7-6BFA55F939B5}"/>
          </ac:spMkLst>
        </pc:spChg>
        <pc:grpChg chg="add del mod">
          <ac:chgData name="Nick Robinson" userId="d0c2b313-4ae0-4040-8c6a-fec7a720a7b5" providerId="ADAL" clId="{9D26C270-5461-F844-9688-58D8512A9AEB}" dt="2021-11-04T13:42:19.899" v="29625" actId="478"/>
          <ac:grpSpMkLst>
            <pc:docMk/>
            <pc:sldMk cId="1000800879" sldId="2145707207"/>
            <ac:grpSpMk id="17" creationId="{AF6326BD-8037-D04F-8552-EEE4A9E39AD8}"/>
          </ac:grpSpMkLst>
        </pc:grpChg>
        <pc:grpChg chg="add del mod">
          <ac:chgData name="Nick Robinson" userId="d0c2b313-4ae0-4040-8c6a-fec7a720a7b5" providerId="ADAL" clId="{9D26C270-5461-F844-9688-58D8512A9AEB}" dt="2021-11-04T13:41:30.341" v="29594" actId="478"/>
          <ac:grpSpMkLst>
            <pc:docMk/>
            <pc:sldMk cId="1000800879" sldId="2145707207"/>
            <ac:grpSpMk id="20" creationId="{6EEED4BF-D1C8-FE48-85A1-FD4D3BD06CE3}"/>
          </ac:grpSpMkLst>
        </pc:grpChg>
        <pc:grpChg chg="add del mod">
          <ac:chgData name="Nick Robinson" userId="d0c2b313-4ae0-4040-8c6a-fec7a720a7b5" providerId="ADAL" clId="{9D26C270-5461-F844-9688-58D8512A9AEB}" dt="2021-11-04T13:41:28.855" v="29593" actId="478"/>
          <ac:grpSpMkLst>
            <pc:docMk/>
            <pc:sldMk cId="1000800879" sldId="2145707207"/>
            <ac:grpSpMk id="23" creationId="{066F71D9-50B3-B24A-85F7-41B3B5448B49}"/>
          </ac:grpSpMkLst>
        </pc:grpChg>
        <pc:graphicFrameChg chg="add mod modGraphic">
          <ac:chgData name="Nick Robinson" userId="d0c2b313-4ae0-4040-8c6a-fec7a720a7b5" providerId="ADAL" clId="{9D26C270-5461-F844-9688-58D8512A9AEB}" dt="2021-11-08T11:36:43.817" v="57062"/>
          <ac:graphicFrameMkLst>
            <pc:docMk/>
            <pc:sldMk cId="1000800879" sldId="2145707207"/>
            <ac:graphicFrameMk id="26" creationId="{B868C0AB-3D2C-4647-A123-6629F1806D7E}"/>
          </ac:graphicFrameMkLst>
        </pc:graphicFrameChg>
        <pc:picChg chg="del">
          <ac:chgData name="Nick Robinson" userId="d0c2b313-4ae0-4040-8c6a-fec7a720a7b5" providerId="ADAL" clId="{9D26C270-5461-F844-9688-58D8512A9AEB}" dt="2021-10-27T16:38:56.993" v="6568" actId="478"/>
          <ac:picMkLst>
            <pc:docMk/>
            <pc:sldMk cId="1000800879" sldId="2145707207"/>
            <ac:picMk id="12" creationId="{60F226B5-544C-FF43-A1BB-639E7793E597}"/>
          </ac:picMkLst>
        </pc:picChg>
        <pc:picChg chg="add del mod">
          <ac:chgData name="Nick Robinson" userId="d0c2b313-4ae0-4040-8c6a-fec7a720a7b5" providerId="ADAL" clId="{9D26C270-5461-F844-9688-58D8512A9AEB}" dt="2021-11-04T13:39:26.980" v="29581" actId="478"/>
          <ac:picMkLst>
            <pc:docMk/>
            <pc:sldMk cId="1000800879" sldId="2145707207"/>
            <ac:picMk id="13" creationId="{CDEE656D-597E-CA4B-A3D3-094A74232062}"/>
          </ac:picMkLst>
        </pc:picChg>
      </pc:sldChg>
      <pc:sldChg chg="addSp delSp modSp mod modShow">
        <pc:chgData name="Nick Robinson" userId="d0c2b313-4ae0-4040-8c6a-fec7a720a7b5" providerId="ADAL" clId="{9D26C270-5461-F844-9688-58D8512A9AEB}" dt="2021-11-08T11:36:43.817" v="57062"/>
        <pc:sldMkLst>
          <pc:docMk/>
          <pc:sldMk cId="3603620203" sldId="2145707208"/>
        </pc:sldMkLst>
        <pc:spChg chg="del">
          <ac:chgData name="Nick Robinson" userId="d0c2b313-4ae0-4040-8c6a-fec7a720a7b5" providerId="ADAL" clId="{9D26C270-5461-F844-9688-58D8512A9AEB}" dt="2021-10-28T08:06:45.312" v="7743" actId="478"/>
          <ac:spMkLst>
            <pc:docMk/>
            <pc:sldMk cId="3603620203" sldId="2145707208"/>
            <ac:spMk id="5" creationId="{36E57A76-CE73-704A-AAFA-7B9B811AE25D}"/>
          </ac:spMkLst>
        </pc:spChg>
        <pc:spChg chg="add del mod">
          <ac:chgData name="Nick Robinson" userId="d0c2b313-4ae0-4040-8c6a-fec7a720a7b5" providerId="ADAL" clId="{9D26C270-5461-F844-9688-58D8512A9AEB}" dt="2021-10-28T08:03:02.507" v="7705" actId="478"/>
          <ac:spMkLst>
            <pc:docMk/>
            <pc:sldMk cId="3603620203" sldId="2145707208"/>
            <ac:spMk id="7" creationId="{A91E75FC-C389-A248-976F-6BEA3682FC5E}"/>
          </ac:spMkLst>
        </pc:spChg>
        <pc:spChg chg="mod">
          <ac:chgData name="Nick Robinson" userId="d0c2b313-4ae0-4040-8c6a-fec7a720a7b5" providerId="ADAL" clId="{9D26C270-5461-F844-9688-58D8512A9AEB}" dt="2021-10-28T08:10:22.252" v="7756" actId="20577"/>
          <ac:spMkLst>
            <pc:docMk/>
            <pc:sldMk cId="3603620203" sldId="2145707208"/>
            <ac:spMk id="8" creationId="{312CFC3D-757A-4147-9D9A-36A53E5300D6}"/>
          </ac:spMkLst>
        </pc:spChg>
        <pc:spChg chg="del mod">
          <ac:chgData name="Nick Robinson" userId="d0c2b313-4ae0-4040-8c6a-fec7a720a7b5" providerId="ADAL" clId="{9D26C270-5461-F844-9688-58D8512A9AEB}" dt="2021-10-28T08:10:28.989" v="7758" actId="478"/>
          <ac:spMkLst>
            <pc:docMk/>
            <pc:sldMk cId="3603620203" sldId="2145707208"/>
            <ac:spMk id="10" creationId="{83B635AC-6D0E-D745-A3EC-F41A1D3FF2F4}"/>
          </ac:spMkLst>
        </pc:spChg>
        <pc:spChg chg="del mod">
          <ac:chgData name="Nick Robinson" userId="d0c2b313-4ae0-4040-8c6a-fec7a720a7b5" providerId="ADAL" clId="{9D26C270-5461-F844-9688-58D8512A9AEB}" dt="2021-10-28T08:02:38.773" v="7698" actId="478"/>
          <ac:spMkLst>
            <pc:docMk/>
            <pc:sldMk cId="3603620203" sldId="2145707208"/>
            <ac:spMk id="11" creationId="{E77DA4AA-CE9B-614E-B2E5-704A618BDB6E}"/>
          </ac:spMkLst>
        </pc:spChg>
        <pc:spChg chg="add del mod">
          <ac:chgData name="Nick Robinson" userId="d0c2b313-4ae0-4040-8c6a-fec7a720a7b5" providerId="ADAL" clId="{9D26C270-5461-F844-9688-58D8512A9AEB}" dt="2021-10-28T07:45:06.865" v="7390" actId="478"/>
          <ac:spMkLst>
            <pc:docMk/>
            <pc:sldMk cId="3603620203" sldId="2145707208"/>
            <ac:spMk id="12" creationId="{474ED802-62E1-3A49-B62A-7F36F46FF3EE}"/>
          </ac:spMkLst>
        </pc:spChg>
        <pc:spChg chg="mod">
          <ac:chgData name="Nick Robinson" userId="d0c2b313-4ae0-4040-8c6a-fec7a720a7b5" providerId="ADAL" clId="{9D26C270-5461-F844-9688-58D8512A9AEB}" dt="2021-10-28T08:02:33.217" v="7696"/>
          <ac:spMkLst>
            <pc:docMk/>
            <pc:sldMk cId="3603620203" sldId="2145707208"/>
            <ac:spMk id="15" creationId="{8D54F8E1-DA35-CA43-8C21-87E658EA0C93}"/>
          </ac:spMkLst>
        </pc:spChg>
        <pc:spChg chg="mod">
          <ac:chgData name="Nick Robinson" userId="d0c2b313-4ae0-4040-8c6a-fec7a720a7b5" providerId="ADAL" clId="{9D26C270-5461-F844-9688-58D8512A9AEB}" dt="2021-11-08T11:36:43.817" v="57062"/>
          <ac:spMkLst>
            <pc:docMk/>
            <pc:sldMk cId="3603620203" sldId="2145707208"/>
            <ac:spMk id="16" creationId="{CB082027-9C52-8848-8FBA-6B55AB5CBD9A}"/>
          </ac:spMkLst>
        </pc:spChg>
        <pc:spChg chg="mod">
          <ac:chgData name="Nick Robinson" userId="d0c2b313-4ae0-4040-8c6a-fec7a720a7b5" providerId="ADAL" clId="{9D26C270-5461-F844-9688-58D8512A9AEB}" dt="2021-10-28T08:10:40.533" v="7759"/>
          <ac:spMkLst>
            <pc:docMk/>
            <pc:sldMk cId="3603620203" sldId="2145707208"/>
            <ac:spMk id="19" creationId="{087F3E0D-E889-3E46-B7F2-6139F042B6AC}"/>
          </ac:spMkLst>
        </pc:spChg>
        <pc:spChg chg="mod">
          <ac:chgData name="Nick Robinson" userId="d0c2b313-4ae0-4040-8c6a-fec7a720a7b5" providerId="ADAL" clId="{9D26C270-5461-F844-9688-58D8512A9AEB}" dt="2021-11-08T11:36:43.817" v="57062"/>
          <ac:spMkLst>
            <pc:docMk/>
            <pc:sldMk cId="3603620203" sldId="2145707208"/>
            <ac:spMk id="20" creationId="{E8AFC4E8-EB70-0240-A0A7-1A8CFED4C626}"/>
          </ac:spMkLst>
        </pc:spChg>
        <pc:spChg chg="mod">
          <ac:chgData name="Nick Robinson" userId="d0c2b313-4ae0-4040-8c6a-fec7a720a7b5" providerId="ADAL" clId="{9D26C270-5461-F844-9688-58D8512A9AEB}" dt="2021-10-28T08:10:40.533" v="7759"/>
          <ac:spMkLst>
            <pc:docMk/>
            <pc:sldMk cId="3603620203" sldId="2145707208"/>
            <ac:spMk id="22" creationId="{A15906A5-FBC4-C346-8872-95E495256CF5}"/>
          </ac:spMkLst>
        </pc:spChg>
        <pc:spChg chg="mod">
          <ac:chgData name="Nick Robinson" userId="d0c2b313-4ae0-4040-8c6a-fec7a720a7b5" providerId="ADAL" clId="{9D26C270-5461-F844-9688-58D8512A9AEB}" dt="2021-10-29T06:58:10.852" v="21758" actId="14100"/>
          <ac:spMkLst>
            <pc:docMk/>
            <pc:sldMk cId="3603620203" sldId="2145707208"/>
            <ac:spMk id="23" creationId="{8176C01E-623E-E94C-ACF6-FA6169203D60}"/>
          </ac:spMkLst>
        </pc:spChg>
        <pc:spChg chg="add mod">
          <ac:chgData name="Nick Robinson" userId="d0c2b313-4ae0-4040-8c6a-fec7a720a7b5" providerId="ADAL" clId="{9D26C270-5461-F844-9688-58D8512A9AEB}" dt="2021-10-29T06:58:31.633" v="21792" actId="20577"/>
          <ac:spMkLst>
            <pc:docMk/>
            <pc:sldMk cId="3603620203" sldId="2145707208"/>
            <ac:spMk id="24" creationId="{0F801DA0-038B-A74F-B4E9-6A7F42B6CAF5}"/>
          </ac:spMkLst>
        </pc:spChg>
        <pc:spChg chg="add del">
          <ac:chgData name="Nick Robinson" userId="d0c2b313-4ae0-4040-8c6a-fec7a720a7b5" providerId="ADAL" clId="{9D26C270-5461-F844-9688-58D8512A9AEB}" dt="2021-10-29T06:40:10.730" v="18460" actId="22"/>
          <ac:spMkLst>
            <pc:docMk/>
            <pc:sldMk cId="3603620203" sldId="2145707208"/>
            <ac:spMk id="25" creationId="{80023C0E-71FB-2948-BBB1-20F5A9BF1F96}"/>
          </ac:spMkLst>
        </pc:spChg>
        <pc:grpChg chg="add mod">
          <ac:chgData name="Nick Robinson" userId="d0c2b313-4ae0-4040-8c6a-fec7a720a7b5" providerId="ADAL" clId="{9D26C270-5461-F844-9688-58D8512A9AEB}" dt="2021-10-28T08:02:33.217" v="7696"/>
          <ac:grpSpMkLst>
            <pc:docMk/>
            <pc:sldMk cId="3603620203" sldId="2145707208"/>
            <ac:grpSpMk id="14" creationId="{CA9B66E0-9CCE-4D47-B618-D396216F10DA}"/>
          </ac:grpSpMkLst>
        </pc:grpChg>
        <pc:grpChg chg="add mod">
          <ac:chgData name="Nick Robinson" userId="d0c2b313-4ae0-4040-8c6a-fec7a720a7b5" providerId="ADAL" clId="{9D26C270-5461-F844-9688-58D8512A9AEB}" dt="2021-10-29T06:58:19.775" v="21771" actId="1036"/>
          <ac:grpSpMkLst>
            <pc:docMk/>
            <pc:sldMk cId="3603620203" sldId="2145707208"/>
            <ac:grpSpMk id="18" creationId="{66960D53-9C1D-6E42-9B01-9BD15467E457}"/>
          </ac:grpSpMkLst>
        </pc:grpChg>
        <pc:grpChg chg="add mod">
          <ac:chgData name="Nick Robinson" userId="d0c2b313-4ae0-4040-8c6a-fec7a720a7b5" providerId="ADAL" clId="{9D26C270-5461-F844-9688-58D8512A9AEB}" dt="2021-10-28T08:10:40.533" v="7759"/>
          <ac:grpSpMkLst>
            <pc:docMk/>
            <pc:sldMk cId="3603620203" sldId="2145707208"/>
            <ac:grpSpMk id="21" creationId="{7624C135-48FE-DE4C-837E-9E0E22171CD6}"/>
          </ac:grpSpMkLst>
        </pc:grpChg>
        <pc:picChg chg="del">
          <ac:chgData name="Nick Robinson" userId="d0c2b313-4ae0-4040-8c6a-fec7a720a7b5" providerId="ADAL" clId="{9D26C270-5461-F844-9688-58D8512A9AEB}" dt="2021-10-28T08:06:18.233" v="7735" actId="478"/>
          <ac:picMkLst>
            <pc:docMk/>
            <pc:sldMk cId="3603620203" sldId="2145707208"/>
            <ac:picMk id="13" creationId="{CDEE656D-597E-CA4B-A3D3-094A74232062}"/>
          </ac:picMkLst>
        </pc:picChg>
        <pc:picChg chg="add mod">
          <ac:chgData name="Nick Robinson" userId="d0c2b313-4ae0-4040-8c6a-fec7a720a7b5" providerId="ADAL" clId="{9D26C270-5461-F844-9688-58D8512A9AEB}" dt="2021-10-28T08:06:26.828" v="7740" actId="1035"/>
          <ac:picMkLst>
            <pc:docMk/>
            <pc:sldMk cId="3603620203" sldId="2145707208"/>
            <ac:picMk id="17" creationId="{7E3D8DE5-7607-B44D-81F3-2E5EF442D1DD}"/>
          </ac:picMkLst>
        </pc:picChg>
      </pc:sldChg>
      <pc:sldChg chg="addSp delSp modSp add mod modShow modNotesTx">
        <pc:chgData name="Nick Robinson" userId="d0c2b313-4ae0-4040-8c6a-fec7a720a7b5" providerId="ADAL" clId="{9D26C270-5461-F844-9688-58D8512A9AEB}" dt="2021-11-08T11:36:43.817" v="57062"/>
        <pc:sldMkLst>
          <pc:docMk/>
          <pc:sldMk cId="2330062057" sldId="2145707209"/>
        </pc:sldMkLst>
        <pc:spChg chg="add del mod">
          <ac:chgData name="Nick Robinson" userId="d0c2b313-4ae0-4040-8c6a-fec7a720a7b5" providerId="ADAL" clId="{9D26C270-5461-F844-9688-58D8512A9AEB}" dt="2021-11-01T14:42:19.742" v="25118"/>
          <ac:spMkLst>
            <pc:docMk/>
            <pc:sldMk cId="2330062057" sldId="2145707209"/>
            <ac:spMk id="2" creationId="{60B52008-1449-A54A-B0B8-E90435564A61}"/>
          </ac:spMkLst>
        </pc:spChg>
        <pc:spChg chg="mod">
          <ac:chgData name="Nick Robinson" userId="d0c2b313-4ae0-4040-8c6a-fec7a720a7b5" providerId="ADAL" clId="{9D26C270-5461-F844-9688-58D8512A9AEB}" dt="2021-10-28T13:19:17.048" v="15978"/>
          <ac:spMkLst>
            <pc:docMk/>
            <pc:sldMk cId="2330062057" sldId="2145707209"/>
            <ac:spMk id="8" creationId="{11BFE6CC-9A9E-384B-AD28-5267665B9509}"/>
          </ac:spMkLst>
        </pc:spChg>
        <pc:spChg chg="add del mod">
          <ac:chgData name="Nick Robinson" userId="d0c2b313-4ae0-4040-8c6a-fec7a720a7b5" providerId="ADAL" clId="{9D26C270-5461-F844-9688-58D8512A9AEB}" dt="2021-10-29T06:59:42.443" v="21812" actId="20577"/>
          <ac:spMkLst>
            <pc:docMk/>
            <pc:sldMk cId="2330062057" sldId="2145707209"/>
            <ac:spMk id="10" creationId="{6162CDAD-2858-674C-9F9E-E96F9F8004B1}"/>
          </ac:spMkLst>
        </pc:spChg>
        <pc:spChg chg="mod">
          <ac:chgData name="Nick Robinson" userId="d0c2b313-4ae0-4040-8c6a-fec7a720a7b5" providerId="ADAL" clId="{9D26C270-5461-F844-9688-58D8512A9AEB}" dt="2021-11-08T11:36:43.817" v="57062"/>
          <ac:spMkLst>
            <pc:docMk/>
            <pc:sldMk cId="2330062057" sldId="2145707209"/>
            <ac:spMk id="11" creationId="{0485555A-50C3-584C-B24C-A11C331C6CE2}"/>
          </ac:spMkLst>
        </pc:spChg>
        <pc:spChg chg="add del mod">
          <ac:chgData name="Nick Robinson" userId="d0c2b313-4ae0-4040-8c6a-fec7a720a7b5" providerId="ADAL" clId="{9D26C270-5461-F844-9688-58D8512A9AEB}" dt="2021-11-03T09:02:50.529" v="25447" actId="478"/>
          <ac:spMkLst>
            <pc:docMk/>
            <pc:sldMk cId="2330062057" sldId="2145707209"/>
            <ac:spMk id="12" creationId="{C3F0A40A-B9F6-4E40-891C-4FB9DC540494}"/>
          </ac:spMkLst>
        </pc:spChg>
        <pc:graphicFrameChg chg="mod modGraphic">
          <ac:chgData name="Nick Robinson" userId="d0c2b313-4ae0-4040-8c6a-fec7a720a7b5" providerId="ADAL" clId="{9D26C270-5461-F844-9688-58D8512A9AEB}" dt="2021-10-29T06:39:39.795" v="18458" actId="1076"/>
          <ac:graphicFrameMkLst>
            <pc:docMk/>
            <pc:sldMk cId="2330062057" sldId="2145707209"/>
            <ac:graphicFrameMk id="7" creationId="{0652C58B-32C6-9446-B4B3-CCE2F64D5CB7}"/>
          </ac:graphicFrameMkLst>
        </pc:graphicFrameChg>
        <pc:graphicFrameChg chg="add mod modGraphic">
          <ac:chgData name="Nick Robinson" userId="d0c2b313-4ae0-4040-8c6a-fec7a720a7b5" providerId="ADAL" clId="{9D26C270-5461-F844-9688-58D8512A9AEB}" dt="2021-11-08T11:36:43.817" v="57062"/>
          <ac:graphicFrameMkLst>
            <pc:docMk/>
            <pc:sldMk cId="2330062057" sldId="2145707209"/>
            <ac:graphicFrameMk id="9" creationId="{EE2BB197-9EA1-634A-8C5C-7C08446EF3FE}"/>
          </ac:graphicFrameMkLst>
        </pc:graphicFrameChg>
        <pc:picChg chg="add mod">
          <ac:chgData name="Nick Robinson" userId="d0c2b313-4ae0-4040-8c6a-fec7a720a7b5" providerId="ADAL" clId="{9D26C270-5461-F844-9688-58D8512A9AEB}" dt="2021-10-29T07:01:23.974" v="21832" actId="1036"/>
          <ac:picMkLst>
            <pc:docMk/>
            <pc:sldMk cId="2330062057" sldId="2145707209"/>
            <ac:picMk id="5" creationId="{79D34764-78F1-B44E-8E68-F44044BA2A7B}"/>
          </ac:picMkLst>
        </pc:picChg>
        <pc:picChg chg="add mod">
          <ac:chgData name="Nick Robinson" userId="d0c2b313-4ae0-4040-8c6a-fec7a720a7b5" providerId="ADAL" clId="{9D26C270-5461-F844-9688-58D8512A9AEB}" dt="2021-10-29T07:00:18.257" v="21821" actId="1036"/>
          <ac:picMkLst>
            <pc:docMk/>
            <pc:sldMk cId="2330062057" sldId="2145707209"/>
            <ac:picMk id="13" creationId="{1F8275A2-194E-5449-875E-128FC75F23DF}"/>
          </ac:picMkLst>
        </pc:picChg>
        <pc:picChg chg="add mod">
          <ac:chgData name="Nick Robinson" userId="d0c2b313-4ae0-4040-8c6a-fec7a720a7b5" providerId="ADAL" clId="{9D26C270-5461-F844-9688-58D8512A9AEB}" dt="2021-10-29T07:00:37.184" v="21825" actId="1076"/>
          <ac:picMkLst>
            <pc:docMk/>
            <pc:sldMk cId="2330062057" sldId="2145707209"/>
            <ac:picMk id="15" creationId="{8A2E7596-0EAF-044C-A689-CAC11B133811}"/>
          </ac:picMkLst>
        </pc:picChg>
        <pc:picChg chg="add mod">
          <ac:chgData name="Nick Robinson" userId="d0c2b313-4ae0-4040-8c6a-fec7a720a7b5" providerId="ADAL" clId="{9D26C270-5461-F844-9688-58D8512A9AEB}" dt="2021-11-03T09:02:46.409" v="25446" actId="1076"/>
          <ac:picMkLst>
            <pc:docMk/>
            <pc:sldMk cId="2330062057" sldId="2145707209"/>
            <ac:picMk id="16" creationId="{682C494A-24B1-3347-A93C-7216B53FDA0D}"/>
          </ac:picMkLst>
        </pc:picChg>
        <pc:picChg chg="add mod">
          <ac:chgData name="Nick Robinson" userId="d0c2b313-4ae0-4040-8c6a-fec7a720a7b5" providerId="ADAL" clId="{9D26C270-5461-F844-9688-58D8512A9AEB}" dt="2021-10-29T07:00:54.309" v="21830" actId="1035"/>
          <ac:picMkLst>
            <pc:docMk/>
            <pc:sldMk cId="2330062057" sldId="2145707209"/>
            <ac:picMk id="17" creationId="{BBDB813B-5BF0-794D-9B46-FF5CA7CF6EC8}"/>
          </ac:picMkLst>
        </pc:picChg>
        <pc:picChg chg="add mod">
          <ac:chgData name="Nick Robinson" userId="d0c2b313-4ae0-4040-8c6a-fec7a720a7b5" providerId="ADAL" clId="{9D26C270-5461-F844-9688-58D8512A9AEB}" dt="2021-10-29T07:01:39.301" v="21839" actId="1036"/>
          <ac:picMkLst>
            <pc:docMk/>
            <pc:sldMk cId="2330062057" sldId="2145707209"/>
            <ac:picMk id="19" creationId="{E1222F14-BCED-E642-B477-38E93B185311}"/>
          </ac:picMkLst>
        </pc:picChg>
        <pc:picChg chg="add mod">
          <ac:chgData name="Nick Robinson" userId="d0c2b313-4ae0-4040-8c6a-fec7a720a7b5" providerId="ADAL" clId="{9D26C270-5461-F844-9688-58D8512A9AEB}" dt="2021-10-29T07:07:48.375" v="22566" actId="1036"/>
          <ac:picMkLst>
            <pc:docMk/>
            <pc:sldMk cId="2330062057" sldId="2145707209"/>
            <ac:picMk id="21" creationId="{55352008-3E6C-D440-AE08-D83A9BFDC888}"/>
          </ac:picMkLst>
        </pc:picChg>
      </pc:sldChg>
      <pc:sldChg chg="modSp add mod modShow">
        <pc:chgData name="Nick Robinson" userId="d0c2b313-4ae0-4040-8c6a-fec7a720a7b5" providerId="ADAL" clId="{9D26C270-5461-F844-9688-58D8512A9AEB}" dt="2021-11-08T11:36:43.817" v="57062"/>
        <pc:sldMkLst>
          <pc:docMk/>
          <pc:sldMk cId="4224498387" sldId="2145707210"/>
        </pc:sldMkLst>
        <pc:spChg chg="mod">
          <ac:chgData name="Nick Robinson" userId="d0c2b313-4ae0-4040-8c6a-fec7a720a7b5" providerId="ADAL" clId="{9D26C270-5461-F844-9688-58D8512A9AEB}" dt="2021-10-28T09:20:37.920" v="10745" actId="20577"/>
          <ac:spMkLst>
            <pc:docMk/>
            <pc:sldMk cId="4224498387" sldId="2145707210"/>
            <ac:spMk id="2" creationId="{B0B31CDD-9A09-ED44-9637-5E22E17CA552}"/>
          </ac:spMkLst>
        </pc:spChg>
        <pc:spChg chg="mod">
          <ac:chgData name="Nick Robinson" userId="d0c2b313-4ae0-4040-8c6a-fec7a720a7b5" providerId="ADAL" clId="{9D26C270-5461-F844-9688-58D8512A9AEB}" dt="2021-10-29T07:03:45.667" v="22024" actId="948"/>
          <ac:spMkLst>
            <pc:docMk/>
            <pc:sldMk cId="4224498387" sldId="2145707210"/>
            <ac:spMk id="6" creationId="{92CB8E64-72A6-9441-BC6E-C2E336E63D59}"/>
          </ac:spMkLst>
        </pc:spChg>
        <pc:spChg chg="mod">
          <ac:chgData name="Nick Robinson" userId="d0c2b313-4ae0-4040-8c6a-fec7a720a7b5" providerId="ADAL" clId="{9D26C270-5461-F844-9688-58D8512A9AEB}" dt="2021-11-05T12:23:26.238" v="43534" actId="1076"/>
          <ac:spMkLst>
            <pc:docMk/>
            <pc:sldMk cId="4224498387" sldId="2145707210"/>
            <ac:spMk id="7" creationId="{8175B6F3-84EA-0046-ABFB-B6A53EC3D309}"/>
          </ac:spMkLst>
        </pc:spChg>
        <pc:spChg chg="mod">
          <ac:chgData name="Nick Robinson" userId="d0c2b313-4ae0-4040-8c6a-fec7a720a7b5" providerId="ADAL" clId="{9D26C270-5461-F844-9688-58D8512A9AEB}" dt="2021-10-29T07:03:36.626" v="22021" actId="948"/>
          <ac:spMkLst>
            <pc:docMk/>
            <pc:sldMk cId="4224498387" sldId="2145707210"/>
            <ac:spMk id="10" creationId="{5B19BCBF-869D-9E45-9604-8FD87AB122D8}"/>
          </ac:spMkLst>
        </pc:spChg>
        <pc:spChg chg="mod">
          <ac:chgData name="Nick Robinson" userId="d0c2b313-4ae0-4040-8c6a-fec7a720a7b5" providerId="ADAL" clId="{9D26C270-5461-F844-9688-58D8512A9AEB}" dt="2021-10-29T07:03:55.926" v="22031" actId="20577"/>
          <ac:spMkLst>
            <pc:docMk/>
            <pc:sldMk cId="4224498387" sldId="2145707210"/>
            <ac:spMk id="13" creationId="{BE0FD6E4-D370-1C4A-A3FE-BA91B5734C99}"/>
          </ac:spMkLst>
        </pc:spChg>
        <pc:spChg chg="mod">
          <ac:chgData name="Nick Robinson" userId="d0c2b313-4ae0-4040-8c6a-fec7a720a7b5" providerId="ADAL" clId="{9D26C270-5461-F844-9688-58D8512A9AEB}" dt="2021-10-28T09:20:40.276" v="10748" actId="20577"/>
          <ac:spMkLst>
            <pc:docMk/>
            <pc:sldMk cId="4224498387" sldId="2145707210"/>
            <ac:spMk id="14" creationId="{37090FE7-C84A-E24F-BECA-5F10D68EC207}"/>
          </ac:spMkLst>
        </pc:spChg>
        <pc:spChg chg="mod">
          <ac:chgData name="Nick Robinson" userId="d0c2b313-4ae0-4040-8c6a-fec7a720a7b5" providerId="ADAL" clId="{9D26C270-5461-F844-9688-58D8512A9AEB}" dt="2021-11-08T11:36:43.817" v="57062"/>
          <ac:spMkLst>
            <pc:docMk/>
            <pc:sldMk cId="4224498387" sldId="2145707210"/>
            <ac:spMk id="16" creationId="{B26E87BD-B596-3640-B1AF-C95448237C98}"/>
          </ac:spMkLst>
        </pc:spChg>
        <pc:grpChg chg="mod">
          <ac:chgData name="Nick Robinson" userId="d0c2b313-4ae0-4040-8c6a-fec7a720a7b5" providerId="ADAL" clId="{9D26C270-5461-F844-9688-58D8512A9AEB}" dt="2021-10-29T07:03:40.083" v="22023" actId="1076"/>
          <ac:grpSpMkLst>
            <pc:docMk/>
            <pc:sldMk cId="4224498387" sldId="2145707210"/>
            <ac:grpSpMk id="5" creationId="{66F65BCE-C372-0A44-87FE-681EBF65E873}"/>
          </ac:grpSpMkLst>
        </pc:grpChg>
      </pc:sldChg>
      <pc:sldChg chg="modSp add mod modShow">
        <pc:chgData name="Nick Robinson" userId="d0c2b313-4ae0-4040-8c6a-fec7a720a7b5" providerId="ADAL" clId="{9D26C270-5461-F844-9688-58D8512A9AEB}" dt="2021-11-04T15:01:15.740" v="32934" actId="729"/>
        <pc:sldMkLst>
          <pc:docMk/>
          <pc:sldMk cId="1479127884" sldId="2145707211"/>
        </pc:sldMkLst>
        <pc:spChg chg="mod">
          <ac:chgData name="Nick Robinson" userId="d0c2b313-4ae0-4040-8c6a-fec7a720a7b5" providerId="ADAL" clId="{9D26C270-5461-F844-9688-58D8512A9AEB}" dt="2021-10-28T11:38:49.553" v="13129" actId="20577"/>
          <ac:spMkLst>
            <pc:docMk/>
            <pc:sldMk cId="1479127884" sldId="2145707211"/>
            <ac:spMk id="2" creationId="{B0B31CDD-9A09-ED44-9637-5E22E17CA552}"/>
          </ac:spMkLst>
        </pc:spChg>
        <pc:spChg chg="mod">
          <ac:chgData name="Nick Robinson" userId="d0c2b313-4ae0-4040-8c6a-fec7a720a7b5" providerId="ADAL" clId="{9D26C270-5461-F844-9688-58D8512A9AEB}" dt="2021-10-28T16:57:17.182" v="16841" actId="20577"/>
          <ac:spMkLst>
            <pc:docMk/>
            <pc:sldMk cId="1479127884" sldId="2145707211"/>
            <ac:spMk id="15" creationId="{47803EFB-81D2-A64F-B016-AD7E857403CE}"/>
          </ac:spMkLst>
        </pc:spChg>
      </pc:sldChg>
      <pc:sldChg chg="addSp delSp modSp add mod modShow">
        <pc:chgData name="Nick Robinson" userId="d0c2b313-4ae0-4040-8c6a-fec7a720a7b5" providerId="ADAL" clId="{9D26C270-5461-F844-9688-58D8512A9AEB}" dt="2021-11-04T15:01:15.740" v="32934" actId="729"/>
        <pc:sldMkLst>
          <pc:docMk/>
          <pc:sldMk cId="3785697922" sldId="2145707212"/>
        </pc:sldMkLst>
        <pc:spChg chg="mod">
          <ac:chgData name="Nick Robinson" userId="d0c2b313-4ae0-4040-8c6a-fec7a720a7b5" providerId="ADAL" clId="{9D26C270-5461-F844-9688-58D8512A9AEB}" dt="2021-10-28T11:39:08.441" v="13159" actId="20577"/>
          <ac:spMkLst>
            <pc:docMk/>
            <pc:sldMk cId="3785697922" sldId="2145707212"/>
            <ac:spMk id="2" creationId="{B0B31CDD-9A09-ED44-9637-5E22E17CA552}"/>
          </ac:spMkLst>
        </pc:spChg>
        <pc:spChg chg="del">
          <ac:chgData name="Nick Robinson" userId="d0c2b313-4ae0-4040-8c6a-fec7a720a7b5" providerId="ADAL" clId="{9D26C270-5461-F844-9688-58D8512A9AEB}" dt="2021-10-28T16:57:21.345" v="16842" actId="478"/>
          <ac:spMkLst>
            <pc:docMk/>
            <pc:sldMk cId="3785697922" sldId="2145707212"/>
            <ac:spMk id="15" creationId="{47803EFB-81D2-A64F-B016-AD7E857403CE}"/>
          </ac:spMkLst>
        </pc:spChg>
        <pc:spChg chg="add mod">
          <ac:chgData name="Nick Robinson" userId="d0c2b313-4ae0-4040-8c6a-fec7a720a7b5" providerId="ADAL" clId="{9D26C270-5461-F844-9688-58D8512A9AEB}" dt="2021-10-28T16:57:21.655" v="16843"/>
          <ac:spMkLst>
            <pc:docMk/>
            <pc:sldMk cId="3785697922" sldId="2145707212"/>
            <ac:spMk id="16" creationId="{FA32DF0F-A190-C744-956F-5CB7DD127F8A}"/>
          </ac:spMkLst>
        </pc:spChg>
      </pc:sldChg>
      <pc:sldChg chg="addSp delSp modSp add mod modShow">
        <pc:chgData name="Nick Robinson" userId="d0c2b313-4ae0-4040-8c6a-fec7a720a7b5" providerId="ADAL" clId="{9D26C270-5461-F844-9688-58D8512A9AEB}" dt="2021-11-04T15:01:15.740" v="32934" actId="729"/>
        <pc:sldMkLst>
          <pc:docMk/>
          <pc:sldMk cId="1825293014" sldId="2145707213"/>
        </pc:sldMkLst>
        <pc:spChg chg="mod">
          <ac:chgData name="Nick Robinson" userId="d0c2b313-4ae0-4040-8c6a-fec7a720a7b5" providerId="ADAL" clId="{9D26C270-5461-F844-9688-58D8512A9AEB}" dt="2021-10-28T11:39:51.910" v="13193" actId="20577"/>
          <ac:spMkLst>
            <pc:docMk/>
            <pc:sldMk cId="1825293014" sldId="2145707213"/>
            <ac:spMk id="2" creationId="{B0B31CDD-9A09-ED44-9637-5E22E17CA552}"/>
          </ac:spMkLst>
        </pc:spChg>
        <pc:spChg chg="del">
          <ac:chgData name="Nick Robinson" userId="d0c2b313-4ae0-4040-8c6a-fec7a720a7b5" providerId="ADAL" clId="{9D26C270-5461-F844-9688-58D8512A9AEB}" dt="2021-10-28T16:57:25.465" v="16844" actId="478"/>
          <ac:spMkLst>
            <pc:docMk/>
            <pc:sldMk cId="1825293014" sldId="2145707213"/>
            <ac:spMk id="15" creationId="{47803EFB-81D2-A64F-B016-AD7E857403CE}"/>
          </ac:spMkLst>
        </pc:spChg>
        <pc:spChg chg="add mod">
          <ac:chgData name="Nick Robinson" userId="d0c2b313-4ae0-4040-8c6a-fec7a720a7b5" providerId="ADAL" clId="{9D26C270-5461-F844-9688-58D8512A9AEB}" dt="2021-10-28T16:57:25.706" v="16845"/>
          <ac:spMkLst>
            <pc:docMk/>
            <pc:sldMk cId="1825293014" sldId="2145707213"/>
            <ac:spMk id="16" creationId="{BB820376-EB46-8B42-886C-6B960DA03875}"/>
          </ac:spMkLst>
        </pc:spChg>
      </pc:sldChg>
      <pc:sldChg chg="addSp delSp modSp add mod modShow">
        <pc:chgData name="Nick Robinson" userId="d0c2b313-4ae0-4040-8c6a-fec7a720a7b5" providerId="ADAL" clId="{9D26C270-5461-F844-9688-58D8512A9AEB}" dt="2021-11-04T15:01:15.740" v="32934" actId="729"/>
        <pc:sldMkLst>
          <pc:docMk/>
          <pc:sldMk cId="341947764" sldId="2145707214"/>
        </pc:sldMkLst>
        <pc:spChg chg="mod">
          <ac:chgData name="Nick Robinson" userId="d0c2b313-4ae0-4040-8c6a-fec7a720a7b5" providerId="ADAL" clId="{9D26C270-5461-F844-9688-58D8512A9AEB}" dt="2021-10-28T11:40:03.272" v="13222" actId="20577"/>
          <ac:spMkLst>
            <pc:docMk/>
            <pc:sldMk cId="341947764" sldId="2145707214"/>
            <ac:spMk id="2" creationId="{B0B31CDD-9A09-ED44-9637-5E22E17CA552}"/>
          </ac:spMkLst>
        </pc:spChg>
        <pc:spChg chg="del mod">
          <ac:chgData name="Nick Robinson" userId="d0c2b313-4ae0-4040-8c6a-fec7a720a7b5" providerId="ADAL" clId="{9D26C270-5461-F844-9688-58D8512A9AEB}" dt="2021-10-28T16:57:28.386" v="16847" actId="478"/>
          <ac:spMkLst>
            <pc:docMk/>
            <pc:sldMk cId="341947764" sldId="2145707214"/>
            <ac:spMk id="15" creationId="{47803EFB-81D2-A64F-B016-AD7E857403CE}"/>
          </ac:spMkLst>
        </pc:spChg>
        <pc:spChg chg="add mod">
          <ac:chgData name="Nick Robinson" userId="d0c2b313-4ae0-4040-8c6a-fec7a720a7b5" providerId="ADAL" clId="{9D26C270-5461-F844-9688-58D8512A9AEB}" dt="2021-10-28T16:57:28.612" v="16848"/>
          <ac:spMkLst>
            <pc:docMk/>
            <pc:sldMk cId="341947764" sldId="2145707214"/>
            <ac:spMk id="16" creationId="{E0AF587E-5709-DC49-8AC9-497A0E86D7C5}"/>
          </ac:spMkLst>
        </pc:spChg>
      </pc:sldChg>
      <pc:sldChg chg="addSp delSp modSp add mod ord modShow">
        <pc:chgData name="Nick Robinson" userId="d0c2b313-4ae0-4040-8c6a-fec7a720a7b5" providerId="ADAL" clId="{9D26C270-5461-F844-9688-58D8512A9AEB}" dt="2021-11-04T15:01:15.740" v="32934" actId="729"/>
        <pc:sldMkLst>
          <pc:docMk/>
          <pc:sldMk cId="322981065" sldId="2145707215"/>
        </pc:sldMkLst>
        <pc:spChg chg="mod">
          <ac:chgData name="Nick Robinson" userId="d0c2b313-4ae0-4040-8c6a-fec7a720a7b5" providerId="ADAL" clId="{9D26C270-5461-F844-9688-58D8512A9AEB}" dt="2021-10-28T13:16:47.055" v="15947" actId="20577"/>
          <ac:spMkLst>
            <pc:docMk/>
            <pc:sldMk cId="322981065" sldId="2145707215"/>
            <ac:spMk id="2" creationId="{00000000-0000-0000-0000-000000000000}"/>
          </ac:spMkLst>
        </pc:spChg>
        <pc:spChg chg="add del mod">
          <ac:chgData name="Nick Robinson" userId="d0c2b313-4ae0-4040-8c6a-fec7a720a7b5" providerId="ADAL" clId="{9D26C270-5461-F844-9688-58D8512A9AEB}" dt="2021-11-03T09:50:26.011" v="25484" actId="478"/>
          <ac:spMkLst>
            <pc:docMk/>
            <pc:sldMk cId="322981065" sldId="2145707215"/>
            <ac:spMk id="5" creationId="{DDC64EE4-2F5A-C540-9388-F466ABBB9A32}"/>
          </ac:spMkLst>
        </pc:spChg>
        <pc:spChg chg="mod">
          <ac:chgData name="Nick Robinson" userId="d0c2b313-4ae0-4040-8c6a-fec7a720a7b5" providerId="ADAL" clId="{9D26C270-5461-F844-9688-58D8512A9AEB}" dt="2021-11-03T09:52:32.657" v="25747" actId="20577"/>
          <ac:spMkLst>
            <pc:docMk/>
            <pc:sldMk cId="322981065" sldId="2145707215"/>
            <ac:spMk id="16" creationId="{F715D659-0B3D-3441-8784-EDED0A7173C7}"/>
          </ac:spMkLst>
        </pc:spChg>
        <pc:spChg chg="mod">
          <ac:chgData name="Nick Robinson" userId="d0c2b313-4ae0-4040-8c6a-fec7a720a7b5" providerId="ADAL" clId="{9D26C270-5461-F844-9688-58D8512A9AEB}" dt="2021-10-28T13:17:00.689" v="15971" actId="179"/>
          <ac:spMkLst>
            <pc:docMk/>
            <pc:sldMk cId="322981065" sldId="2145707215"/>
            <ac:spMk id="19" creationId="{6D014537-65C5-6A4B-AE02-C418EA775AF8}"/>
          </ac:spMkLst>
        </pc:spChg>
        <pc:spChg chg="mod">
          <ac:chgData name="Nick Robinson" userId="d0c2b313-4ae0-4040-8c6a-fec7a720a7b5" providerId="ADAL" clId="{9D26C270-5461-F844-9688-58D8512A9AEB}" dt="2021-11-03T09:55:28.090" v="25752"/>
          <ac:spMkLst>
            <pc:docMk/>
            <pc:sldMk cId="322981065" sldId="2145707215"/>
            <ac:spMk id="22" creationId="{2A408C95-8E62-BF45-AE08-E03BB4D3307A}"/>
          </ac:spMkLst>
        </pc:spChg>
        <pc:spChg chg="mod">
          <ac:chgData name="Nick Robinson" userId="d0c2b313-4ae0-4040-8c6a-fec7a720a7b5" providerId="ADAL" clId="{9D26C270-5461-F844-9688-58D8512A9AEB}" dt="2021-11-03T10:32:51.180" v="26182" actId="20577"/>
          <ac:spMkLst>
            <pc:docMk/>
            <pc:sldMk cId="322981065" sldId="2145707215"/>
            <ac:spMk id="25" creationId="{5298410F-7624-8B49-B8C1-28695D57EB0A}"/>
          </ac:spMkLst>
        </pc:spChg>
        <pc:picChg chg="del">
          <ac:chgData name="Nick Robinson" userId="d0c2b313-4ae0-4040-8c6a-fec7a720a7b5" providerId="ADAL" clId="{9D26C270-5461-F844-9688-58D8512A9AEB}" dt="2021-10-28T13:17:07.641" v="15972" actId="478"/>
          <ac:picMkLst>
            <pc:docMk/>
            <pc:sldMk cId="322981065" sldId="2145707215"/>
            <ac:picMk id="13" creationId="{CDEE656D-597E-CA4B-A3D3-094A74232062}"/>
          </ac:picMkLst>
        </pc:picChg>
        <pc:picChg chg="add mod">
          <ac:chgData name="Nick Robinson" userId="d0c2b313-4ae0-4040-8c6a-fec7a720a7b5" providerId="ADAL" clId="{9D26C270-5461-F844-9688-58D8512A9AEB}" dt="2021-10-28T13:17:17.402" v="15974" actId="1076"/>
          <ac:picMkLst>
            <pc:docMk/>
            <pc:sldMk cId="322981065" sldId="2145707215"/>
            <ac:picMk id="26" creationId="{FCD58A84-480B-9F46-A170-FE3DEA52173C}"/>
          </ac:picMkLst>
        </pc:picChg>
      </pc:sldChg>
      <pc:sldChg chg="addSp delSp modSp add mod ord modShow">
        <pc:chgData name="Nick Robinson" userId="d0c2b313-4ae0-4040-8c6a-fec7a720a7b5" providerId="ADAL" clId="{9D26C270-5461-F844-9688-58D8512A9AEB}" dt="2021-11-08T11:36:43.817" v="57062"/>
        <pc:sldMkLst>
          <pc:docMk/>
          <pc:sldMk cId="1819857655" sldId="2145707216"/>
        </pc:sldMkLst>
        <pc:spChg chg="mod">
          <ac:chgData name="Nick Robinson" userId="d0c2b313-4ae0-4040-8c6a-fec7a720a7b5" providerId="ADAL" clId="{9D26C270-5461-F844-9688-58D8512A9AEB}" dt="2021-10-29T06:38:14.637" v="18388" actId="20577"/>
          <ac:spMkLst>
            <pc:docMk/>
            <pc:sldMk cId="1819857655" sldId="2145707216"/>
            <ac:spMk id="2" creationId="{00000000-0000-0000-0000-000000000000}"/>
          </ac:spMkLst>
        </pc:spChg>
        <pc:spChg chg="mod">
          <ac:chgData name="Nick Robinson" userId="d0c2b313-4ae0-4040-8c6a-fec7a720a7b5" providerId="ADAL" clId="{9D26C270-5461-F844-9688-58D8512A9AEB}" dt="2021-10-29T12:40:20.166" v="23703" actId="20577"/>
          <ac:spMkLst>
            <pc:docMk/>
            <pc:sldMk cId="1819857655" sldId="2145707216"/>
            <ac:spMk id="16" creationId="{F715D659-0B3D-3441-8784-EDED0A7173C7}"/>
          </ac:spMkLst>
        </pc:spChg>
        <pc:spChg chg="mod">
          <ac:chgData name="Nick Robinson" userId="d0c2b313-4ae0-4040-8c6a-fec7a720a7b5" providerId="ADAL" clId="{9D26C270-5461-F844-9688-58D8512A9AEB}" dt="2021-11-08T11:36:43.817" v="57062"/>
          <ac:spMkLst>
            <pc:docMk/>
            <pc:sldMk cId="1819857655" sldId="2145707216"/>
            <ac:spMk id="25" creationId="{5298410F-7624-8B49-B8C1-28695D57EB0A}"/>
          </ac:spMkLst>
        </pc:spChg>
        <pc:picChg chg="del">
          <ac:chgData name="Nick Robinson" userId="d0c2b313-4ae0-4040-8c6a-fec7a720a7b5" providerId="ADAL" clId="{9D26C270-5461-F844-9688-58D8512A9AEB}" dt="2021-10-29T06:38:09.177" v="18364" actId="478"/>
          <ac:picMkLst>
            <pc:docMk/>
            <pc:sldMk cId="1819857655" sldId="2145707216"/>
            <ac:picMk id="26" creationId="{FCD58A84-480B-9F46-A170-FE3DEA52173C}"/>
          </ac:picMkLst>
        </pc:picChg>
        <pc:picChg chg="add mod">
          <ac:chgData name="Nick Robinson" userId="d0c2b313-4ae0-4040-8c6a-fec7a720a7b5" providerId="ADAL" clId="{9D26C270-5461-F844-9688-58D8512A9AEB}" dt="2021-10-29T06:38:29.214" v="18398" actId="1035"/>
          <ac:picMkLst>
            <pc:docMk/>
            <pc:sldMk cId="1819857655" sldId="2145707216"/>
            <ac:picMk id="27" creationId="{14125404-2E51-CC47-A5DD-76F524674E5A}"/>
          </ac:picMkLst>
        </pc:picChg>
      </pc:sldChg>
      <pc:sldChg chg="addSp delSp modSp add mod modShow">
        <pc:chgData name="Nick Robinson" userId="d0c2b313-4ae0-4040-8c6a-fec7a720a7b5" providerId="ADAL" clId="{9D26C270-5461-F844-9688-58D8512A9AEB}" dt="2021-11-04T15:01:15.740" v="32934" actId="729"/>
        <pc:sldMkLst>
          <pc:docMk/>
          <pc:sldMk cId="2296764281" sldId="2145707217"/>
        </pc:sldMkLst>
        <pc:spChg chg="mod">
          <ac:chgData name="Nick Robinson" userId="d0c2b313-4ae0-4040-8c6a-fec7a720a7b5" providerId="ADAL" clId="{9D26C270-5461-F844-9688-58D8512A9AEB}" dt="2021-10-29T06:39:17.250" v="18451" actId="20577"/>
          <ac:spMkLst>
            <pc:docMk/>
            <pc:sldMk cId="2296764281" sldId="2145707217"/>
            <ac:spMk id="2" creationId="{00000000-0000-0000-0000-000000000000}"/>
          </ac:spMkLst>
        </pc:spChg>
        <pc:spChg chg="mod">
          <ac:chgData name="Nick Robinson" userId="d0c2b313-4ae0-4040-8c6a-fec7a720a7b5" providerId="ADAL" clId="{9D26C270-5461-F844-9688-58D8512A9AEB}" dt="2021-11-03T09:50:10.785" v="25482" actId="20577"/>
          <ac:spMkLst>
            <pc:docMk/>
            <pc:sldMk cId="2296764281" sldId="2145707217"/>
            <ac:spMk id="19" creationId="{6D014537-65C5-6A4B-AE02-C418EA775AF8}"/>
          </ac:spMkLst>
        </pc:spChg>
        <pc:picChg chg="add mod">
          <ac:chgData name="Nick Robinson" userId="d0c2b313-4ae0-4040-8c6a-fec7a720a7b5" providerId="ADAL" clId="{9D26C270-5461-F844-9688-58D8512A9AEB}" dt="2021-10-29T06:39:30.760" v="18457" actId="1035"/>
          <ac:picMkLst>
            <pc:docMk/>
            <pc:sldMk cId="2296764281" sldId="2145707217"/>
            <ac:picMk id="26" creationId="{92AC93FB-C396-1E41-96EF-4055563C992A}"/>
          </ac:picMkLst>
        </pc:picChg>
        <pc:picChg chg="del">
          <ac:chgData name="Nick Robinson" userId="d0c2b313-4ae0-4040-8c6a-fec7a720a7b5" providerId="ADAL" clId="{9D26C270-5461-F844-9688-58D8512A9AEB}" dt="2021-10-29T06:39:18.892" v="18452" actId="478"/>
          <ac:picMkLst>
            <pc:docMk/>
            <pc:sldMk cId="2296764281" sldId="2145707217"/>
            <ac:picMk id="27" creationId="{14125404-2E51-CC47-A5DD-76F524674E5A}"/>
          </ac:picMkLst>
        </pc:picChg>
      </pc:sldChg>
      <pc:sldChg chg="modSp add mod modNotesTx">
        <pc:chgData name="Nick Robinson" userId="d0c2b313-4ae0-4040-8c6a-fec7a720a7b5" providerId="ADAL" clId="{9D26C270-5461-F844-9688-58D8512A9AEB}" dt="2021-11-09T07:52:06.669" v="60931" actId="20577"/>
        <pc:sldMkLst>
          <pc:docMk/>
          <pc:sldMk cId="918896705" sldId="2145707218"/>
        </pc:sldMkLst>
        <pc:graphicFrameChg chg="modGraphic">
          <ac:chgData name="Nick Robinson" userId="d0c2b313-4ae0-4040-8c6a-fec7a720a7b5" providerId="ADAL" clId="{9D26C270-5461-F844-9688-58D8512A9AEB}" dt="2021-11-09T07:42:35.313" v="60927" actId="20577"/>
          <ac:graphicFrameMkLst>
            <pc:docMk/>
            <pc:sldMk cId="918896705" sldId="2145707218"/>
            <ac:graphicFrameMk id="7" creationId="{CB7DD5B3-C5B2-F043-BBFA-72D1B09FF385}"/>
          </ac:graphicFrameMkLst>
        </pc:graphicFrameChg>
      </pc:sldChg>
      <pc:sldChg chg="addSp delSp modSp add mod">
        <pc:chgData name="Nick Robinson" userId="d0c2b313-4ae0-4040-8c6a-fec7a720a7b5" providerId="ADAL" clId="{9D26C270-5461-F844-9688-58D8512A9AEB}" dt="2021-11-08T13:43:11.497" v="60732" actId="20577"/>
        <pc:sldMkLst>
          <pc:docMk/>
          <pc:sldMk cId="335313518" sldId="2145707219"/>
        </pc:sldMkLst>
        <pc:spChg chg="mod">
          <ac:chgData name="Nick Robinson" userId="d0c2b313-4ae0-4040-8c6a-fec7a720a7b5" providerId="ADAL" clId="{9D26C270-5461-F844-9688-58D8512A9AEB}" dt="2021-11-04T12:22:48.260" v="28245" actId="20577"/>
          <ac:spMkLst>
            <pc:docMk/>
            <pc:sldMk cId="335313518" sldId="2145707219"/>
            <ac:spMk id="2" creationId="{00000000-0000-0000-0000-000000000000}"/>
          </ac:spMkLst>
        </pc:spChg>
        <pc:spChg chg="mod">
          <ac:chgData name="Nick Robinson" userId="d0c2b313-4ae0-4040-8c6a-fec7a720a7b5" providerId="ADAL" clId="{9D26C270-5461-F844-9688-58D8512A9AEB}" dt="2021-11-08T11:36:43.817" v="57062"/>
          <ac:spMkLst>
            <pc:docMk/>
            <pc:sldMk cId="335313518" sldId="2145707219"/>
            <ac:spMk id="9" creationId="{0E21E275-F6DD-E647-AA25-29499D14E0C6}"/>
          </ac:spMkLst>
        </pc:spChg>
        <pc:spChg chg="del">
          <ac:chgData name="Nick Robinson" userId="d0c2b313-4ae0-4040-8c6a-fec7a720a7b5" providerId="ADAL" clId="{9D26C270-5461-F844-9688-58D8512A9AEB}" dt="2021-11-04T16:09:06.805" v="35353" actId="478"/>
          <ac:spMkLst>
            <pc:docMk/>
            <pc:sldMk cId="335313518" sldId="2145707219"/>
            <ac:spMk id="18" creationId="{55B7A6DE-8032-6943-904B-7122F46C8ABA}"/>
          </ac:spMkLst>
        </pc:spChg>
        <pc:spChg chg="add mod">
          <ac:chgData name="Nick Robinson" userId="d0c2b313-4ae0-4040-8c6a-fec7a720a7b5" providerId="ADAL" clId="{9D26C270-5461-F844-9688-58D8512A9AEB}" dt="2021-11-04T15:40:57.427" v="34287" actId="14100"/>
          <ac:spMkLst>
            <pc:docMk/>
            <pc:sldMk cId="335313518" sldId="2145707219"/>
            <ac:spMk id="19" creationId="{DB15ECB8-2279-CE47-A403-9D3A71AEDB57}"/>
          </ac:spMkLst>
        </pc:spChg>
        <pc:spChg chg="add mod">
          <ac:chgData name="Nick Robinson" userId="d0c2b313-4ae0-4040-8c6a-fec7a720a7b5" providerId="ADAL" clId="{9D26C270-5461-F844-9688-58D8512A9AEB}" dt="2021-11-04T15:40:55.711" v="34286" actId="14100"/>
          <ac:spMkLst>
            <pc:docMk/>
            <pc:sldMk cId="335313518" sldId="2145707219"/>
            <ac:spMk id="20" creationId="{6C09C46E-40B0-534F-9084-0587A6F5D8C6}"/>
          </ac:spMkLst>
        </pc:spChg>
        <pc:spChg chg="add mod">
          <ac:chgData name="Nick Robinson" userId="d0c2b313-4ae0-4040-8c6a-fec7a720a7b5" providerId="ADAL" clId="{9D26C270-5461-F844-9688-58D8512A9AEB}" dt="2021-11-04T15:40:53.275" v="34285" actId="14100"/>
          <ac:spMkLst>
            <pc:docMk/>
            <pc:sldMk cId="335313518" sldId="2145707219"/>
            <ac:spMk id="22" creationId="{776E165A-9C06-7240-B906-461358622D7F}"/>
          </ac:spMkLst>
        </pc:spChg>
        <pc:graphicFrameChg chg="mod modGraphic">
          <ac:chgData name="Nick Robinson" userId="d0c2b313-4ae0-4040-8c6a-fec7a720a7b5" providerId="ADAL" clId="{9D26C270-5461-F844-9688-58D8512A9AEB}" dt="2021-11-08T13:43:11.497" v="60732" actId="20577"/>
          <ac:graphicFrameMkLst>
            <pc:docMk/>
            <pc:sldMk cId="335313518" sldId="2145707219"/>
            <ac:graphicFrameMk id="7" creationId="{0652C58B-32C6-9446-B4B3-CCE2F64D5CB7}"/>
          </ac:graphicFrameMkLst>
        </pc:graphicFrameChg>
        <pc:picChg chg="del">
          <ac:chgData name="Nick Robinson" userId="d0c2b313-4ae0-4040-8c6a-fec7a720a7b5" providerId="ADAL" clId="{9D26C270-5461-F844-9688-58D8512A9AEB}" dt="2021-11-04T12:28:51.746" v="28273" actId="478"/>
          <ac:picMkLst>
            <pc:docMk/>
            <pc:sldMk cId="335313518" sldId="2145707219"/>
            <ac:picMk id="11" creationId="{547A6859-B369-8041-80AA-0A1311EBF4A7}"/>
          </ac:picMkLst>
        </pc:picChg>
        <pc:picChg chg="del">
          <ac:chgData name="Nick Robinson" userId="d0c2b313-4ae0-4040-8c6a-fec7a720a7b5" providerId="ADAL" clId="{9D26C270-5461-F844-9688-58D8512A9AEB}" dt="2021-11-04T12:28:51.746" v="28273" actId="478"/>
          <ac:picMkLst>
            <pc:docMk/>
            <pc:sldMk cId="335313518" sldId="2145707219"/>
            <ac:picMk id="15" creationId="{B9FC9CE0-F740-0B44-A8C8-42715430AA2B}"/>
          </ac:picMkLst>
        </pc:picChg>
        <pc:picChg chg="add mod">
          <ac:chgData name="Nick Robinson" userId="d0c2b313-4ae0-4040-8c6a-fec7a720a7b5" providerId="ADAL" clId="{9D26C270-5461-F844-9688-58D8512A9AEB}" dt="2021-11-04T15:40:49.606" v="34284" actId="1076"/>
          <ac:picMkLst>
            <pc:docMk/>
            <pc:sldMk cId="335313518" sldId="2145707219"/>
            <ac:picMk id="16" creationId="{6E452183-EB25-694C-A885-3DBA5CEDB671}"/>
          </ac:picMkLst>
        </pc:picChg>
        <pc:picChg chg="del">
          <ac:chgData name="Nick Robinson" userId="d0c2b313-4ae0-4040-8c6a-fec7a720a7b5" providerId="ADAL" clId="{9D26C270-5461-F844-9688-58D8512A9AEB}" dt="2021-11-04T12:28:51.746" v="28273" actId="478"/>
          <ac:picMkLst>
            <pc:docMk/>
            <pc:sldMk cId="335313518" sldId="2145707219"/>
            <ac:picMk id="17" creationId="{8C05A87F-A91C-F74A-84F3-4041D9EF279A}"/>
          </ac:picMkLst>
        </pc:picChg>
        <pc:picChg chg="del">
          <ac:chgData name="Nick Robinson" userId="d0c2b313-4ae0-4040-8c6a-fec7a720a7b5" providerId="ADAL" clId="{9D26C270-5461-F844-9688-58D8512A9AEB}" dt="2021-11-04T12:28:51.746" v="28273" actId="478"/>
          <ac:picMkLst>
            <pc:docMk/>
            <pc:sldMk cId="335313518" sldId="2145707219"/>
            <ac:picMk id="21" creationId="{8EEAFA2E-7BFE-C54B-9E83-C29A15992FE2}"/>
          </ac:picMkLst>
        </pc:picChg>
        <pc:picChg chg="del">
          <ac:chgData name="Nick Robinson" userId="d0c2b313-4ae0-4040-8c6a-fec7a720a7b5" providerId="ADAL" clId="{9D26C270-5461-F844-9688-58D8512A9AEB}" dt="2021-11-04T12:28:51.746" v="28273" actId="478"/>
          <ac:picMkLst>
            <pc:docMk/>
            <pc:sldMk cId="335313518" sldId="2145707219"/>
            <ac:picMk id="23" creationId="{AC537BED-AC2A-6E41-96B7-0BED74719E3A}"/>
          </ac:picMkLst>
        </pc:picChg>
        <pc:picChg chg="del">
          <ac:chgData name="Nick Robinson" userId="d0c2b313-4ae0-4040-8c6a-fec7a720a7b5" providerId="ADAL" clId="{9D26C270-5461-F844-9688-58D8512A9AEB}" dt="2021-11-04T12:28:51.746" v="28273" actId="478"/>
          <ac:picMkLst>
            <pc:docMk/>
            <pc:sldMk cId="335313518" sldId="2145707219"/>
            <ac:picMk id="25" creationId="{7105EA1B-0D3A-0648-8994-79EBFFF1ABF3}"/>
          </ac:picMkLst>
        </pc:picChg>
      </pc:sldChg>
      <pc:sldChg chg="add mod modShow">
        <pc:chgData name="Nick Robinson" userId="d0c2b313-4ae0-4040-8c6a-fec7a720a7b5" providerId="ADAL" clId="{9D26C270-5461-F844-9688-58D8512A9AEB}" dt="2021-11-04T15:01:15.740" v="32934" actId="729"/>
        <pc:sldMkLst>
          <pc:docMk/>
          <pc:sldMk cId="3535240466" sldId="2145707220"/>
        </pc:sldMkLst>
      </pc:sldChg>
      <pc:sldChg chg="addSp delSp modSp add mod">
        <pc:chgData name="Nick Robinson" userId="d0c2b313-4ae0-4040-8c6a-fec7a720a7b5" providerId="ADAL" clId="{9D26C270-5461-F844-9688-58D8512A9AEB}" dt="2021-11-08T12:57:27.355" v="59581" actId="2161"/>
        <pc:sldMkLst>
          <pc:docMk/>
          <pc:sldMk cId="1843871537" sldId="2145707221"/>
        </pc:sldMkLst>
        <pc:spChg chg="mod">
          <ac:chgData name="Nick Robinson" userId="d0c2b313-4ae0-4040-8c6a-fec7a720a7b5" providerId="ADAL" clId="{9D26C270-5461-F844-9688-58D8512A9AEB}" dt="2021-11-08T11:36:43.817" v="57062"/>
          <ac:spMkLst>
            <pc:docMk/>
            <pc:sldMk cId="1843871537" sldId="2145707221"/>
            <ac:spMk id="2" creationId="{00000000-0000-0000-0000-000000000000}"/>
          </ac:spMkLst>
        </pc:spChg>
        <pc:spChg chg="add del mod">
          <ac:chgData name="Nick Robinson" userId="d0c2b313-4ae0-4040-8c6a-fec7a720a7b5" providerId="ADAL" clId="{9D26C270-5461-F844-9688-58D8512A9AEB}" dt="2021-11-04T14:49:57.758" v="32798" actId="21"/>
          <ac:spMkLst>
            <pc:docMk/>
            <pc:sldMk cId="1843871537" sldId="2145707221"/>
            <ac:spMk id="10" creationId="{29B36C02-CCCB-6E40-978C-F50D5E6E77B9}"/>
          </ac:spMkLst>
        </pc:spChg>
        <pc:spChg chg="del">
          <ac:chgData name="Nick Robinson" userId="d0c2b313-4ae0-4040-8c6a-fec7a720a7b5" providerId="ADAL" clId="{9D26C270-5461-F844-9688-58D8512A9AEB}" dt="2021-11-07T20:03:47.504" v="52569" actId="478"/>
          <ac:spMkLst>
            <pc:docMk/>
            <pc:sldMk cId="1843871537" sldId="2145707221"/>
            <ac:spMk id="15" creationId="{D52003E6-351B-F549-85A3-AE74C3FEB25D}"/>
          </ac:spMkLst>
        </pc:spChg>
        <pc:spChg chg="mod">
          <ac:chgData name="Nick Robinson" userId="d0c2b313-4ae0-4040-8c6a-fec7a720a7b5" providerId="ADAL" clId="{9D26C270-5461-F844-9688-58D8512A9AEB}" dt="2021-11-08T11:36:43.817" v="57062"/>
          <ac:spMkLst>
            <pc:docMk/>
            <pc:sldMk cId="1843871537" sldId="2145707221"/>
            <ac:spMk id="16" creationId="{F715D659-0B3D-3441-8784-EDED0A7173C7}"/>
          </ac:spMkLst>
        </pc:spChg>
        <pc:graphicFrameChg chg="mod modGraphic">
          <ac:chgData name="Nick Robinson" userId="d0c2b313-4ae0-4040-8c6a-fec7a720a7b5" providerId="ADAL" clId="{9D26C270-5461-F844-9688-58D8512A9AEB}" dt="2021-11-08T12:57:27.355" v="59581" actId="2161"/>
          <ac:graphicFrameMkLst>
            <pc:docMk/>
            <pc:sldMk cId="1843871537" sldId="2145707221"/>
            <ac:graphicFrameMk id="26" creationId="{B868C0AB-3D2C-4647-A123-6629F1806D7E}"/>
          </ac:graphicFrameMkLst>
        </pc:graphicFrameChg>
      </pc:sldChg>
      <pc:sldChg chg="addSp delSp modSp add mod">
        <pc:chgData name="Nick Robinson" userId="d0c2b313-4ae0-4040-8c6a-fec7a720a7b5" providerId="ADAL" clId="{9D26C270-5461-F844-9688-58D8512A9AEB}" dt="2021-11-08T13:44:49.351" v="60920" actId="20577"/>
        <pc:sldMkLst>
          <pc:docMk/>
          <pc:sldMk cId="3399233236" sldId="2145707222"/>
        </pc:sldMkLst>
        <pc:spChg chg="mod">
          <ac:chgData name="Nick Robinson" userId="d0c2b313-4ae0-4040-8c6a-fec7a720a7b5" providerId="ADAL" clId="{9D26C270-5461-F844-9688-58D8512A9AEB}" dt="2021-11-08T11:36:43.817" v="57062"/>
          <ac:spMkLst>
            <pc:docMk/>
            <pc:sldMk cId="3399233236" sldId="2145707222"/>
            <ac:spMk id="2" creationId="{00000000-0000-0000-0000-000000000000}"/>
          </ac:spMkLst>
        </pc:spChg>
        <pc:spChg chg="add del mod">
          <ac:chgData name="Nick Robinson" userId="d0c2b313-4ae0-4040-8c6a-fec7a720a7b5" providerId="ADAL" clId="{9D26C270-5461-F844-9688-58D8512A9AEB}" dt="2021-11-04T14:50:19.483" v="32811" actId="21"/>
          <ac:spMkLst>
            <pc:docMk/>
            <pc:sldMk cId="3399233236" sldId="2145707222"/>
            <ac:spMk id="9" creationId="{E261AA31-C868-F342-8FFD-2E1BD6FE08E3}"/>
          </ac:spMkLst>
        </pc:spChg>
        <pc:spChg chg="add del mod">
          <ac:chgData name="Nick Robinson" userId="d0c2b313-4ae0-4040-8c6a-fec7a720a7b5" providerId="ADAL" clId="{9D26C270-5461-F844-9688-58D8512A9AEB}" dt="2021-11-04T14:50:03.805" v="32801"/>
          <ac:spMkLst>
            <pc:docMk/>
            <pc:sldMk cId="3399233236" sldId="2145707222"/>
            <ac:spMk id="10" creationId="{70971C38-9AE8-274D-A584-13233FF9D59A}"/>
          </ac:spMkLst>
        </pc:spChg>
        <pc:spChg chg="add mod">
          <ac:chgData name="Nick Robinson" userId="d0c2b313-4ae0-4040-8c6a-fec7a720a7b5" providerId="ADAL" clId="{9D26C270-5461-F844-9688-58D8512A9AEB}" dt="2021-11-08T11:36:43.817" v="57062"/>
          <ac:spMkLst>
            <pc:docMk/>
            <pc:sldMk cId="3399233236" sldId="2145707222"/>
            <ac:spMk id="11" creationId="{A8FBD734-93FF-AF48-B164-3A8E36CE9826}"/>
          </ac:spMkLst>
        </pc:spChg>
        <pc:spChg chg="del">
          <ac:chgData name="Nick Robinson" userId="d0c2b313-4ae0-4040-8c6a-fec7a720a7b5" providerId="ADAL" clId="{9D26C270-5461-F844-9688-58D8512A9AEB}" dt="2021-11-07T20:03:44.377" v="52568" actId="478"/>
          <ac:spMkLst>
            <pc:docMk/>
            <pc:sldMk cId="3399233236" sldId="2145707222"/>
            <ac:spMk id="15" creationId="{D52003E6-351B-F549-85A3-AE74C3FEB25D}"/>
          </ac:spMkLst>
        </pc:spChg>
        <pc:spChg chg="del">
          <ac:chgData name="Nick Robinson" userId="d0c2b313-4ae0-4040-8c6a-fec7a720a7b5" providerId="ADAL" clId="{9D26C270-5461-F844-9688-58D8512A9AEB}" dt="2021-11-04T15:58:25.953" v="34998" actId="478"/>
          <ac:spMkLst>
            <pc:docMk/>
            <pc:sldMk cId="3399233236" sldId="2145707222"/>
            <ac:spMk id="16" creationId="{F715D659-0B3D-3441-8784-EDED0A7173C7}"/>
          </ac:spMkLst>
        </pc:spChg>
        <pc:graphicFrameChg chg="mod modGraphic">
          <ac:chgData name="Nick Robinson" userId="d0c2b313-4ae0-4040-8c6a-fec7a720a7b5" providerId="ADAL" clId="{9D26C270-5461-F844-9688-58D8512A9AEB}" dt="2021-11-08T13:44:49.351" v="60920" actId="20577"/>
          <ac:graphicFrameMkLst>
            <pc:docMk/>
            <pc:sldMk cId="3399233236" sldId="2145707222"/>
            <ac:graphicFrameMk id="26" creationId="{B868C0AB-3D2C-4647-A123-6629F1806D7E}"/>
          </ac:graphicFrameMkLst>
        </pc:graphicFrameChg>
      </pc:sldChg>
      <pc:sldChg chg="addSp delSp modSp add mod">
        <pc:chgData name="Nick Robinson" userId="d0c2b313-4ae0-4040-8c6a-fec7a720a7b5" providerId="ADAL" clId="{9D26C270-5461-F844-9688-58D8512A9AEB}" dt="2021-11-09T09:59:55.488" v="61344" actId="20577"/>
        <pc:sldMkLst>
          <pc:docMk/>
          <pc:sldMk cId="1583098392" sldId="2145707223"/>
        </pc:sldMkLst>
        <pc:spChg chg="mod">
          <ac:chgData name="Nick Robinson" userId="d0c2b313-4ae0-4040-8c6a-fec7a720a7b5" providerId="ADAL" clId="{9D26C270-5461-F844-9688-58D8512A9AEB}" dt="2021-11-08T11:36:43.817" v="57062"/>
          <ac:spMkLst>
            <pc:docMk/>
            <pc:sldMk cId="1583098392" sldId="2145707223"/>
            <ac:spMk id="2" creationId="{00000000-0000-0000-0000-000000000000}"/>
          </ac:spMkLst>
        </pc:spChg>
        <pc:spChg chg="add del mod">
          <ac:chgData name="Nick Robinson" userId="d0c2b313-4ae0-4040-8c6a-fec7a720a7b5" providerId="ADAL" clId="{9D26C270-5461-F844-9688-58D8512A9AEB}" dt="2021-11-08T08:13:56.024" v="53581" actId="478"/>
          <ac:spMkLst>
            <pc:docMk/>
            <pc:sldMk cId="1583098392" sldId="2145707223"/>
            <ac:spMk id="5" creationId="{FD1A0C75-929D-DB48-A4EE-5C89F396D988}"/>
          </ac:spMkLst>
        </pc:spChg>
        <pc:spChg chg="add del mod">
          <ac:chgData name="Nick Robinson" userId="d0c2b313-4ae0-4040-8c6a-fec7a720a7b5" providerId="ADAL" clId="{9D26C270-5461-F844-9688-58D8512A9AEB}" dt="2021-11-04T14:50:53.212" v="32822" actId="478"/>
          <ac:spMkLst>
            <pc:docMk/>
            <pc:sldMk cId="1583098392" sldId="2145707223"/>
            <ac:spMk id="9" creationId="{914730FB-23C2-EA49-939E-DD1776393578}"/>
          </ac:spMkLst>
        </pc:spChg>
        <pc:spChg chg="add mod">
          <ac:chgData name="Nick Robinson" userId="d0c2b313-4ae0-4040-8c6a-fec7a720a7b5" providerId="ADAL" clId="{9D26C270-5461-F844-9688-58D8512A9AEB}" dt="2021-11-08T11:36:43.817" v="57062"/>
          <ac:spMkLst>
            <pc:docMk/>
            <pc:sldMk cId="1583098392" sldId="2145707223"/>
            <ac:spMk id="10" creationId="{99FD8E32-0D43-BE41-BDC0-F35E5F3E8AAB}"/>
          </ac:spMkLst>
        </pc:spChg>
        <pc:spChg chg="del">
          <ac:chgData name="Nick Robinson" userId="d0c2b313-4ae0-4040-8c6a-fec7a720a7b5" providerId="ADAL" clId="{9D26C270-5461-F844-9688-58D8512A9AEB}" dt="2021-11-07T20:03:42.290" v="52567" actId="478"/>
          <ac:spMkLst>
            <pc:docMk/>
            <pc:sldMk cId="1583098392" sldId="2145707223"/>
            <ac:spMk id="15" creationId="{D52003E6-351B-F549-85A3-AE74C3FEB25D}"/>
          </ac:spMkLst>
        </pc:spChg>
        <pc:spChg chg="del">
          <ac:chgData name="Nick Robinson" userId="d0c2b313-4ae0-4040-8c6a-fec7a720a7b5" providerId="ADAL" clId="{9D26C270-5461-F844-9688-58D8512A9AEB}" dt="2021-11-04T15:58:32.070" v="35001" actId="478"/>
          <ac:spMkLst>
            <pc:docMk/>
            <pc:sldMk cId="1583098392" sldId="2145707223"/>
            <ac:spMk id="16" creationId="{F715D659-0B3D-3441-8784-EDED0A7173C7}"/>
          </ac:spMkLst>
        </pc:spChg>
        <pc:graphicFrameChg chg="mod modGraphic">
          <ac:chgData name="Nick Robinson" userId="d0c2b313-4ae0-4040-8c6a-fec7a720a7b5" providerId="ADAL" clId="{9D26C270-5461-F844-9688-58D8512A9AEB}" dt="2021-11-09T09:59:55.488" v="61344" actId="20577"/>
          <ac:graphicFrameMkLst>
            <pc:docMk/>
            <pc:sldMk cId="1583098392" sldId="2145707223"/>
            <ac:graphicFrameMk id="26" creationId="{B868C0AB-3D2C-4647-A123-6629F1806D7E}"/>
          </ac:graphicFrameMkLst>
        </pc:graphicFrameChg>
      </pc:sldChg>
      <pc:sldChg chg="addSp delSp modSp add del mod">
        <pc:chgData name="Nick Robinson" userId="d0c2b313-4ae0-4040-8c6a-fec7a720a7b5" providerId="ADAL" clId="{9D26C270-5461-F844-9688-58D8512A9AEB}" dt="2021-11-07T18:21:08.326" v="46145" actId="2696"/>
        <pc:sldMkLst>
          <pc:docMk/>
          <pc:sldMk cId="2208410588" sldId="2145707224"/>
        </pc:sldMkLst>
        <pc:spChg chg="mod">
          <ac:chgData name="Nick Robinson" userId="d0c2b313-4ae0-4040-8c6a-fec7a720a7b5" providerId="ADAL" clId="{9D26C270-5461-F844-9688-58D8512A9AEB}" dt="2021-11-04T15:29:52.306" v="33792" actId="20577"/>
          <ac:spMkLst>
            <pc:docMk/>
            <pc:sldMk cId="2208410588" sldId="2145707224"/>
            <ac:spMk id="2" creationId="{00000000-0000-0000-0000-000000000000}"/>
          </ac:spMkLst>
        </pc:spChg>
        <pc:spChg chg="add mod">
          <ac:chgData name="Nick Robinson" userId="d0c2b313-4ae0-4040-8c6a-fec7a720a7b5" providerId="ADAL" clId="{9D26C270-5461-F844-9688-58D8512A9AEB}" dt="2021-11-04T15:58:49.849" v="35005"/>
          <ac:spMkLst>
            <pc:docMk/>
            <pc:sldMk cId="2208410588" sldId="2145707224"/>
            <ac:spMk id="9" creationId="{D6DDD13A-3582-B044-AA29-CF9812C4E29B}"/>
          </ac:spMkLst>
        </pc:spChg>
        <pc:spChg chg="del">
          <ac:chgData name="Nick Robinson" userId="d0c2b313-4ae0-4040-8c6a-fec7a720a7b5" providerId="ADAL" clId="{9D26C270-5461-F844-9688-58D8512A9AEB}" dt="2021-11-04T15:58:49.212" v="35004" actId="478"/>
          <ac:spMkLst>
            <pc:docMk/>
            <pc:sldMk cId="2208410588" sldId="2145707224"/>
            <ac:spMk id="16" creationId="{F715D659-0B3D-3441-8784-EDED0A7173C7}"/>
          </ac:spMkLst>
        </pc:spChg>
        <pc:graphicFrameChg chg="mod modGraphic">
          <ac:chgData name="Nick Robinson" userId="d0c2b313-4ae0-4040-8c6a-fec7a720a7b5" providerId="ADAL" clId="{9D26C270-5461-F844-9688-58D8512A9AEB}" dt="2021-11-07T18:01:05.284" v="44899" actId="20577"/>
          <ac:graphicFrameMkLst>
            <pc:docMk/>
            <pc:sldMk cId="2208410588" sldId="2145707224"/>
            <ac:graphicFrameMk id="26" creationId="{B868C0AB-3D2C-4647-A123-6629F1806D7E}"/>
          </ac:graphicFrameMkLst>
        </pc:graphicFrameChg>
      </pc:sldChg>
      <pc:sldChg chg="addSp delSp modSp add mod">
        <pc:chgData name="Nick Robinson" userId="d0c2b313-4ae0-4040-8c6a-fec7a720a7b5" providerId="ADAL" clId="{9D26C270-5461-F844-9688-58D8512A9AEB}" dt="2021-11-08T13:42:02.512" v="60684" actId="20577"/>
        <pc:sldMkLst>
          <pc:docMk/>
          <pc:sldMk cId="2814621072" sldId="2145707225"/>
        </pc:sldMkLst>
        <pc:spChg chg="mod">
          <ac:chgData name="Nick Robinson" userId="d0c2b313-4ae0-4040-8c6a-fec7a720a7b5" providerId="ADAL" clId="{9D26C270-5461-F844-9688-58D8512A9AEB}" dt="2021-11-08T13:42:02.512" v="60684" actId="20577"/>
          <ac:spMkLst>
            <pc:docMk/>
            <pc:sldMk cId="2814621072" sldId="2145707225"/>
            <ac:spMk id="2" creationId="{00000000-0000-0000-0000-000000000000}"/>
          </ac:spMkLst>
        </pc:spChg>
        <pc:spChg chg="add del mod">
          <ac:chgData name="Nick Robinson" userId="d0c2b313-4ae0-4040-8c6a-fec7a720a7b5" providerId="ADAL" clId="{9D26C270-5461-F844-9688-58D8512A9AEB}" dt="2021-11-04T15:24:25.842" v="33582" actId="478"/>
          <ac:spMkLst>
            <pc:docMk/>
            <pc:sldMk cId="2814621072" sldId="2145707225"/>
            <ac:spMk id="10" creationId="{D3C2F0D4-B260-1B48-8AE3-A33406BBECC2}"/>
          </ac:spMkLst>
        </pc:spChg>
        <pc:spChg chg="del">
          <ac:chgData name="Nick Robinson" userId="d0c2b313-4ae0-4040-8c6a-fec7a720a7b5" providerId="ADAL" clId="{9D26C270-5461-F844-9688-58D8512A9AEB}" dt="2021-11-07T20:03:40.150" v="52566" actId="478"/>
          <ac:spMkLst>
            <pc:docMk/>
            <pc:sldMk cId="2814621072" sldId="2145707225"/>
            <ac:spMk id="15" creationId="{D52003E6-351B-F549-85A3-AE74C3FEB25D}"/>
          </ac:spMkLst>
        </pc:spChg>
        <pc:spChg chg="mod">
          <ac:chgData name="Nick Robinson" userId="d0c2b313-4ae0-4040-8c6a-fec7a720a7b5" providerId="ADAL" clId="{9D26C270-5461-F844-9688-58D8512A9AEB}" dt="2021-11-08T11:36:43.817" v="57062"/>
          <ac:spMkLst>
            <pc:docMk/>
            <pc:sldMk cId="2814621072" sldId="2145707225"/>
            <ac:spMk id="16" creationId="{F715D659-0B3D-3441-8784-EDED0A7173C7}"/>
          </ac:spMkLst>
        </pc:spChg>
        <pc:graphicFrameChg chg="mod modGraphic">
          <ac:chgData name="Nick Robinson" userId="d0c2b313-4ae0-4040-8c6a-fec7a720a7b5" providerId="ADAL" clId="{9D26C270-5461-F844-9688-58D8512A9AEB}" dt="2021-11-08T11:36:43.817" v="57062"/>
          <ac:graphicFrameMkLst>
            <pc:docMk/>
            <pc:sldMk cId="2814621072" sldId="2145707225"/>
            <ac:graphicFrameMk id="26" creationId="{B868C0AB-3D2C-4647-A123-6629F1806D7E}"/>
          </ac:graphicFrameMkLst>
        </pc:graphicFrameChg>
      </pc:sldChg>
      <pc:sldChg chg="addSp delSp modSp add mod ord">
        <pc:chgData name="Nick Robinson" userId="d0c2b313-4ae0-4040-8c6a-fec7a720a7b5" providerId="ADAL" clId="{9D26C270-5461-F844-9688-58D8512A9AEB}" dt="2021-11-08T13:43:19.943" v="60742" actId="20577"/>
        <pc:sldMkLst>
          <pc:docMk/>
          <pc:sldMk cId="3636557473" sldId="2145707226"/>
        </pc:sldMkLst>
        <pc:spChg chg="mod">
          <ac:chgData name="Nick Robinson" userId="d0c2b313-4ae0-4040-8c6a-fec7a720a7b5" providerId="ADAL" clId="{9D26C270-5461-F844-9688-58D8512A9AEB}" dt="2021-11-08T13:42:17.023" v="60690" actId="20577"/>
          <ac:spMkLst>
            <pc:docMk/>
            <pc:sldMk cId="3636557473" sldId="2145707226"/>
            <ac:spMk id="2" creationId="{00000000-0000-0000-0000-000000000000}"/>
          </ac:spMkLst>
        </pc:spChg>
        <pc:spChg chg="del mod">
          <ac:chgData name="Nick Robinson" userId="d0c2b313-4ae0-4040-8c6a-fec7a720a7b5" providerId="ADAL" clId="{9D26C270-5461-F844-9688-58D8512A9AEB}" dt="2021-11-04T15:24:50.356" v="33597"/>
          <ac:spMkLst>
            <pc:docMk/>
            <pc:sldMk cId="3636557473" sldId="2145707226"/>
            <ac:spMk id="10" creationId="{D3C2F0D4-B260-1B48-8AE3-A33406BBECC2}"/>
          </ac:spMkLst>
        </pc:spChg>
        <pc:spChg chg="add mod">
          <ac:chgData name="Nick Robinson" userId="d0c2b313-4ae0-4040-8c6a-fec7a720a7b5" providerId="ADAL" clId="{9D26C270-5461-F844-9688-58D8512A9AEB}" dt="2021-11-08T11:36:43.817" v="57062"/>
          <ac:spMkLst>
            <pc:docMk/>
            <pc:sldMk cId="3636557473" sldId="2145707226"/>
            <ac:spMk id="11" creationId="{D9281D82-986A-2B47-8B50-0CF053648002}"/>
          </ac:spMkLst>
        </pc:spChg>
        <pc:spChg chg="del">
          <ac:chgData name="Nick Robinson" userId="d0c2b313-4ae0-4040-8c6a-fec7a720a7b5" providerId="ADAL" clId="{9D26C270-5461-F844-9688-58D8512A9AEB}" dt="2021-11-07T20:03:37.598" v="52565" actId="478"/>
          <ac:spMkLst>
            <pc:docMk/>
            <pc:sldMk cId="3636557473" sldId="2145707226"/>
            <ac:spMk id="15" creationId="{D52003E6-351B-F549-85A3-AE74C3FEB25D}"/>
          </ac:spMkLst>
        </pc:spChg>
        <pc:spChg chg="del">
          <ac:chgData name="Nick Robinson" userId="d0c2b313-4ae0-4040-8c6a-fec7a720a7b5" providerId="ADAL" clId="{9D26C270-5461-F844-9688-58D8512A9AEB}" dt="2021-11-04T16:01:19.407" v="35339" actId="478"/>
          <ac:spMkLst>
            <pc:docMk/>
            <pc:sldMk cId="3636557473" sldId="2145707226"/>
            <ac:spMk id="16" creationId="{F715D659-0B3D-3441-8784-EDED0A7173C7}"/>
          </ac:spMkLst>
        </pc:spChg>
        <pc:graphicFrameChg chg="add del mod">
          <ac:chgData name="Nick Robinson" userId="d0c2b313-4ae0-4040-8c6a-fec7a720a7b5" providerId="ADAL" clId="{9D26C270-5461-F844-9688-58D8512A9AEB}" dt="2021-11-08T08:47:36.107" v="55390" actId="478"/>
          <ac:graphicFrameMkLst>
            <pc:docMk/>
            <pc:sldMk cId="3636557473" sldId="2145707226"/>
            <ac:graphicFrameMk id="5" creationId="{32740814-B8AD-2F46-A7CC-3FC14AA096A3}"/>
          </ac:graphicFrameMkLst>
        </pc:graphicFrameChg>
        <pc:graphicFrameChg chg="add del mod modGraphic">
          <ac:chgData name="Nick Robinson" userId="d0c2b313-4ae0-4040-8c6a-fec7a720a7b5" providerId="ADAL" clId="{9D26C270-5461-F844-9688-58D8512A9AEB}" dt="2021-11-08T13:43:19.943" v="60742" actId="20577"/>
          <ac:graphicFrameMkLst>
            <pc:docMk/>
            <pc:sldMk cId="3636557473" sldId="2145707226"/>
            <ac:graphicFrameMk id="26" creationId="{B868C0AB-3D2C-4647-A123-6629F1806D7E}"/>
          </ac:graphicFrameMkLst>
        </pc:graphicFrameChg>
      </pc:sldChg>
      <pc:sldChg chg="addSp delSp modSp add mod ord">
        <pc:chgData name="Nick Robinson" userId="d0c2b313-4ae0-4040-8c6a-fec7a720a7b5" providerId="ADAL" clId="{9D26C270-5461-F844-9688-58D8512A9AEB}" dt="2021-11-08T12:29:12.753" v="59297" actId="20577"/>
        <pc:sldMkLst>
          <pc:docMk/>
          <pc:sldMk cId="2537393026" sldId="2145707227"/>
        </pc:sldMkLst>
        <pc:spChg chg="mod">
          <ac:chgData name="Nick Robinson" userId="d0c2b313-4ae0-4040-8c6a-fec7a720a7b5" providerId="ADAL" clId="{9D26C270-5461-F844-9688-58D8512A9AEB}" dt="2021-11-08T11:36:43.817" v="57062"/>
          <ac:spMkLst>
            <pc:docMk/>
            <pc:sldMk cId="2537393026" sldId="2145707227"/>
            <ac:spMk id="2" creationId="{00000000-0000-0000-0000-000000000000}"/>
          </ac:spMkLst>
        </pc:spChg>
        <pc:spChg chg="add del mod">
          <ac:chgData name="Nick Robinson" userId="d0c2b313-4ae0-4040-8c6a-fec7a720a7b5" providerId="ADAL" clId="{9D26C270-5461-F844-9688-58D8512A9AEB}" dt="2021-11-04T15:25:25.738" v="33624" actId="478"/>
          <ac:spMkLst>
            <pc:docMk/>
            <pc:sldMk cId="2537393026" sldId="2145707227"/>
            <ac:spMk id="5" creationId="{7E80E7D7-7BEA-604C-9663-37FBE1521487}"/>
          </ac:spMkLst>
        </pc:spChg>
        <pc:spChg chg="add del mod">
          <ac:chgData name="Nick Robinson" userId="d0c2b313-4ae0-4040-8c6a-fec7a720a7b5" providerId="ADAL" clId="{9D26C270-5461-F844-9688-58D8512A9AEB}" dt="2021-11-04T18:48:12.031" v="39831"/>
          <ac:spMkLst>
            <pc:docMk/>
            <pc:sldMk cId="2537393026" sldId="2145707227"/>
            <ac:spMk id="10" creationId="{9CFEAB8B-4DDC-7945-B511-2D90584E4FFC}"/>
          </ac:spMkLst>
        </pc:spChg>
        <pc:spChg chg="add del mod">
          <ac:chgData name="Nick Robinson" userId="d0c2b313-4ae0-4040-8c6a-fec7a720a7b5" providerId="ADAL" clId="{9D26C270-5461-F844-9688-58D8512A9AEB}" dt="2021-11-04T18:48:17.959" v="39834" actId="478"/>
          <ac:spMkLst>
            <pc:docMk/>
            <pc:sldMk cId="2537393026" sldId="2145707227"/>
            <ac:spMk id="11" creationId="{87128E8C-E4C0-1745-9279-81C4A291B26F}"/>
          </ac:spMkLst>
        </pc:spChg>
        <pc:spChg chg="del">
          <ac:chgData name="Nick Robinson" userId="d0c2b313-4ae0-4040-8c6a-fec7a720a7b5" providerId="ADAL" clId="{9D26C270-5461-F844-9688-58D8512A9AEB}" dt="2021-11-07T20:03:30.076" v="52564" actId="478"/>
          <ac:spMkLst>
            <pc:docMk/>
            <pc:sldMk cId="2537393026" sldId="2145707227"/>
            <ac:spMk id="15" creationId="{D52003E6-351B-F549-85A3-AE74C3FEB25D}"/>
          </ac:spMkLst>
        </pc:spChg>
        <pc:spChg chg="mod">
          <ac:chgData name="Nick Robinson" userId="d0c2b313-4ae0-4040-8c6a-fec7a720a7b5" providerId="ADAL" clId="{9D26C270-5461-F844-9688-58D8512A9AEB}" dt="2021-11-08T11:36:43.817" v="57062"/>
          <ac:spMkLst>
            <pc:docMk/>
            <pc:sldMk cId="2537393026" sldId="2145707227"/>
            <ac:spMk id="16" creationId="{F715D659-0B3D-3441-8784-EDED0A7173C7}"/>
          </ac:spMkLst>
        </pc:spChg>
        <pc:graphicFrameChg chg="add del mod modGraphic">
          <ac:chgData name="Nick Robinson" userId="d0c2b313-4ae0-4040-8c6a-fec7a720a7b5" providerId="ADAL" clId="{9D26C270-5461-F844-9688-58D8512A9AEB}" dt="2021-11-08T12:23:06.883" v="59239" actId="478"/>
          <ac:graphicFrameMkLst>
            <pc:docMk/>
            <pc:sldMk cId="2537393026" sldId="2145707227"/>
            <ac:graphicFrameMk id="7" creationId="{E956E971-F79C-664D-84B8-3D56110511FF}"/>
          </ac:graphicFrameMkLst>
        </pc:graphicFrameChg>
        <pc:graphicFrameChg chg="mod modGraphic">
          <ac:chgData name="Nick Robinson" userId="d0c2b313-4ae0-4040-8c6a-fec7a720a7b5" providerId="ADAL" clId="{9D26C270-5461-F844-9688-58D8512A9AEB}" dt="2021-11-08T12:29:12.753" v="59297" actId="20577"/>
          <ac:graphicFrameMkLst>
            <pc:docMk/>
            <pc:sldMk cId="2537393026" sldId="2145707227"/>
            <ac:graphicFrameMk id="26" creationId="{B868C0AB-3D2C-4647-A123-6629F1806D7E}"/>
          </ac:graphicFrameMkLst>
        </pc:graphicFrameChg>
      </pc:sldChg>
      <pc:sldChg chg="addSp delSp modSp add mod">
        <pc:chgData name="Nick Robinson" userId="d0c2b313-4ae0-4040-8c6a-fec7a720a7b5" providerId="ADAL" clId="{9D26C270-5461-F844-9688-58D8512A9AEB}" dt="2021-11-08T12:38:40.354" v="59365" actId="20577"/>
        <pc:sldMkLst>
          <pc:docMk/>
          <pc:sldMk cId="552361420" sldId="2145707228"/>
        </pc:sldMkLst>
        <pc:spChg chg="mod">
          <ac:chgData name="Nick Robinson" userId="d0c2b313-4ae0-4040-8c6a-fec7a720a7b5" providerId="ADAL" clId="{9D26C270-5461-F844-9688-58D8512A9AEB}" dt="2021-11-08T11:36:43.817" v="57062"/>
          <ac:spMkLst>
            <pc:docMk/>
            <pc:sldMk cId="552361420" sldId="2145707228"/>
            <ac:spMk id="2" creationId="{00000000-0000-0000-0000-000000000000}"/>
          </ac:spMkLst>
        </pc:spChg>
        <pc:spChg chg="add del mod">
          <ac:chgData name="Nick Robinson" userId="d0c2b313-4ae0-4040-8c6a-fec7a720a7b5" providerId="ADAL" clId="{9D26C270-5461-F844-9688-58D8512A9AEB}" dt="2021-11-05T12:25:56.690" v="43583" actId="478"/>
          <ac:spMkLst>
            <pc:docMk/>
            <pc:sldMk cId="552361420" sldId="2145707228"/>
            <ac:spMk id="9" creationId="{CE325450-841D-E445-9C03-A97457E7AD3F}"/>
          </ac:spMkLst>
        </pc:spChg>
        <pc:spChg chg="add del">
          <ac:chgData name="Nick Robinson" userId="d0c2b313-4ae0-4040-8c6a-fec7a720a7b5" providerId="ADAL" clId="{9D26C270-5461-F844-9688-58D8512A9AEB}" dt="2021-11-05T12:25:58.300" v="43585" actId="22"/>
          <ac:spMkLst>
            <pc:docMk/>
            <pc:sldMk cId="552361420" sldId="2145707228"/>
            <ac:spMk id="11" creationId="{A0CF3F0A-A9B6-D847-9C42-8AFDD9DDE9BB}"/>
          </ac:spMkLst>
        </pc:spChg>
        <pc:spChg chg="add mod">
          <ac:chgData name="Nick Robinson" userId="d0c2b313-4ae0-4040-8c6a-fec7a720a7b5" providerId="ADAL" clId="{9D26C270-5461-F844-9688-58D8512A9AEB}" dt="2021-11-08T11:36:43.817" v="57062"/>
          <ac:spMkLst>
            <pc:docMk/>
            <pc:sldMk cId="552361420" sldId="2145707228"/>
            <ac:spMk id="12" creationId="{95CCDC6C-91F7-B24D-B8FB-53E6B6DEC3F2}"/>
          </ac:spMkLst>
        </pc:spChg>
        <pc:spChg chg="add del mod">
          <ac:chgData name="Nick Robinson" userId="d0c2b313-4ae0-4040-8c6a-fec7a720a7b5" providerId="ADAL" clId="{9D26C270-5461-F844-9688-58D8512A9AEB}" dt="2021-11-05T12:26:03.865" v="43588" actId="478"/>
          <ac:spMkLst>
            <pc:docMk/>
            <pc:sldMk cId="552361420" sldId="2145707228"/>
            <ac:spMk id="13" creationId="{6D95A348-6017-5D4F-B4D6-5D6AECFE3B9E}"/>
          </ac:spMkLst>
        </pc:spChg>
        <pc:spChg chg="del">
          <ac:chgData name="Nick Robinson" userId="d0c2b313-4ae0-4040-8c6a-fec7a720a7b5" providerId="ADAL" clId="{9D26C270-5461-F844-9688-58D8512A9AEB}" dt="2021-11-07T20:03:27.448" v="52563" actId="478"/>
          <ac:spMkLst>
            <pc:docMk/>
            <pc:sldMk cId="552361420" sldId="2145707228"/>
            <ac:spMk id="15" creationId="{D52003E6-351B-F549-85A3-AE74C3FEB25D}"/>
          </ac:spMkLst>
        </pc:spChg>
        <pc:spChg chg="del">
          <ac:chgData name="Nick Robinson" userId="d0c2b313-4ae0-4040-8c6a-fec7a720a7b5" providerId="ADAL" clId="{9D26C270-5461-F844-9688-58D8512A9AEB}" dt="2021-11-05T10:32:08.382" v="42690" actId="478"/>
          <ac:spMkLst>
            <pc:docMk/>
            <pc:sldMk cId="552361420" sldId="2145707228"/>
            <ac:spMk id="16" creationId="{F715D659-0B3D-3441-8784-EDED0A7173C7}"/>
          </ac:spMkLst>
        </pc:spChg>
        <pc:graphicFrameChg chg="add del">
          <ac:chgData name="Nick Robinson" userId="d0c2b313-4ae0-4040-8c6a-fec7a720a7b5" providerId="ADAL" clId="{9D26C270-5461-F844-9688-58D8512A9AEB}" dt="2021-11-07T19:37:01.041" v="51827"/>
          <ac:graphicFrameMkLst>
            <pc:docMk/>
            <pc:sldMk cId="552361420" sldId="2145707228"/>
            <ac:graphicFrameMk id="7" creationId="{39613603-DE6A-5C4E-B75F-2293A6E7982E}"/>
          </ac:graphicFrameMkLst>
        </pc:graphicFrameChg>
        <pc:graphicFrameChg chg="mod modGraphic">
          <ac:chgData name="Nick Robinson" userId="d0c2b313-4ae0-4040-8c6a-fec7a720a7b5" providerId="ADAL" clId="{9D26C270-5461-F844-9688-58D8512A9AEB}" dt="2021-11-08T12:38:40.354" v="59365" actId="20577"/>
          <ac:graphicFrameMkLst>
            <pc:docMk/>
            <pc:sldMk cId="552361420" sldId="2145707228"/>
            <ac:graphicFrameMk id="26" creationId="{B868C0AB-3D2C-4647-A123-6629F1806D7E}"/>
          </ac:graphicFrameMkLst>
        </pc:graphicFrameChg>
      </pc:sldChg>
      <pc:sldChg chg="new del">
        <pc:chgData name="Nick Robinson" userId="d0c2b313-4ae0-4040-8c6a-fec7a720a7b5" providerId="ADAL" clId="{9D26C270-5461-F844-9688-58D8512A9AEB}" dt="2021-11-07T18:26:57.002" v="46352" actId="680"/>
        <pc:sldMkLst>
          <pc:docMk/>
          <pc:sldMk cId="401002397" sldId="2145707229"/>
        </pc:sldMkLst>
      </pc:sldChg>
      <pc:sldChg chg="addSp delSp modSp add mod">
        <pc:chgData name="Nick Robinson" userId="d0c2b313-4ae0-4040-8c6a-fec7a720a7b5" providerId="ADAL" clId="{9D26C270-5461-F844-9688-58D8512A9AEB}" dt="2021-11-08T11:36:43.817" v="57062"/>
        <pc:sldMkLst>
          <pc:docMk/>
          <pc:sldMk cId="1724109162" sldId="2145707229"/>
        </pc:sldMkLst>
        <pc:spChg chg="mod">
          <ac:chgData name="Nick Robinson" userId="d0c2b313-4ae0-4040-8c6a-fec7a720a7b5" providerId="ADAL" clId="{9D26C270-5461-F844-9688-58D8512A9AEB}" dt="2021-11-08T11:36:43.817" v="57062"/>
          <ac:spMkLst>
            <pc:docMk/>
            <pc:sldMk cId="1724109162" sldId="2145707229"/>
            <ac:spMk id="8" creationId="{F1C83EA9-5794-4990-80E0-DF214A10237B}"/>
          </ac:spMkLst>
        </pc:spChg>
        <pc:spChg chg="mod">
          <ac:chgData name="Nick Robinson" userId="d0c2b313-4ae0-4040-8c6a-fec7a720a7b5" providerId="ADAL" clId="{9D26C270-5461-F844-9688-58D8512A9AEB}" dt="2021-11-07T19:30:48.791" v="51573" actId="1036"/>
          <ac:spMkLst>
            <pc:docMk/>
            <pc:sldMk cId="1724109162" sldId="2145707229"/>
            <ac:spMk id="28" creationId="{D6831D75-3329-0A49-A3BD-2CC27C71B7DF}"/>
          </ac:spMkLst>
        </pc:spChg>
        <pc:spChg chg="mod">
          <ac:chgData name="Nick Robinson" userId="d0c2b313-4ae0-4040-8c6a-fec7a720a7b5" providerId="ADAL" clId="{9D26C270-5461-F844-9688-58D8512A9AEB}" dt="2021-11-07T19:32:49.875" v="51765" actId="20577"/>
          <ac:spMkLst>
            <pc:docMk/>
            <pc:sldMk cId="1724109162" sldId="2145707229"/>
            <ac:spMk id="30" creationId="{F6F45185-7B93-8A42-97D3-8C1145627E68}"/>
          </ac:spMkLst>
        </pc:spChg>
        <pc:spChg chg="mod">
          <ac:chgData name="Nick Robinson" userId="d0c2b313-4ae0-4040-8c6a-fec7a720a7b5" providerId="ADAL" clId="{9D26C270-5461-F844-9688-58D8512A9AEB}" dt="2021-11-07T19:33:12.658" v="51779" actId="20577"/>
          <ac:spMkLst>
            <pc:docMk/>
            <pc:sldMk cId="1724109162" sldId="2145707229"/>
            <ac:spMk id="31" creationId="{3E2CDD8B-D81D-B447-BE2F-E9BDCEAF3EDD}"/>
          </ac:spMkLst>
        </pc:spChg>
        <pc:spChg chg="mod">
          <ac:chgData name="Nick Robinson" userId="d0c2b313-4ae0-4040-8c6a-fec7a720a7b5" providerId="ADAL" clId="{9D26C270-5461-F844-9688-58D8512A9AEB}" dt="2021-11-07T19:33:37.305" v="51790" actId="20577"/>
          <ac:spMkLst>
            <pc:docMk/>
            <pc:sldMk cId="1724109162" sldId="2145707229"/>
            <ac:spMk id="32" creationId="{EACF00AD-E858-2C4A-80E1-9967A9453FA2}"/>
          </ac:spMkLst>
        </pc:spChg>
        <pc:spChg chg="mod">
          <ac:chgData name="Nick Robinson" userId="d0c2b313-4ae0-4040-8c6a-fec7a720a7b5" providerId="ADAL" clId="{9D26C270-5461-F844-9688-58D8512A9AEB}" dt="2021-11-07T19:30:48.791" v="51573" actId="1036"/>
          <ac:spMkLst>
            <pc:docMk/>
            <pc:sldMk cId="1724109162" sldId="2145707229"/>
            <ac:spMk id="33" creationId="{FC8C34FC-A970-DE44-BB08-382021861AB8}"/>
          </ac:spMkLst>
        </pc:spChg>
        <pc:spChg chg="mod">
          <ac:chgData name="Nick Robinson" userId="d0c2b313-4ae0-4040-8c6a-fec7a720a7b5" providerId="ADAL" clId="{9D26C270-5461-F844-9688-58D8512A9AEB}" dt="2021-11-07T19:31:05.155" v="51596" actId="20577"/>
          <ac:spMkLst>
            <pc:docMk/>
            <pc:sldMk cId="1724109162" sldId="2145707229"/>
            <ac:spMk id="34" creationId="{152A5624-AA5E-984B-A76A-DF3DA114D798}"/>
          </ac:spMkLst>
        </pc:spChg>
        <pc:spChg chg="mod">
          <ac:chgData name="Nick Robinson" userId="d0c2b313-4ae0-4040-8c6a-fec7a720a7b5" providerId="ADAL" clId="{9D26C270-5461-F844-9688-58D8512A9AEB}" dt="2021-11-07T19:32:32.038" v="51742" actId="114"/>
          <ac:spMkLst>
            <pc:docMk/>
            <pc:sldMk cId="1724109162" sldId="2145707229"/>
            <ac:spMk id="35" creationId="{8F802CE7-D816-2149-A238-9E9070F840BF}"/>
          </ac:spMkLst>
        </pc:spChg>
        <pc:spChg chg="mod">
          <ac:chgData name="Nick Robinson" userId="d0c2b313-4ae0-4040-8c6a-fec7a720a7b5" providerId="ADAL" clId="{9D26C270-5461-F844-9688-58D8512A9AEB}" dt="2021-11-07T19:32:23.355" v="51741" actId="20577"/>
          <ac:spMkLst>
            <pc:docMk/>
            <pc:sldMk cId="1724109162" sldId="2145707229"/>
            <ac:spMk id="36" creationId="{3F388D0F-27AB-2F4C-B5B4-14D088DFC164}"/>
          </ac:spMkLst>
        </pc:spChg>
        <pc:spChg chg="mod">
          <ac:chgData name="Nick Robinson" userId="d0c2b313-4ae0-4040-8c6a-fec7a720a7b5" providerId="ADAL" clId="{9D26C270-5461-F844-9688-58D8512A9AEB}" dt="2021-11-07T19:31:01.941" v="51595" actId="20577"/>
          <ac:spMkLst>
            <pc:docMk/>
            <pc:sldMk cId="1724109162" sldId="2145707229"/>
            <ac:spMk id="37" creationId="{B911E7E4-25E7-EE40-84E6-83176E1DE1C6}"/>
          </ac:spMkLst>
        </pc:spChg>
        <pc:spChg chg="mod">
          <ac:chgData name="Nick Robinson" userId="d0c2b313-4ae0-4040-8c6a-fec7a720a7b5" providerId="ADAL" clId="{9D26C270-5461-F844-9688-58D8512A9AEB}" dt="2021-11-07T19:33:49.904" v="51794" actId="20577"/>
          <ac:spMkLst>
            <pc:docMk/>
            <pc:sldMk cId="1724109162" sldId="2145707229"/>
            <ac:spMk id="38" creationId="{E58B6E56-D634-2842-B17F-925F60527F01}"/>
          </ac:spMkLst>
        </pc:spChg>
        <pc:spChg chg="mod">
          <ac:chgData name="Nick Robinson" userId="d0c2b313-4ae0-4040-8c6a-fec7a720a7b5" providerId="ADAL" clId="{9D26C270-5461-F844-9688-58D8512A9AEB}" dt="2021-11-07T19:30:48.791" v="51573" actId="1036"/>
          <ac:spMkLst>
            <pc:docMk/>
            <pc:sldMk cId="1724109162" sldId="2145707229"/>
            <ac:spMk id="39" creationId="{8A0773E3-76C6-6241-9326-2F2FADCDB641}"/>
          </ac:spMkLst>
        </pc:spChg>
        <pc:spChg chg="mod">
          <ac:chgData name="Nick Robinson" userId="d0c2b313-4ae0-4040-8c6a-fec7a720a7b5" providerId="ADAL" clId="{9D26C270-5461-F844-9688-58D8512A9AEB}" dt="2021-11-07T19:30:48.791" v="51573" actId="1036"/>
          <ac:spMkLst>
            <pc:docMk/>
            <pc:sldMk cId="1724109162" sldId="2145707229"/>
            <ac:spMk id="40" creationId="{28F7C7A1-91A4-C648-B917-B96102CE39FD}"/>
          </ac:spMkLst>
        </pc:spChg>
        <pc:spChg chg="mod">
          <ac:chgData name="Nick Robinson" userId="d0c2b313-4ae0-4040-8c6a-fec7a720a7b5" providerId="ADAL" clId="{9D26C270-5461-F844-9688-58D8512A9AEB}" dt="2021-11-07T19:30:48.791" v="51573" actId="1036"/>
          <ac:spMkLst>
            <pc:docMk/>
            <pc:sldMk cId="1724109162" sldId="2145707229"/>
            <ac:spMk id="41" creationId="{9AC8FE32-9C73-1749-A7C8-C452F2B56A1B}"/>
          </ac:spMkLst>
        </pc:spChg>
        <pc:spChg chg="add del mod">
          <ac:chgData name="Nick Robinson" userId="d0c2b313-4ae0-4040-8c6a-fec7a720a7b5" providerId="ADAL" clId="{9D26C270-5461-F844-9688-58D8512A9AEB}" dt="2021-11-07T19:30:48.791" v="51573" actId="1036"/>
          <ac:spMkLst>
            <pc:docMk/>
            <pc:sldMk cId="1724109162" sldId="2145707229"/>
            <ac:spMk id="42" creationId="{6381AC82-0F39-204D-9BF6-24C303257541}"/>
          </ac:spMkLst>
        </pc:spChg>
        <pc:spChg chg="add del mod">
          <ac:chgData name="Nick Robinson" userId="d0c2b313-4ae0-4040-8c6a-fec7a720a7b5" providerId="ADAL" clId="{9D26C270-5461-F844-9688-58D8512A9AEB}" dt="2021-11-07T19:30:48.791" v="51573" actId="1036"/>
          <ac:spMkLst>
            <pc:docMk/>
            <pc:sldMk cId="1724109162" sldId="2145707229"/>
            <ac:spMk id="43" creationId="{AADF92E2-F397-9F45-9F4A-7F516DBBC19B}"/>
          </ac:spMkLst>
        </pc:spChg>
        <pc:spChg chg="mod">
          <ac:chgData name="Nick Robinson" userId="d0c2b313-4ae0-4040-8c6a-fec7a720a7b5" providerId="ADAL" clId="{9D26C270-5461-F844-9688-58D8512A9AEB}" dt="2021-11-08T11:36:43.817" v="57062"/>
          <ac:spMkLst>
            <pc:docMk/>
            <pc:sldMk cId="1724109162" sldId="2145707229"/>
            <ac:spMk id="45" creationId="{63B12BBF-47A4-9349-874A-AA2A71D187B0}"/>
          </ac:spMkLst>
        </pc:spChg>
        <pc:spChg chg="mod">
          <ac:chgData name="Nick Robinson" userId="d0c2b313-4ae0-4040-8c6a-fec7a720a7b5" providerId="ADAL" clId="{9D26C270-5461-F844-9688-58D8512A9AEB}" dt="2021-11-07T19:30:48.791" v="51573" actId="1036"/>
          <ac:spMkLst>
            <pc:docMk/>
            <pc:sldMk cId="1724109162" sldId="2145707229"/>
            <ac:spMk id="46" creationId="{9D4BD64C-5837-9D48-A548-E814257680B2}"/>
          </ac:spMkLst>
        </pc:spChg>
        <pc:spChg chg="mod">
          <ac:chgData name="Nick Robinson" userId="d0c2b313-4ae0-4040-8c6a-fec7a720a7b5" providerId="ADAL" clId="{9D26C270-5461-F844-9688-58D8512A9AEB}" dt="2021-11-07T19:30:48.791" v="51573" actId="1036"/>
          <ac:spMkLst>
            <pc:docMk/>
            <pc:sldMk cId="1724109162" sldId="2145707229"/>
            <ac:spMk id="47" creationId="{0E4112BD-FB86-A743-8AB2-1F0454D9F68F}"/>
          </ac:spMkLst>
        </pc:spChg>
        <pc:spChg chg="mod">
          <ac:chgData name="Nick Robinson" userId="d0c2b313-4ae0-4040-8c6a-fec7a720a7b5" providerId="ADAL" clId="{9D26C270-5461-F844-9688-58D8512A9AEB}" dt="2021-11-07T19:30:48.791" v="51573" actId="1036"/>
          <ac:spMkLst>
            <pc:docMk/>
            <pc:sldMk cId="1724109162" sldId="2145707229"/>
            <ac:spMk id="48" creationId="{258B7750-C5FF-264C-A056-BA23325CCEA4}"/>
          </ac:spMkLst>
        </pc:spChg>
        <pc:spChg chg="mod">
          <ac:chgData name="Nick Robinson" userId="d0c2b313-4ae0-4040-8c6a-fec7a720a7b5" providerId="ADAL" clId="{9D26C270-5461-F844-9688-58D8512A9AEB}" dt="2021-11-07T19:34:39.542" v="51813" actId="20577"/>
          <ac:spMkLst>
            <pc:docMk/>
            <pc:sldMk cId="1724109162" sldId="2145707229"/>
            <ac:spMk id="49" creationId="{7FB3F381-4E3A-4348-8961-EF0A3D9907BE}"/>
          </ac:spMkLst>
        </pc:spChg>
        <pc:spChg chg="mod">
          <ac:chgData name="Nick Robinson" userId="d0c2b313-4ae0-4040-8c6a-fec7a720a7b5" providerId="ADAL" clId="{9D26C270-5461-F844-9688-58D8512A9AEB}" dt="2021-11-07T19:31:52.165" v="51656" actId="20577"/>
          <ac:spMkLst>
            <pc:docMk/>
            <pc:sldMk cId="1724109162" sldId="2145707229"/>
            <ac:spMk id="50" creationId="{4A12C353-DBDA-AC4F-9259-A8F975796581}"/>
          </ac:spMkLst>
        </pc:spChg>
        <pc:spChg chg="add del mod">
          <ac:chgData name="Nick Robinson" userId="d0c2b313-4ae0-4040-8c6a-fec7a720a7b5" providerId="ADAL" clId="{9D26C270-5461-F844-9688-58D8512A9AEB}" dt="2021-11-07T19:30:48.791" v="51573" actId="1036"/>
          <ac:spMkLst>
            <pc:docMk/>
            <pc:sldMk cId="1724109162" sldId="2145707229"/>
            <ac:spMk id="51" creationId="{7DEC82C9-C815-5943-B730-EE8FE8E631CC}"/>
          </ac:spMkLst>
        </pc:spChg>
        <pc:spChg chg="mod">
          <ac:chgData name="Nick Robinson" userId="d0c2b313-4ae0-4040-8c6a-fec7a720a7b5" providerId="ADAL" clId="{9D26C270-5461-F844-9688-58D8512A9AEB}" dt="2021-11-07T19:30:48.791" v="51573" actId="1036"/>
          <ac:spMkLst>
            <pc:docMk/>
            <pc:sldMk cId="1724109162" sldId="2145707229"/>
            <ac:spMk id="52" creationId="{E03BADD9-BA8B-5641-8E3B-5F82D9372910}"/>
          </ac:spMkLst>
        </pc:spChg>
      </pc:sldChg>
      <pc:sldChg chg="add del">
        <pc:chgData name="Nick Robinson" userId="d0c2b313-4ae0-4040-8c6a-fec7a720a7b5" providerId="ADAL" clId="{9D26C270-5461-F844-9688-58D8512A9AEB}" dt="2021-11-07T19:29:29.705" v="51336"/>
        <pc:sldMkLst>
          <pc:docMk/>
          <pc:sldMk cId="1945322212" sldId="2145707229"/>
        </pc:sldMkLst>
      </pc:sldChg>
      <pc:sldChg chg="delSp modSp add mod">
        <pc:chgData name="Nick Robinson" userId="d0c2b313-4ae0-4040-8c6a-fec7a720a7b5" providerId="ADAL" clId="{9D26C270-5461-F844-9688-58D8512A9AEB}" dt="2021-11-08T12:43:12.406" v="59569" actId="2165"/>
        <pc:sldMkLst>
          <pc:docMk/>
          <pc:sldMk cId="945185062" sldId="2145707230"/>
        </pc:sldMkLst>
        <pc:spChg chg="mod">
          <ac:chgData name="Nick Robinson" userId="d0c2b313-4ae0-4040-8c6a-fec7a720a7b5" providerId="ADAL" clId="{9D26C270-5461-F844-9688-58D8512A9AEB}" dt="2021-11-08T11:36:43.817" v="57062"/>
          <ac:spMkLst>
            <pc:docMk/>
            <pc:sldMk cId="945185062" sldId="2145707230"/>
            <ac:spMk id="2" creationId="{00000000-0000-0000-0000-000000000000}"/>
          </ac:spMkLst>
        </pc:spChg>
        <pc:spChg chg="del mod">
          <ac:chgData name="Nick Robinson" userId="d0c2b313-4ae0-4040-8c6a-fec7a720a7b5" providerId="ADAL" clId="{9D26C270-5461-F844-9688-58D8512A9AEB}" dt="2021-11-08T08:31:19.920" v="54435" actId="478"/>
          <ac:spMkLst>
            <pc:docMk/>
            <pc:sldMk cId="945185062" sldId="2145707230"/>
            <ac:spMk id="7" creationId="{AB836920-EB4D-DA4B-BA96-450771AA3E63}"/>
          </ac:spMkLst>
        </pc:spChg>
        <pc:spChg chg="mod">
          <ac:chgData name="Nick Robinson" userId="d0c2b313-4ae0-4040-8c6a-fec7a720a7b5" providerId="ADAL" clId="{9D26C270-5461-F844-9688-58D8512A9AEB}" dt="2021-11-08T11:36:43.817" v="57062"/>
          <ac:spMkLst>
            <pc:docMk/>
            <pc:sldMk cId="945185062" sldId="2145707230"/>
            <ac:spMk id="16" creationId="{F715D659-0B3D-3441-8784-EDED0A7173C7}"/>
          </ac:spMkLst>
        </pc:spChg>
        <pc:graphicFrameChg chg="mod modGraphic">
          <ac:chgData name="Nick Robinson" userId="d0c2b313-4ae0-4040-8c6a-fec7a720a7b5" providerId="ADAL" clId="{9D26C270-5461-F844-9688-58D8512A9AEB}" dt="2021-11-08T12:43:12.406" v="59569" actId="2165"/>
          <ac:graphicFrameMkLst>
            <pc:docMk/>
            <pc:sldMk cId="945185062" sldId="2145707230"/>
            <ac:graphicFrameMk id="26" creationId="{B868C0AB-3D2C-4647-A123-6629F1806D7E}"/>
          </ac:graphicFrameMkLst>
        </pc:graphicFrameChg>
      </pc:sldChg>
      <pc:sldChg chg="addSp delSp modSp add mod modNotesTx">
        <pc:chgData name="Nick Robinson" userId="d0c2b313-4ae0-4040-8c6a-fec7a720a7b5" providerId="ADAL" clId="{9D26C270-5461-F844-9688-58D8512A9AEB}" dt="2021-11-09T08:10:26.997" v="60997" actId="20577"/>
        <pc:sldMkLst>
          <pc:docMk/>
          <pc:sldMk cId="380627945" sldId="2145707231"/>
        </pc:sldMkLst>
        <pc:spChg chg="mod">
          <ac:chgData name="Nick Robinson" userId="d0c2b313-4ae0-4040-8c6a-fec7a720a7b5" providerId="ADAL" clId="{9D26C270-5461-F844-9688-58D8512A9AEB}" dt="2021-11-08T11:43:18.215" v="57535" actId="1076"/>
          <ac:spMkLst>
            <pc:docMk/>
            <pc:sldMk cId="380627945" sldId="2145707231"/>
            <ac:spMk id="3" creationId="{266C4A52-0FF5-2D4B-9B12-E199374BC9DD}"/>
          </ac:spMkLst>
        </pc:spChg>
        <pc:spChg chg="mod">
          <ac:chgData name="Nick Robinson" userId="d0c2b313-4ae0-4040-8c6a-fec7a720a7b5" providerId="ADAL" clId="{9D26C270-5461-F844-9688-58D8512A9AEB}" dt="2021-11-09T08:03:07.837" v="60959" actId="20577"/>
          <ac:spMkLst>
            <pc:docMk/>
            <pc:sldMk cId="380627945" sldId="2145707231"/>
            <ac:spMk id="4" creationId="{CEF1AEE4-C47F-2A4C-A991-855D708E03B9}"/>
          </ac:spMkLst>
        </pc:spChg>
        <pc:spChg chg="add del mod">
          <ac:chgData name="Nick Robinson" userId="d0c2b313-4ae0-4040-8c6a-fec7a720a7b5" providerId="ADAL" clId="{9D26C270-5461-F844-9688-58D8512A9AEB}" dt="2021-11-08T11:57:18.672" v="58283" actId="21"/>
          <ac:spMkLst>
            <pc:docMk/>
            <pc:sldMk cId="380627945" sldId="2145707231"/>
            <ac:spMk id="17" creationId="{378FB1D5-23CB-0745-B203-4237F69452FA}"/>
          </ac:spMkLst>
        </pc:spChg>
        <pc:spChg chg="add mod">
          <ac:chgData name="Nick Robinson" userId="d0c2b313-4ae0-4040-8c6a-fec7a720a7b5" providerId="ADAL" clId="{9D26C270-5461-F844-9688-58D8512A9AEB}" dt="2021-11-09T08:09:17.650" v="60975" actId="20577"/>
          <ac:spMkLst>
            <pc:docMk/>
            <pc:sldMk cId="380627945" sldId="2145707231"/>
            <ac:spMk id="18" creationId="{4916077A-60E9-5B42-9F26-5471DB11FB89}"/>
          </ac:spMkLst>
        </pc:spChg>
        <pc:spChg chg="add del mod">
          <ac:chgData name="Nick Robinson" userId="d0c2b313-4ae0-4040-8c6a-fec7a720a7b5" providerId="ADAL" clId="{9D26C270-5461-F844-9688-58D8512A9AEB}" dt="2021-11-08T11:57:24.998" v="58286" actId="21"/>
          <ac:spMkLst>
            <pc:docMk/>
            <pc:sldMk cId="380627945" sldId="2145707231"/>
            <ac:spMk id="19" creationId="{FEDBF8FC-7BE0-3444-9816-9DC60BF467AF}"/>
          </ac:spMkLst>
        </pc:spChg>
        <pc:spChg chg="add mod">
          <ac:chgData name="Nick Robinson" userId="d0c2b313-4ae0-4040-8c6a-fec7a720a7b5" providerId="ADAL" clId="{9D26C270-5461-F844-9688-58D8512A9AEB}" dt="2021-11-09T08:10:26.997" v="60997" actId="20577"/>
          <ac:spMkLst>
            <pc:docMk/>
            <pc:sldMk cId="380627945" sldId="2145707231"/>
            <ac:spMk id="20" creationId="{4E8CE5CF-D32C-E24F-A35A-340AFB075B36}"/>
          </ac:spMkLst>
        </pc:spChg>
        <pc:spChg chg="add mod">
          <ac:chgData name="Nick Robinson" userId="d0c2b313-4ae0-4040-8c6a-fec7a720a7b5" providerId="ADAL" clId="{9D26C270-5461-F844-9688-58D8512A9AEB}" dt="2021-11-09T08:04:47.761" v="60969" actId="1036"/>
          <ac:spMkLst>
            <pc:docMk/>
            <pc:sldMk cId="380627945" sldId="2145707231"/>
            <ac:spMk id="21" creationId="{57A29E00-FE77-E640-A3E7-6EF353B77C88}"/>
          </ac:spMkLst>
        </pc:spChg>
        <pc:spChg chg="mod">
          <ac:chgData name="Nick Robinson" userId="d0c2b313-4ae0-4040-8c6a-fec7a720a7b5" providerId="ADAL" clId="{9D26C270-5461-F844-9688-58D8512A9AEB}" dt="2021-11-08T11:27:39.161" v="56051"/>
          <ac:spMkLst>
            <pc:docMk/>
            <pc:sldMk cId="380627945" sldId="2145707231"/>
            <ac:spMk id="24" creationId="{BD635240-DDDE-314E-8ECF-14863AA25740}"/>
          </ac:spMkLst>
        </pc:spChg>
        <pc:spChg chg="mod">
          <ac:chgData name="Nick Robinson" userId="d0c2b313-4ae0-4040-8c6a-fec7a720a7b5" providerId="ADAL" clId="{9D26C270-5461-F844-9688-58D8512A9AEB}" dt="2021-11-08T11:27:39.161" v="56051"/>
          <ac:spMkLst>
            <pc:docMk/>
            <pc:sldMk cId="380627945" sldId="2145707231"/>
            <ac:spMk id="25" creationId="{AA6D9538-38C7-D745-B4A0-30A928BE6E2D}"/>
          </ac:spMkLst>
        </pc:spChg>
        <pc:spChg chg="add mod">
          <ac:chgData name="Nick Robinson" userId="d0c2b313-4ae0-4040-8c6a-fec7a720a7b5" providerId="ADAL" clId="{9D26C270-5461-F844-9688-58D8512A9AEB}" dt="2021-11-09T08:04:47.761" v="60969" actId="1036"/>
          <ac:spMkLst>
            <pc:docMk/>
            <pc:sldMk cId="380627945" sldId="2145707231"/>
            <ac:spMk id="26" creationId="{52BC107D-7B71-F942-A59C-B017D0DE1F23}"/>
          </ac:spMkLst>
        </pc:spChg>
        <pc:spChg chg="mod">
          <ac:chgData name="Nick Robinson" userId="d0c2b313-4ae0-4040-8c6a-fec7a720a7b5" providerId="ADAL" clId="{9D26C270-5461-F844-9688-58D8512A9AEB}" dt="2021-11-08T11:27:39.161" v="56051"/>
          <ac:spMkLst>
            <pc:docMk/>
            <pc:sldMk cId="380627945" sldId="2145707231"/>
            <ac:spMk id="30" creationId="{CC0BA071-67CE-C749-9FD8-A771302629CA}"/>
          </ac:spMkLst>
        </pc:spChg>
        <pc:spChg chg="mod">
          <ac:chgData name="Nick Robinson" userId="d0c2b313-4ae0-4040-8c6a-fec7a720a7b5" providerId="ADAL" clId="{9D26C270-5461-F844-9688-58D8512A9AEB}" dt="2021-11-08T11:27:39.161" v="56051"/>
          <ac:spMkLst>
            <pc:docMk/>
            <pc:sldMk cId="380627945" sldId="2145707231"/>
            <ac:spMk id="31" creationId="{38BA2530-4D3B-174D-98BD-B0799C69B114}"/>
          </ac:spMkLst>
        </pc:spChg>
        <pc:spChg chg="mod">
          <ac:chgData name="Nick Robinson" userId="d0c2b313-4ae0-4040-8c6a-fec7a720a7b5" providerId="ADAL" clId="{9D26C270-5461-F844-9688-58D8512A9AEB}" dt="2021-11-08T11:27:39.161" v="56051"/>
          <ac:spMkLst>
            <pc:docMk/>
            <pc:sldMk cId="380627945" sldId="2145707231"/>
            <ac:spMk id="35" creationId="{ECEF560A-C2DE-394D-A68D-59ED61ECC7F9}"/>
          </ac:spMkLst>
        </pc:spChg>
        <pc:spChg chg="mod">
          <ac:chgData name="Nick Robinson" userId="d0c2b313-4ae0-4040-8c6a-fec7a720a7b5" providerId="ADAL" clId="{9D26C270-5461-F844-9688-58D8512A9AEB}" dt="2021-11-08T11:27:39.161" v="56051"/>
          <ac:spMkLst>
            <pc:docMk/>
            <pc:sldMk cId="380627945" sldId="2145707231"/>
            <ac:spMk id="36" creationId="{184669C5-E1FB-7048-B509-2E275271E368}"/>
          </ac:spMkLst>
        </pc:spChg>
        <pc:spChg chg="mod">
          <ac:chgData name="Nick Robinson" userId="d0c2b313-4ae0-4040-8c6a-fec7a720a7b5" providerId="ADAL" clId="{9D26C270-5461-F844-9688-58D8512A9AEB}" dt="2021-11-08T11:27:39.161" v="56051"/>
          <ac:spMkLst>
            <pc:docMk/>
            <pc:sldMk cId="380627945" sldId="2145707231"/>
            <ac:spMk id="40" creationId="{CB4982C0-C6E7-044F-A702-2852B49C8888}"/>
          </ac:spMkLst>
        </pc:spChg>
        <pc:spChg chg="mod">
          <ac:chgData name="Nick Robinson" userId="d0c2b313-4ae0-4040-8c6a-fec7a720a7b5" providerId="ADAL" clId="{9D26C270-5461-F844-9688-58D8512A9AEB}" dt="2021-11-08T11:27:39.161" v="56051"/>
          <ac:spMkLst>
            <pc:docMk/>
            <pc:sldMk cId="380627945" sldId="2145707231"/>
            <ac:spMk id="41" creationId="{A037F6BA-14A3-5F4E-A35B-2008BE862167}"/>
          </ac:spMkLst>
        </pc:spChg>
        <pc:spChg chg="del">
          <ac:chgData name="Nick Robinson" userId="d0c2b313-4ae0-4040-8c6a-fec7a720a7b5" providerId="ADAL" clId="{9D26C270-5461-F844-9688-58D8512A9AEB}" dt="2021-11-08T11:27:15.769" v="56006" actId="478"/>
          <ac:spMkLst>
            <pc:docMk/>
            <pc:sldMk cId="380627945" sldId="2145707231"/>
            <ac:spMk id="47" creationId="{96DE65B9-3607-AD4D-BA6E-F976AFB6480C}"/>
          </ac:spMkLst>
        </pc:spChg>
        <pc:spChg chg="mod">
          <ac:chgData name="Nick Robinson" userId="d0c2b313-4ae0-4040-8c6a-fec7a720a7b5" providerId="ADAL" clId="{9D26C270-5461-F844-9688-58D8512A9AEB}" dt="2021-11-09T08:04:47.761" v="60969" actId="1036"/>
          <ac:spMkLst>
            <pc:docMk/>
            <pc:sldMk cId="380627945" sldId="2145707231"/>
            <ac:spMk id="48" creationId="{29532750-8842-5344-9162-3FDF372411E7}"/>
          </ac:spMkLst>
        </pc:spChg>
        <pc:spChg chg="del">
          <ac:chgData name="Nick Robinson" userId="d0c2b313-4ae0-4040-8c6a-fec7a720a7b5" providerId="ADAL" clId="{9D26C270-5461-F844-9688-58D8512A9AEB}" dt="2021-11-08T11:27:15.769" v="56006" actId="478"/>
          <ac:spMkLst>
            <pc:docMk/>
            <pc:sldMk cId="380627945" sldId="2145707231"/>
            <ac:spMk id="49" creationId="{E9217434-4BBC-5E47-A98E-72F53B500BB5}"/>
          </ac:spMkLst>
        </pc:spChg>
        <pc:spChg chg="mod">
          <ac:chgData name="Nick Robinson" userId="d0c2b313-4ae0-4040-8c6a-fec7a720a7b5" providerId="ADAL" clId="{9D26C270-5461-F844-9688-58D8512A9AEB}" dt="2021-11-08T11:27:39.161" v="56051"/>
          <ac:spMkLst>
            <pc:docMk/>
            <pc:sldMk cId="380627945" sldId="2145707231"/>
            <ac:spMk id="51" creationId="{F82BB419-88D6-8B4B-9EC8-9547CB5B113C}"/>
          </ac:spMkLst>
        </pc:spChg>
        <pc:spChg chg="mod">
          <ac:chgData name="Nick Robinson" userId="d0c2b313-4ae0-4040-8c6a-fec7a720a7b5" providerId="ADAL" clId="{9D26C270-5461-F844-9688-58D8512A9AEB}" dt="2021-11-08T11:27:39.161" v="56051"/>
          <ac:spMkLst>
            <pc:docMk/>
            <pc:sldMk cId="380627945" sldId="2145707231"/>
            <ac:spMk id="52" creationId="{BB6924F3-77DD-6044-9390-CD9D6B1A748B}"/>
          </ac:spMkLst>
        </pc:spChg>
        <pc:spChg chg="mod">
          <ac:chgData name="Nick Robinson" userId="d0c2b313-4ae0-4040-8c6a-fec7a720a7b5" providerId="ADAL" clId="{9D26C270-5461-F844-9688-58D8512A9AEB}" dt="2021-11-08T11:27:39.161" v="56051"/>
          <ac:spMkLst>
            <pc:docMk/>
            <pc:sldMk cId="380627945" sldId="2145707231"/>
            <ac:spMk id="56" creationId="{6E9A462B-8DE1-6748-8371-B8568764F52E}"/>
          </ac:spMkLst>
        </pc:spChg>
        <pc:spChg chg="del">
          <ac:chgData name="Nick Robinson" userId="d0c2b313-4ae0-4040-8c6a-fec7a720a7b5" providerId="ADAL" clId="{9D26C270-5461-F844-9688-58D8512A9AEB}" dt="2021-11-08T11:27:15.769" v="56006" actId="478"/>
          <ac:spMkLst>
            <pc:docMk/>
            <pc:sldMk cId="380627945" sldId="2145707231"/>
            <ac:spMk id="57" creationId="{DAA87D0B-B2EE-2342-85E2-2DFC102D09BC}"/>
          </ac:spMkLst>
        </pc:spChg>
        <pc:spChg chg="mod">
          <ac:chgData name="Nick Robinson" userId="d0c2b313-4ae0-4040-8c6a-fec7a720a7b5" providerId="ADAL" clId="{9D26C270-5461-F844-9688-58D8512A9AEB}" dt="2021-11-08T11:27:39.161" v="56051"/>
          <ac:spMkLst>
            <pc:docMk/>
            <pc:sldMk cId="380627945" sldId="2145707231"/>
            <ac:spMk id="58" creationId="{27B4EBDF-81F4-FD4E-BBD8-E909656DD1CC}"/>
          </ac:spMkLst>
        </pc:spChg>
        <pc:spChg chg="del">
          <ac:chgData name="Nick Robinson" userId="d0c2b313-4ae0-4040-8c6a-fec7a720a7b5" providerId="ADAL" clId="{9D26C270-5461-F844-9688-58D8512A9AEB}" dt="2021-11-08T11:27:15.769" v="56006" actId="478"/>
          <ac:spMkLst>
            <pc:docMk/>
            <pc:sldMk cId="380627945" sldId="2145707231"/>
            <ac:spMk id="59" creationId="{7846BC59-B6A1-9C42-872B-8597E1AB1BE5}"/>
          </ac:spMkLst>
        </pc:spChg>
        <pc:spChg chg="add mod">
          <ac:chgData name="Nick Robinson" userId="d0c2b313-4ae0-4040-8c6a-fec7a720a7b5" providerId="ADAL" clId="{9D26C270-5461-F844-9688-58D8512A9AEB}" dt="2021-11-09T08:04:47.761" v="60969" actId="1036"/>
          <ac:spMkLst>
            <pc:docMk/>
            <pc:sldMk cId="380627945" sldId="2145707231"/>
            <ac:spMk id="60" creationId="{1797CD6C-B388-7F4B-98E5-20CC8E3226B8}"/>
          </ac:spMkLst>
        </pc:spChg>
        <pc:spChg chg="add mod">
          <ac:chgData name="Nick Robinson" userId="d0c2b313-4ae0-4040-8c6a-fec7a720a7b5" providerId="ADAL" clId="{9D26C270-5461-F844-9688-58D8512A9AEB}" dt="2021-11-09T08:04:47.761" v="60969" actId="1036"/>
          <ac:spMkLst>
            <pc:docMk/>
            <pc:sldMk cId="380627945" sldId="2145707231"/>
            <ac:spMk id="64" creationId="{7C87FF8A-9CE4-664F-83A0-2D6953F7ED9C}"/>
          </ac:spMkLst>
        </pc:spChg>
        <pc:grpChg chg="add mod">
          <ac:chgData name="Nick Robinson" userId="d0c2b313-4ae0-4040-8c6a-fec7a720a7b5" providerId="ADAL" clId="{9D26C270-5461-F844-9688-58D8512A9AEB}" dt="2021-11-09T08:04:47.761" v="60969" actId="1036"/>
          <ac:grpSpMkLst>
            <pc:docMk/>
            <pc:sldMk cId="380627945" sldId="2145707231"/>
            <ac:grpSpMk id="22" creationId="{820B6BE5-6488-CF45-8C98-2D42E392B2E0}"/>
          </ac:grpSpMkLst>
        </pc:grpChg>
        <pc:grpChg chg="add del mod">
          <ac:chgData name="Nick Robinson" userId="d0c2b313-4ae0-4040-8c6a-fec7a720a7b5" providerId="ADAL" clId="{9D26C270-5461-F844-9688-58D8512A9AEB}" dt="2021-11-08T11:49:21.140" v="57914" actId="478"/>
          <ac:grpSpMkLst>
            <pc:docMk/>
            <pc:sldMk cId="380627945" sldId="2145707231"/>
            <ac:grpSpMk id="27" creationId="{BE257EF7-5BB0-2E41-82BA-64331587BCE3}"/>
          </ac:grpSpMkLst>
        </pc:grpChg>
        <pc:grpChg chg="mod topLvl">
          <ac:chgData name="Nick Robinson" userId="d0c2b313-4ae0-4040-8c6a-fec7a720a7b5" providerId="ADAL" clId="{9D26C270-5461-F844-9688-58D8512A9AEB}" dt="2021-11-09T08:04:47.761" v="60969" actId="1036"/>
          <ac:grpSpMkLst>
            <pc:docMk/>
            <pc:sldMk cId="380627945" sldId="2145707231"/>
            <ac:grpSpMk id="28" creationId="{79D7AD2B-ADC5-7B4F-9217-95E1EFA30C09}"/>
          </ac:grpSpMkLst>
        </pc:grpChg>
        <pc:grpChg chg="add mod">
          <ac:chgData name="Nick Robinson" userId="d0c2b313-4ae0-4040-8c6a-fec7a720a7b5" providerId="ADAL" clId="{9D26C270-5461-F844-9688-58D8512A9AEB}" dt="2021-11-09T08:04:47.761" v="60969" actId="1036"/>
          <ac:grpSpMkLst>
            <pc:docMk/>
            <pc:sldMk cId="380627945" sldId="2145707231"/>
            <ac:grpSpMk id="32" creationId="{A53ED8DC-0E55-4446-A7D5-4980B54DE494}"/>
          </ac:grpSpMkLst>
        </pc:grpChg>
        <pc:grpChg chg="mod">
          <ac:chgData name="Nick Robinson" userId="d0c2b313-4ae0-4040-8c6a-fec7a720a7b5" providerId="ADAL" clId="{9D26C270-5461-F844-9688-58D8512A9AEB}" dt="2021-11-08T11:27:39.161" v="56051"/>
          <ac:grpSpMkLst>
            <pc:docMk/>
            <pc:sldMk cId="380627945" sldId="2145707231"/>
            <ac:grpSpMk id="33" creationId="{F314395D-74BD-2543-8875-BFD1A4DECAC9}"/>
          </ac:grpSpMkLst>
        </pc:grpChg>
        <pc:grpChg chg="add del mod">
          <ac:chgData name="Nick Robinson" userId="d0c2b313-4ae0-4040-8c6a-fec7a720a7b5" providerId="ADAL" clId="{9D26C270-5461-F844-9688-58D8512A9AEB}" dt="2021-11-08T11:37:10.871" v="57064" actId="165"/>
          <ac:grpSpMkLst>
            <pc:docMk/>
            <pc:sldMk cId="380627945" sldId="2145707231"/>
            <ac:grpSpMk id="37" creationId="{C4BDFCF1-21E1-194B-A2FC-EF45A05F5DC3}"/>
          </ac:grpSpMkLst>
        </pc:grpChg>
        <pc:grpChg chg="mod topLvl">
          <ac:chgData name="Nick Robinson" userId="d0c2b313-4ae0-4040-8c6a-fec7a720a7b5" providerId="ADAL" clId="{9D26C270-5461-F844-9688-58D8512A9AEB}" dt="2021-11-09T08:04:47.761" v="60969" actId="1036"/>
          <ac:grpSpMkLst>
            <pc:docMk/>
            <pc:sldMk cId="380627945" sldId="2145707231"/>
            <ac:grpSpMk id="38" creationId="{73C291D4-03AE-A241-8A39-653A531AB698}"/>
          </ac:grpSpMkLst>
        </pc:grpChg>
        <pc:grpChg chg="add del mod">
          <ac:chgData name="Nick Robinson" userId="d0c2b313-4ae0-4040-8c6a-fec7a720a7b5" providerId="ADAL" clId="{9D26C270-5461-F844-9688-58D8512A9AEB}" dt="2021-11-08T11:37:19.024" v="57065" actId="165"/>
          <ac:grpSpMkLst>
            <pc:docMk/>
            <pc:sldMk cId="380627945" sldId="2145707231"/>
            <ac:grpSpMk id="42" creationId="{56CDC257-DE5D-9844-950B-97DFD30F2385}"/>
          </ac:grpSpMkLst>
        </pc:grpChg>
        <pc:grpChg chg="del">
          <ac:chgData name="Nick Robinson" userId="d0c2b313-4ae0-4040-8c6a-fec7a720a7b5" providerId="ADAL" clId="{9D26C270-5461-F844-9688-58D8512A9AEB}" dt="2021-11-08T11:27:15.769" v="56006" actId="478"/>
          <ac:grpSpMkLst>
            <pc:docMk/>
            <pc:sldMk cId="380627945" sldId="2145707231"/>
            <ac:grpSpMk id="43" creationId="{784D6166-E1A6-5A4D-B802-6DD6A4C00243}"/>
          </ac:grpSpMkLst>
        </pc:grpChg>
        <pc:grpChg chg="mod topLvl">
          <ac:chgData name="Nick Robinson" userId="d0c2b313-4ae0-4040-8c6a-fec7a720a7b5" providerId="ADAL" clId="{9D26C270-5461-F844-9688-58D8512A9AEB}" dt="2021-11-09T08:04:47.761" v="60969" actId="1036"/>
          <ac:grpSpMkLst>
            <pc:docMk/>
            <pc:sldMk cId="380627945" sldId="2145707231"/>
            <ac:grpSpMk id="46" creationId="{7B217689-E780-B640-A2C0-82EEF081C960}"/>
          </ac:grpSpMkLst>
        </pc:grpChg>
        <pc:grpChg chg="add del mod">
          <ac:chgData name="Nick Robinson" userId="d0c2b313-4ae0-4040-8c6a-fec7a720a7b5" providerId="ADAL" clId="{9D26C270-5461-F844-9688-58D8512A9AEB}" dt="2021-11-08T11:43:16.601" v="57534" actId="165"/>
          <ac:grpSpMkLst>
            <pc:docMk/>
            <pc:sldMk cId="380627945" sldId="2145707231"/>
            <ac:grpSpMk id="53" creationId="{C232586B-7147-0A44-AF4B-37A952153CD2}"/>
          </ac:grpSpMkLst>
        </pc:grpChg>
        <pc:grpChg chg="mod topLvl">
          <ac:chgData name="Nick Robinson" userId="d0c2b313-4ae0-4040-8c6a-fec7a720a7b5" providerId="ADAL" clId="{9D26C270-5461-F844-9688-58D8512A9AEB}" dt="2021-11-09T08:04:47.761" v="60969" actId="1036"/>
          <ac:grpSpMkLst>
            <pc:docMk/>
            <pc:sldMk cId="380627945" sldId="2145707231"/>
            <ac:grpSpMk id="54" creationId="{E54161AF-E48E-E74F-AF30-C7D19EC25976}"/>
          </ac:grpSpMkLst>
        </pc:grpChg>
        <pc:grpChg chg="del">
          <ac:chgData name="Nick Robinson" userId="d0c2b313-4ae0-4040-8c6a-fec7a720a7b5" providerId="ADAL" clId="{9D26C270-5461-F844-9688-58D8512A9AEB}" dt="2021-11-08T11:27:15.769" v="56006" actId="478"/>
          <ac:grpSpMkLst>
            <pc:docMk/>
            <pc:sldMk cId="380627945" sldId="2145707231"/>
            <ac:grpSpMk id="62" creationId="{EEDE1EFA-B674-154A-BC3B-2CB85DEDD390}"/>
          </ac:grpSpMkLst>
        </pc:grpChg>
        <pc:picChg chg="add mod">
          <ac:chgData name="Nick Robinson" userId="d0c2b313-4ae0-4040-8c6a-fec7a720a7b5" providerId="ADAL" clId="{9D26C270-5461-F844-9688-58D8512A9AEB}" dt="2021-11-09T08:04:47.761" v="60969" actId="1036"/>
          <ac:picMkLst>
            <pc:docMk/>
            <pc:sldMk cId="380627945" sldId="2145707231"/>
            <ac:picMk id="6" creationId="{471D7D99-3155-5D47-BED8-CFC89E64CD23}"/>
          </ac:picMkLst>
        </pc:picChg>
        <pc:picChg chg="add mod">
          <ac:chgData name="Nick Robinson" userId="d0c2b313-4ae0-4040-8c6a-fec7a720a7b5" providerId="ADAL" clId="{9D26C270-5461-F844-9688-58D8512A9AEB}" dt="2021-11-09T08:04:47.761" v="60969" actId="1036"/>
          <ac:picMkLst>
            <pc:docMk/>
            <pc:sldMk cId="380627945" sldId="2145707231"/>
            <ac:picMk id="8" creationId="{CDB7893E-5474-7D43-A125-B0CD73E20F24}"/>
          </ac:picMkLst>
        </pc:picChg>
        <pc:picChg chg="add mod">
          <ac:chgData name="Nick Robinson" userId="d0c2b313-4ae0-4040-8c6a-fec7a720a7b5" providerId="ADAL" clId="{9D26C270-5461-F844-9688-58D8512A9AEB}" dt="2021-11-09T08:04:47.761" v="60969" actId="1036"/>
          <ac:picMkLst>
            <pc:docMk/>
            <pc:sldMk cId="380627945" sldId="2145707231"/>
            <ac:picMk id="10" creationId="{80337091-4FA3-2442-B291-747DB7B69CD9}"/>
          </ac:picMkLst>
        </pc:picChg>
        <pc:picChg chg="del mod">
          <ac:chgData name="Nick Robinson" userId="d0c2b313-4ae0-4040-8c6a-fec7a720a7b5" providerId="ADAL" clId="{9D26C270-5461-F844-9688-58D8512A9AEB}" dt="2021-11-08T11:52:12.298" v="57965" actId="478"/>
          <ac:picMkLst>
            <pc:docMk/>
            <pc:sldMk cId="380627945" sldId="2145707231"/>
            <ac:picMk id="23" creationId="{A75018B8-B867-4C48-A89B-19FBA57FAEEC}"/>
          </ac:picMkLst>
        </pc:picChg>
        <pc:picChg chg="del mod topLvl">
          <ac:chgData name="Nick Robinson" userId="d0c2b313-4ae0-4040-8c6a-fec7a720a7b5" providerId="ADAL" clId="{9D26C270-5461-F844-9688-58D8512A9AEB}" dt="2021-11-08T11:49:21.140" v="57914" actId="478"/>
          <ac:picMkLst>
            <pc:docMk/>
            <pc:sldMk cId="380627945" sldId="2145707231"/>
            <ac:picMk id="29" creationId="{97B17402-2C98-694B-8EBE-A0BE3C11F7BE}"/>
          </ac:picMkLst>
        </pc:picChg>
        <pc:picChg chg="mod">
          <ac:chgData name="Nick Robinson" userId="d0c2b313-4ae0-4040-8c6a-fec7a720a7b5" providerId="ADAL" clId="{9D26C270-5461-F844-9688-58D8512A9AEB}" dt="2021-11-08T11:27:39.161" v="56051"/>
          <ac:picMkLst>
            <pc:docMk/>
            <pc:sldMk cId="380627945" sldId="2145707231"/>
            <ac:picMk id="34" creationId="{09E29151-C1F5-A747-88DD-493C55473E00}"/>
          </ac:picMkLst>
        </pc:picChg>
        <pc:picChg chg="del mod topLvl">
          <ac:chgData name="Nick Robinson" userId="d0c2b313-4ae0-4040-8c6a-fec7a720a7b5" providerId="ADAL" clId="{9D26C270-5461-F844-9688-58D8512A9AEB}" dt="2021-11-08T11:57:24.998" v="58286" actId="21"/>
          <ac:picMkLst>
            <pc:docMk/>
            <pc:sldMk cId="380627945" sldId="2145707231"/>
            <ac:picMk id="39" creationId="{7764C419-9EC8-614E-9428-639C7523733F}"/>
          </ac:picMkLst>
        </pc:picChg>
        <pc:picChg chg="del mod topLvl">
          <ac:chgData name="Nick Robinson" userId="d0c2b313-4ae0-4040-8c6a-fec7a720a7b5" providerId="ADAL" clId="{9D26C270-5461-F844-9688-58D8512A9AEB}" dt="2021-11-08T11:57:18.672" v="58283" actId="21"/>
          <ac:picMkLst>
            <pc:docMk/>
            <pc:sldMk cId="380627945" sldId="2145707231"/>
            <ac:picMk id="50" creationId="{6D38176F-F582-9B4C-AF45-C216BADBE2B0}"/>
          </ac:picMkLst>
        </pc:picChg>
        <pc:picChg chg="del mod topLvl">
          <ac:chgData name="Nick Robinson" userId="d0c2b313-4ae0-4040-8c6a-fec7a720a7b5" providerId="ADAL" clId="{9D26C270-5461-F844-9688-58D8512A9AEB}" dt="2021-11-08T11:43:19.098" v="57536" actId="478"/>
          <ac:picMkLst>
            <pc:docMk/>
            <pc:sldMk cId="380627945" sldId="2145707231"/>
            <ac:picMk id="55" creationId="{423451BC-A998-FF42-BE16-D1188337E1E6}"/>
          </ac:picMkLst>
        </pc:picChg>
        <pc:picChg chg="add mod">
          <ac:chgData name="Nick Robinson" userId="d0c2b313-4ae0-4040-8c6a-fec7a720a7b5" providerId="ADAL" clId="{9D26C270-5461-F844-9688-58D8512A9AEB}" dt="2021-11-09T08:04:47.761" v="60969" actId="1036"/>
          <ac:picMkLst>
            <pc:docMk/>
            <pc:sldMk cId="380627945" sldId="2145707231"/>
            <ac:picMk id="61" creationId="{EC32B241-E891-8447-8A27-0D314F3B2178}"/>
          </ac:picMkLst>
        </pc:picChg>
        <pc:picChg chg="del">
          <ac:chgData name="Nick Robinson" userId="d0c2b313-4ae0-4040-8c6a-fec7a720a7b5" providerId="ADAL" clId="{9D26C270-5461-F844-9688-58D8512A9AEB}" dt="2021-11-08T11:27:15.769" v="56006" actId="478"/>
          <ac:picMkLst>
            <pc:docMk/>
            <pc:sldMk cId="380627945" sldId="2145707231"/>
            <ac:picMk id="66" creationId="{5996349F-F3EE-CB47-95ED-9802B139E4A2}"/>
          </ac:picMkLst>
        </pc:picChg>
        <pc:picChg chg="add mod">
          <ac:chgData name="Nick Robinson" userId="d0c2b313-4ae0-4040-8c6a-fec7a720a7b5" providerId="ADAL" clId="{9D26C270-5461-F844-9688-58D8512A9AEB}" dt="2021-11-09T08:04:47.761" v="60969" actId="1036"/>
          <ac:picMkLst>
            <pc:docMk/>
            <pc:sldMk cId="380627945" sldId="2145707231"/>
            <ac:picMk id="67" creationId="{44084EBF-81C1-9B4E-87F5-94AC6E3FF7CB}"/>
          </ac:picMkLst>
        </pc:picChg>
      </pc:sldChg>
      <pc:sldChg chg="addSp modSp new del mod">
        <pc:chgData name="Nick Robinson" userId="d0c2b313-4ae0-4040-8c6a-fec7a720a7b5" providerId="ADAL" clId="{9D26C270-5461-F844-9688-58D8512A9AEB}" dt="2021-11-08T13:45:15.884" v="60922" actId="2696"/>
        <pc:sldMkLst>
          <pc:docMk/>
          <pc:sldMk cId="3410103182" sldId="2145707232"/>
        </pc:sldMkLst>
        <pc:graphicFrameChg chg="add mod modGraphic">
          <ac:chgData name="Nick Robinson" userId="d0c2b313-4ae0-4040-8c6a-fec7a720a7b5" providerId="ADAL" clId="{9D26C270-5461-F844-9688-58D8512A9AEB}" dt="2021-11-08T13:45:08.509" v="60921" actId="2165"/>
          <ac:graphicFrameMkLst>
            <pc:docMk/>
            <pc:sldMk cId="3410103182" sldId="2145707232"/>
            <ac:graphicFrameMk id="6" creationId="{0939827C-C2FE-B44E-8F23-52891CB83517}"/>
          </ac:graphicFrameMkLst>
        </pc:graphicFrameChg>
        <pc:graphicFrameChg chg="add mod">
          <ac:chgData name="Nick Robinson" userId="d0c2b313-4ae0-4040-8c6a-fec7a720a7b5" providerId="ADAL" clId="{9D26C270-5461-F844-9688-58D8512A9AEB}" dt="2021-11-08T13:36:06.076" v="60048"/>
          <ac:graphicFrameMkLst>
            <pc:docMk/>
            <pc:sldMk cId="3410103182" sldId="2145707232"/>
            <ac:graphicFrameMk id="7" creationId="{067B3841-5883-DC41-9349-AAAC01A83397}"/>
          </ac:graphicFrameMkLst>
        </pc:graphicFrameChg>
      </pc:sldChg>
      <pc:sldChg chg="modSp add del mod">
        <pc:chgData name="Nick Robinson" userId="d0c2b313-4ae0-4040-8c6a-fec7a720a7b5" providerId="ADAL" clId="{9D26C270-5461-F844-9688-58D8512A9AEB}" dt="2021-11-08T13:38:47.206" v="60208" actId="2696"/>
        <pc:sldMkLst>
          <pc:docMk/>
          <pc:sldMk cId="1679432242" sldId="2145707233"/>
        </pc:sldMkLst>
        <pc:graphicFrameChg chg="mod modGraphic">
          <ac:chgData name="Nick Robinson" userId="d0c2b313-4ae0-4040-8c6a-fec7a720a7b5" providerId="ADAL" clId="{9D26C270-5461-F844-9688-58D8512A9AEB}" dt="2021-11-08T13:38:39.664" v="60203" actId="20577"/>
          <ac:graphicFrameMkLst>
            <pc:docMk/>
            <pc:sldMk cId="1679432242" sldId="2145707233"/>
            <ac:graphicFrameMk id="26" creationId="{B868C0AB-3D2C-4647-A123-6629F1806D7E}"/>
          </ac:graphicFrameMkLst>
        </pc:graphicFrameChg>
      </pc:sldChg>
      <pc:sldChg chg="modSp add mod">
        <pc:chgData name="Nick Robinson" userId="d0c2b313-4ae0-4040-8c6a-fec7a720a7b5" providerId="ADAL" clId="{9D26C270-5461-F844-9688-58D8512A9AEB}" dt="2021-11-08T13:42:06.391" v="60686" actId="20577"/>
        <pc:sldMkLst>
          <pc:docMk/>
          <pc:sldMk cId="2606156017" sldId="2145707233"/>
        </pc:sldMkLst>
        <pc:spChg chg="mod">
          <ac:chgData name="Nick Robinson" userId="d0c2b313-4ae0-4040-8c6a-fec7a720a7b5" providerId="ADAL" clId="{9D26C270-5461-F844-9688-58D8512A9AEB}" dt="2021-11-08T13:42:06.391" v="60686" actId="20577"/>
          <ac:spMkLst>
            <pc:docMk/>
            <pc:sldMk cId="2606156017" sldId="2145707233"/>
            <ac:spMk id="2" creationId="{00000000-0000-0000-0000-000000000000}"/>
          </ac:spMkLst>
        </pc:spChg>
        <pc:graphicFrameChg chg="mod modGraphic">
          <ac:chgData name="Nick Robinson" userId="d0c2b313-4ae0-4040-8c6a-fec7a720a7b5" providerId="ADAL" clId="{9D26C270-5461-F844-9688-58D8512A9AEB}" dt="2021-11-08T13:41:49.251" v="60681"/>
          <ac:graphicFrameMkLst>
            <pc:docMk/>
            <pc:sldMk cId="2606156017" sldId="2145707233"/>
            <ac:graphicFrameMk id="26" creationId="{B868C0AB-3D2C-4647-A123-6629F1806D7E}"/>
          </ac:graphicFrameMkLst>
        </pc:graphicFrameChg>
      </pc:sldChg>
      <pc:sldChg chg="add del">
        <pc:chgData name="Nick Robinson" userId="d0c2b313-4ae0-4040-8c6a-fec7a720a7b5" providerId="ADAL" clId="{9D26C270-5461-F844-9688-58D8512A9AEB}" dt="2021-11-08T13:38:46.453" v="60207" actId="2696"/>
        <pc:sldMkLst>
          <pc:docMk/>
          <pc:sldMk cId="2230249830" sldId="2145707234"/>
        </pc:sldMkLst>
      </pc:sldChg>
      <pc:sldMasterChg chg="delSldLayout">
        <pc:chgData name="Nick Robinson" userId="d0c2b313-4ae0-4040-8c6a-fec7a720a7b5" providerId="ADAL" clId="{9D26C270-5461-F844-9688-58D8512A9AEB}" dt="2021-10-27T14:36:51.446" v="4818" actId="2696"/>
        <pc:sldMasterMkLst>
          <pc:docMk/>
          <pc:sldMasterMk cId="848992802" sldId="2147483938"/>
        </pc:sldMasterMkLst>
        <pc:sldLayoutChg chg="del">
          <pc:chgData name="Nick Robinson" userId="d0c2b313-4ae0-4040-8c6a-fec7a720a7b5" providerId="ADAL" clId="{9D26C270-5461-F844-9688-58D8512A9AEB}" dt="2021-10-27T14:36:51.446" v="4818" actId="2696"/>
          <pc:sldLayoutMkLst>
            <pc:docMk/>
            <pc:sldMasterMk cId="848992802" sldId="2147483938"/>
            <pc:sldLayoutMk cId="1583940984" sldId="2147483955"/>
          </pc:sldLayoutMkLst>
        </pc:sldLayoutChg>
        <pc:sldLayoutChg chg="del">
          <pc:chgData name="Nick Robinson" userId="d0c2b313-4ae0-4040-8c6a-fec7a720a7b5" providerId="ADAL" clId="{9D26C270-5461-F844-9688-58D8512A9AEB}" dt="2021-10-27T12:49:56.941" v="935" actId="2696"/>
          <pc:sldLayoutMkLst>
            <pc:docMk/>
            <pc:sldMasterMk cId="848992802" sldId="2147483938"/>
            <pc:sldLayoutMk cId="1841520552" sldId="2147483955"/>
          </pc:sldLayoutMkLst>
        </pc:sldLayoutChg>
      </pc:sldMasterChg>
    </pc:docChg>
  </pc:docChgLst>
  <pc:docChgLst>
    <pc:chgData name="Dan McTavish" userId="3bdd38c9-93c5-470d-b029-59656566a699" providerId="ADAL" clId="{06DD399E-387B-6247-9101-D9256D82257F}"/>
    <pc:docChg chg="undo redo custSel addSld delSld modSld sldOrd">
      <pc:chgData name="Dan McTavish" userId="3bdd38c9-93c5-470d-b029-59656566a699" providerId="ADAL" clId="{06DD399E-387B-6247-9101-D9256D82257F}" dt="2021-12-02T14:47:27.907" v="92884" actId="2696"/>
      <pc:docMkLst>
        <pc:docMk/>
      </pc:docMkLst>
      <pc:sldChg chg="modSp mod">
        <pc:chgData name="Dan McTavish" userId="3bdd38c9-93c5-470d-b029-59656566a699" providerId="ADAL" clId="{06DD399E-387B-6247-9101-D9256D82257F}" dt="2021-11-11T14:11:16.217" v="90516" actId="1076"/>
        <pc:sldMkLst>
          <pc:docMk/>
          <pc:sldMk cId="3899156713" sldId="500"/>
        </pc:sldMkLst>
        <pc:picChg chg="mod">
          <ac:chgData name="Dan McTavish" userId="3bdd38c9-93c5-470d-b029-59656566a699" providerId="ADAL" clId="{06DD399E-387B-6247-9101-D9256D82257F}" dt="2021-11-11T14:11:16.217" v="90516" actId="1076"/>
          <ac:picMkLst>
            <pc:docMk/>
            <pc:sldMk cId="3899156713" sldId="500"/>
            <ac:picMk id="10" creationId="{5B989DD5-C24F-F94E-BAC6-26FB054A0200}"/>
          </ac:picMkLst>
        </pc:picChg>
      </pc:sldChg>
      <pc:sldChg chg="addSp delSp modSp ord">
        <pc:chgData name="Dan McTavish" userId="3bdd38c9-93c5-470d-b029-59656566a699" providerId="ADAL" clId="{06DD399E-387B-6247-9101-D9256D82257F}" dt="2021-10-10T16:20:43.769" v="48551" actId="20578"/>
        <pc:sldMkLst>
          <pc:docMk/>
          <pc:sldMk cId="1921742160" sldId="2082"/>
        </pc:sldMkLst>
        <pc:spChg chg="add del mod">
          <ac:chgData name="Dan McTavish" userId="3bdd38c9-93c5-470d-b029-59656566a699" providerId="ADAL" clId="{06DD399E-387B-6247-9101-D9256D82257F}" dt="2021-10-10T16:20:36.514" v="48549"/>
          <ac:spMkLst>
            <pc:docMk/>
            <pc:sldMk cId="1921742160" sldId="2082"/>
            <ac:spMk id="2" creationId="{B521E710-56AF-DA41-9D59-A6D0E7291033}"/>
          </ac:spMkLst>
        </pc:spChg>
      </pc:sldChg>
      <pc:sldChg chg="add">
        <pc:chgData name="Dan McTavish" userId="3bdd38c9-93c5-470d-b029-59656566a699" providerId="ADAL" clId="{06DD399E-387B-6247-9101-D9256D82257F}" dt="2021-10-11T14:22:18.062" v="54298"/>
        <pc:sldMkLst>
          <pc:docMk/>
          <pc:sldMk cId="413179298" sldId="2089"/>
        </pc:sldMkLst>
      </pc:sldChg>
      <pc:sldChg chg="modSp add del mod ord modShow">
        <pc:chgData name="Dan McTavish" userId="3bdd38c9-93c5-470d-b029-59656566a699" providerId="ADAL" clId="{06DD399E-387B-6247-9101-D9256D82257F}" dt="2021-10-01T13:49:53.805" v="1300" actId="2696"/>
        <pc:sldMkLst>
          <pc:docMk/>
          <pc:sldMk cId="3175221640" sldId="2096"/>
        </pc:sldMkLst>
        <pc:spChg chg="mod">
          <ac:chgData name="Dan McTavish" userId="3bdd38c9-93c5-470d-b029-59656566a699" providerId="ADAL" clId="{06DD399E-387B-6247-9101-D9256D82257F}" dt="2021-10-01T13:49:32.743" v="1297" actId="5793"/>
          <ac:spMkLst>
            <pc:docMk/>
            <pc:sldMk cId="3175221640" sldId="2096"/>
            <ac:spMk id="4" creationId="{4597E275-1B0A-C140-9D49-CC80904CE771}"/>
          </ac:spMkLst>
        </pc:spChg>
      </pc:sldChg>
      <pc:sldChg chg="addSp delSp modSp add del mod">
        <pc:chgData name="Dan McTavish" userId="3bdd38c9-93c5-470d-b029-59656566a699" providerId="ADAL" clId="{06DD399E-387B-6247-9101-D9256D82257F}" dt="2021-12-01T09:30:14.992" v="92421" actId="2696"/>
        <pc:sldMkLst>
          <pc:docMk/>
          <pc:sldMk cId="1294499250" sldId="6670"/>
        </pc:sldMkLst>
        <pc:spChg chg="add del mod">
          <ac:chgData name="Dan McTavish" userId="3bdd38c9-93c5-470d-b029-59656566a699" providerId="ADAL" clId="{06DD399E-387B-6247-9101-D9256D82257F}" dt="2021-11-30T10:23:46.639" v="92376"/>
          <ac:spMkLst>
            <pc:docMk/>
            <pc:sldMk cId="1294499250" sldId="6670"/>
            <ac:spMk id="3" creationId="{690917E4-CB1F-C449-84C5-77D12F73FBB5}"/>
          </ac:spMkLst>
        </pc:spChg>
        <pc:spChg chg="mod">
          <ac:chgData name="Dan McTavish" userId="3bdd38c9-93c5-470d-b029-59656566a699" providerId="ADAL" clId="{06DD399E-387B-6247-9101-D9256D82257F}" dt="2021-11-30T09:48:47.225" v="92172" actId="207"/>
          <ac:spMkLst>
            <pc:docMk/>
            <pc:sldMk cId="1294499250" sldId="6670"/>
            <ac:spMk id="6" creationId="{7268B37B-E03B-184B-912F-DC20B413A08B}"/>
          </ac:spMkLst>
        </pc:spChg>
        <pc:spChg chg="mod">
          <ac:chgData name="Dan McTavish" userId="3bdd38c9-93c5-470d-b029-59656566a699" providerId="ADAL" clId="{06DD399E-387B-6247-9101-D9256D82257F}" dt="2021-11-30T09:58:43.541" v="92212" actId="1076"/>
          <ac:spMkLst>
            <pc:docMk/>
            <pc:sldMk cId="1294499250" sldId="6670"/>
            <ac:spMk id="10" creationId="{4E323EF5-2498-1D4C-BA64-C70C64FBE232}"/>
          </ac:spMkLst>
        </pc:spChg>
        <pc:spChg chg="mod">
          <ac:chgData name="Dan McTavish" userId="3bdd38c9-93c5-470d-b029-59656566a699" providerId="ADAL" clId="{06DD399E-387B-6247-9101-D9256D82257F}" dt="2021-11-30T09:49:03.444" v="92191" actId="20577"/>
          <ac:spMkLst>
            <pc:docMk/>
            <pc:sldMk cId="1294499250" sldId="6670"/>
            <ac:spMk id="15" creationId="{1BF8A6AB-5A38-664D-AF1F-7E210C311938}"/>
          </ac:spMkLst>
        </pc:spChg>
        <pc:spChg chg="mod">
          <ac:chgData name="Dan McTavish" userId="3bdd38c9-93c5-470d-b029-59656566a699" providerId="ADAL" clId="{06DD399E-387B-6247-9101-D9256D82257F}" dt="2021-11-30T09:49:17.725" v="92203" actId="20577"/>
          <ac:spMkLst>
            <pc:docMk/>
            <pc:sldMk cId="1294499250" sldId="6670"/>
            <ac:spMk id="16" creationId="{8FB65CA7-DC28-4D4F-9D91-27CF37E78F58}"/>
          </ac:spMkLst>
        </pc:spChg>
        <pc:spChg chg="mod">
          <ac:chgData name="Dan McTavish" userId="3bdd38c9-93c5-470d-b029-59656566a699" providerId="ADAL" clId="{06DD399E-387B-6247-9101-D9256D82257F}" dt="2021-11-30T09:59:51.200" v="92229" actId="313"/>
          <ac:spMkLst>
            <pc:docMk/>
            <pc:sldMk cId="1294499250" sldId="6670"/>
            <ac:spMk id="33" creationId="{10F4C8BC-4E70-0B41-9575-E43EF8E25292}"/>
          </ac:spMkLst>
        </pc:spChg>
        <pc:spChg chg="mod">
          <ac:chgData name="Dan McTavish" userId="3bdd38c9-93c5-470d-b029-59656566a699" providerId="ADAL" clId="{06DD399E-387B-6247-9101-D9256D82257F}" dt="2021-12-01T09:29:00.867" v="92412" actId="1076"/>
          <ac:spMkLst>
            <pc:docMk/>
            <pc:sldMk cId="1294499250" sldId="6670"/>
            <ac:spMk id="34" creationId="{8467C486-D90C-164A-8A8F-8E4197267F2F}"/>
          </ac:spMkLst>
        </pc:spChg>
        <pc:spChg chg="mod">
          <ac:chgData name="Dan McTavish" userId="3bdd38c9-93c5-470d-b029-59656566a699" providerId="ADAL" clId="{06DD399E-387B-6247-9101-D9256D82257F}" dt="2021-12-01T09:28:41.561" v="92411" actId="20577"/>
          <ac:spMkLst>
            <pc:docMk/>
            <pc:sldMk cId="1294499250" sldId="6670"/>
            <ac:spMk id="43" creationId="{4170F5F4-F160-A444-841B-93CC180B8FD6}"/>
          </ac:spMkLst>
        </pc:spChg>
        <pc:spChg chg="mod">
          <ac:chgData name="Dan McTavish" userId="3bdd38c9-93c5-470d-b029-59656566a699" providerId="ADAL" clId="{06DD399E-387B-6247-9101-D9256D82257F}" dt="2021-11-30T09:51:01.816" v="92210" actId="1076"/>
          <ac:spMkLst>
            <pc:docMk/>
            <pc:sldMk cId="1294499250" sldId="6670"/>
            <ac:spMk id="45" creationId="{AC877E22-45BF-9344-859B-23D47B6A5A7C}"/>
          </ac:spMkLst>
        </pc:spChg>
        <pc:spChg chg="mod">
          <ac:chgData name="Dan McTavish" userId="3bdd38c9-93c5-470d-b029-59656566a699" providerId="ADAL" clId="{06DD399E-387B-6247-9101-D9256D82257F}" dt="2021-11-30T09:48:50.225" v="92173" actId="207"/>
          <ac:spMkLst>
            <pc:docMk/>
            <pc:sldMk cId="1294499250" sldId="6670"/>
            <ac:spMk id="59" creationId="{52449135-4240-5742-87EC-FC8C768E1036}"/>
          </ac:spMkLst>
        </pc:spChg>
        <pc:grpChg chg="mod">
          <ac:chgData name="Dan McTavish" userId="3bdd38c9-93c5-470d-b029-59656566a699" providerId="ADAL" clId="{06DD399E-387B-6247-9101-D9256D82257F}" dt="2021-11-30T09:58:43.541" v="92212" actId="1076"/>
          <ac:grpSpMkLst>
            <pc:docMk/>
            <pc:sldMk cId="1294499250" sldId="6670"/>
            <ac:grpSpMk id="22" creationId="{C54C1A77-BAE4-874A-BC5C-0F67F8E0DE11}"/>
          </ac:grpSpMkLst>
        </pc:grpChg>
        <pc:grpChg chg="add del mod">
          <ac:chgData name="Dan McTavish" userId="3bdd38c9-93c5-470d-b029-59656566a699" providerId="ADAL" clId="{06DD399E-387B-6247-9101-D9256D82257F}" dt="2021-11-30T10:03:54.474" v="92372" actId="478"/>
          <ac:grpSpMkLst>
            <pc:docMk/>
            <pc:sldMk cId="1294499250" sldId="6670"/>
            <ac:grpSpMk id="23" creationId="{3710844A-84D2-564D-B22B-17571B3CDE81}"/>
          </ac:grpSpMkLst>
        </pc:grpChg>
        <pc:grpChg chg="del">
          <ac:chgData name="Dan McTavish" userId="3bdd38c9-93c5-470d-b029-59656566a699" providerId="ADAL" clId="{06DD399E-387B-6247-9101-D9256D82257F}" dt="2021-11-30T09:49:26.544" v="92204" actId="478"/>
          <ac:grpSpMkLst>
            <pc:docMk/>
            <pc:sldMk cId="1294499250" sldId="6670"/>
            <ac:grpSpMk id="24" creationId="{B8389E42-9058-8647-9A9F-0C8E7B99885F}"/>
          </ac:grpSpMkLst>
        </pc:grpChg>
        <pc:graphicFrameChg chg="del mod">
          <ac:chgData name="Dan McTavish" userId="3bdd38c9-93c5-470d-b029-59656566a699" providerId="ADAL" clId="{06DD399E-387B-6247-9101-D9256D82257F}" dt="2021-11-30T09:48:21.710" v="92171" actId="478"/>
          <ac:graphicFrameMkLst>
            <pc:docMk/>
            <pc:sldMk cId="1294499250" sldId="6670"/>
            <ac:graphicFrameMk id="36" creationId="{19F7FD4B-70B9-734E-85D5-90942EF31555}"/>
          </ac:graphicFrameMkLst>
        </pc:graphicFrameChg>
        <pc:picChg chg="del">
          <ac:chgData name="Dan McTavish" userId="3bdd38c9-93c5-470d-b029-59656566a699" providerId="ADAL" clId="{06DD399E-387B-6247-9101-D9256D82257F}" dt="2021-11-30T10:00:04.495" v="92237" actId="478"/>
          <ac:picMkLst>
            <pc:docMk/>
            <pc:sldMk cId="1294499250" sldId="6670"/>
            <ac:picMk id="35" creationId="{5EB01D75-D859-E244-8B9D-168C9D656C77}"/>
          </ac:picMkLst>
        </pc:picChg>
        <pc:picChg chg="del">
          <ac:chgData name="Dan McTavish" userId="3bdd38c9-93c5-470d-b029-59656566a699" providerId="ADAL" clId="{06DD399E-387B-6247-9101-D9256D82257F}" dt="2021-11-30T10:00:01.164" v="92232" actId="478"/>
          <ac:picMkLst>
            <pc:docMk/>
            <pc:sldMk cId="1294499250" sldId="6670"/>
            <ac:picMk id="37" creationId="{5F43DAC7-F024-E047-B9DD-5F6DAB03FFBF}"/>
          </ac:picMkLst>
        </pc:picChg>
        <pc:picChg chg="del">
          <ac:chgData name="Dan McTavish" userId="3bdd38c9-93c5-470d-b029-59656566a699" providerId="ADAL" clId="{06DD399E-387B-6247-9101-D9256D82257F}" dt="2021-11-30T09:51:00.481" v="92208" actId="478"/>
          <ac:picMkLst>
            <pc:docMk/>
            <pc:sldMk cId="1294499250" sldId="6670"/>
            <ac:picMk id="38" creationId="{48A4A055-7D9C-9249-B845-ECC17DA9CB9F}"/>
          </ac:picMkLst>
        </pc:picChg>
        <pc:picChg chg="del">
          <ac:chgData name="Dan McTavish" userId="3bdd38c9-93c5-470d-b029-59656566a699" providerId="ADAL" clId="{06DD399E-387B-6247-9101-D9256D82257F}" dt="2021-11-30T09:50:59.540" v="92207" actId="478"/>
          <ac:picMkLst>
            <pc:docMk/>
            <pc:sldMk cId="1294499250" sldId="6670"/>
            <ac:picMk id="39" creationId="{51746A2C-777A-AD4A-98D9-F2D9350E3708}"/>
          </ac:picMkLst>
        </pc:picChg>
        <pc:picChg chg="del">
          <ac:chgData name="Dan McTavish" userId="3bdd38c9-93c5-470d-b029-59656566a699" providerId="ADAL" clId="{06DD399E-387B-6247-9101-D9256D82257F}" dt="2021-11-30T09:51:01.004" v="92209" actId="478"/>
          <ac:picMkLst>
            <pc:docMk/>
            <pc:sldMk cId="1294499250" sldId="6670"/>
            <ac:picMk id="44" creationId="{7A5E6715-FDD3-674B-A1D5-C52B4392B61C}"/>
          </ac:picMkLst>
        </pc:picChg>
        <pc:picChg chg="del">
          <ac:chgData name="Dan McTavish" userId="3bdd38c9-93c5-470d-b029-59656566a699" providerId="ADAL" clId="{06DD399E-387B-6247-9101-D9256D82257F}" dt="2021-11-30T10:00:00.465" v="92231" actId="478"/>
          <ac:picMkLst>
            <pc:docMk/>
            <pc:sldMk cId="1294499250" sldId="6670"/>
            <ac:picMk id="47" creationId="{E6111D98-86C6-0845-AFA8-1FD2E670350C}"/>
          </ac:picMkLst>
        </pc:picChg>
        <pc:picChg chg="del">
          <ac:chgData name="Dan McTavish" userId="3bdd38c9-93c5-470d-b029-59656566a699" providerId="ADAL" clId="{06DD399E-387B-6247-9101-D9256D82257F}" dt="2021-11-30T10:00:02.850" v="92235" actId="478"/>
          <ac:picMkLst>
            <pc:docMk/>
            <pc:sldMk cId="1294499250" sldId="6670"/>
            <ac:picMk id="48" creationId="{F5D8A3C1-C72C-1D4B-B1EC-BBFEADBACC5F}"/>
          </ac:picMkLst>
        </pc:picChg>
        <pc:picChg chg="del">
          <ac:chgData name="Dan McTavish" userId="3bdd38c9-93c5-470d-b029-59656566a699" providerId="ADAL" clId="{06DD399E-387B-6247-9101-D9256D82257F}" dt="2021-11-30T10:00:02.316" v="92234" actId="478"/>
          <ac:picMkLst>
            <pc:docMk/>
            <pc:sldMk cId="1294499250" sldId="6670"/>
            <ac:picMk id="49" creationId="{755E0DD5-21B4-7D44-B1BF-B681129081B7}"/>
          </ac:picMkLst>
        </pc:picChg>
        <pc:picChg chg="del">
          <ac:chgData name="Dan McTavish" userId="3bdd38c9-93c5-470d-b029-59656566a699" providerId="ADAL" clId="{06DD399E-387B-6247-9101-D9256D82257F}" dt="2021-11-30T10:00:05.037" v="92238" actId="478"/>
          <ac:picMkLst>
            <pc:docMk/>
            <pc:sldMk cId="1294499250" sldId="6670"/>
            <ac:picMk id="50" creationId="{3517EA7D-78BC-794E-9B6A-80A6B429BDFB}"/>
          </ac:picMkLst>
        </pc:picChg>
        <pc:picChg chg="del">
          <ac:chgData name="Dan McTavish" userId="3bdd38c9-93c5-470d-b029-59656566a699" providerId="ADAL" clId="{06DD399E-387B-6247-9101-D9256D82257F}" dt="2021-11-30T10:00:03.550" v="92236" actId="478"/>
          <ac:picMkLst>
            <pc:docMk/>
            <pc:sldMk cId="1294499250" sldId="6670"/>
            <ac:picMk id="51" creationId="{957B5D93-5B92-6A4A-8B7C-A72F7206128F}"/>
          </ac:picMkLst>
        </pc:picChg>
        <pc:picChg chg="del">
          <ac:chgData name="Dan McTavish" userId="3bdd38c9-93c5-470d-b029-59656566a699" providerId="ADAL" clId="{06DD399E-387B-6247-9101-D9256D82257F}" dt="2021-11-30T10:00:01.765" v="92233" actId="478"/>
          <ac:picMkLst>
            <pc:docMk/>
            <pc:sldMk cId="1294499250" sldId="6670"/>
            <ac:picMk id="58" creationId="{41030EB1-6AB2-914B-BE2B-4649FFFD70BC}"/>
          </ac:picMkLst>
        </pc:picChg>
      </pc:sldChg>
      <pc:sldChg chg="addSp delSp modSp add del mod">
        <pc:chgData name="Dan McTavish" userId="3bdd38c9-93c5-470d-b029-59656566a699" providerId="ADAL" clId="{06DD399E-387B-6247-9101-D9256D82257F}" dt="2021-12-01T09:26:09.509" v="92399" actId="2696"/>
        <pc:sldMkLst>
          <pc:docMk/>
          <pc:sldMk cId="2800165038" sldId="6673"/>
        </pc:sldMkLst>
        <pc:spChg chg="del">
          <ac:chgData name="Dan McTavish" userId="3bdd38c9-93c5-470d-b029-59656566a699" providerId="ADAL" clId="{06DD399E-387B-6247-9101-D9256D82257F}" dt="2021-11-30T10:03:04.922" v="92338" actId="478"/>
          <ac:spMkLst>
            <pc:docMk/>
            <pc:sldMk cId="2800165038" sldId="6673"/>
            <ac:spMk id="13" creationId="{628D44D9-61AB-A14F-87C4-1E959ED9B001}"/>
          </ac:spMkLst>
        </pc:spChg>
        <pc:spChg chg="mod">
          <ac:chgData name="Dan McTavish" userId="3bdd38c9-93c5-470d-b029-59656566a699" providerId="ADAL" clId="{06DD399E-387B-6247-9101-D9256D82257F}" dt="2021-11-30T10:01:20.771" v="92247" actId="20577"/>
          <ac:spMkLst>
            <pc:docMk/>
            <pc:sldMk cId="2800165038" sldId="6673"/>
            <ac:spMk id="14" creationId="{5673CA48-0CB9-144E-AF9D-00CFD2715850}"/>
          </ac:spMkLst>
        </pc:spChg>
        <pc:spChg chg="mod">
          <ac:chgData name="Dan McTavish" userId="3bdd38c9-93c5-470d-b029-59656566a699" providerId="ADAL" clId="{06DD399E-387B-6247-9101-D9256D82257F}" dt="2021-11-30T10:01:44.606" v="92280" actId="20577"/>
          <ac:spMkLst>
            <pc:docMk/>
            <pc:sldMk cId="2800165038" sldId="6673"/>
            <ac:spMk id="15" creationId="{2A32160C-4059-3E44-B5BB-122D93ABBDE7}"/>
          </ac:spMkLst>
        </pc:spChg>
        <pc:spChg chg="mod">
          <ac:chgData name="Dan McTavish" userId="3bdd38c9-93c5-470d-b029-59656566a699" providerId="ADAL" clId="{06DD399E-387B-6247-9101-D9256D82257F}" dt="2021-11-30T10:03:26.746" v="92370" actId="20577"/>
          <ac:spMkLst>
            <pc:docMk/>
            <pc:sldMk cId="2800165038" sldId="6673"/>
            <ac:spMk id="16" creationId="{0F5DFFED-BD0D-AF4F-8269-C1E82BBBCB9A}"/>
          </ac:spMkLst>
        </pc:spChg>
        <pc:spChg chg="mod">
          <ac:chgData name="Dan McTavish" userId="3bdd38c9-93c5-470d-b029-59656566a699" providerId="ADAL" clId="{06DD399E-387B-6247-9101-D9256D82257F}" dt="2021-11-30T10:01:56.819" v="92284" actId="207"/>
          <ac:spMkLst>
            <pc:docMk/>
            <pc:sldMk cId="2800165038" sldId="6673"/>
            <ac:spMk id="17" creationId="{BC4774FD-D71B-054B-9C4C-ADBD40C386FC}"/>
          </ac:spMkLst>
        </pc:spChg>
        <pc:spChg chg="mod">
          <ac:chgData name="Dan McTavish" userId="3bdd38c9-93c5-470d-b029-59656566a699" providerId="ADAL" clId="{06DD399E-387B-6247-9101-D9256D82257F}" dt="2021-11-30T10:01:59.462" v="92285" actId="207"/>
          <ac:spMkLst>
            <pc:docMk/>
            <pc:sldMk cId="2800165038" sldId="6673"/>
            <ac:spMk id="18" creationId="{C041ADC3-AC2B-C444-BCF8-DE35F205E509}"/>
          </ac:spMkLst>
        </pc:spChg>
        <pc:spChg chg="mod">
          <ac:chgData name="Dan McTavish" userId="3bdd38c9-93c5-470d-b029-59656566a699" providerId="ADAL" clId="{06DD399E-387B-6247-9101-D9256D82257F}" dt="2021-11-30T10:02:56.416" v="92337" actId="20577"/>
          <ac:spMkLst>
            <pc:docMk/>
            <pc:sldMk cId="2800165038" sldId="6673"/>
            <ac:spMk id="19" creationId="{62AC9620-D97B-D44D-8063-6B08ED823D22}"/>
          </ac:spMkLst>
        </pc:spChg>
        <pc:spChg chg="add mod">
          <ac:chgData name="Dan McTavish" userId="3bdd38c9-93c5-470d-b029-59656566a699" providerId="ADAL" clId="{06DD399E-387B-6247-9101-D9256D82257F}" dt="2021-12-01T09:25:46.829" v="92398" actId="571"/>
          <ac:spMkLst>
            <pc:docMk/>
            <pc:sldMk cId="2800165038" sldId="6673"/>
            <ac:spMk id="25" creationId="{009E89D3-CCF5-264A-82A9-E1E77263F723}"/>
          </ac:spMkLst>
        </pc:spChg>
        <pc:spChg chg="del">
          <ac:chgData name="Dan McTavish" userId="3bdd38c9-93c5-470d-b029-59656566a699" providerId="ADAL" clId="{06DD399E-387B-6247-9101-D9256D82257F}" dt="2021-11-30T10:01:47.028" v="92281" actId="478"/>
          <ac:spMkLst>
            <pc:docMk/>
            <pc:sldMk cId="2800165038" sldId="6673"/>
            <ac:spMk id="25" creationId="{6D648AB0-AD7F-F44F-A6A9-D30E10C0571C}"/>
          </ac:spMkLst>
        </pc:spChg>
        <pc:spChg chg="del">
          <ac:chgData name="Dan McTavish" userId="3bdd38c9-93c5-470d-b029-59656566a699" providerId="ADAL" clId="{06DD399E-387B-6247-9101-D9256D82257F}" dt="2021-11-30T10:02:22.564" v="92288" actId="478"/>
          <ac:spMkLst>
            <pc:docMk/>
            <pc:sldMk cId="2800165038" sldId="6673"/>
            <ac:spMk id="26" creationId="{BF66DEA1-772E-A240-B7AD-C3612B2B12D9}"/>
          </ac:spMkLst>
        </pc:spChg>
        <pc:spChg chg="del">
          <ac:chgData name="Dan McTavish" userId="3bdd38c9-93c5-470d-b029-59656566a699" providerId="ADAL" clId="{06DD399E-387B-6247-9101-D9256D82257F}" dt="2021-11-30T10:01:49.077" v="92282" actId="478"/>
          <ac:spMkLst>
            <pc:docMk/>
            <pc:sldMk cId="2800165038" sldId="6673"/>
            <ac:spMk id="27" creationId="{ADFABB8E-43BC-E242-B3BC-0AF6282BA83C}"/>
          </ac:spMkLst>
        </pc:spChg>
        <pc:spChg chg="del mod">
          <ac:chgData name="Dan McTavish" userId="3bdd38c9-93c5-470d-b029-59656566a699" providerId="ADAL" clId="{06DD399E-387B-6247-9101-D9256D82257F}" dt="2021-11-30T10:02:25.437" v="92289" actId="478"/>
          <ac:spMkLst>
            <pc:docMk/>
            <pc:sldMk cId="2800165038" sldId="6673"/>
            <ac:spMk id="28" creationId="{ECBD1805-14EB-A943-A783-83AF64F37A72}"/>
          </ac:spMkLst>
        </pc:spChg>
        <pc:spChg chg="del">
          <ac:chgData name="Dan McTavish" userId="3bdd38c9-93c5-470d-b029-59656566a699" providerId="ADAL" clId="{06DD399E-387B-6247-9101-D9256D82257F}" dt="2021-11-30T10:01:26.778" v="92248" actId="478"/>
          <ac:spMkLst>
            <pc:docMk/>
            <pc:sldMk cId="2800165038" sldId="6673"/>
            <ac:spMk id="40" creationId="{EB7E33A0-4E74-6F42-8B2E-636A494D0EAE}"/>
          </ac:spMkLst>
        </pc:spChg>
        <pc:spChg chg="del mod">
          <ac:chgData name="Dan McTavish" userId="3bdd38c9-93c5-470d-b029-59656566a699" providerId="ADAL" clId="{06DD399E-387B-6247-9101-D9256D82257F}" dt="2021-11-30T10:01:27.833" v="92250" actId="478"/>
          <ac:spMkLst>
            <pc:docMk/>
            <pc:sldMk cId="2800165038" sldId="6673"/>
            <ac:spMk id="41" creationId="{B3E7C2FD-ABE0-EE4D-8E93-705D7F660F6D}"/>
          </ac:spMkLst>
        </pc:spChg>
        <pc:graphicFrameChg chg="del mod">
          <ac:chgData name="Dan McTavish" userId="3bdd38c9-93c5-470d-b029-59656566a699" providerId="ADAL" clId="{06DD399E-387B-6247-9101-D9256D82257F}" dt="2021-11-30T10:03:09.718" v="92339" actId="478"/>
          <ac:graphicFrameMkLst>
            <pc:docMk/>
            <pc:sldMk cId="2800165038" sldId="6673"/>
            <ac:graphicFrameMk id="39" creationId="{3FA7A3BD-EC44-5E42-B550-5E5CA264B054}"/>
          </ac:graphicFrameMkLst>
        </pc:graphicFrameChg>
      </pc:sldChg>
      <pc:sldChg chg="modSp add">
        <pc:chgData name="Dan McTavish" userId="3bdd38c9-93c5-470d-b029-59656566a699" providerId="ADAL" clId="{06DD399E-387B-6247-9101-D9256D82257F}" dt="2021-11-30T09:48:10.063" v="92170"/>
        <pc:sldMkLst>
          <pc:docMk/>
          <pc:sldMk cId="72529761" sldId="1448943263"/>
        </pc:sldMkLst>
        <pc:spChg chg="mod">
          <ac:chgData name="Dan McTavish" userId="3bdd38c9-93c5-470d-b029-59656566a699" providerId="ADAL" clId="{06DD399E-387B-6247-9101-D9256D82257F}" dt="2021-11-30T09:48:10.063" v="92170"/>
          <ac:spMkLst>
            <pc:docMk/>
            <pc:sldMk cId="72529761" sldId="1448943263"/>
            <ac:spMk id="2" creationId="{00000000-0000-0000-0000-000000000000}"/>
          </ac:spMkLst>
        </pc:spChg>
        <pc:spChg chg="mod">
          <ac:chgData name="Dan McTavish" userId="3bdd38c9-93c5-470d-b029-59656566a699" providerId="ADAL" clId="{06DD399E-387B-6247-9101-D9256D82257F}" dt="2021-11-30T09:48:10.063" v="92170"/>
          <ac:spMkLst>
            <pc:docMk/>
            <pc:sldMk cId="72529761" sldId="1448943263"/>
            <ac:spMk id="3" creationId="{00000000-0000-0000-0000-000000000000}"/>
          </ac:spMkLst>
        </pc:spChg>
        <pc:spChg chg="mod">
          <ac:chgData name="Dan McTavish" userId="3bdd38c9-93c5-470d-b029-59656566a699" providerId="ADAL" clId="{06DD399E-387B-6247-9101-D9256D82257F}" dt="2021-11-30T09:48:10.063" v="92170"/>
          <ac:spMkLst>
            <pc:docMk/>
            <pc:sldMk cId="72529761" sldId="1448943263"/>
            <ac:spMk id="6" creationId="{62E3292C-AE15-8E46-8E62-F9C713150B0B}"/>
          </ac:spMkLst>
        </pc:spChg>
        <pc:grpChg chg="mod">
          <ac:chgData name="Dan McTavish" userId="3bdd38c9-93c5-470d-b029-59656566a699" providerId="ADAL" clId="{06DD399E-387B-6247-9101-D9256D82257F}" dt="2021-11-30T09:48:10.063" v="92170"/>
          <ac:grpSpMkLst>
            <pc:docMk/>
            <pc:sldMk cId="72529761" sldId="1448943263"/>
            <ac:grpSpMk id="1" creationId="{00000000-0000-0000-0000-000000000000}"/>
          </ac:grpSpMkLst>
        </pc:grpChg>
        <pc:graphicFrameChg chg="mod">
          <ac:chgData name="Dan McTavish" userId="3bdd38c9-93c5-470d-b029-59656566a699" providerId="ADAL" clId="{06DD399E-387B-6247-9101-D9256D82257F}" dt="2021-11-30T09:48:10.063" v="92170"/>
          <ac:graphicFrameMkLst>
            <pc:docMk/>
            <pc:sldMk cId="72529761" sldId="1448943263"/>
            <ac:graphicFrameMk id="4" creationId="{00000000-0000-0000-0000-000000000000}"/>
          </ac:graphicFrameMkLst>
        </pc:graphicFrameChg>
        <pc:graphicFrameChg chg="mod">
          <ac:chgData name="Dan McTavish" userId="3bdd38c9-93c5-470d-b029-59656566a699" providerId="ADAL" clId="{06DD399E-387B-6247-9101-D9256D82257F}" dt="2021-11-30T09:48:10.063" v="92170"/>
          <ac:graphicFrameMkLst>
            <pc:docMk/>
            <pc:sldMk cId="72529761" sldId="1448943263"/>
            <ac:graphicFrameMk id="7" creationId="{0652C58B-32C6-9446-B4B3-CCE2F64D5CB7}"/>
          </ac:graphicFrameMkLst>
        </pc:graphicFrameChg>
      </pc:sldChg>
      <pc:sldChg chg="modSp add">
        <pc:chgData name="Dan McTavish" userId="3bdd38c9-93c5-470d-b029-59656566a699" providerId="ADAL" clId="{06DD399E-387B-6247-9101-D9256D82257F}" dt="2021-11-30T09:48:10.063" v="92170"/>
        <pc:sldMkLst>
          <pc:docMk/>
          <pc:sldMk cId="2625941426" sldId="1448943269"/>
        </pc:sldMkLst>
        <pc:spChg chg="mod">
          <ac:chgData name="Dan McTavish" userId="3bdd38c9-93c5-470d-b029-59656566a699" providerId="ADAL" clId="{06DD399E-387B-6247-9101-D9256D82257F}" dt="2021-11-30T09:48:10.063" v="92170"/>
          <ac:spMkLst>
            <pc:docMk/>
            <pc:sldMk cId="2625941426" sldId="1448943269"/>
            <ac:spMk id="2" creationId="{00000000-0000-0000-0000-000000000000}"/>
          </ac:spMkLst>
        </pc:spChg>
        <pc:spChg chg="mod">
          <ac:chgData name="Dan McTavish" userId="3bdd38c9-93c5-470d-b029-59656566a699" providerId="ADAL" clId="{06DD399E-387B-6247-9101-D9256D82257F}" dt="2021-11-30T09:48:10.063" v="92170"/>
          <ac:spMkLst>
            <pc:docMk/>
            <pc:sldMk cId="2625941426" sldId="1448943269"/>
            <ac:spMk id="3" creationId="{00000000-0000-0000-0000-000000000000}"/>
          </ac:spMkLst>
        </pc:spChg>
        <pc:spChg chg="mod">
          <ac:chgData name="Dan McTavish" userId="3bdd38c9-93c5-470d-b029-59656566a699" providerId="ADAL" clId="{06DD399E-387B-6247-9101-D9256D82257F}" dt="2021-11-30T09:48:10.063" v="92170"/>
          <ac:spMkLst>
            <pc:docMk/>
            <pc:sldMk cId="2625941426" sldId="1448943269"/>
            <ac:spMk id="6" creationId="{62E3292C-AE15-8E46-8E62-F9C713150B0B}"/>
          </ac:spMkLst>
        </pc:spChg>
        <pc:spChg chg="mod">
          <ac:chgData name="Dan McTavish" userId="3bdd38c9-93c5-470d-b029-59656566a699" providerId="ADAL" clId="{06DD399E-387B-6247-9101-D9256D82257F}" dt="2021-11-30T09:48:10.063" v="92170"/>
          <ac:spMkLst>
            <pc:docMk/>
            <pc:sldMk cId="2625941426" sldId="1448943269"/>
            <ac:spMk id="54" creationId="{A7DD93EE-2A6C-2D44-8C5F-34F2D3F3960E}"/>
          </ac:spMkLst>
        </pc:spChg>
        <pc:spChg chg="mod">
          <ac:chgData name="Dan McTavish" userId="3bdd38c9-93c5-470d-b029-59656566a699" providerId="ADAL" clId="{06DD399E-387B-6247-9101-D9256D82257F}" dt="2021-11-30T09:48:10.063" v="92170"/>
          <ac:spMkLst>
            <pc:docMk/>
            <pc:sldMk cId="2625941426" sldId="1448943269"/>
            <ac:spMk id="55" creationId="{814D53CC-E361-6043-87FD-A85102E17DC6}"/>
          </ac:spMkLst>
        </pc:spChg>
        <pc:spChg chg="mod">
          <ac:chgData name="Dan McTavish" userId="3bdd38c9-93c5-470d-b029-59656566a699" providerId="ADAL" clId="{06DD399E-387B-6247-9101-D9256D82257F}" dt="2021-11-30T09:48:10.063" v="92170"/>
          <ac:spMkLst>
            <pc:docMk/>
            <pc:sldMk cId="2625941426" sldId="1448943269"/>
            <ac:spMk id="56" creationId="{DCDD9483-E305-B942-9F92-6EA4CFD5688A}"/>
          </ac:spMkLst>
        </pc:spChg>
        <pc:spChg chg="mod">
          <ac:chgData name="Dan McTavish" userId="3bdd38c9-93c5-470d-b029-59656566a699" providerId="ADAL" clId="{06DD399E-387B-6247-9101-D9256D82257F}" dt="2021-11-30T09:48:10.063" v="92170"/>
          <ac:spMkLst>
            <pc:docMk/>
            <pc:sldMk cId="2625941426" sldId="1448943269"/>
            <ac:spMk id="59" creationId="{7D0375EB-3B1A-4743-8C64-6FCF13F90551}"/>
          </ac:spMkLst>
        </pc:spChg>
        <pc:spChg chg="mod">
          <ac:chgData name="Dan McTavish" userId="3bdd38c9-93c5-470d-b029-59656566a699" providerId="ADAL" clId="{06DD399E-387B-6247-9101-D9256D82257F}" dt="2021-11-30T09:48:10.063" v="92170"/>
          <ac:spMkLst>
            <pc:docMk/>
            <pc:sldMk cId="2625941426" sldId="1448943269"/>
            <ac:spMk id="61" creationId="{CBF7A722-0C1D-374F-9A33-B01CD2AF25E5}"/>
          </ac:spMkLst>
        </pc:spChg>
        <pc:spChg chg="mod">
          <ac:chgData name="Dan McTavish" userId="3bdd38c9-93c5-470d-b029-59656566a699" providerId="ADAL" clId="{06DD399E-387B-6247-9101-D9256D82257F}" dt="2021-11-30T09:48:10.063" v="92170"/>
          <ac:spMkLst>
            <pc:docMk/>
            <pc:sldMk cId="2625941426" sldId="1448943269"/>
            <ac:spMk id="62" creationId="{449B9E58-B770-3441-B5F9-967BE5AA9C1F}"/>
          </ac:spMkLst>
        </pc:spChg>
        <pc:spChg chg="mod">
          <ac:chgData name="Dan McTavish" userId="3bdd38c9-93c5-470d-b029-59656566a699" providerId="ADAL" clId="{06DD399E-387B-6247-9101-D9256D82257F}" dt="2021-11-30T09:48:10.063" v="92170"/>
          <ac:spMkLst>
            <pc:docMk/>
            <pc:sldMk cId="2625941426" sldId="1448943269"/>
            <ac:spMk id="63" creationId="{3FC30631-A39C-CF4D-BA1E-77809547D44D}"/>
          </ac:spMkLst>
        </pc:spChg>
        <pc:spChg chg="mod">
          <ac:chgData name="Dan McTavish" userId="3bdd38c9-93c5-470d-b029-59656566a699" providerId="ADAL" clId="{06DD399E-387B-6247-9101-D9256D82257F}" dt="2021-11-30T09:48:10.063" v="92170"/>
          <ac:spMkLst>
            <pc:docMk/>
            <pc:sldMk cId="2625941426" sldId="1448943269"/>
            <ac:spMk id="64" creationId="{89D9A49B-79D9-474E-AAA4-785E2A014639}"/>
          </ac:spMkLst>
        </pc:spChg>
        <pc:spChg chg="mod">
          <ac:chgData name="Dan McTavish" userId="3bdd38c9-93c5-470d-b029-59656566a699" providerId="ADAL" clId="{06DD399E-387B-6247-9101-D9256D82257F}" dt="2021-11-30T09:48:10.063" v="92170"/>
          <ac:spMkLst>
            <pc:docMk/>
            <pc:sldMk cId="2625941426" sldId="1448943269"/>
            <ac:spMk id="65" creationId="{009F4CE3-7E3E-7343-A998-BC2AD9FDB910}"/>
          </ac:spMkLst>
        </pc:spChg>
        <pc:spChg chg="mod">
          <ac:chgData name="Dan McTavish" userId="3bdd38c9-93c5-470d-b029-59656566a699" providerId="ADAL" clId="{06DD399E-387B-6247-9101-D9256D82257F}" dt="2021-11-30T09:48:10.063" v="92170"/>
          <ac:spMkLst>
            <pc:docMk/>
            <pc:sldMk cId="2625941426" sldId="1448943269"/>
            <ac:spMk id="67" creationId="{6695F46C-441B-1C4E-A405-9242A50A4033}"/>
          </ac:spMkLst>
        </pc:spChg>
        <pc:spChg chg="mod">
          <ac:chgData name="Dan McTavish" userId="3bdd38c9-93c5-470d-b029-59656566a699" providerId="ADAL" clId="{06DD399E-387B-6247-9101-D9256D82257F}" dt="2021-11-30T09:48:10.063" v="92170"/>
          <ac:spMkLst>
            <pc:docMk/>
            <pc:sldMk cId="2625941426" sldId="1448943269"/>
            <ac:spMk id="68" creationId="{2162352F-932A-ED47-8E91-B6825E78BD24}"/>
          </ac:spMkLst>
        </pc:spChg>
        <pc:spChg chg="mod">
          <ac:chgData name="Dan McTavish" userId="3bdd38c9-93c5-470d-b029-59656566a699" providerId="ADAL" clId="{06DD399E-387B-6247-9101-D9256D82257F}" dt="2021-11-30T09:48:10.063" v="92170"/>
          <ac:spMkLst>
            <pc:docMk/>
            <pc:sldMk cId="2625941426" sldId="1448943269"/>
            <ac:spMk id="69" creationId="{2E06E59F-0800-1E40-B52A-945A8A5C9FCB}"/>
          </ac:spMkLst>
        </pc:spChg>
        <pc:spChg chg="mod">
          <ac:chgData name="Dan McTavish" userId="3bdd38c9-93c5-470d-b029-59656566a699" providerId="ADAL" clId="{06DD399E-387B-6247-9101-D9256D82257F}" dt="2021-11-30T09:48:10.063" v="92170"/>
          <ac:spMkLst>
            <pc:docMk/>
            <pc:sldMk cId="2625941426" sldId="1448943269"/>
            <ac:spMk id="70" creationId="{6A84328C-7DD1-4340-821A-8676405852D9}"/>
          </ac:spMkLst>
        </pc:spChg>
        <pc:spChg chg="mod">
          <ac:chgData name="Dan McTavish" userId="3bdd38c9-93c5-470d-b029-59656566a699" providerId="ADAL" clId="{06DD399E-387B-6247-9101-D9256D82257F}" dt="2021-11-30T09:48:10.063" v="92170"/>
          <ac:spMkLst>
            <pc:docMk/>
            <pc:sldMk cId="2625941426" sldId="1448943269"/>
            <ac:spMk id="71" creationId="{D5922031-34C1-7B4D-93AD-42E3FFA43CB9}"/>
          </ac:spMkLst>
        </pc:spChg>
        <pc:spChg chg="mod">
          <ac:chgData name="Dan McTavish" userId="3bdd38c9-93c5-470d-b029-59656566a699" providerId="ADAL" clId="{06DD399E-387B-6247-9101-D9256D82257F}" dt="2021-11-30T09:48:10.063" v="92170"/>
          <ac:spMkLst>
            <pc:docMk/>
            <pc:sldMk cId="2625941426" sldId="1448943269"/>
            <ac:spMk id="72" creationId="{C81186AB-869D-0E4A-B72D-EAB38207CABE}"/>
          </ac:spMkLst>
        </pc:spChg>
        <pc:spChg chg="mod">
          <ac:chgData name="Dan McTavish" userId="3bdd38c9-93c5-470d-b029-59656566a699" providerId="ADAL" clId="{06DD399E-387B-6247-9101-D9256D82257F}" dt="2021-11-30T09:48:10.063" v="92170"/>
          <ac:spMkLst>
            <pc:docMk/>
            <pc:sldMk cId="2625941426" sldId="1448943269"/>
            <ac:spMk id="73" creationId="{2FF4B294-B002-8344-A4B4-847018322C48}"/>
          </ac:spMkLst>
        </pc:spChg>
        <pc:spChg chg="mod">
          <ac:chgData name="Dan McTavish" userId="3bdd38c9-93c5-470d-b029-59656566a699" providerId="ADAL" clId="{06DD399E-387B-6247-9101-D9256D82257F}" dt="2021-11-30T09:48:10.063" v="92170"/>
          <ac:spMkLst>
            <pc:docMk/>
            <pc:sldMk cId="2625941426" sldId="1448943269"/>
            <ac:spMk id="74" creationId="{A43C3185-C335-E140-9396-E75FF082E6D8}"/>
          </ac:spMkLst>
        </pc:spChg>
        <pc:spChg chg="mod">
          <ac:chgData name="Dan McTavish" userId="3bdd38c9-93c5-470d-b029-59656566a699" providerId="ADAL" clId="{06DD399E-387B-6247-9101-D9256D82257F}" dt="2021-11-30T09:48:10.063" v="92170"/>
          <ac:spMkLst>
            <pc:docMk/>
            <pc:sldMk cId="2625941426" sldId="1448943269"/>
            <ac:spMk id="75" creationId="{9EB29A4F-FB04-D146-8896-698F2EF9209E}"/>
          </ac:spMkLst>
        </pc:spChg>
        <pc:spChg chg="mod">
          <ac:chgData name="Dan McTavish" userId="3bdd38c9-93c5-470d-b029-59656566a699" providerId="ADAL" clId="{06DD399E-387B-6247-9101-D9256D82257F}" dt="2021-11-30T09:48:10.063" v="92170"/>
          <ac:spMkLst>
            <pc:docMk/>
            <pc:sldMk cId="2625941426" sldId="1448943269"/>
            <ac:spMk id="76" creationId="{AD81AE7A-DA8C-2945-918D-5005B429177E}"/>
          </ac:spMkLst>
        </pc:spChg>
        <pc:spChg chg="mod">
          <ac:chgData name="Dan McTavish" userId="3bdd38c9-93c5-470d-b029-59656566a699" providerId="ADAL" clId="{06DD399E-387B-6247-9101-D9256D82257F}" dt="2021-11-30T09:48:10.063" v="92170"/>
          <ac:spMkLst>
            <pc:docMk/>
            <pc:sldMk cId="2625941426" sldId="1448943269"/>
            <ac:spMk id="82" creationId="{F12F2863-D7E7-9743-AC71-8456995792A8}"/>
          </ac:spMkLst>
        </pc:spChg>
        <pc:spChg chg="mod">
          <ac:chgData name="Dan McTavish" userId="3bdd38c9-93c5-470d-b029-59656566a699" providerId="ADAL" clId="{06DD399E-387B-6247-9101-D9256D82257F}" dt="2021-11-30T09:48:10.063" v="92170"/>
          <ac:spMkLst>
            <pc:docMk/>
            <pc:sldMk cId="2625941426" sldId="1448943269"/>
            <ac:spMk id="83" creationId="{679E229A-CDE8-384D-97D7-938E5F7A7C99}"/>
          </ac:spMkLst>
        </pc:spChg>
        <pc:spChg chg="mod">
          <ac:chgData name="Dan McTavish" userId="3bdd38c9-93c5-470d-b029-59656566a699" providerId="ADAL" clId="{06DD399E-387B-6247-9101-D9256D82257F}" dt="2021-11-30T09:48:10.063" v="92170"/>
          <ac:spMkLst>
            <pc:docMk/>
            <pc:sldMk cId="2625941426" sldId="1448943269"/>
            <ac:spMk id="84" creationId="{406C919D-E637-D848-8A9A-65D3C675B742}"/>
          </ac:spMkLst>
        </pc:spChg>
        <pc:spChg chg="mod">
          <ac:chgData name="Dan McTavish" userId="3bdd38c9-93c5-470d-b029-59656566a699" providerId="ADAL" clId="{06DD399E-387B-6247-9101-D9256D82257F}" dt="2021-11-30T09:48:10.063" v="92170"/>
          <ac:spMkLst>
            <pc:docMk/>
            <pc:sldMk cId="2625941426" sldId="1448943269"/>
            <ac:spMk id="85" creationId="{44B3EEF3-F825-874D-9602-CBAF9EEC2454}"/>
          </ac:spMkLst>
        </pc:spChg>
        <pc:spChg chg="mod">
          <ac:chgData name="Dan McTavish" userId="3bdd38c9-93c5-470d-b029-59656566a699" providerId="ADAL" clId="{06DD399E-387B-6247-9101-D9256D82257F}" dt="2021-11-30T09:48:10.063" v="92170"/>
          <ac:spMkLst>
            <pc:docMk/>
            <pc:sldMk cId="2625941426" sldId="1448943269"/>
            <ac:spMk id="86" creationId="{1CC97C8F-943A-3147-98F7-0EFB870C7A20}"/>
          </ac:spMkLst>
        </pc:spChg>
        <pc:spChg chg="mod">
          <ac:chgData name="Dan McTavish" userId="3bdd38c9-93c5-470d-b029-59656566a699" providerId="ADAL" clId="{06DD399E-387B-6247-9101-D9256D82257F}" dt="2021-11-30T09:48:10.063" v="92170"/>
          <ac:spMkLst>
            <pc:docMk/>
            <pc:sldMk cId="2625941426" sldId="1448943269"/>
            <ac:spMk id="87" creationId="{D83E2979-DE42-B143-8096-9C02B2C3D084}"/>
          </ac:spMkLst>
        </pc:spChg>
        <pc:spChg chg="mod">
          <ac:chgData name="Dan McTavish" userId="3bdd38c9-93c5-470d-b029-59656566a699" providerId="ADAL" clId="{06DD399E-387B-6247-9101-D9256D82257F}" dt="2021-11-30T09:48:10.063" v="92170"/>
          <ac:spMkLst>
            <pc:docMk/>
            <pc:sldMk cId="2625941426" sldId="1448943269"/>
            <ac:spMk id="88" creationId="{6A05B7B1-4EF7-CD43-8D41-CC915F642A67}"/>
          </ac:spMkLst>
        </pc:spChg>
        <pc:grpChg chg="mod">
          <ac:chgData name="Dan McTavish" userId="3bdd38c9-93c5-470d-b029-59656566a699" providerId="ADAL" clId="{06DD399E-387B-6247-9101-D9256D82257F}" dt="2021-11-30T09:48:10.063" v="92170"/>
          <ac:grpSpMkLst>
            <pc:docMk/>
            <pc:sldMk cId="2625941426" sldId="1448943269"/>
            <ac:grpSpMk id="1" creationId="{00000000-0000-0000-0000-000000000000}"/>
          </ac:grpSpMkLst>
        </pc:grpChg>
        <pc:grpChg chg="mod">
          <ac:chgData name="Dan McTavish" userId="3bdd38c9-93c5-470d-b029-59656566a699" providerId="ADAL" clId="{06DD399E-387B-6247-9101-D9256D82257F}" dt="2021-11-30T09:48:10.063" v="92170"/>
          <ac:grpSpMkLst>
            <pc:docMk/>
            <pc:sldMk cId="2625941426" sldId="1448943269"/>
            <ac:grpSpMk id="60" creationId="{84BF1291-0313-924D-932B-2235BEFF541D}"/>
          </ac:grpSpMkLst>
        </pc:grpChg>
        <pc:grpChg chg="mod">
          <ac:chgData name="Dan McTavish" userId="3bdd38c9-93c5-470d-b029-59656566a699" providerId="ADAL" clId="{06DD399E-387B-6247-9101-D9256D82257F}" dt="2021-11-30T09:48:10.063" v="92170"/>
          <ac:grpSpMkLst>
            <pc:docMk/>
            <pc:sldMk cId="2625941426" sldId="1448943269"/>
            <ac:grpSpMk id="66" creationId="{323D5043-681D-8B47-86BA-EA00BCB7FE9B}"/>
          </ac:grpSpMkLst>
        </pc:grpChg>
        <pc:graphicFrameChg chg="mod">
          <ac:chgData name="Dan McTavish" userId="3bdd38c9-93c5-470d-b029-59656566a699" providerId="ADAL" clId="{06DD399E-387B-6247-9101-D9256D82257F}" dt="2021-11-30T09:48:10.063" v="92170"/>
          <ac:graphicFrameMkLst>
            <pc:docMk/>
            <pc:sldMk cId="2625941426" sldId="1448943269"/>
            <ac:graphicFrameMk id="4" creationId="{00000000-0000-0000-0000-000000000000}"/>
          </ac:graphicFrameMkLst>
        </pc:graphicFrameChg>
        <pc:picChg chg="mod">
          <ac:chgData name="Dan McTavish" userId="3bdd38c9-93c5-470d-b029-59656566a699" providerId="ADAL" clId="{06DD399E-387B-6247-9101-D9256D82257F}" dt="2021-11-30T09:48:10.063" v="92170"/>
          <ac:picMkLst>
            <pc:docMk/>
            <pc:sldMk cId="2625941426" sldId="1448943269"/>
            <ac:picMk id="77" creationId="{F78ECA2E-F845-714B-A76E-2D868087AEA6}"/>
          </ac:picMkLst>
        </pc:picChg>
        <pc:picChg chg="mod">
          <ac:chgData name="Dan McTavish" userId="3bdd38c9-93c5-470d-b029-59656566a699" providerId="ADAL" clId="{06DD399E-387B-6247-9101-D9256D82257F}" dt="2021-11-30T09:48:10.063" v="92170"/>
          <ac:picMkLst>
            <pc:docMk/>
            <pc:sldMk cId="2625941426" sldId="1448943269"/>
            <ac:picMk id="78" creationId="{10AB5CD5-8EBE-204E-8DF0-BDA5AB5A89CE}"/>
          </ac:picMkLst>
        </pc:picChg>
        <pc:picChg chg="mod">
          <ac:chgData name="Dan McTavish" userId="3bdd38c9-93c5-470d-b029-59656566a699" providerId="ADAL" clId="{06DD399E-387B-6247-9101-D9256D82257F}" dt="2021-11-30T09:48:10.063" v="92170"/>
          <ac:picMkLst>
            <pc:docMk/>
            <pc:sldMk cId="2625941426" sldId="1448943269"/>
            <ac:picMk id="79" creationId="{7ABD7FB8-E703-514D-864F-54366F427693}"/>
          </ac:picMkLst>
        </pc:picChg>
        <pc:picChg chg="mod">
          <ac:chgData name="Dan McTavish" userId="3bdd38c9-93c5-470d-b029-59656566a699" providerId="ADAL" clId="{06DD399E-387B-6247-9101-D9256D82257F}" dt="2021-11-30T09:48:10.063" v="92170"/>
          <ac:picMkLst>
            <pc:docMk/>
            <pc:sldMk cId="2625941426" sldId="1448943269"/>
            <ac:picMk id="80" creationId="{551D1A1F-8194-1744-B2D3-A7C8BA8EC55B}"/>
          </ac:picMkLst>
        </pc:picChg>
        <pc:picChg chg="mod">
          <ac:chgData name="Dan McTavish" userId="3bdd38c9-93c5-470d-b029-59656566a699" providerId="ADAL" clId="{06DD399E-387B-6247-9101-D9256D82257F}" dt="2021-11-30T09:48:10.063" v="92170"/>
          <ac:picMkLst>
            <pc:docMk/>
            <pc:sldMk cId="2625941426" sldId="1448943269"/>
            <ac:picMk id="81" creationId="{D9245753-1458-784D-8667-34953EF77330}"/>
          </ac:picMkLst>
        </pc:picChg>
        <pc:picChg chg="mod">
          <ac:chgData name="Dan McTavish" userId="3bdd38c9-93c5-470d-b029-59656566a699" providerId="ADAL" clId="{06DD399E-387B-6247-9101-D9256D82257F}" dt="2021-11-30T09:48:10.063" v="92170"/>
          <ac:picMkLst>
            <pc:docMk/>
            <pc:sldMk cId="2625941426" sldId="1448943269"/>
            <ac:picMk id="92" creationId="{AAD76E19-E086-654C-9FB2-36CCCF8BD131}"/>
          </ac:picMkLst>
        </pc:picChg>
      </pc:sldChg>
      <pc:sldChg chg="modSp mod">
        <pc:chgData name="Dan McTavish" userId="3bdd38c9-93c5-470d-b029-59656566a699" providerId="ADAL" clId="{06DD399E-387B-6247-9101-D9256D82257F}" dt="2021-11-09T10:51:47.151" v="90392" actId="14734"/>
        <pc:sldMkLst>
          <pc:docMk/>
          <pc:sldMk cId="3817828692" sldId="1448943280"/>
        </pc:sldMkLst>
        <pc:spChg chg="mod">
          <ac:chgData name="Dan McTavish" userId="3bdd38c9-93c5-470d-b029-59656566a699" providerId="ADAL" clId="{06DD399E-387B-6247-9101-D9256D82257F}" dt="2021-11-08T12:24:11.381" v="89966" actId="313"/>
          <ac:spMkLst>
            <pc:docMk/>
            <pc:sldMk cId="3817828692" sldId="1448943280"/>
            <ac:spMk id="15" creationId="{6EAFD683-664F-E24F-B5FE-D615C1502857}"/>
          </ac:spMkLst>
        </pc:spChg>
        <pc:graphicFrameChg chg="mod modGraphic">
          <ac:chgData name="Dan McTavish" userId="3bdd38c9-93c5-470d-b029-59656566a699" providerId="ADAL" clId="{06DD399E-387B-6247-9101-D9256D82257F}" dt="2021-11-09T10:51:47.151" v="90392" actId="14734"/>
          <ac:graphicFrameMkLst>
            <pc:docMk/>
            <pc:sldMk cId="3817828692" sldId="1448943280"/>
            <ac:graphicFrameMk id="30" creationId="{C2565C73-0559-674E-B80E-B6029845EE85}"/>
          </ac:graphicFrameMkLst>
        </pc:graphicFrameChg>
      </pc:sldChg>
      <pc:sldChg chg="modSp mod addCm modCm">
        <pc:chgData name="Dan McTavish" userId="3bdd38c9-93c5-470d-b029-59656566a699" providerId="ADAL" clId="{06DD399E-387B-6247-9101-D9256D82257F}" dt="2021-11-08T11:21:31.320" v="89239"/>
        <pc:sldMkLst>
          <pc:docMk/>
          <pc:sldMk cId="845138846" sldId="1448943328"/>
        </pc:sldMkLst>
        <pc:spChg chg="mod">
          <ac:chgData name="Dan McTavish" userId="3bdd38c9-93c5-470d-b029-59656566a699" providerId="ADAL" clId="{06DD399E-387B-6247-9101-D9256D82257F}" dt="2021-11-08T11:05:07.950" v="89212" actId="20577"/>
          <ac:spMkLst>
            <pc:docMk/>
            <pc:sldMk cId="845138846" sldId="1448943328"/>
            <ac:spMk id="4" creationId="{CEF1AEE4-C47F-2A4C-A991-855D708E03B9}"/>
          </ac:spMkLst>
        </pc:spChg>
        <pc:spChg chg="mod">
          <ac:chgData name="Dan McTavish" userId="3bdd38c9-93c5-470d-b029-59656566a699" providerId="ADAL" clId="{06DD399E-387B-6247-9101-D9256D82257F}" dt="2021-11-08T11:06:34.416" v="89218" actId="20577"/>
          <ac:spMkLst>
            <pc:docMk/>
            <pc:sldMk cId="845138846" sldId="1448943328"/>
            <ac:spMk id="57" creationId="{DAA87D0B-B2EE-2342-85E2-2DFC102D09BC}"/>
          </ac:spMkLst>
        </pc:spChg>
      </pc:sldChg>
      <pc:sldChg chg="del">
        <pc:chgData name="Dan McTavish" userId="3bdd38c9-93c5-470d-b029-59656566a699" providerId="ADAL" clId="{06DD399E-387B-6247-9101-D9256D82257F}" dt="2021-09-30T10:28:13.833" v="0" actId="2696"/>
        <pc:sldMkLst>
          <pc:docMk/>
          <pc:sldMk cId="3109345198" sldId="2144446012"/>
        </pc:sldMkLst>
      </pc:sldChg>
      <pc:sldChg chg="addSp delSp modSp mod ord">
        <pc:chgData name="Dan McTavish" userId="3bdd38c9-93c5-470d-b029-59656566a699" providerId="ADAL" clId="{06DD399E-387B-6247-9101-D9256D82257F}" dt="2021-10-06T11:36:41.003" v="21298" actId="20577"/>
        <pc:sldMkLst>
          <pc:docMk/>
          <pc:sldMk cId="993447809" sldId="2144446013"/>
        </pc:sldMkLst>
        <pc:spChg chg="add del mod">
          <ac:chgData name="Dan McTavish" userId="3bdd38c9-93c5-470d-b029-59656566a699" providerId="ADAL" clId="{06DD399E-387B-6247-9101-D9256D82257F}" dt="2021-10-01T09:34:15.706" v="958" actId="20577"/>
          <ac:spMkLst>
            <pc:docMk/>
            <pc:sldMk cId="993447809" sldId="2144446013"/>
            <ac:spMk id="3" creationId="{68D56A75-B0D1-BC48-AD81-66DB185E684D}"/>
          </ac:spMkLst>
        </pc:spChg>
        <pc:spChg chg="add mod">
          <ac:chgData name="Dan McTavish" userId="3bdd38c9-93c5-470d-b029-59656566a699" providerId="ADAL" clId="{06DD399E-387B-6247-9101-D9256D82257F}" dt="2021-09-30T10:45:47.255" v="59" actId="20577"/>
          <ac:spMkLst>
            <pc:docMk/>
            <pc:sldMk cId="993447809" sldId="2144446013"/>
            <ac:spMk id="4" creationId="{CB6050DB-33C7-0C45-8375-8653FB98A908}"/>
          </ac:spMkLst>
        </pc:spChg>
        <pc:spChg chg="mod">
          <ac:chgData name="Dan McTavish" userId="3bdd38c9-93c5-470d-b029-59656566a699" providerId="ADAL" clId="{06DD399E-387B-6247-9101-D9256D82257F}" dt="2021-10-01T08:34:05.159" v="438" actId="1076"/>
          <ac:spMkLst>
            <pc:docMk/>
            <pc:sldMk cId="993447809" sldId="2144446013"/>
            <ac:spMk id="8" creationId="{74F52661-D8DB-7C4B-B4DA-A85B12AA284F}"/>
          </ac:spMkLst>
        </pc:spChg>
        <pc:spChg chg="mod">
          <ac:chgData name="Dan McTavish" userId="3bdd38c9-93c5-470d-b029-59656566a699" providerId="ADAL" clId="{06DD399E-387B-6247-9101-D9256D82257F}" dt="2021-09-30T10:43:42.902" v="8" actId="108"/>
          <ac:spMkLst>
            <pc:docMk/>
            <pc:sldMk cId="993447809" sldId="2144446013"/>
            <ac:spMk id="10" creationId="{3A822F33-0154-4A48-B879-F58BE7A6737B}"/>
          </ac:spMkLst>
        </pc:spChg>
        <pc:spChg chg="mod">
          <ac:chgData name="Dan McTavish" userId="3bdd38c9-93c5-470d-b029-59656566a699" providerId="ADAL" clId="{06DD399E-387B-6247-9101-D9256D82257F}" dt="2021-09-30T10:43:45.593" v="9" actId="108"/>
          <ac:spMkLst>
            <pc:docMk/>
            <pc:sldMk cId="993447809" sldId="2144446013"/>
            <ac:spMk id="11" creationId="{ACE5F096-5399-ED42-B13D-8F30A24BF277}"/>
          </ac:spMkLst>
        </pc:spChg>
        <pc:spChg chg="mod">
          <ac:chgData name="Dan McTavish" userId="3bdd38c9-93c5-470d-b029-59656566a699" providerId="ADAL" clId="{06DD399E-387B-6247-9101-D9256D82257F}" dt="2021-09-30T10:44:05.729" v="14" actId="255"/>
          <ac:spMkLst>
            <pc:docMk/>
            <pc:sldMk cId="993447809" sldId="2144446013"/>
            <ac:spMk id="12" creationId="{077D3C6B-C258-334C-8FE2-9DEA361E30F1}"/>
          </ac:spMkLst>
        </pc:spChg>
        <pc:spChg chg="mod">
          <ac:chgData name="Dan McTavish" userId="3bdd38c9-93c5-470d-b029-59656566a699" providerId="ADAL" clId="{06DD399E-387B-6247-9101-D9256D82257F}" dt="2021-09-30T10:43:48.061" v="10" actId="108"/>
          <ac:spMkLst>
            <pc:docMk/>
            <pc:sldMk cId="993447809" sldId="2144446013"/>
            <ac:spMk id="13" creationId="{22A25F0E-87DC-8E42-900C-437A6A2FD624}"/>
          </ac:spMkLst>
        </pc:spChg>
        <pc:spChg chg="add mod">
          <ac:chgData name="Dan McTavish" userId="3bdd38c9-93c5-470d-b029-59656566a699" providerId="ADAL" clId="{06DD399E-387B-6247-9101-D9256D82257F}" dt="2021-09-30T10:43:11.247" v="4" actId="1076"/>
          <ac:spMkLst>
            <pc:docMk/>
            <pc:sldMk cId="993447809" sldId="2144446013"/>
            <ac:spMk id="15" creationId="{ECED6212-45B8-644D-813C-A206887433CD}"/>
          </ac:spMkLst>
        </pc:spChg>
        <pc:spChg chg="add mod">
          <ac:chgData name="Dan McTavish" userId="3bdd38c9-93c5-470d-b029-59656566a699" providerId="ADAL" clId="{06DD399E-387B-6247-9101-D9256D82257F}" dt="2021-09-30T10:44:14.065" v="16" actId="1076"/>
          <ac:spMkLst>
            <pc:docMk/>
            <pc:sldMk cId="993447809" sldId="2144446013"/>
            <ac:spMk id="16" creationId="{BCF3C969-3CC9-9E46-9A07-70BCB03E1153}"/>
          </ac:spMkLst>
        </pc:spChg>
        <pc:spChg chg="add mod">
          <ac:chgData name="Dan McTavish" userId="3bdd38c9-93c5-470d-b029-59656566a699" providerId="ADAL" clId="{06DD399E-387B-6247-9101-D9256D82257F}" dt="2021-09-30T10:44:18.082" v="18" actId="1076"/>
          <ac:spMkLst>
            <pc:docMk/>
            <pc:sldMk cId="993447809" sldId="2144446013"/>
            <ac:spMk id="17" creationId="{32A8E403-2269-2446-9438-D9942593262D}"/>
          </ac:spMkLst>
        </pc:spChg>
        <pc:spChg chg="add mod">
          <ac:chgData name="Dan McTavish" userId="3bdd38c9-93c5-470d-b029-59656566a699" providerId="ADAL" clId="{06DD399E-387B-6247-9101-D9256D82257F}" dt="2021-09-30T10:44:22.387" v="20" actId="1076"/>
          <ac:spMkLst>
            <pc:docMk/>
            <pc:sldMk cId="993447809" sldId="2144446013"/>
            <ac:spMk id="18" creationId="{B6B34E05-3F13-934D-B8A0-2B9D1CE9C29B}"/>
          </ac:spMkLst>
        </pc:spChg>
        <pc:spChg chg="add mod">
          <ac:chgData name="Dan McTavish" userId="3bdd38c9-93c5-470d-b029-59656566a699" providerId="ADAL" clId="{06DD399E-387B-6247-9101-D9256D82257F}" dt="2021-09-30T10:44:26.384" v="22" actId="1076"/>
          <ac:spMkLst>
            <pc:docMk/>
            <pc:sldMk cId="993447809" sldId="2144446013"/>
            <ac:spMk id="19" creationId="{179EE631-00BF-7443-B95E-DD4A90FB785A}"/>
          </ac:spMkLst>
        </pc:spChg>
        <pc:spChg chg="add mod">
          <ac:chgData name="Dan McTavish" userId="3bdd38c9-93c5-470d-b029-59656566a699" providerId="ADAL" clId="{06DD399E-387B-6247-9101-D9256D82257F}" dt="2021-10-01T08:34:08.051" v="439" actId="1076"/>
          <ac:spMkLst>
            <pc:docMk/>
            <pc:sldMk cId="993447809" sldId="2144446013"/>
            <ac:spMk id="20" creationId="{E5A07BA3-12D3-3D49-8262-45A04389F9C3}"/>
          </ac:spMkLst>
        </pc:spChg>
        <pc:spChg chg="add mod">
          <ac:chgData name="Dan McTavish" userId="3bdd38c9-93c5-470d-b029-59656566a699" providerId="ADAL" clId="{06DD399E-387B-6247-9101-D9256D82257F}" dt="2021-09-30T10:46:32.207" v="94" actId="207"/>
          <ac:spMkLst>
            <pc:docMk/>
            <pc:sldMk cId="993447809" sldId="2144446013"/>
            <ac:spMk id="21" creationId="{02076C0F-8777-9D45-9A91-40C3B4DDA443}"/>
          </ac:spMkLst>
        </pc:spChg>
        <pc:spChg chg="add mod">
          <ac:chgData name="Dan McTavish" userId="3bdd38c9-93c5-470d-b029-59656566a699" providerId="ADAL" clId="{06DD399E-387B-6247-9101-D9256D82257F}" dt="2021-09-30T10:45:59.133" v="60" actId="207"/>
          <ac:spMkLst>
            <pc:docMk/>
            <pc:sldMk cId="993447809" sldId="2144446013"/>
            <ac:spMk id="22" creationId="{B41A2664-9E4F-7648-84F3-5D8DD95E9CD7}"/>
          </ac:spMkLst>
        </pc:spChg>
        <pc:spChg chg="add mod">
          <ac:chgData name="Dan McTavish" userId="3bdd38c9-93c5-470d-b029-59656566a699" providerId="ADAL" clId="{06DD399E-387B-6247-9101-D9256D82257F}" dt="2021-09-30T10:45:12.077" v="39" actId="1076"/>
          <ac:spMkLst>
            <pc:docMk/>
            <pc:sldMk cId="993447809" sldId="2144446013"/>
            <ac:spMk id="23" creationId="{1165E1EA-1895-2A41-94B8-4074DF382D71}"/>
          </ac:spMkLst>
        </pc:spChg>
        <pc:spChg chg="add del mod">
          <ac:chgData name="Dan McTavish" userId="3bdd38c9-93c5-470d-b029-59656566a699" providerId="ADAL" clId="{06DD399E-387B-6247-9101-D9256D82257F}" dt="2021-09-30T10:46:15.576" v="80" actId="478"/>
          <ac:spMkLst>
            <pc:docMk/>
            <pc:sldMk cId="993447809" sldId="2144446013"/>
            <ac:spMk id="24" creationId="{758C239B-A45A-E040-8E38-F20BA05C79A9}"/>
          </ac:spMkLst>
        </pc:spChg>
        <pc:spChg chg="add mod">
          <ac:chgData name="Dan McTavish" userId="3bdd38c9-93c5-470d-b029-59656566a699" providerId="ADAL" clId="{06DD399E-387B-6247-9101-D9256D82257F}" dt="2021-09-30T10:46:12.218" v="79" actId="20577"/>
          <ac:spMkLst>
            <pc:docMk/>
            <pc:sldMk cId="993447809" sldId="2144446013"/>
            <ac:spMk id="25" creationId="{C7B34AFE-8649-D540-9944-4DADF9EAFE6A}"/>
          </ac:spMkLst>
        </pc:spChg>
        <pc:spChg chg="add mod">
          <ac:chgData name="Dan McTavish" userId="3bdd38c9-93c5-470d-b029-59656566a699" providerId="ADAL" clId="{06DD399E-387B-6247-9101-D9256D82257F}" dt="2021-09-30T10:46:38.490" v="95" actId="1076"/>
          <ac:spMkLst>
            <pc:docMk/>
            <pc:sldMk cId="993447809" sldId="2144446013"/>
            <ac:spMk id="26" creationId="{AF6A9AA9-DDFD-EC46-8388-42E0F9E0DA1E}"/>
          </ac:spMkLst>
        </pc:spChg>
        <pc:spChg chg="add mod">
          <ac:chgData name="Dan McTavish" userId="3bdd38c9-93c5-470d-b029-59656566a699" providerId="ADAL" clId="{06DD399E-387B-6247-9101-D9256D82257F}" dt="2021-09-30T10:46:57.719" v="103" actId="1076"/>
          <ac:spMkLst>
            <pc:docMk/>
            <pc:sldMk cId="993447809" sldId="2144446013"/>
            <ac:spMk id="27" creationId="{EE053AFC-AEA6-3849-9D90-5D904307E7D5}"/>
          </ac:spMkLst>
        </pc:spChg>
        <pc:spChg chg="add del mod">
          <ac:chgData name="Dan McTavish" userId="3bdd38c9-93c5-470d-b029-59656566a699" providerId="ADAL" clId="{06DD399E-387B-6247-9101-D9256D82257F}" dt="2021-10-01T09:34:10.224" v="955"/>
          <ac:spMkLst>
            <pc:docMk/>
            <pc:sldMk cId="993447809" sldId="2144446013"/>
            <ac:spMk id="28" creationId="{0E50A86E-2845-464F-95B8-58DDB2A4832E}"/>
          </ac:spMkLst>
        </pc:spChg>
        <pc:graphicFrameChg chg="modGraphic">
          <ac:chgData name="Dan McTavish" userId="3bdd38c9-93c5-470d-b029-59656566a699" providerId="ADAL" clId="{06DD399E-387B-6247-9101-D9256D82257F}" dt="2021-10-06T11:36:41.003" v="21298" actId="20577"/>
          <ac:graphicFrameMkLst>
            <pc:docMk/>
            <pc:sldMk cId="993447809" sldId="2144446013"/>
            <ac:graphicFrameMk id="7" creationId="{CB7DD5B3-C5B2-F043-BBFA-72D1B09FF385}"/>
          </ac:graphicFrameMkLst>
        </pc:graphicFrameChg>
      </pc:sldChg>
      <pc:sldChg chg="addSp modSp mod">
        <pc:chgData name="Dan McTavish" userId="3bdd38c9-93c5-470d-b029-59656566a699" providerId="ADAL" clId="{06DD399E-387B-6247-9101-D9256D82257F}" dt="2021-10-20T08:01:14.586" v="72357" actId="14100"/>
        <pc:sldMkLst>
          <pc:docMk/>
          <pc:sldMk cId="1210744131" sldId="2144446014"/>
        </pc:sldMkLst>
        <pc:spChg chg="mod">
          <ac:chgData name="Dan McTavish" userId="3bdd38c9-93c5-470d-b029-59656566a699" providerId="ADAL" clId="{06DD399E-387B-6247-9101-D9256D82257F}" dt="2021-10-06T10:28:53.508" v="20812" actId="20577"/>
          <ac:spMkLst>
            <pc:docMk/>
            <pc:sldMk cId="1210744131" sldId="2144446014"/>
            <ac:spMk id="2" creationId="{B9020E60-1107-8F40-9258-14E5FEFB2DDF}"/>
          </ac:spMkLst>
        </pc:spChg>
        <pc:spChg chg="mod">
          <ac:chgData name="Dan McTavish" userId="3bdd38c9-93c5-470d-b029-59656566a699" providerId="ADAL" clId="{06DD399E-387B-6247-9101-D9256D82257F}" dt="2021-10-01T09:34:38.386" v="966" actId="20577"/>
          <ac:spMkLst>
            <pc:docMk/>
            <pc:sldMk cId="1210744131" sldId="2144446014"/>
            <ac:spMk id="3" creationId="{B4416187-55A8-794E-8E67-F7ECCE9A4DCE}"/>
          </ac:spMkLst>
        </pc:spChg>
        <pc:spChg chg="add mod">
          <ac:chgData name="Dan McTavish" userId="3bdd38c9-93c5-470d-b029-59656566a699" providerId="ADAL" clId="{06DD399E-387B-6247-9101-D9256D82257F}" dt="2021-10-19T12:20:54.765" v="68127" actId="20577"/>
          <ac:spMkLst>
            <pc:docMk/>
            <pc:sldMk cId="1210744131" sldId="2144446014"/>
            <ac:spMk id="6" creationId="{4501F07F-4AC1-E140-9B30-6A140386C95B}"/>
          </ac:spMkLst>
        </pc:spChg>
        <pc:graphicFrameChg chg="mod modGraphic">
          <ac:chgData name="Dan McTavish" userId="3bdd38c9-93c5-470d-b029-59656566a699" providerId="ADAL" clId="{06DD399E-387B-6247-9101-D9256D82257F}" dt="2021-10-20T08:01:14.586" v="72357" actId="14100"/>
          <ac:graphicFrameMkLst>
            <pc:docMk/>
            <pc:sldMk cId="1210744131" sldId="2144446014"/>
            <ac:graphicFrameMk id="5" creationId="{1A0B9CD7-0475-994F-98D0-15B039F92B1F}"/>
          </ac:graphicFrameMkLst>
        </pc:graphicFrameChg>
      </pc:sldChg>
      <pc:sldChg chg="addSp delSp modSp new del mod modClrScheme chgLayout">
        <pc:chgData name="Dan McTavish" userId="3bdd38c9-93c5-470d-b029-59656566a699" providerId="ADAL" clId="{06DD399E-387B-6247-9101-D9256D82257F}" dt="2021-10-01T09:57:36.698" v="1179" actId="2696"/>
        <pc:sldMkLst>
          <pc:docMk/>
          <pc:sldMk cId="2491756981" sldId="2144446015"/>
        </pc:sldMkLst>
        <pc:spChg chg="mod ord">
          <ac:chgData name="Dan McTavish" userId="3bdd38c9-93c5-470d-b029-59656566a699" providerId="ADAL" clId="{06DD399E-387B-6247-9101-D9256D82257F}" dt="2021-09-30T11:37:43.273" v="108" actId="700"/>
          <ac:spMkLst>
            <pc:docMk/>
            <pc:sldMk cId="2491756981" sldId="2144446015"/>
            <ac:spMk id="2" creationId="{6D0265E7-EA61-CC42-A205-6D31E2E5488E}"/>
          </ac:spMkLst>
        </pc:spChg>
        <pc:spChg chg="mod ord">
          <ac:chgData name="Dan McTavish" userId="3bdd38c9-93c5-470d-b029-59656566a699" providerId="ADAL" clId="{06DD399E-387B-6247-9101-D9256D82257F}" dt="2021-10-01T09:05:10.160" v="492" actId="20577"/>
          <ac:spMkLst>
            <pc:docMk/>
            <pc:sldMk cId="2491756981" sldId="2144446015"/>
            <ac:spMk id="3" creationId="{1796BDD5-6CEA-304C-83E9-81D9604D41E3}"/>
          </ac:spMkLst>
        </pc:spChg>
        <pc:spChg chg="mod ord">
          <ac:chgData name="Dan McTavish" userId="3bdd38c9-93c5-470d-b029-59656566a699" providerId="ADAL" clId="{06DD399E-387B-6247-9101-D9256D82257F}" dt="2021-10-01T09:18:35.493" v="888" actId="20577"/>
          <ac:spMkLst>
            <pc:docMk/>
            <pc:sldMk cId="2491756981" sldId="2144446015"/>
            <ac:spMk id="4" creationId="{1054145B-22B3-E940-8EE9-5A9483F76489}"/>
          </ac:spMkLst>
        </pc:spChg>
        <pc:spChg chg="add mod ord">
          <ac:chgData name="Dan McTavish" userId="3bdd38c9-93c5-470d-b029-59656566a699" providerId="ADAL" clId="{06DD399E-387B-6247-9101-D9256D82257F}" dt="2021-09-30T11:37:43.273" v="108" actId="700"/>
          <ac:spMkLst>
            <pc:docMk/>
            <pc:sldMk cId="2491756981" sldId="2144446015"/>
            <ac:spMk id="5" creationId="{38817C26-031D-204D-916B-E27ED72D7997}"/>
          </ac:spMkLst>
        </pc:spChg>
        <pc:spChg chg="add del mod">
          <ac:chgData name="Dan McTavish" userId="3bdd38c9-93c5-470d-b029-59656566a699" providerId="ADAL" clId="{06DD399E-387B-6247-9101-D9256D82257F}" dt="2021-09-30T11:54:39.363" v="409" actId="478"/>
          <ac:spMkLst>
            <pc:docMk/>
            <pc:sldMk cId="2491756981" sldId="2144446015"/>
            <ac:spMk id="8" creationId="{4370EF39-57D3-5941-96FF-EF90BE4072E1}"/>
          </ac:spMkLst>
        </pc:spChg>
        <pc:spChg chg="add del mod">
          <ac:chgData name="Dan McTavish" userId="3bdd38c9-93c5-470d-b029-59656566a699" providerId="ADAL" clId="{06DD399E-387B-6247-9101-D9256D82257F}" dt="2021-09-30T11:57:04.813" v="415" actId="478"/>
          <ac:spMkLst>
            <pc:docMk/>
            <pc:sldMk cId="2491756981" sldId="2144446015"/>
            <ac:spMk id="9" creationId="{CFA5C908-1914-6342-A57A-A385001CA724}"/>
          </ac:spMkLst>
        </pc:spChg>
        <pc:spChg chg="add del mod">
          <ac:chgData name="Dan McTavish" userId="3bdd38c9-93c5-470d-b029-59656566a699" providerId="ADAL" clId="{06DD399E-387B-6247-9101-D9256D82257F}" dt="2021-10-01T09:02:03.951" v="489" actId="478"/>
          <ac:spMkLst>
            <pc:docMk/>
            <pc:sldMk cId="2491756981" sldId="2144446015"/>
            <ac:spMk id="10" creationId="{80AC87AD-6F92-0D4C-B5B7-F49EACD81F7F}"/>
          </ac:spMkLst>
        </pc:spChg>
        <pc:spChg chg="add mod">
          <ac:chgData name="Dan McTavish" userId="3bdd38c9-93c5-470d-b029-59656566a699" providerId="ADAL" clId="{06DD399E-387B-6247-9101-D9256D82257F}" dt="2021-10-01T09:06:46.576" v="560" actId="20577"/>
          <ac:spMkLst>
            <pc:docMk/>
            <pc:sldMk cId="2491756981" sldId="2144446015"/>
            <ac:spMk id="11" creationId="{DB6C1237-CB90-AE46-9A7B-2BBEFCDEFA3F}"/>
          </ac:spMkLst>
        </pc:spChg>
        <pc:graphicFrameChg chg="add del mod">
          <ac:chgData name="Dan McTavish" userId="3bdd38c9-93c5-470d-b029-59656566a699" providerId="ADAL" clId="{06DD399E-387B-6247-9101-D9256D82257F}" dt="2021-09-30T11:42:15.467" v="255" actId="478"/>
          <ac:graphicFrameMkLst>
            <pc:docMk/>
            <pc:sldMk cId="2491756981" sldId="2144446015"/>
            <ac:graphicFrameMk id="6" creationId="{6847114E-E6FE-CE47-BEFB-C961F19393F3}"/>
          </ac:graphicFrameMkLst>
        </pc:graphicFrameChg>
        <pc:graphicFrameChg chg="add del mod modGraphic">
          <ac:chgData name="Dan McTavish" userId="3bdd38c9-93c5-470d-b029-59656566a699" providerId="ADAL" clId="{06DD399E-387B-6247-9101-D9256D82257F}" dt="2021-09-30T11:42:12.885" v="254" actId="478"/>
          <ac:graphicFrameMkLst>
            <pc:docMk/>
            <pc:sldMk cId="2491756981" sldId="2144446015"/>
            <ac:graphicFrameMk id="7" creationId="{15C7FA12-564C-5F4F-8700-73E15B3A325D}"/>
          </ac:graphicFrameMkLst>
        </pc:graphicFrameChg>
      </pc:sldChg>
      <pc:sldChg chg="modSp add del mod">
        <pc:chgData name="Dan McTavish" userId="3bdd38c9-93c5-470d-b029-59656566a699" providerId="ADAL" clId="{06DD399E-387B-6247-9101-D9256D82257F}" dt="2021-10-01T09:34:43.549" v="967" actId="2696"/>
        <pc:sldMkLst>
          <pc:docMk/>
          <pc:sldMk cId="517739975" sldId="2144446016"/>
        </pc:sldMkLst>
        <pc:spChg chg="mod">
          <ac:chgData name="Dan McTavish" userId="3bdd38c9-93c5-470d-b029-59656566a699" providerId="ADAL" clId="{06DD399E-387B-6247-9101-D9256D82257F}" dt="2021-09-30T17:32:26.414" v="429" actId="20577"/>
          <ac:spMkLst>
            <pc:docMk/>
            <pc:sldMk cId="517739975" sldId="2144446016"/>
            <ac:spMk id="3" creationId="{C1BB5793-4C94-4D12-B4A8-8748F8E439D6}"/>
          </ac:spMkLst>
        </pc:spChg>
        <pc:spChg chg="mod">
          <ac:chgData name="Dan McTavish" userId="3bdd38c9-93c5-470d-b029-59656566a699" providerId="ADAL" clId="{06DD399E-387B-6247-9101-D9256D82257F}" dt="2021-09-30T17:32:45.230" v="434" actId="20577"/>
          <ac:spMkLst>
            <pc:docMk/>
            <pc:sldMk cId="517739975" sldId="2144446016"/>
            <ac:spMk id="4" creationId="{4597E275-1B0A-C140-9D49-CC80904CE771}"/>
          </ac:spMkLst>
        </pc:spChg>
      </pc:sldChg>
      <pc:sldChg chg="add del">
        <pc:chgData name="Dan McTavish" userId="3bdd38c9-93c5-470d-b029-59656566a699" providerId="ADAL" clId="{06DD399E-387B-6247-9101-D9256D82257F}" dt="2021-10-01T09:34:43.962" v="968" actId="2696"/>
        <pc:sldMkLst>
          <pc:docMk/>
          <pc:sldMk cId="1446046791" sldId="2144446017"/>
        </pc:sldMkLst>
      </pc:sldChg>
      <pc:sldChg chg="add del">
        <pc:chgData name="Dan McTavish" userId="3bdd38c9-93c5-470d-b029-59656566a699" providerId="ADAL" clId="{06DD399E-387B-6247-9101-D9256D82257F}" dt="2021-10-01T09:34:44.336" v="969" actId="2696"/>
        <pc:sldMkLst>
          <pc:docMk/>
          <pc:sldMk cId="880442009" sldId="2144446018"/>
        </pc:sldMkLst>
      </pc:sldChg>
      <pc:sldChg chg="add del">
        <pc:chgData name="Dan McTavish" userId="3bdd38c9-93c5-470d-b029-59656566a699" providerId="ADAL" clId="{06DD399E-387B-6247-9101-D9256D82257F}" dt="2021-10-01T09:34:44.751" v="970" actId="2696"/>
        <pc:sldMkLst>
          <pc:docMk/>
          <pc:sldMk cId="4181351718" sldId="2144446019"/>
        </pc:sldMkLst>
      </pc:sldChg>
      <pc:sldChg chg="addSp delSp modSp new del mod ord addCm delCm">
        <pc:chgData name="Dan McTavish" userId="3bdd38c9-93c5-470d-b029-59656566a699" providerId="ADAL" clId="{06DD399E-387B-6247-9101-D9256D82257F}" dt="2021-10-07T14:22:21.704" v="30260" actId="2696"/>
        <pc:sldMkLst>
          <pc:docMk/>
          <pc:sldMk cId="3762447713" sldId="2144446020"/>
        </pc:sldMkLst>
        <pc:spChg chg="del mod">
          <ac:chgData name="Dan McTavish" userId="3bdd38c9-93c5-470d-b029-59656566a699" providerId="ADAL" clId="{06DD399E-387B-6247-9101-D9256D82257F}" dt="2021-10-01T08:57:33.070" v="443" actId="478"/>
          <ac:spMkLst>
            <pc:docMk/>
            <pc:sldMk cId="3762447713" sldId="2144446020"/>
            <ac:spMk id="2" creationId="{2E1FFEC8-CC89-9741-939E-5C73E0908916}"/>
          </ac:spMkLst>
        </pc:spChg>
        <pc:spChg chg="add mod">
          <ac:chgData name="Dan McTavish" userId="3bdd38c9-93c5-470d-b029-59656566a699" providerId="ADAL" clId="{06DD399E-387B-6247-9101-D9256D82257F}" dt="2021-10-06T10:26:25.059" v="20773" actId="1076"/>
          <ac:spMkLst>
            <pc:docMk/>
            <pc:sldMk cId="3762447713" sldId="2144446020"/>
            <ac:spMk id="2" creationId="{5C1976D7-57CC-A046-A5D5-465BE452893F}"/>
          </ac:spMkLst>
        </pc:spChg>
        <pc:spChg chg="mod">
          <ac:chgData name="Dan McTavish" userId="3bdd38c9-93c5-470d-b029-59656566a699" providerId="ADAL" clId="{06DD399E-387B-6247-9101-D9256D82257F}" dt="2021-10-01T08:59:06.391" v="457"/>
          <ac:spMkLst>
            <pc:docMk/>
            <pc:sldMk cId="3762447713" sldId="2144446020"/>
            <ac:spMk id="3" creationId="{9727F235-D435-AC40-9012-B1AFF6D2161F}"/>
          </ac:spMkLst>
        </pc:spChg>
        <pc:spChg chg="del">
          <ac:chgData name="Dan McTavish" userId="3bdd38c9-93c5-470d-b029-59656566a699" providerId="ADAL" clId="{06DD399E-387B-6247-9101-D9256D82257F}" dt="2021-10-01T09:19:02.434" v="893" actId="478"/>
          <ac:spMkLst>
            <pc:docMk/>
            <pc:sldMk cId="3762447713" sldId="2144446020"/>
            <ac:spMk id="4" creationId="{6141FC17-B146-EF46-B5EC-994945C5B5AD}"/>
          </ac:spMkLst>
        </pc:spChg>
        <pc:spChg chg="add del mod">
          <ac:chgData name="Dan McTavish" userId="3bdd38c9-93c5-470d-b029-59656566a699" providerId="ADAL" clId="{06DD399E-387B-6247-9101-D9256D82257F}" dt="2021-10-01T09:34:34.494" v="964" actId="20577"/>
          <ac:spMkLst>
            <pc:docMk/>
            <pc:sldMk cId="3762447713" sldId="2144446020"/>
            <ac:spMk id="5" creationId="{E01DC938-C4A5-8740-A6FF-914B6074CE62}"/>
          </ac:spMkLst>
        </pc:spChg>
        <pc:spChg chg="add mod">
          <ac:chgData name="Dan McTavish" userId="3bdd38c9-93c5-470d-b029-59656566a699" providerId="ADAL" clId="{06DD399E-387B-6247-9101-D9256D82257F}" dt="2021-10-01T09:27:52.089" v="932" actId="1076"/>
          <ac:spMkLst>
            <pc:docMk/>
            <pc:sldMk cId="3762447713" sldId="2144446020"/>
            <ac:spMk id="8" creationId="{638D8710-524F-E548-BE2D-31091AAAA5FC}"/>
          </ac:spMkLst>
        </pc:spChg>
        <pc:spChg chg="add mod">
          <ac:chgData name="Dan McTavish" userId="3bdd38c9-93c5-470d-b029-59656566a699" providerId="ADAL" clId="{06DD399E-387B-6247-9101-D9256D82257F}" dt="2021-10-01T09:28:56.525" v="933"/>
          <ac:spMkLst>
            <pc:docMk/>
            <pc:sldMk cId="3762447713" sldId="2144446020"/>
            <ac:spMk id="9" creationId="{6202E203-05F8-2845-9744-864BE43297F8}"/>
          </ac:spMkLst>
        </pc:spChg>
        <pc:spChg chg="add del mod">
          <ac:chgData name="Dan McTavish" userId="3bdd38c9-93c5-470d-b029-59656566a699" providerId="ADAL" clId="{06DD399E-387B-6247-9101-D9256D82257F}" dt="2021-10-07T14:15:15.626" v="30186" actId="478"/>
          <ac:spMkLst>
            <pc:docMk/>
            <pc:sldMk cId="3762447713" sldId="2144446020"/>
            <ac:spMk id="10" creationId="{75869530-141A-1A4C-A99D-02D2593AF49B}"/>
          </ac:spMkLst>
        </pc:spChg>
        <pc:spChg chg="add del mod">
          <ac:chgData name="Dan McTavish" userId="3bdd38c9-93c5-470d-b029-59656566a699" providerId="ADAL" clId="{06DD399E-387B-6247-9101-D9256D82257F}" dt="2021-10-01T09:34:29.864" v="961"/>
          <ac:spMkLst>
            <pc:docMk/>
            <pc:sldMk cId="3762447713" sldId="2144446020"/>
            <ac:spMk id="11" creationId="{73034847-D6CA-1F45-AADE-8CC043FEB7C3}"/>
          </ac:spMkLst>
        </pc:spChg>
        <pc:spChg chg="add del mod">
          <ac:chgData name="Dan McTavish" userId="3bdd38c9-93c5-470d-b029-59656566a699" providerId="ADAL" clId="{06DD399E-387B-6247-9101-D9256D82257F}" dt="2021-10-07T14:15:14.234" v="30185" actId="478"/>
          <ac:spMkLst>
            <pc:docMk/>
            <pc:sldMk cId="3762447713" sldId="2144446020"/>
            <ac:spMk id="12" creationId="{0EF27AD5-C1FD-B746-9CD9-A190EBCE9318}"/>
          </ac:spMkLst>
        </pc:spChg>
        <pc:spChg chg="add del mod">
          <ac:chgData name="Dan McTavish" userId="3bdd38c9-93c5-470d-b029-59656566a699" providerId="ADAL" clId="{06DD399E-387B-6247-9101-D9256D82257F}" dt="2021-10-07T14:15:07.291" v="30180" actId="478"/>
          <ac:spMkLst>
            <pc:docMk/>
            <pc:sldMk cId="3762447713" sldId="2144446020"/>
            <ac:spMk id="13" creationId="{1A5757B5-438A-3E4D-A756-E61B16C564C5}"/>
          </ac:spMkLst>
        </pc:spChg>
        <pc:spChg chg="add del mod">
          <ac:chgData name="Dan McTavish" userId="3bdd38c9-93c5-470d-b029-59656566a699" providerId="ADAL" clId="{06DD399E-387B-6247-9101-D9256D82257F}" dt="2021-10-07T14:15:12.730" v="30184" actId="478"/>
          <ac:spMkLst>
            <pc:docMk/>
            <pc:sldMk cId="3762447713" sldId="2144446020"/>
            <ac:spMk id="14" creationId="{E973EEFB-A164-3443-AD74-6F9C71E4AE36}"/>
          </ac:spMkLst>
        </pc:spChg>
        <pc:spChg chg="add del mod">
          <ac:chgData name="Dan McTavish" userId="3bdd38c9-93c5-470d-b029-59656566a699" providerId="ADAL" clId="{06DD399E-387B-6247-9101-D9256D82257F}" dt="2021-10-07T14:10:28.113" v="30167" actId="478"/>
          <ac:spMkLst>
            <pc:docMk/>
            <pc:sldMk cId="3762447713" sldId="2144446020"/>
            <ac:spMk id="15" creationId="{89367897-708C-434E-B63C-D1AA66B59D48}"/>
          </ac:spMkLst>
        </pc:spChg>
        <pc:spChg chg="add del mod">
          <ac:chgData name="Dan McTavish" userId="3bdd38c9-93c5-470d-b029-59656566a699" providerId="ADAL" clId="{06DD399E-387B-6247-9101-D9256D82257F}" dt="2021-10-07T14:15:10.678" v="30183" actId="478"/>
          <ac:spMkLst>
            <pc:docMk/>
            <pc:sldMk cId="3762447713" sldId="2144446020"/>
            <ac:spMk id="16" creationId="{02E8C3DE-1B76-E94D-9B89-2E46846710D4}"/>
          </ac:spMkLst>
        </pc:spChg>
        <pc:spChg chg="add del mod">
          <ac:chgData name="Dan McTavish" userId="3bdd38c9-93c5-470d-b029-59656566a699" providerId="ADAL" clId="{06DD399E-387B-6247-9101-D9256D82257F}" dt="2021-10-07T14:15:19.741" v="30188" actId="478"/>
          <ac:spMkLst>
            <pc:docMk/>
            <pc:sldMk cId="3762447713" sldId="2144446020"/>
            <ac:spMk id="17" creationId="{368CD5D2-EB08-314B-AAF7-EE0F682C66D5}"/>
          </ac:spMkLst>
        </pc:spChg>
        <pc:spChg chg="add del mod">
          <ac:chgData name="Dan McTavish" userId="3bdd38c9-93c5-470d-b029-59656566a699" providerId="ADAL" clId="{06DD399E-387B-6247-9101-D9256D82257F}" dt="2021-10-07T14:15:18.399" v="30187" actId="478"/>
          <ac:spMkLst>
            <pc:docMk/>
            <pc:sldMk cId="3762447713" sldId="2144446020"/>
            <ac:spMk id="18" creationId="{5222C53B-8786-4D48-9230-432CB7157E9F}"/>
          </ac:spMkLst>
        </pc:spChg>
        <pc:spChg chg="add del mod">
          <ac:chgData name="Dan McTavish" userId="3bdd38c9-93c5-470d-b029-59656566a699" providerId="ADAL" clId="{06DD399E-387B-6247-9101-D9256D82257F}" dt="2021-10-07T14:11:32.346" v="30176" actId="478"/>
          <ac:spMkLst>
            <pc:docMk/>
            <pc:sldMk cId="3762447713" sldId="2144446020"/>
            <ac:spMk id="19" creationId="{0C25703F-2CC0-124C-B8BE-C9866A99E167}"/>
          </ac:spMkLst>
        </pc:spChg>
        <pc:spChg chg="add del mod">
          <ac:chgData name="Dan McTavish" userId="3bdd38c9-93c5-470d-b029-59656566a699" providerId="ADAL" clId="{06DD399E-387B-6247-9101-D9256D82257F}" dt="2021-10-07T14:11:34.821" v="30177" actId="478"/>
          <ac:spMkLst>
            <pc:docMk/>
            <pc:sldMk cId="3762447713" sldId="2144446020"/>
            <ac:spMk id="20" creationId="{5FCC57EA-2516-1444-9AF0-636BE51E81E6}"/>
          </ac:spMkLst>
        </pc:spChg>
        <pc:spChg chg="add del mod">
          <ac:chgData name="Dan McTavish" userId="3bdd38c9-93c5-470d-b029-59656566a699" providerId="ADAL" clId="{06DD399E-387B-6247-9101-D9256D82257F}" dt="2021-10-07T12:44:05.687" v="27955" actId="478"/>
          <ac:spMkLst>
            <pc:docMk/>
            <pc:sldMk cId="3762447713" sldId="2144446020"/>
            <ac:spMk id="26" creationId="{9CEF05B5-7A05-7B47-94DB-3B3B52D6485F}"/>
          </ac:spMkLst>
        </pc:spChg>
        <pc:spChg chg="add del mod">
          <ac:chgData name="Dan McTavish" userId="3bdd38c9-93c5-470d-b029-59656566a699" providerId="ADAL" clId="{06DD399E-387B-6247-9101-D9256D82257F}" dt="2021-10-07T12:43:25.335" v="27939" actId="767"/>
          <ac:spMkLst>
            <pc:docMk/>
            <pc:sldMk cId="3762447713" sldId="2144446020"/>
            <ac:spMk id="27" creationId="{CF90F6D1-33A5-5E48-835F-FDE73B7D8144}"/>
          </ac:spMkLst>
        </pc:spChg>
        <pc:spChg chg="add del mod">
          <ac:chgData name="Dan McTavish" userId="3bdd38c9-93c5-470d-b029-59656566a699" providerId="ADAL" clId="{06DD399E-387B-6247-9101-D9256D82257F}" dt="2021-10-07T12:49:33.453" v="27977" actId="478"/>
          <ac:spMkLst>
            <pc:docMk/>
            <pc:sldMk cId="3762447713" sldId="2144446020"/>
            <ac:spMk id="28" creationId="{A4128AEB-5570-A54A-8174-1B34821E51E3}"/>
          </ac:spMkLst>
        </pc:spChg>
        <pc:spChg chg="add del mod">
          <ac:chgData name="Dan McTavish" userId="3bdd38c9-93c5-470d-b029-59656566a699" providerId="ADAL" clId="{06DD399E-387B-6247-9101-D9256D82257F}" dt="2021-10-07T12:49:37.855" v="27978" actId="478"/>
          <ac:spMkLst>
            <pc:docMk/>
            <pc:sldMk cId="3762447713" sldId="2144446020"/>
            <ac:spMk id="29" creationId="{27C91F76-D497-9C4A-AEFE-8A45A9055442}"/>
          </ac:spMkLst>
        </pc:spChg>
        <pc:spChg chg="add del mod">
          <ac:chgData name="Dan McTavish" userId="3bdd38c9-93c5-470d-b029-59656566a699" providerId="ADAL" clId="{06DD399E-387B-6247-9101-D9256D82257F}" dt="2021-10-07T14:15:08.246" v="30181" actId="478"/>
          <ac:spMkLst>
            <pc:docMk/>
            <pc:sldMk cId="3762447713" sldId="2144446020"/>
            <ac:spMk id="31" creationId="{A0E1AC89-DCDB-5B4C-A645-848A9AE8B4E8}"/>
          </ac:spMkLst>
        </pc:spChg>
        <pc:graphicFrameChg chg="add mod modGraphic">
          <ac:chgData name="Dan McTavish" userId="3bdd38c9-93c5-470d-b029-59656566a699" providerId="ADAL" clId="{06DD399E-387B-6247-9101-D9256D82257F}" dt="2021-10-07T12:57:18.765" v="28622" actId="14734"/>
          <ac:graphicFrameMkLst>
            <pc:docMk/>
            <pc:sldMk cId="3762447713" sldId="2144446020"/>
            <ac:graphicFrameMk id="6" creationId="{6F702D48-9599-724C-B5B3-CF659D19C36A}"/>
          </ac:graphicFrameMkLst>
        </pc:graphicFrameChg>
        <pc:picChg chg="add del mod">
          <ac:chgData name="Dan McTavish" userId="3bdd38c9-93c5-470d-b029-59656566a699" providerId="ADAL" clId="{06DD399E-387B-6247-9101-D9256D82257F}" dt="2021-10-07T11:44:35.305" v="26947" actId="478"/>
          <ac:picMkLst>
            <pc:docMk/>
            <pc:sldMk cId="3762447713" sldId="2144446020"/>
            <ac:picMk id="7" creationId="{99927EFD-263C-8A42-8E65-2570A9DD0E3A}"/>
          </ac:picMkLst>
        </pc:picChg>
        <pc:picChg chg="add del mod">
          <ac:chgData name="Dan McTavish" userId="3bdd38c9-93c5-470d-b029-59656566a699" providerId="ADAL" clId="{06DD399E-387B-6247-9101-D9256D82257F}" dt="2021-10-07T11:44:55.871" v="26954" actId="478"/>
          <ac:picMkLst>
            <pc:docMk/>
            <pc:sldMk cId="3762447713" sldId="2144446020"/>
            <ac:picMk id="11" creationId="{5328CFD4-61B5-2D4E-9378-03580C842B9B}"/>
          </ac:picMkLst>
        </pc:picChg>
        <pc:picChg chg="add del mod">
          <ac:chgData name="Dan McTavish" userId="3bdd38c9-93c5-470d-b029-59656566a699" providerId="ADAL" clId="{06DD399E-387B-6247-9101-D9256D82257F}" dt="2021-10-07T11:44:34.064" v="26946" actId="478"/>
          <ac:picMkLst>
            <pc:docMk/>
            <pc:sldMk cId="3762447713" sldId="2144446020"/>
            <ac:picMk id="21" creationId="{1740A76E-D4A3-1247-AC1F-E77A8D7F3320}"/>
          </ac:picMkLst>
        </pc:picChg>
        <pc:picChg chg="add del mod">
          <ac:chgData name="Dan McTavish" userId="3bdd38c9-93c5-470d-b029-59656566a699" providerId="ADAL" clId="{06DD399E-387B-6247-9101-D9256D82257F}" dt="2021-10-07T11:45:10.523" v="26956" actId="478"/>
          <ac:picMkLst>
            <pc:docMk/>
            <pc:sldMk cId="3762447713" sldId="2144446020"/>
            <ac:picMk id="23" creationId="{4C2C027E-127A-3241-8805-8B7F02C7676D}"/>
          </ac:picMkLst>
        </pc:picChg>
        <pc:picChg chg="add del mod">
          <ac:chgData name="Dan McTavish" userId="3bdd38c9-93c5-470d-b029-59656566a699" providerId="ADAL" clId="{06DD399E-387B-6247-9101-D9256D82257F}" dt="2021-10-07T12:48:55.744" v="27969" actId="478"/>
          <ac:picMkLst>
            <pc:docMk/>
            <pc:sldMk cId="3762447713" sldId="2144446020"/>
            <ac:picMk id="25" creationId="{1C6ECC7E-8D7C-9D44-9B2B-B23D814B8DAF}"/>
          </ac:picMkLst>
        </pc:picChg>
        <pc:picChg chg="add del mod">
          <ac:chgData name="Dan McTavish" userId="3bdd38c9-93c5-470d-b029-59656566a699" providerId="ADAL" clId="{06DD399E-387B-6247-9101-D9256D82257F}" dt="2021-10-07T14:15:05.455" v="30179" actId="478"/>
          <ac:picMkLst>
            <pc:docMk/>
            <pc:sldMk cId="3762447713" sldId="2144446020"/>
            <ac:picMk id="1026" creationId="{40D32668-EADC-7941-B0C9-E190863818AF}"/>
          </ac:picMkLst>
        </pc:picChg>
        <pc:picChg chg="add del mod">
          <ac:chgData name="Dan McTavish" userId="3bdd38c9-93c5-470d-b029-59656566a699" providerId="ADAL" clId="{06DD399E-387B-6247-9101-D9256D82257F}" dt="2021-10-07T14:17:25.645" v="30194" actId="478"/>
          <ac:picMkLst>
            <pc:docMk/>
            <pc:sldMk cId="3762447713" sldId="2144446020"/>
            <ac:picMk id="1028" creationId="{618C4F1B-3868-2545-830F-ED5062939092}"/>
          </ac:picMkLst>
        </pc:picChg>
      </pc:sldChg>
      <pc:sldChg chg="addSp delSp modSp new mod modClrScheme chgLayout">
        <pc:chgData name="Dan McTavish" userId="3bdd38c9-93c5-470d-b029-59656566a699" providerId="ADAL" clId="{06DD399E-387B-6247-9101-D9256D82257F}" dt="2021-11-17T11:12:40.842" v="91464" actId="14734"/>
        <pc:sldMkLst>
          <pc:docMk/>
          <pc:sldMk cId="2500310749" sldId="2144446021"/>
        </pc:sldMkLst>
        <pc:spChg chg="add del mod ord">
          <ac:chgData name="Dan McTavish" userId="3bdd38c9-93c5-470d-b029-59656566a699" providerId="ADAL" clId="{06DD399E-387B-6247-9101-D9256D82257F}" dt="2021-10-01T13:59:36.870" v="1436" actId="20577"/>
          <ac:spMkLst>
            <pc:docMk/>
            <pc:sldMk cId="2500310749" sldId="2144446021"/>
            <ac:spMk id="2" creationId="{23C47170-A357-0540-A812-A0FEC348D32C}"/>
          </ac:spMkLst>
        </pc:spChg>
        <pc:spChg chg="mod ord">
          <ac:chgData name="Dan McTavish" userId="3bdd38c9-93c5-470d-b029-59656566a699" providerId="ADAL" clId="{06DD399E-387B-6247-9101-D9256D82257F}" dt="2021-10-06T10:36:17.061" v="20827" actId="20577"/>
          <ac:spMkLst>
            <pc:docMk/>
            <pc:sldMk cId="2500310749" sldId="2144446021"/>
            <ac:spMk id="3" creationId="{59C052E2-443D-F54E-8E83-B672B85BE63A}"/>
          </ac:spMkLst>
        </pc:spChg>
        <pc:spChg chg="del">
          <ac:chgData name="Dan McTavish" userId="3bdd38c9-93c5-470d-b029-59656566a699" providerId="ADAL" clId="{06DD399E-387B-6247-9101-D9256D82257F}" dt="2021-10-01T13:41:41.236" v="1238" actId="478"/>
          <ac:spMkLst>
            <pc:docMk/>
            <pc:sldMk cId="2500310749" sldId="2144446021"/>
            <ac:spMk id="4" creationId="{C8D71AC3-8F7E-EB4C-914E-CCA964B55589}"/>
          </ac:spMkLst>
        </pc:spChg>
        <pc:spChg chg="add del mod">
          <ac:chgData name="Dan McTavish" userId="3bdd38c9-93c5-470d-b029-59656566a699" providerId="ADAL" clId="{06DD399E-387B-6247-9101-D9256D82257F}" dt="2021-10-01T13:58:27.042" v="1415" actId="478"/>
          <ac:spMkLst>
            <pc:docMk/>
            <pc:sldMk cId="2500310749" sldId="2144446021"/>
            <ac:spMk id="7" creationId="{A0390402-7617-314C-90D5-F1B26286675C}"/>
          </ac:spMkLst>
        </pc:spChg>
        <pc:spChg chg="add del mod">
          <ac:chgData name="Dan McTavish" userId="3bdd38c9-93c5-470d-b029-59656566a699" providerId="ADAL" clId="{06DD399E-387B-6247-9101-D9256D82257F}" dt="2021-10-01T13:58:33.731" v="1422" actId="767"/>
          <ac:spMkLst>
            <pc:docMk/>
            <pc:sldMk cId="2500310749" sldId="2144446021"/>
            <ac:spMk id="8" creationId="{53E37929-3BE0-1343-983D-9F719F061D77}"/>
          </ac:spMkLst>
        </pc:spChg>
        <pc:spChg chg="add del mod">
          <ac:chgData name="Dan McTavish" userId="3bdd38c9-93c5-470d-b029-59656566a699" providerId="ADAL" clId="{06DD399E-387B-6247-9101-D9256D82257F}" dt="2021-10-01T13:58:32.549" v="1418" actId="767"/>
          <ac:spMkLst>
            <pc:docMk/>
            <pc:sldMk cId="2500310749" sldId="2144446021"/>
            <ac:spMk id="9" creationId="{F00B2E5C-BF8C-5F43-89F3-FB2B9A7F1496}"/>
          </ac:spMkLst>
        </pc:spChg>
        <pc:graphicFrameChg chg="add mod modGraphic">
          <ac:chgData name="Dan McTavish" userId="3bdd38c9-93c5-470d-b029-59656566a699" providerId="ADAL" clId="{06DD399E-387B-6247-9101-D9256D82257F}" dt="2021-11-17T11:12:40.842" v="91464" actId="14734"/>
          <ac:graphicFrameMkLst>
            <pc:docMk/>
            <pc:sldMk cId="2500310749" sldId="2144446021"/>
            <ac:graphicFrameMk id="5" creationId="{A1A1E082-93A7-2341-B277-5872BC7FB95B}"/>
          </ac:graphicFrameMkLst>
        </pc:graphicFrameChg>
      </pc:sldChg>
      <pc:sldChg chg="add del">
        <pc:chgData name="Dan McTavish" userId="3bdd38c9-93c5-470d-b029-59656566a699" providerId="ADAL" clId="{06DD399E-387B-6247-9101-D9256D82257F}" dt="2021-10-01T09:34:46.962" v="971" actId="2696"/>
        <pc:sldMkLst>
          <pc:docMk/>
          <pc:sldMk cId="2723445158" sldId="2144446021"/>
        </pc:sldMkLst>
      </pc:sldChg>
      <pc:sldChg chg="addSp delSp modSp new add del mod ord">
        <pc:chgData name="Dan McTavish" userId="3bdd38c9-93c5-470d-b029-59656566a699" providerId="ADAL" clId="{06DD399E-387B-6247-9101-D9256D82257F}" dt="2021-11-08T11:59:10.360" v="89351" actId="20577"/>
        <pc:sldMkLst>
          <pc:docMk/>
          <pc:sldMk cId="2486923475" sldId="2144446022"/>
        </pc:sldMkLst>
        <pc:spChg chg="mod">
          <ac:chgData name="Dan McTavish" userId="3bdd38c9-93c5-470d-b029-59656566a699" providerId="ADAL" clId="{06DD399E-387B-6247-9101-D9256D82257F}" dt="2021-10-07T16:24:00.625" v="32508" actId="20577"/>
          <ac:spMkLst>
            <pc:docMk/>
            <pc:sldMk cId="2486923475" sldId="2144446022"/>
            <ac:spMk id="2" creationId="{B0B31CDD-9A09-ED44-9637-5E22E17CA552}"/>
          </ac:spMkLst>
        </pc:spChg>
        <pc:spChg chg="del">
          <ac:chgData name="Dan McTavish" userId="3bdd38c9-93c5-470d-b029-59656566a699" providerId="ADAL" clId="{06DD399E-387B-6247-9101-D9256D82257F}" dt="2021-10-07T15:10:05.604" v="31069" actId="478"/>
          <ac:spMkLst>
            <pc:docMk/>
            <pc:sldMk cId="2486923475" sldId="2144446022"/>
            <ac:spMk id="4" creationId="{6B8A20BB-6A85-A347-B6FB-C4776CDFAC81}"/>
          </ac:spMkLst>
        </pc:spChg>
        <pc:spChg chg="mod">
          <ac:chgData name="Dan McTavish" userId="3bdd38c9-93c5-470d-b029-59656566a699" providerId="ADAL" clId="{06DD399E-387B-6247-9101-D9256D82257F}" dt="2021-10-29T08:09:25.149" v="89109" actId="20577"/>
          <ac:spMkLst>
            <pc:docMk/>
            <pc:sldMk cId="2486923475" sldId="2144446022"/>
            <ac:spMk id="4" creationId="{C3C5D4DB-FC8D-F049-8FD6-74245F25FE1E}"/>
          </ac:spMkLst>
        </pc:spChg>
        <pc:spChg chg="add mod">
          <ac:chgData name="Dan McTavish" userId="3bdd38c9-93c5-470d-b029-59656566a699" providerId="ADAL" clId="{06DD399E-387B-6247-9101-D9256D82257F}" dt="2021-10-07T16:23:29.454" v="32494" actId="1037"/>
          <ac:spMkLst>
            <pc:docMk/>
            <pc:sldMk cId="2486923475" sldId="2144446022"/>
            <ac:spMk id="6" creationId="{8D8F87FB-E709-7647-9B9D-7BF193576E96}"/>
          </ac:spMkLst>
        </pc:spChg>
        <pc:spChg chg="add mod">
          <ac:chgData name="Dan McTavish" userId="3bdd38c9-93c5-470d-b029-59656566a699" providerId="ADAL" clId="{06DD399E-387B-6247-9101-D9256D82257F}" dt="2021-10-07T16:23:29.454" v="32494" actId="1037"/>
          <ac:spMkLst>
            <pc:docMk/>
            <pc:sldMk cId="2486923475" sldId="2144446022"/>
            <ac:spMk id="7" creationId="{87954775-B6EF-A848-8925-17523ED53008}"/>
          </ac:spMkLst>
        </pc:spChg>
        <pc:spChg chg="add mod">
          <ac:chgData name="Dan McTavish" userId="3bdd38c9-93c5-470d-b029-59656566a699" providerId="ADAL" clId="{06DD399E-387B-6247-9101-D9256D82257F}" dt="2021-10-07T16:23:29.454" v="32494" actId="1037"/>
          <ac:spMkLst>
            <pc:docMk/>
            <pc:sldMk cId="2486923475" sldId="2144446022"/>
            <ac:spMk id="9" creationId="{23B5D5BB-6B2A-E642-B3D5-48A3BA103EA0}"/>
          </ac:spMkLst>
        </pc:spChg>
        <pc:spChg chg="add del mod">
          <ac:chgData name="Dan McTavish" userId="3bdd38c9-93c5-470d-b029-59656566a699" providerId="ADAL" clId="{06DD399E-387B-6247-9101-D9256D82257F}" dt="2021-10-07T15:13:32.352" v="31122" actId="478"/>
          <ac:spMkLst>
            <pc:docMk/>
            <pc:sldMk cId="2486923475" sldId="2144446022"/>
            <ac:spMk id="10" creationId="{41024EC0-DC5D-AA47-B448-C56F491534D9}"/>
          </ac:spMkLst>
        </pc:spChg>
        <pc:spChg chg="add mod">
          <ac:chgData name="Dan McTavish" userId="3bdd38c9-93c5-470d-b029-59656566a699" providerId="ADAL" clId="{06DD399E-387B-6247-9101-D9256D82257F}" dt="2021-10-07T16:23:29.454" v="32494" actId="1037"/>
          <ac:spMkLst>
            <pc:docMk/>
            <pc:sldMk cId="2486923475" sldId="2144446022"/>
            <ac:spMk id="12" creationId="{9DE339CA-0DBC-484F-BE97-D06ED03E10A4}"/>
          </ac:spMkLst>
        </pc:spChg>
        <pc:spChg chg="add del mod">
          <ac:chgData name="Dan McTavish" userId="3bdd38c9-93c5-470d-b029-59656566a699" providerId="ADAL" clId="{06DD399E-387B-6247-9101-D9256D82257F}" dt="2021-10-07T15:59:12.304" v="31697" actId="478"/>
          <ac:spMkLst>
            <pc:docMk/>
            <pc:sldMk cId="2486923475" sldId="2144446022"/>
            <ac:spMk id="14" creationId="{094DB6C9-30E9-7940-A979-74A72C3E0ACA}"/>
          </ac:spMkLst>
        </pc:spChg>
        <pc:spChg chg="add del mod">
          <ac:chgData name="Dan McTavish" userId="3bdd38c9-93c5-470d-b029-59656566a699" providerId="ADAL" clId="{06DD399E-387B-6247-9101-D9256D82257F}" dt="2021-10-07T14:53:26.524" v="30646" actId="478"/>
          <ac:spMkLst>
            <pc:docMk/>
            <pc:sldMk cId="2486923475" sldId="2144446022"/>
            <ac:spMk id="16" creationId="{F379CFAC-18D6-D043-BA3B-F9659D298A19}"/>
          </ac:spMkLst>
        </pc:spChg>
        <pc:spChg chg="add del mod">
          <ac:chgData name="Dan McTavish" userId="3bdd38c9-93c5-470d-b029-59656566a699" providerId="ADAL" clId="{06DD399E-387B-6247-9101-D9256D82257F}" dt="2021-10-07T15:15:47.777" v="31168" actId="478"/>
          <ac:spMkLst>
            <pc:docMk/>
            <pc:sldMk cId="2486923475" sldId="2144446022"/>
            <ac:spMk id="18" creationId="{11E0C6C3-8DA7-CF4F-A4BF-D177246D23C1}"/>
          </ac:spMkLst>
        </pc:spChg>
        <pc:spChg chg="add del mod">
          <ac:chgData name="Dan McTavish" userId="3bdd38c9-93c5-470d-b029-59656566a699" providerId="ADAL" clId="{06DD399E-387B-6247-9101-D9256D82257F}" dt="2021-10-07T14:53:58.084" v="30647" actId="478"/>
          <ac:spMkLst>
            <pc:docMk/>
            <pc:sldMk cId="2486923475" sldId="2144446022"/>
            <ac:spMk id="24" creationId="{9CF34807-79FF-A54F-B781-FB3CD8333D5A}"/>
          </ac:spMkLst>
        </pc:spChg>
        <pc:spChg chg="add del mod">
          <ac:chgData name="Dan McTavish" userId="3bdd38c9-93c5-470d-b029-59656566a699" providerId="ADAL" clId="{06DD399E-387B-6247-9101-D9256D82257F}" dt="2021-10-07T14:49:00.537" v="30593" actId="478"/>
          <ac:spMkLst>
            <pc:docMk/>
            <pc:sldMk cId="2486923475" sldId="2144446022"/>
            <ac:spMk id="25" creationId="{91662CC6-9C77-AE45-A084-78D268A04F12}"/>
          </ac:spMkLst>
        </pc:spChg>
        <pc:spChg chg="add mod">
          <ac:chgData name="Dan McTavish" userId="3bdd38c9-93c5-470d-b029-59656566a699" providerId="ADAL" clId="{06DD399E-387B-6247-9101-D9256D82257F}" dt="2021-10-07T16:23:29.454" v="32494" actId="1037"/>
          <ac:spMkLst>
            <pc:docMk/>
            <pc:sldMk cId="2486923475" sldId="2144446022"/>
            <ac:spMk id="26" creationId="{D59D3885-45B2-6744-A9A4-1A411CEA3A2A}"/>
          </ac:spMkLst>
        </pc:spChg>
        <pc:spChg chg="add mod">
          <ac:chgData name="Dan McTavish" userId="3bdd38c9-93c5-470d-b029-59656566a699" providerId="ADAL" clId="{06DD399E-387B-6247-9101-D9256D82257F}" dt="2021-10-07T16:23:29.454" v="32494" actId="1037"/>
          <ac:spMkLst>
            <pc:docMk/>
            <pc:sldMk cId="2486923475" sldId="2144446022"/>
            <ac:spMk id="29" creationId="{42F6B156-CB64-6D40-B178-C43BB9761915}"/>
          </ac:spMkLst>
        </pc:spChg>
        <pc:spChg chg="add del mod">
          <ac:chgData name="Dan McTavish" userId="3bdd38c9-93c5-470d-b029-59656566a699" providerId="ADAL" clId="{06DD399E-387B-6247-9101-D9256D82257F}" dt="2021-10-07T15:16:27.048" v="31175" actId="478"/>
          <ac:spMkLst>
            <pc:docMk/>
            <pc:sldMk cId="2486923475" sldId="2144446022"/>
            <ac:spMk id="32" creationId="{AE264706-24AA-204A-9013-46EAA74F8F1E}"/>
          </ac:spMkLst>
        </pc:spChg>
        <pc:spChg chg="add del mod">
          <ac:chgData name="Dan McTavish" userId="3bdd38c9-93c5-470d-b029-59656566a699" providerId="ADAL" clId="{06DD399E-387B-6247-9101-D9256D82257F}" dt="2021-10-07T15:17:50.171" v="31181"/>
          <ac:spMkLst>
            <pc:docMk/>
            <pc:sldMk cId="2486923475" sldId="2144446022"/>
            <ac:spMk id="33" creationId="{031E299B-7C19-A345-A2C1-115926D2749F}"/>
          </ac:spMkLst>
        </pc:spChg>
        <pc:spChg chg="add del mod">
          <ac:chgData name="Dan McTavish" userId="3bdd38c9-93c5-470d-b029-59656566a699" providerId="ADAL" clId="{06DD399E-387B-6247-9101-D9256D82257F}" dt="2021-10-07T15:16:31.198" v="31176" actId="478"/>
          <ac:spMkLst>
            <pc:docMk/>
            <pc:sldMk cId="2486923475" sldId="2144446022"/>
            <ac:spMk id="35" creationId="{465B8330-5BF3-D240-86D6-432376C7C830}"/>
          </ac:spMkLst>
        </pc:spChg>
        <pc:spChg chg="add del mod">
          <ac:chgData name="Dan McTavish" userId="3bdd38c9-93c5-470d-b029-59656566a699" providerId="ADAL" clId="{06DD399E-387B-6247-9101-D9256D82257F}" dt="2021-10-07T15:16:33.886" v="31177" actId="478"/>
          <ac:spMkLst>
            <pc:docMk/>
            <pc:sldMk cId="2486923475" sldId="2144446022"/>
            <ac:spMk id="36" creationId="{70C438B6-286F-004F-81AE-890A4BA69DF5}"/>
          </ac:spMkLst>
        </pc:spChg>
        <pc:spChg chg="add del mod">
          <ac:chgData name="Dan McTavish" userId="3bdd38c9-93c5-470d-b029-59656566a699" providerId="ADAL" clId="{06DD399E-387B-6247-9101-D9256D82257F}" dt="2021-10-07T15:15:30.263" v="31148" actId="478"/>
          <ac:spMkLst>
            <pc:docMk/>
            <pc:sldMk cId="2486923475" sldId="2144446022"/>
            <ac:spMk id="37" creationId="{6AA267F4-D365-714C-9772-89DE2C77CD10}"/>
          </ac:spMkLst>
        </pc:spChg>
        <pc:spChg chg="add mod">
          <ac:chgData name="Dan McTavish" userId="3bdd38c9-93c5-470d-b029-59656566a699" providerId="ADAL" clId="{06DD399E-387B-6247-9101-D9256D82257F}" dt="2021-10-07T16:23:29.454" v="32494" actId="1037"/>
          <ac:spMkLst>
            <pc:docMk/>
            <pc:sldMk cId="2486923475" sldId="2144446022"/>
            <ac:spMk id="38" creationId="{89AEDD87-3A41-BE45-BAB4-7308DB9B8E28}"/>
          </ac:spMkLst>
        </pc:spChg>
        <pc:spChg chg="add mod">
          <ac:chgData name="Dan McTavish" userId="3bdd38c9-93c5-470d-b029-59656566a699" providerId="ADAL" clId="{06DD399E-387B-6247-9101-D9256D82257F}" dt="2021-10-07T16:23:29.454" v="32494" actId="1037"/>
          <ac:spMkLst>
            <pc:docMk/>
            <pc:sldMk cId="2486923475" sldId="2144446022"/>
            <ac:spMk id="39" creationId="{C0261730-120E-D844-BBA1-627CC6FA3C1A}"/>
          </ac:spMkLst>
        </pc:spChg>
        <pc:spChg chg="add del mod">
          <ac:chgData name="Dan McTavish" userId="3bdd38c9-93c5-470d-b029-59656566a699" providerId="ADAL" clId="{06DD399E-387B-6247-9101-D9256D82257F}" dt="2021-10-07T15:16:35.628" v="31178" actId="478"/>
          <ac:spMkLst>
            <pc:docMk/>
            <pc:sldMk cId="2486923475" sldId="2144446022"/>
            <ac:spMk id="40" creationId="{80FFE32E-DAF8-B04A-844E-6261C4D26EA2}"/>
          </ac:spMkLst>
        </pc:spChg>
        <pc:spChg chg="add del mod">
          <ac:chgData name="Dan McTavish" userId="3bdd38c9-93c5-470d-b029-59656566a699" providerId="ADAL" clId="{06DD399E-387B-6247-9101-D9256D82257F}" dt="2021-10-07T14:48:58.744" v="30592" actId="478"/>
          <ac:spMkLst>
            <pc:docMk/>
            <pc:sldMk cId="2486923475" sldId="2144446022"/>
            <ac:spMk id="42" creationId="{F87A6D10-4575-BE46-AA2A-9C0EE53F5C09}"/>
          </ac:spMkLst>
        </pc:spChg>
        <pc:spChg chg="add del mod">
          <ac:chgData name="Dan McTavish" userId="3bdd38c9-93c5-470d-b029-59656566a699" providerId="ADAL" clId="{06DD399E-387B-6247-9101-D9256D82257F}" dt="2021-10-07T16:23:29.454" v="32494" actId="1037"/>
          <ac:spMkLst>
            <pc:docMk/>
            <pc:sldMk cId="2486923475" sldId="2144446022"/>
            <ac:spMk id="46" creationId="{7E49C800-D679-A144-B8D7-44F67AFEB8EE}"/>
          </ac:spMkLst>
        </pc:spChg>
        <pc:spChg chg="add del mod">
          <ac:chgData name="Dan McTavish" userId="3bdd38c9-93c5-470d-b029-59656566a699" providerId="ADAL" clId="{06DD399E-387B-6247-9101-D9256D82257F}" dt="2021-10-07T16:23:29.454" v="32494" actId="1037"/>
          <ac:spMkLst>
            <pc:docMk/>
            <pc:sldMk cId="2486923475" sldId="2144446022"/>
            <ac:spMk id="47" creationId="{86933884-1FAF-F441-BDFF-FDA9802B8085}"/>
          </ac:spMkLst>
        </pc:spChg>
        <pc:spChg chg="add del mod">
          <ac:chgData name="Dan McTavish" userId="3bdd38c9-93c5-470d-b029-59656566a699" providerId="ADAL" clId="{06DD399E-387B-6247-9101-D9256D82257F}" dt="2021-10-07T16:23:29.454" v="32494" actId="1037"/>
          <ac:spMkLst>
            <pc:docMk/>
            <pc:sldMk cId="2486923475" sldId="2144446022"/>
            <ac:spMk id="48" creationId="{18D912B0-2459-3A4E-BB42-0F7E4E7FAC08}"/>
          </ac:spMkLst>
        </pc:spChg>
        <pc:spChg chg="add del mod">
          <ac:chgData name="Dan McTavish" userId="3bdd38c9-93c5-470d-b029-59656566a699" providerId="ADAL" clId="{06DD399E-387B-6247-9101-D9256D82257F}" dt="2021-10-07T15:51:34.412" v="31494" actId="478"/>
          <ac:spMkLst>
            <pc:docMk/>
            <pc:sldMk cId="2486923475" sldId="2144446022"/>
            <ac:spMk id="49" creationId="{537B7F8A-20C8-5C41-BEA9-C76E087EA449}"/>
          </ac:spMkLst>
        </pc:spChg>
        <pc:spChg chg="add del mod">
          <ac:chgData name="Dan McTavish" userId="3bdd38c9-93c5-470d-b029-59656566a699" providerId="ADAL" clId="{06DD399E-387B-6247-9101-D9256D82257F}" dt="2021-10-07T15:26:52.970" v="31397" actId="478"/>
          <ac:spMkLst>
            <pc:docMk/>
            <pc:sldMk cId="2486923475" sldId="2144446022"/>
            <ac:spMk id="50" creationId="{7A7302FD-6D5E-4E49-BC1A-B0208D9AF8E9}"/>
          </ac:spMkLst>
        </pc:spChg>
        <pc:spChg chg="add del mod">
          <ac:chgData name="Dan McTavish" userId="3bdd38c9-93c5-470d-b029-59656566a699" providerId="ADAL" clId="{06DD399E-387B-6247-9101-D9256D82257F}" dt="2021-10-07T15:51:35.495" v="31495" actId="478"/>
          <ac:spMkLst>
            <pc:docMk/>
            <pc:sldMk cId="2486923475" sldId="2144446022"/>
            <ac:spMk id="51" creationId="{8F4D33D4-9807-E949-8143-1ADC7AD56C2B}"/>
          </ac:spMkLst>
        </pc:spChg>
        <pc:spChg chg="add del mod">
          <ac:chgData name="Dan McTavish" userId="3bdd38c9-93c5-470d-b029-59656566a699" providerId="ADAL" clId="{06DD399E-387B-6247-9101-D9256D82257F}" dt="2021-10-07T15:51:36.578" v="31496" actId="478"/>
          <ac:spMkLst>
            <pc:docMk/>
            <pc:sldMk cId="2486923475" sldId="2144446022"/>
            <ac:spMk id="52" creationId="{99926E79-1072-0146-AD26-04ED8DDFD888}"/>
          </ac:spMkLst>
        </pc:spChg>
        <pc:spChg chg="add del mod">
          <ac:chgData name="Dan McTavish" userId="3bdd38c9-93c5-470d-b029-59656566a699" providerId="ADAL" clId="{06DD399E-387B-6247-9101-D9256D82257F}" dt="2021-10-07T15:51:37.501" v="31497" actId="478"/>
          <ac:spMkLst>
            <pc:docMk/>
            <pc:sldMk cId="2486923475" sldId="2144446022"/>
            <ac:spMk id="53" creationId="{4B63EC65-53A3-0B46-ACBB-6D07A4949316}"/>
          </ac:spMkLst>
        </pc:spChg>
        <pc:spChg chg="add del mod">
          <ac:chgData name="Dan McTavish" userId="3bdd38c9-93c5-470d-b029-59656566a699" providerId="ADAL" clId="{06DD399E-387B-6247-9101-D9256D82257F}" dt="2021-10-07T15:27:51.994" v="31419" actId="478"/>
          <ac:spMkLst>
            <pc:docMk/>
            <pc:sldMk cId="2486923475" sldId="2144446022"/>
            <ac:spMk id="54" creationId="{2D63DE61-0282-0740-87D6-E9910A4CBEE5}"/>
          </ac:spMkLst>
        </pc:spChg>
        <pc:spChg chg="add del mod">
          <ac:chgData name="Dan McTavish" userId="3bdd38c9-93c5-470d-b029-59656566a699" providerId="ADAL" clId="{06DD399E-387B-6247-9101-D9256D82257F}" dt="2021-10-07T15:51:38.878" v="31498" actId="478"/>
          <ac:spMkLst>
            <pc:docMk/>
            <pc:sldMk cId="2486923475" sldId="2144446022"/>
            <ac:spMk id="55" creationId="{51AE643A-1949-864B-A6EE-6528E7313620}"/>
          </ac:spMkLst>
        </pc:spChg>
        <pc:spChg chg="add del mod">
          <ac:chgData name="Dan McTavish" userId="3bdd38c9-93c5-470d-b029-59656566a699" providerId="ADAL" clId="{06DD399E-387B-6247-9101-D9256D82257F}" dt="2021-10-07T15:51:40.290" v="31499" actId="478"/>
          <ac:spMkLst>
            <pc:docMk/>
            <pc:sldMk cId="2486923475" sldId="2144446022"/>
            <ac:spMk id="56" creationId="{D684A94B-09CE-D54A-A958-D9DB6720FAEA}"/>
          </ac:spMkLst>
        </pc:spChg>
        <pc:spChg chg="add del mod">
          <ac:chgData name="Dan McTavish" userId="3bdd38c9-93c5-470d-b029-59656566a699" providerId="ADAL" clId="{06DD399E-387B-6247-9101-D9256D82257F}" dt="2021-10-07T16:23:29.454" v="32494" actId="1037"/>
          <ac:spMkLst>
            <pc:docMk/>
            <pc:sldMk cId="2486923475" sldId="2144446022"/>
            <ac:spMk id="57" creationId="{2BAD90A0-1BC1-CD43-9C41-95030C9A8045}"/>
          </ac:spMkLst>
        </pc:spChg>
        <pc:spChg chg="add del mod">
          <ac:chgData name="Dan McTavish" userId="3bdd38c9-93c5-470d-b029-59656566a699" providerId="ADAL" clId="{06DD399E-387B-6247-9101-D9256D82257F}" dt="2021-10-07T15:51:51.081" v="31502" actId="478"/>
          <ac:spMkLst>
            <pc:docMk/>
            <pc:sldMk cId="2486923475" sldId="2144446022"/>
            <ac:spMk id="58" creationId="{AB83E421-40D6-F049-A0C5-CB581214C945}"/>
          </ac:spMkLst>
        </pc:spChg>
        <pc:spChg chg="add mod">
          <ac:chgData name="Dan McTavish" userId="3bdd38c9-93c5-470d-b029-59656566a699" providerId="ADAL" clId="{06DD399E-387B-6247-9101-D9256D82257F}" dt="2021-11-08T11:59:10.360" v="89351" actId="20577"/>
          <ac:spMkLst>
            <pc:docMk/>
            <pc:sldMk cId="2486923475" sldId="2144446022"/>
            <ac:spMk id="59" creationId="{C09C62D9-B4F2-C744-A7D6-652634F97D02}"/>
          </ac:spMkLst>
        </pc:spChg>
        <pc:spChg chg="add del mod">
          <ac:chgData name="Dan McTavish" userId="3bdd38c9-93c5-470d-b029-59656566a699" providerId="ADAL" clId="{06DD399E-387B-6247-9101-D9256D82257F}" dt="2021-10-07T16:01:10.336" v="31729" actId="478"/>
          <ac:spMkLst>
            <pc:docMk/>
            <pc:sldMk cId="2486923475" sldId="2144446022"/>
            <ac:spMk id="60" creationId="{B6A3CBF0-DAE8-864A-B1B4-464361C6A5D7}"/>
          </ac:spMkLst>
        </pc:spChg>
        <pc:spChg chg="add del mod">
          <ac:chgData name="Dan McTavish" userId="3bdd38c9-93c5-470d-b029-59656566a699" providerId="ADAL" clId="{06DD399E-387B-6247-9101-D9256D82257F}" dt="2021-10-07T16:01:12.663" v="31730" actId="478"/>
          <ac:spMkLst>
            <pc:docMk/>
            <pc:sldMk cId="2486923475" sldId="2144446022"/>
            <ac:spMk id="61" creationId="{EF891E19-F1B9-CE42-809B-8B68FF5A470C}"/>
          </ac:spMkLst>
        </pc:spChg>
        <pc:spChg chg="add del mod">
          <ac:chgData name="Dan McTavish" userId="3bdd38c9-93c5-470d-b029-59656566a699" providerId="ADAL" clId="{06DD399E-387B-6247-9101-D9256D82257F}" dt="2021-10-07T16:01:13.925" v="31731" actId="478"/>
          <ac:spMkLst>
            <pc:docMk/>
            <pc:sldMk cId="2486923475" sldId="2144446022"/>
            <ac:spMk id="62" creationId="{50CF1D54-46F6-DA42-BC89-5BB390326A3B}"/>
          </ac:spMkLst>
        </pc:spChg>
        <pc:spChg chg="add del mod">
          <ac:chgData name="Dan McTavish" userId="3bdd38c9-93c5-470d-b029-59656566a699" providerId="ADAL" clId="{06DD399E-387B-6247-9101-D9256D82257F}" dt="2021-10-07T16:01:15.737" v="31732" actId="478"/>
          <ac:spMkLst>
            <pc:docMk/>
            <pc:sldMk cId="2486923475" sldId="2144446022"/>
            <ac:spMk id="63" creationId="{01A4FE31-B67D-9041-AD1F-EAAD0A75399C}"/>
          </ac:spMkLst>
        </pc:spChg>
        <pc:spChg chg="add del mod">
          <ac:chgData name="Dan McTavish" userId="3bdd38c9-93c5-470d-b029-59656566a699" providerId="ADAL" clId="{06DD399E-387B-6247-9101-D9256D82257F}" dt="2021-10-07T16:01:17.693" v="31733" actId="478"/>
          <ac:spMkLst>
            <pc:docMk/>
            <pc:sldMk cId="2486923475" sldId="2144446022"/>
            <ac:spMk id="64" creationId="{8FEFEFE1-07A5-DB41-A895-E53DCE75CAB3}"/>
          </ac:spMkLst>
        </pc:spChg>
        <pc:spChg chg="add del mod">
          <ac:chgData name="Dan McTavish" userId="3bdd38c9-93c5-470d-b029-59656566a699" providerId="ADAL" clId="{06DD399E-387B-6247-9101-D9256D82257F}" dt="2021-10-07T16:05:03.410" v="31833" actId="478"/>
          <ac:spMkLst>
            <pc:docMk/>
            <pc:sldMk cId="2486923475" sldId="2144446022"/>
            <ac:spMk id="67" creationId="{4E36DF69-4EEE-5446-879E-FF5196384A7F}"/>
          </ac:spMkLst>
        </pc:spChg>
        <pc:spChg chg="add mod">
          <ac:chgData name="Dan McTavish" userId="3bdd38c9-93c5-470d-b029-59656566a699" providerId="ADAL" clId="{06DD399E-387B-6247-9101-D9256D82257F}" dt="2021-10-07T16:23:29.454" v="32494" actId="1037"/>
          <ac:spMkLst>
            <pc:docMk/>
            <pc:sldMk cId="2486923475" sldId="2144446022"/>
            <ac:spMk id="69" creationId="{7A0573A5-2839-DD4B-9FE6-73EF49776B68}"/>
          </ac:spMkLst>
        </pc:spChg>
        <pc:spChg chg="add mod">
          <ac:chgData name="Dan McTavish" userId="3bdd38c9-93c5-470d-b029-59656566a699" providerId="ADAL" clId="{06DD399E-387B-6247-9101-D9256D82257F}" dt="2021-10-07T16:23:29.454" v="32494" actId="1037"/>
          <ac:spMkLst>
            <pc:docMk/>
            <pc:sldMk cId="2486923475" sldId="2144446022"/>
            <ac:spMk id="70" creationId="{B3F10585-EBD0-F34A-ACA5-E2633E838377}"/>
          </ac:spMkLst>
        </pc:spChg>
        <pc:spChg chg="add del mod">
          <ac:chgData name="Dan McTavish" userId="3bdd38c9-93c5-470d-b029-59656566a699" providerId="ADAL" clId="{06DD399E-387B-6247-9101-D9256D82257F}" dt="2021-10-07T16:20:15.214" v="32414" actId="478"/>
          <ac:spMkLst>
            <pc:docMk/>
            <pc:sldMk cId="2486923475" sldId="2144446022"/>
            <ac:spMk id="71" creationId="{D58AFE5C-D782-7347-9403-E6D1A9F7EF64}"/>
          </ac:spMkLst>
        </pc:spChg>
        <pc:cxnChg chg="add del mod">
          <ac:chgData name="Dan McTavish" userId="3bdd38c9-93c5-470d-b029-59656566a699" providerId="ADAL" clId="{06DD399E-387B-6247-9101-D9256D82257F}" dt="2021-10-03T09:39:12.709" v="7804" actId="478"/>
          <ac:cxnSpMkLst>
            <pc:docMk/>
            <pc:sldMk cId="2486923475" sldId="2144446022"/>
            <ac:cxnSpMk id="5" creationId="{9E439825-72D8-BE4F-830C-CDAB2D9EA9F0}"/>
          </ac:cxnSpMkLst>
        </pc:cxnChg>
        <pc:cxnChg chg="add del mod">
          <ac:chgData name="Dan McTavish" userId="3bdd38c9-93c5-470d-b029-59656566a699" providerId="ADAL" clId="{06DD399E-387B-6247-9101-D9256D82257F}" dt="2021-10-03T09:37:11.339" v="7638" actId="478"/>
          <ac:cxnSpMkLst>
            <pc:docMk/>
            <pc:sldMk cId="2486923475" sldId="2144446022"/>
            <ac:cxnSpMk id="8" creationId="{A64B31AE-C3C7-A647-942A-7BE30CEE700E}"/>
          </ac:cxnSpMkLst>
        </pc:cxnChg>
        <pc:cxnChg chg="add del mod">
          <ac:chgData name="Dan McTavish" userId="3bdd38c9-93c5-470d-b029-59656566a699" providerId="ADAL" clId="{06DD399E-387B-6247-9101-D9256D82257F}" dt="2021-10-03T09:39:15.349" v="7805" actId="478"/>
          <ac:cxnSpMkLst>
            <pc:docMk/>
            <pc:sldMk cId="2486923475" sldId="2144446022"/>
            <ac:cxnSpMk id="11" creationId="{8BC4F084-50AD-A145-ABD7-76B3F16D1815}"/>
          </ac:cxnSpMkLst>
        </pc:cxnChg>
        <pc:cxnChg chg="add mod">
          <ac:chgData name="Dan McTavish" userId="3bdd38c9-93c5-470d-b029-59656566a699" providerId="ADAL" clId="{06DD399E-387B-6247-9101-D9256D82257F}" dt="2021-10-07T16:23:29.454" v="32494" actId="1037"/>
          <ac:cxnSpMkLst>
            <pc:docMk/>
            <pc:sldMk cId="2486923475" sldId="2144446022"/>
            <ac:cxnSpMk id="13" creationId="{3ACF3DD1-BE24-1F42-827E-0E6296CCC761}"/>
          </ac:cxnSpMkLst>
        </pc:cxnChg>
        <pc:cxnChg chg="add del mod">
          <ac:chgData name="Dan McTavish" userId="3bdd38c9-93c5-470d-b029-59656566a699" providerId="ADAL" clId="{06DD399E-387B-6247-9101-D9256D82257F}" dt="2021-10-07T16:03:52.109" v="31816" actId="478"/>
          <ac:cxnSpMkLst>
            <pc:docMk/>
            <pc:sldMk cId="2486923475" sldId="2144446022"/>
            <ac:cxnSpMk id="15" creationId="{569D81B2-0612-4B4D-BD05-1B54CA925FAE}"/>
          </ac:cxnSpMkLst>
        </pc:cxnChg>
        <pc:cxnChg chg="add mod">
          <ac:chgData name="Dan McTavish" userId="3bdd38c9-93c5-470d-b029-59656566a699" providerId="ADAL" clId="{06DD399E-387B-6247-9101-D9256D82257F}" dt="2021-10-07T16:23:29.454" v="32494" actId="1037"/>
          <ac:cxnSpMkLst>
            <pc:docMk/>
            <pc:sldMk cId="2486923475" sldId="2144446022"/>
            <ac:cxnSpMk id="17" creationId="{765C31A8-CA7D-CC42-A673-C306082F3980}"/>
          </ac:cxnSpMkLst>
        </pc:cxnChg>
        <pc:cxnChg chg="add del mod">
          <ac:chgData name="Dan McTavish" userId="3bdd38c9-93c5-470d-b029-59656566a699" providerId="ADAL" clId="{06DD399E-387B-6247-9101-D9256D82257F}" dt="2021-10-03T09:41:57.100" v="7977" actId="478"/>
          <ac:cxnSpMkLst>
            <pc:docMk/>
            <pc:sldMk cId="2486923475" sldId="2144446022"/>
            <ac:cxnSpMk id="19" creationId="{A5797F43-291F-0D42-94D7-53483E83CF72}"/>
          </ac:cxnSpMkLst>
        </pc:cxnChg>
        <pc:cxnChg chg="add del mod">
          <ac:chgData name="Dan McTavish" userId="3bdd38c9-93c5-470d-b029-59656566a699" providerId="ADAL" clId="{06DD399E-387B-6247-9101-D9256D82257F}" dt="2021-10-07T16:07:50.116" v="31947" actId="478"/>
          <ac:cxnSpMkLst>
            <pc:docMk/>
            <pc:sldMk cId="2486923475" sldId="2144446022"/>
            <ac:cxnSpMk id="20" creationId="{8A081DAB-0AEA-9E42-A54B-EBD2F73DE924}"/>
          </ac:cxnSpMkLst>
        </pc:cxnChg>
        <pc:cxnChg chg="add del mod">
          <ac:chgData name="Dan McTavish" userId="3bdd38c9-93c5-470d-b029-59656566a699" providerId="ADAL" clId="{06DD399E-387B-6247-9101-D9256D82257F}" dt="2021-10-18T11:46:49.229" v="65905" actId="14100"/>
          <ac:cxnSpMkLst>
            <pc:docMk/>
            <pc:sldMk cId="2486923475" sldId="2144446022"/>
            <ac:cxnSpMk id="21" creationId="{F7200035-D86F-B742-8AED-1BFAED2D8FFF}"/>
          </ac:cxnSpMkLst>
        </pc:cxnChg>
        <pc:cxnChg chg="add del mod">
          <ac:chgData name="Dan McTavish" userId="3bdd38c9-93c5-470d-b029-59656566a699" providerId="ADAL" clId="{06DD399E-387B-6247-9101-D9256D82257F}" dt="2021-10-18T11:46:29.945" v="65901" actId="1036"/>
          <ac:cxnSpMkLst>
            <pc:docMk/>
            <pc:sldMk cId="2486923475" sldId="2144446022"/>
            <ac:cxnSpMk id="22" creationId="{EEA331FE-9166-2D4C-ADE9-367F859B9188}"/>
          </ac:cxnSpMkLst>
        </pc:cxnChg>
        <pc:cxnChg chg="add del mod">
          <ac:chgData name="Dan McTavish" userId="3bdd38c9-93c5-470d-b029-59656566a699" providerId="ADAL" clId="{06DD399E-387B-6247-9101-D9256D82257F}" dt="2021-10-07T16:00:07.059" v="31714" actId="478"/>
          <ac:cxnSpMkLst>
            <pc:docMk/>
            <pc:sldMk cId="2486923475" sldId="2144446022"/>
            <ac:cxnSpMk id="23" creationId="{F56BBDF6-0F0E-654A-A315-6DD9970C02BC}"/>
          </ac:cxnSpMkLst>
        </pc:cxnChg>
        <pc:cxnChg chg="add mod">
          <ac:chgData name="Dan McTavish" userId="3bdd38c9-93c5-470d-b029-59656566a699" providerId="ADAL" clId="{06DD399E-387B-6247-9101-D9256D82257F}" dt="2021-10-07T16:23:29.454" v="32494" actId="1037"/>
          <ac:cxnSpMkLst>
            <pc:docMk/>
            <pc:sldMk cId="2486923475" sldId="2144446022"/>
            <ac:cxnSpMk id="43" creationId="{5A4D3811-01BD-3F45-8AC0-24859144E463}"/>
          </ac:cxnSpMkLst>
        </pc:cxnChg>
        <pc:cxnChg chg="add del mod">
          <ac:chgData name="Dan McTavish" userId="3bdd38c9-93c5-470d-b029-59656566a699" providerId="ADAL" clId="{06DD399E-387B-6247-9101-D9256D82257F}" dt="2021-10-07T15:19:25.691" v="31275"/>
          <ac:cxnSpMkLst>
            <pc:docMk/>
            <pc:sldMk cId="2486923475" sldId="2144446022"/>
            <ac:cxnSpMk id="44" creationId="{9FD10BAA-4C01-454C-AAB1-32B636ED0FC6}"/>
          </ac:cxnSpMkLst>
        </pc:cxnChg>
        <pc:cxnChg chg="add mod">
          <ac:chgData name="Dan McTavish" userId="3bdd38c9-93c5-470d-b029-59656566a699" providerId="ADAL" clId="{06DD399E-387B-6247-9101-D9256D82257F}" dt="2021-10-07T16:23:29.454" v="32494" actId="1037"/>
          <ac:cxnSpMkLst>
            <pc:docMk/>
            <pc:sldMk cId="2486923475" sldId="2144446022"/>
            <ac:cxnSpMk id="45" creationId="{9A24A8B9-22F1-4E45-B248-8D45BB0EC079}"/>
          </ac:cxnSpMkLst>
        </pc:cxnChg>
        <pc:cxnChg chg="add mod">
          <ac:chgData name="Dan McTavish" userId="3bdd38c9-93c5-470d-b029-59656566a699" providerId="ADAL" clId="{06DD399E-387B-6247-9101-D9256D82257F}" dt="2021-10-29T08:09:50.863" v="89116" actId="14100"/>
          <ac:cxnSpMkLst>
            <pc:docMk/>
            <pc:sldMk cId="2486923475" sldId="2144446022"/>
            <ac:cxnSpMk id="65" creationId="{7180BEE7-3A12-9A4D-83E0-B851663C02A1}"/>
          </ac:cxnSpMkLst>
        </pc:cxnChg>
        <pc:cxnChg chg="add del mod">
          <ac:chgData name="Dan McTavish" userId="3bdd38c9-93c5-470d-b029-59656566a699" providerId="ADAL" clId="{06DD399E-387B-6247-9101-D9256D82257F}" dt="2021-10-07T16:05:03.410" v="31833" actId="478"/>
          <ac:cxnSpMkLst>
            <pc:docMk/>
            <pc:sldMk cId="2486923475" sldId="2144446022"/>
            <ac:cxnSpMk id="66" creationId="{40A0D64E-30AA-1A47-8751-64158C93EA9B}"/>
          </ac:cxnSpMkLst>
        </pc:cxnChg>
        <pc:cxnChg chg="add del mod">
          <ac:chgData name="Dan McTavish" userId="3bdd38c9-93c5-470d-b029-59656566a699" providerId="ADAL" clId="{06DD399E-387B-6247-9101-D9256D82257F}" dt="2021-10-07T16:06:15.246" v="31911" actId="478"/>
          <ac:cxnSpMkLst>
            <pc:docMk/>
            <pc:sldMk cId="2486923475" sldId="2144446022"/>
            <ac:cxnSpMk id="68" creationId="{1846703E-EDFF-B54A-91CA-A68F741E7408}"/>
          </ac:cxnSpMkLst>
        </pc:cxnChg>
        <pc:cxnChg chg="add mod">
          <ac:chgData name="Dan McTavish" userId="3bdd38c9-93c5-470d-b029-59656566a699" providerId="ADAL" clId="{06DD399E-387B-6247-9101-D9256D82257F}" dt="2021-10-07T16:23:29.454" v="32494" actId="1037"/>
          <ac:cxnSpMkLst>
            <pc:docMk/>
            <pc:sldMk cId="2486923475" sldId="2144446022"/>
            <ac:cxnSpMk id="73" creationId="{E2D30AD7-EA07-064D-878C-C7835D91D5DB}"/>
          </ac:cxnSpMkLst>
        </pc:cxnChg>
        <pc:cxnChg chg="add mod">
          <ac:chgData name="Dan McTavish" userId="3bdd38c9-93c5-470d-b029-59656566a699" providerId="ADAL" clId="{06DD399E-387B-6247-9101-D9256D82257F}" dt="2021-10-07T16:23:29.454" v="32494" actId="1037"/>
          <ac:cxnSpMkLst>
            <pc:docMk/>
            <pc:sldMk cId="2486923475" sldId="2144446022"/>
            <ac:cxnSpMk id="74" creationId="{A2FBA561-40C3-3B4D-9A91-62352E3022EA}"/>
          </ac:cxnSpMkLst>
        </pc:cxnChg>
      </pc:sldChg>
      <pc:sldChg chg="addSp delSp modSp add del mod ord">
        <pc:chgData name="Dan McTavish" userId="3bdd38c9-93c5-470d-b029-59656566a699" providerId="ADAL" clId="{06DD399E-387B-6247-9101-D9256D82257F}" dt="2021-10-03T09:35:13.324" v="7564" actId="2696"/>
        <pc:sldMkLst>
          <pc:docMk/>
          <pc:sldMk cId="2907357692" sldId="2145707131"/>
        </pc:sldMkLst>
        <pc:spChg chg="del">
          <ac:chgData name="Dan McTavish" userId="3bdd38c9-93c5-470d-b029-59656566a699" providerId="ADAL" clId="{06DD399E-387B-6247-9101-D9256D82257F}" dt="2021-10-01T13:51:21.780" v="1303" actId="478"/>
          <ac:spMkLst>
            <pc:docMk/>
            <pc:sldMk cId="2907357692" sldId="2145707131"/>
            <ac:spMk id="8" creationId="{EC371995-4BCF-DB4A-A718-2B65D7D4F16E}"/>
          </ac:spMkLst>
        </pc:spChg>
        <pc:spChg chg="add mod">
          <ac:chgData name="Dan McTavish" userId="3bdd38c9-93c5-470d-b029-59656566a699" providerId="ADAL" clId="{06DD399E-387B-6247-9101-D9256D82257F}" dt="2021-10-01T14:47:38.449" v="1456" actId="1076"/>
          <ac:spMkLst>
            <pc:docMk/>
            <pc:sldMk cId="2907357692" sldId="2145707131"/>
            <ac:spMk id="32" creationId="{5A3582CA-E5DD-B543-9603-44EA8296B0C0}"/>
          </ac:spMkLst>
        </pc:spChg>
        <pc:spChg chg="mod">
          <ac:chgData name="Dan McTavish" userId="3bdd38c9-93c5-470d-b029-59656566a699" providerId="ADAL" clId="{06DD399E-387B-6247-9101-D9256D82257F}" dt="2021-10-03T09:34:39.743" v="7560" actId="20577"/>
          <ac:spMkLst>
            <pc:docMk/>
            <pc:sldMk cId="2907357692" sldId="2145707131"/>
            <ac:spMk id="36" creationId="{81868A76-10F6-0543-B9BB-62E2BDE76AA0}"/>
          </ac:spMkLst>
        </pc:spChg>
        <pc:spChg chg="mod">
          <ac:chgData name="Dan McTavish" userId="3bdd38c9-93c5-470d-b029-59656566a699" providerId="ADAL" clId="{06DD399E-387B-6247-9101-D9256D82257F}" dt="2021-10-01T15:35:40.943" v="4409" actId="20577"/>
          <ac:spMkLst>
            <pc:docMk/>
            <pc:sldMk cId="2907357692" sldId="2145707131"/>
            <ac:spMk id="40" creationId="{6CA8EE49-A667-7A4E-9A22-FE2D73FFA7D3}"/>
          </ac:spMkLst>
        </pc:spChg>
        <pc:spChg chg="del">
          <ac:chgData name="Dan McTavish" userId="3bdd38c9-93c5-470d-b029-59656566a699" providerId="ADAL" clId="{06DD399E-387B-6247-9101-D9256D82257F}" dt="2021-10-01T14:46:53.150" v="1443" actId="478"/>
          <ac:spMkLst>
            <pc:docMk/>
            <pc:sldMk cId="2907357692" sldId="2145707131"/>
            <ac:spMk id="44" creationId="{82868292-A53E-8549-8FDD-C57B374F9FF9}"/>
          </ac:spMkLst>
        </pc:spChg>
        <pc:spChg chg="del mod">
          <ac:chgData name="Dan McTavish" userId="3bdd38c9-93c5-470d-b029-59656566a699" providerId="ADAL" clId="{06DD399E-387B-6247-9101-D9256D82257F}" dt="2021-10-01T14:47:26.630" v="1453" actId="478"/>
          <ac:spMkLst>
            <pc:docMk/>
            <pc:sldMk cId="2907357692" sldId="2145707131"/>
            <ac:spMk id="46" creationId="{ECBEBE0D-3ACB-8541-8614-1D819F0649DA}"/>
          </ac:spMkLst>
        </pc:spChg>
        <pc:spChg chg="del">
          <ac:chgData name="Dan McTavish" userId="3bdd38c9-93c5-470d-b029-59656566a699" providerId="ADAL" clId="{06DD399E-387B-6247-9101-D9256D82257F}" dt="2021-10-01T14:46:55.521" v="1444" actId="478"/>
          <ac:spMkLst>
            <pc:docMk/>
            <pc:sldMk cId="2907357692" sldId="2145707131"/>
            <ac:spMk id="55" creationId="{65F5EB7B-B9C0-2646-B9AB-294A68FB1B93}"/>
          </ac:spMkLst>
        </pc:spChg>
        <pc:spChg chg="mod">
          <ac:chgData name="Dan McTavish" userId="3bdd38c9-93c5-470d-b029-59656566a699" providerId="ADAL" clId="{06DD399E-387B-6247-9101-D9256D82257F}" dt="2021-10-01T14:46:42.536" v="1440" actId="20577"/>
          <ac:spMkLst>
            <pc:docMk/>
            <pc:sldMk cId="2907357692" sldId="2145707131"/>
            <ac:spMk id="57" creationId="{06B9C7CF-87E2-4849-814B-C601EEB9FD1F}"/>
          </ac:spMkLst>
        </pc:spChg>
        <pc:spChg chg="del">
          <ac:chgData name="Dan McTavish" userId="3bdd38c9-93c5-470d-b029-59656566a699" providerId="ADAL" clId="{06DD399E-387B-6247-9101-D9256D82257F}" dt="2021-10-01T14:46:51.311" v="1442" actId="478"/>
          <ac:spMkLst>
            <pc:docMk/>
            <pc:sldMk cId="2907357692" sldId="2145707131"/>
            <ac:spMk id="58" creationId="{E51513D7-487A-9641-AD82-AA9906C35110}"/>
          </ac:spMkLst>
        </pc:spChg>
        <pc:spChg chg="mod">
          <ac:chgData name="Dan McTavish" userId="3bdd38c9-93c5-470d-b029-59656566a699" providerId="ADAL" clId="{06DD399E-387B-6247-9101-D9256D82257F}" dt="2021-10-01T14:47:15.769" v="1450" actId="20577"/>
          <ac:spMkLst>
            <pc:docMk/>
            <pc:sldMk cId="2907357692" sldId="2145707131"/>
            <ac:spMk id="59" creationId="{90111C4F-B007-C340-90C5-D0E22397BCD5}"/>
          </ac:spMkLst>
        </pc:spChg>
        <pc:spChg chg="del">
          <ac:chgData name="Dan McTavish" userId="3bdd38c9-93c5-470d-b029-59656566a699" providerId="ADAL" clId="{06DD399E-387B-6247-9101-D9256D82257F}" dt="2021-10-01T14:46:57.650" v="1445" actId="478"/>
          <ac:spMkLst>
            <pc:docMk/>
            <pc:sldMk cId="2907357692" sldId="2145707131"/>
            <ac:spMk id="66" creationId="{0E9549DD-E432-F840-9113-A4DE18321237}"/>
          </ac:spMkLst>
        </pc:spChg>
        <pc:spChg chg="mod">
          <ac:chgData name="Dan McTavish" userId="3bdd38c9-93c5-470d-b029-59656566a699" providerId="ADAL" clId="{06DD399E-387B-6247-9101-D9256D82257F}" dt="2021-10-01T14:47:18.507" v="1451" actId="20577"/>
          <ac:spMkLst>
            <pc:docMk/>
            <pc:sldMk cId="2907357692" sldId="2145707131"/>
            <ac:spMk id="69" creationId="{3F0B0816-D84E-E648-BC6B-A65DDC8FDF18}"/>
          </ac:spMkLst>
        </pc:spChg>
        <pc:spChg chg="del">
          <ac:chgData name="Dan McTavish" userId="3bdd38c9-93c5-470d-b029-59656566a699" providerId="ADAL" clId="{06DD399E-387B-6247-9101-D9256D82257F}" dt="2021-10-01T14:46:59.659" v="1446" actId="478"/>
          <ac:spMkLst>
            <pc:docMk/>
            <pc:sldMk cId="2907357692" sldId="2145707131"/>
            <ac:spMk id="70" creationId="{046CA81A-67E6-EE49-9D92-546A2719286A}"/>
          </ac:spMkLst>
        </pc:spChg>
        <pc:spChg chg="mod">
          <ac:chgData name="Dan McTavish" userId="3bdd38c9-93c5-470d-b029-59656566a699" providerId="ADAL" clId="{06DD399E-387B-6247-9101-D9256D82257F}" dt="2021-10-01T14:47:30.437" v="1454" actId="113"/>
          <ac:spMkLst>
            <pc:docMk/>
            <pc:sldMk cId="2907357692" sldId="2145707131"/>
            <ac:spMk id="87" creationId="{8A3900BF-6FDA-3C40-9E2C-55B5C08A0956}"/>
          </ac:spMkLst>
        </pc:spChg>
        <pc:spChg chg="del">
          <ac:chgData name="Dan McTavish" userId="3bdd38c9-93c5-470d-b029-59656566a699" providerId="ADAL" clId="{06DD399E-387B-6247-9101-D9256D82257F}" dt="2021-10-01T14:47:07.279" v="1447" actId="478"/>
          <ac:spMkLst>
            <pc:docMk/>
            <pc:sldMk cId="2907357692" sldId="2145707131"/>
            <ac:spMk id="88" creationId="{68BC0D1B-C942-594F-93B3-313AFE478982}"/>
          </ac:spMkLst>
        </pc:spChg>
        <pc:spChg chg="mod">
          <ac:chgData name="Dan McTavish" userId="3bdd38c9-93c5-470d-b029-59656566a699" providerId="ADAL" clId="{06DD399E-387B-6247-9101-D9256D82257F}" dt="2021-10-01T14:47:13.175" v="1449" actId="20577"/>
          <ac:spMkLst>
            <pc:docMk/>
            <pc:sldMk cId="2907357692" sldId="2145707131"/>
            <ac:spMk id="91" creationId="{C58E9BA3-3B21-EA46-B06D-6C0189B6A6D3}"/>
          </ac:spMkLst>
        </pc:spChg>
        <pc:spChg chg="del">
          <ac:chgData name="Dan McTavish" userId="3bdd38c9-93c5-470d-b029-59656566a699" providerId="ADAL" clId="{06DD399E-387B-6247-9101-D9256D82257F}" dt="2021-10-01T14:47:21.077" v="1452" actId="478"/>
          <ac:spMkLst>
            <pc:docMk/>
            <pc:sldMk cId="2907357692" sldId="2145707131"/>
            <ac:spMk id="92" creationId="{91D9E454-E7C7-6B4D-A166-AB43F03EABD7}"/>
          </ac:spMkLst>
        </pc:spChg>
        <pc:cxnChg chg="mod">
          <ac:chgData name="Dan McTavish" userId="3bdd38c9-93c5-470d-b029-59656566a699" providerId="ADAL" clId="{06DD399E-387B-6247-9101-D9256D82257F}" dt="2021-10-01T14:47:26.630" v="1453" actId="478"/>
          <ac:cxnSpMkLst>
            <pc:docMk/>
            <pc:sldMk cId="2907357692" sldId="2145707131"/>
            <ac:cxnSpMk id="12" creationId="{121D75F0-0C1D-A843-8C88-3AB0ACD76856}"/>
          </ac:cxnSpMkLst>
        </pc:cxnChg>
        <pc:cxnChg chg="mod">
          <ac:chgData name="Dan McTavish" userId="3bdd38c9-93c5-470d-b029-59656566a699" providerId="ADAL" clId="{06DD399E-387B-6247-9101-D9256D82257F}" dt="2021-10-01T14:47:26.630" v="1453" actId="478"/>
          <ac:cxnSpMkLst>
            <pc:docMk/>
            <pc:sldMk cId="2907357692" sldId="2145707131"/>
            <ac:cxnSpMk id="60" creationId="{2B7F0B3B-EFE4-7946-90C2-D3256575E45A}"/>
          </ac:cxnSpMkLst>
        </pc:cxnChg>
        <pc:cxnChg chg="mod">
          <ac:chgData name="Dan McTavish" userId="3bdd38c9-93c5-470d-b029-59656566a699" providerId="ADAL" clId="{06DD399E-387B-6247-9101-D9256D82257F}" dt="2021-10-01T14:47:26.630" v="1453" actId="478"/>
          <ac:cxnSpMkLst>
            <pc:docMk/>
            <pc:sldMk cId="2907357692" sldId="2145707131"/>
            <ac:cxnSpMk id="77" creationId="{90C1FFAE-4ADD-0D4B-B6F4-BEC6959ADA76}"/>
          </ac:cxnSpMkLst>
        </pc:cxnChg>
        <pc:cxnChg chg="mod">
          <ac:chgData name="Dan McTavish" userId="3bdd38c9-93c5-470d-b029-59656566a699" providerId="ADAL" clId="{06DD399E-387B-6247-9101-D9256D82257F}" dt="2021-10-01T14:47:26.630" v="1453" actId="478"/>
          <ac:cxnSpMkLst>
            <pc:docMk/>
            <pc:sldMk cId="2907357692" sldId="2145707131"/>
            <ac:cxnSpMk id="86" creationId="{4B9E56B9-B138-6E4F-89BD-CB69EE3D81CE}"/>
          </ac:cxnSpMkLst>
        </pc:cxnChg>
        <pc:cxnChg chg="mod">
          <ac:chgData name="Dan McTavish" userId="3bdd38c9-93c5-470d-b029-59656566a699" providerId="ADAL" clId="{06DD399E-387B-6247-9101-D9256D82257F}" dt="2021-10-01T14:47:26.630" v="1453" actId="478"/>
          <ac:cxnSpMkLst>
            <pc:docMk/>
            <pc:sldMk cId="2907357692" sldId="2145707131"/>
            <ac:cxnSpMk id="106" creationId="{ED195133-1EDF-DF4B-BE67-FEBAEBD2F42E}"/>
          </ac:cxnSpMkLst>
        </pc:cxnChg>
        <pc:cxnChg chg="mod">
          <ac:chgData name="Dan McTavish" userId="3bdd38c9-93c5-470d-b029-59656566a699" providerId="ADAL" clId="{06DD399E-387B-6247-9101-D9256D82257F}" dt="2021-10-01T14:47:26.630" v="1453" actId="478"/>
          <ac:cxnSpMkLst>
            <pc:docMk/>
            <pc:sldMk cId="2907357692" sldId="2145707131"/>
            <ac:cxnSpMk id="116" creationId="{149BEFE2-F290-5643-B616-955C75ECE68D}"/>
          </ac:cxnSpMkLst>
        </pc:cxnChg>
      </pc:sldChg>
      <pc:sldChg chg="modSp add mod">
        <pc:chgData name="Dan McTavish" userId="3bdd38c9-93c5-470d-b029-59656566a699" providerId="ADAL" clId="{06DD399E-387B-6247-9101-D9256D82257F}" dt="2021-10-29T08:07:10.028" v="89107" actId="2"/>
        <pc:sldMkLst>
          <pc:docMk/>
          <pc:sldMk cId="1097537891" sldId="2145707132"/>
        </pc:sldMkLst>
        <pc:spChg chg="mod">
          <ac:chgData name="Dan McTavish" userId="3bdd38c9-93c5-470d-b029-59656566a699" providerId="ADAL" clId="{06DD399E-387B-6247-9101-D9256D82257F}" dt="2021-10-01T15:18:44.884" v="3703" actId="20577"/>
          <ac:spMkLst>
            <pc:docMk/>
            <pc:sldMk cId="1097537891" sldId="2145707132"/>
            <ac:spMk id="2" creationId="{23C47170-A357-0540-A812-A0FEC348D32C}"/>
          </ac:spMkLst>
        </pc:spChg>
        <pc:graphicFrameChg chg="mod modGraphic">
          <ac:chgData name="Dan McTavish" userId="3bdd38c9-93c5-470d-b029-59656566a699" providerId="ADAL" clId="{06DD399E-387B-6247-9101-D9256D82257F}" dt="2021-10-29T08:07:10.028" v="89107" actId="2"/>
          <ac:graphicFrameMkLst>
            <pc:docMk/>
            <pc:sldMk cId="1097537891" sldId="2145707132"/>
            <ac:graphicFrameMk id="5" creationId="{A1A1E082-93A7-2341-B277-5872BC7FB95B}"/>
          </ac:graphicFrameMkLst>
        </pc:graphicFrameChg>
      </pc:sldChg>
      <pc:sldChg chg="delSp add del mod">
        <pc:chgData name="Dan McTavish" userId="3bdd38c9-93c5-470d-b029-59656566a699" providerId="ADAL" clId="{06DD399E-387B-6247-9101-D9256D82257F}" dt="2021-10-01T14:46:12.954" v="1437" actId="2696"/>
        <pc:sldMkLst>
          <pc:docMk/>
          <pc:sldMk cId="2967212397" sldId="2145707132"/>
        </pc:sldMkLst>
        <pc:graphicFrameChg chg="del">
          <ac:chgData name="Dan McTavish" userId="3bdd38c9-93c5-470d-b029-59656566a699" providerId="ADAL" clId="{06DD399E-387B-6247-9101-D9256D82257F}" dt="2021-10-01T13:52:00.640" v="1307" actId="478"/>
          <ac:graphicFrameMkLst>
            <pc:docMk/>
            <pc:sldMk cId="2967212397" sldId="2145707132"/>
            <ac:graphicFrameMk id="5" creationId="{A1A1E082-93A7-2341-B277-5872BC7FB95B}"/>
          </ac:graphicFrameMkLst>
        </pc:graphicFrameChg>
      </pc:sldChg>
      <pc:sldChg chg="modSp add mod">
        <pc:chgData name="Dan McTavish" userId="3bdd38c9-93c5-470d-b029-59656566a699" providerId="ADAL" clId="{06DD399E-387B-6247-9101-D9256D82257F}" dt="2021-12-02T13:58:52.540" v="92424" actId="20578"/>
        <pc:sldMkLst>
          <pc:docMk/>
          <pc:sldMk cId="3222015481" sldId="2145707133"/>
        </pc:sldMkLst>
        <pc:spChg chg="mod">
          <ac:chgData name="Dan McTavish" userId="3bdd38c9-93c5-470d-b029-59656566a699" providerId="ADAL" clId="{06DD399E-387B-6247-9101-D9256D82257F}" dt="2021-10-01T16:05:52.548" v="6290" actId="20577"/>
          <ac:spMkLst>
            <pc:docMk/>
            <pc:sldMk cId="3222015481" sldId="2145707133"/>
            <ac:spMk id="2" creationId="{23C47170-A357-0540-A812-A0FEC348D32C}"/>
          </ac:spMkLst>
        </pc:spChg>
        <pc:graphicFrameChg chg="mod modGraphic">
          <ac:chgData name="Dan McTavish" userId="3bdd38c9-93c5-470d-b029-59656566a699" providerId="ADAL" clId="{06DD399E-387B-6247-9101-D9256D82257F}" dt="2021-12-02T13:58:52.540" v="92424" actId="20578"/>
          <ac:graphicFrameMkLst>
            <pc:docMk/>
            <pc:sldMk cId="3222015481" sldId="2145707133"/>
            <ac:graphicFrameMk id="5" creationId="{A1A1E082-93A7-2341-B277-5872BC7FB95B}"/>
          </ac:graphicFrameMkLst>
        </pc:graphicFrameChg>
      </pc:sldChg>
      <pc:sldChg chg="add del">
        <pc:chgData name="Dan McTavish" userId="3bdd38c9-93c5-470d-b029-59656566a699" providerId="ADAL" clId="{06DD399E-387B-6247-9101-D9256D82257F}" dt="2021-10-01T13:52:30.687" v="1313"/>
        <pc:sldMkLst>
          <pc:docMk/>
          <pc:sldMk cId="3227311721" sldId="2145707133"/>
        </pc:sldMkLst>
      </pc:sldChg>
      <pc:sldChg chg="add del">
        <pc:chgData name="Dan McTavish" userId="3bdd38c9-93c5-470d-b029-59656566a699" providerId="ADAL" clId="{06DD399E-387B-6247-9101-D9256D82257F}" dt="2021-10-01T13:52:10.930" v="1309"/>
        <pc:sldMkLst>
          <pc:docMk/>
          <pc:sldMk cId="3568927576" sldId="2145707133"/>
        </pc:sldMkLst>
      </pc:sldChg>
      <pc:sldChg chg="add del">
        <pc:chgData name="Dan McTavish" userId="3bdd38c9-93c5-470d-b029-59656566a699" providerId="ADAL" clId="{06DD399E-387B-6247-9101-D9256D82257F}" dt="2021-10-01T13:52:24.323" v="1311"/>
        <pc:sldMkLst>
          <pc:docMk/>
          <pc:sldMk cId="3975603955" sldId="2145707133"/>
        </pc:sldMkLst>
      </pc:sldChg>
      <pc:sldChg chg="add del">
        <pc:chgData name="Dan McTavish" userId="3bdd38c9-93c5-470d-b029-59656566a699" providerId="ADAL" clId="{06DD399E-387B-6247-9101-D9256D82257F}" dt="2021-10-03T09:34:59.478" v="7562"/>
        <pc:sldMkLst>
          <pc:docMk/>
          <pc:sldMk cId="364674448" sldId="2145707134"/>
        </pc:sldMkLst>
      </pc:sldChg>
      <pc:sldChg chg="addSp delSp modSp add mod">
        <pc:chgData name="Dan McTavish" userId="3bdd38c9-93c5-470d-b029-59656566a699" providerId="ADAL" clId="{06DD399E-387B-6247-9101-D9256D82257F}" dt="2021-10-04T08:29:50.767" v="13793"/>
        <pc:sldMkLst>
          <pc:docMk/>
          <pc:sldMk cId="3527498342" sldId="2145707134"/>
        </pc:sldMkLst>
        <pc:spChg chg="mod">
          <ac:chgData name="Dan McTavish" userId="3bdd38c9-93c5-470d-b029-59656566a699" providerId="ADAL" clId="{06DD399E-387B-6247-9101-D9256D82257F}" dt="2021-10-03T10:08:36.923" v="10060" actId="20577"/>
          <ac:spMkLst>
            <pc:docMk/>
            <pc:sldMk cId="3527498342" sldId="2145707134"/>
            <ac:spMk id="2" creationId="{23C47170-A357-0540-A812-A0FEC348D32C}"/>
          </ac:spMkLst>
        </pc:spChg>
        <pc:spChg chg="add del mod">
          <ac:chgData name="Dan McTavish" userId="3bdd38c9-93c5-470d-b029-59656566a699" providerId="ADAL" clId="{06DD399E-387B-6247-9101-D9256D82257F}" dt="2021-10-03T10:13:41.276" v="10304"/>
          <ac:spMkLst>
            <pc:docMk/>
            <pc:sldMk cId="3527498342" sldId="2145707134"/>
            <ac:spMk id="4" creationId="{BF704504-F0A3-5A47-9D47-97EB5F0AD518}"/>
          </ac:spMkLst>
        </pc:spChg>
        <pc:graphicFrameChg chg="mod modGraphic">
          <ac:chgData name="Dan McTavish" userId="3bdd38c9-93c5-470d-b029-59656566a699" providerId="ADAL" clId="{06DD399E-387B-6247-9101-D9256D82257F}" dt="2021-10-04T08:29:50.767" v="13793"/>
          <ac:graphicFrameMkLst>
            <pc:docMk/>
            <pc:sldMk cId="3527498342" sldId="2145707134"/>
            <ac:graphicFrameMk id="5" creationId="{A1A1E082-93A7-2341-B277-5872BC7FB95B}"/>
          </ac:graphicFrameMkLst>
        </pc:graphicFrameChg>
      </pc:sldChg>
      <pc:sldChg chg="modSp add del mod">
        <pc:chgData name="Dan McTavish" userId="3bdd38c9-93c5-470d-b029-59656566a699" providerId="ADAL" clId="{06DD399E-387B-6247-9101-D9256D82257F}" dt="2021-10-04T11:49:40.837" v="17779" actId="2696"/>
        <pc:sldMkLst>
          <pc:docMk/>
          <pc:sldMk cId="346649978" sldId="2145707135"/>
        </pc:sldMkLst>
        <pc:spChg chg="mod">
          <ac:chgData name="Dan McTavish" userId="3bdd38c9-93c5-470d-b029-59656566a699" providerId="ADAL" clId="{06DD399E-387B-6247-9101-D9256D82257F}" dt="2021-10-03T10:14:15.110" v="10322" actId="20577"/>
          <ac:spMkLst>
            <pc:docMk/>
            <pc:sldMk cId="346649978" sldId="2145707135"/>
            <ac:spMk id="2" creationId="{23C47170-A357-0540-A812-A0FEC348D32C}"/>
          </ac:spMkLst>
        </pc:spChg>
        <pc:graphicFrameChg chg="mod modGraphic">
          <ac:chgData name="Dan McTavish" userId="3bdd38c9-93c5-470d-b029-59656566a699" providerId="ADAL" clId="{06DD399E-387B-6247-9101-D9256D82257F}" dt="2021-10-04T11:44:30.310" v="17358" actId="20577"/>
          <ac:graphicFrameMkLst>
            <pc:docMk/>
            <pc:sldMk cId="346649978" sldId="2145707135"/>
            <ac:graphicFrameMk id="5" creationId="{A1A1E082-93A7-2341-B277-5872BC7FB95B}"/>
          </ac:graphicFrameMkLst>
        </pc:graphicFrameChg>
      </pc:sldChg>
      <pc:sldChg chg="modSp add mod">
        <pc:chgData name="Dan McTavish" userId="3bdd38c9-93c5-470d-b029-59656566a699" providerId="ADAL" clId="{06DD399E-387B-6247-9101-D9256D82257F}" dt="2021-10-04T12:00:05.087" v="18858" actId="20577"/>
        <pc:sldMkLst>
          <pc:docMk/>
          <pc:sldMk cId="1879835880" sldId="2145707136"/>
        </pc:sldMkLst>
        <pc:graphicFrameChg chg="mod modGraphic">
          <ac:chgData name="Dan McTavish" userId="3bdd38c9-93c5-470d-b029-59656566a699" providerId="ADAL" clId="{06DD399E-387B-6247-9101-D9256D82257F}" dt="2021-10-04T12:00:05.087" v="18858" actId="20577"/>
          <ac:graphicFrameMkLst>
            <pc:docMk/>
            <pc:sldMk cId="1879835880" sldId="2145707136"/>
            <ac:graphicFrameMk id="5" creationId="{A1A1E082-93A7-2341-B277-5872BC7FB95B}"/>
          </ac:graphicFrameMkLst>
        </pc:graphicFrameChg>
      </pc:sldChg>
      <pc:sldChg chg="modSp add del">
        <pc:chgData name="Dan McTavish" userId="3bdd38c9-93c5-470d-b029-59656566a699" providerId="ADAL" clId="{06DD399E-387B-6247-9101-D9256D82257F}" dt="2021-10-04T08:28:49.769" v="13790" actId="2696"/>
        <pc:sldMkLst>
          <pc:docMk/>
          <pc:sldMk cId="3977284634" sldId="2145707136"/>
        </pc:sldMkLst>
        <pc:spChg chg="mod">
          <ac:chgData name="Dan McTavish" userId="3bdd38c9-93c5-470d-b029-59656566a699" providerId="ADAL" clId="{06DD399E-387B-6247-9101-D9256D82257F}" dt="2021-10-03T10:14:37.556" v="10324"/>
          <ac:spMkLst>
            <pc:docMk/>
            <pc:sldMk cId="3977284634" sldId="2145707136"/>
            <ac:spMk id="2" creationId="{23C47170-A357-0540-A812-A0FEC348D32C}"/>
          </ac:spMkLst>
        </pc:spChg>
      </pc:sldChg>
      <pc:sldChg chg="modSp mod">
        <pc:chgData name="Dan McTavish" userId="3bdd38c9-93c5-470d-b029-59656566a699" providerId="ADAL" clId="{06DD399E-387B-6247-9101-D9256D82257F}" dt="2021-10-04T17:47:24.520" v="18859" actId="33524"/>
        <pc:sldMkLst>
          <pc:docMk/>
          <pc:sldMk cId="3127622773" sldId="2145707137"/>
        </pc:sldMkLst>
        <pc:graphicFrameChg chg="modGraphic">
          <ac:chgData name="Dan McTavish" userId="3bdd38c9-93c5-470d-b029-59656566a699" providerId="ADAL" clId="{06DD399E-387B-6247-9101-D9256D82257F}" dt="2021-10-04T17:47:24.520" v="18859" actId="33524"/>
          <ac:graphicFrameMkLst>
            <pc:docMk/>
            <pc:sldMk cId="3127622773" sldId="2145707137"/>
            <ac:graphicFrameMk id="5" creationId="{A1A1E082-93A7-2341-B277-5872BC7FB95B}"/>
          </ac:graphicFrameMkLst>
        </pc:graphicFrameChg>
      </pc:sldChg>
      <pc:sldChg chg="modSp mod">
        <pc:chgData name="Dan McTavish" userId="3bdd38c9-93c5-470d-b029-59656566a699" providerId="ADAL" clId="{06DD399E-387B-6247-9101-D9256D82257F}" dt="2021-10-18T12:30:05.682" v="65945" actId="33524"/>
        <pc:sldMkLst>
          <pc:docMk/>
          <pc:sldMk cId="2137434531" sldId="2145707138"/>
        </pc:sldMkLst>
        <pc:graphicFrameChg chg="modGraphic">
          <ac:chgData name="Dan McTavish" userId="3bdd38c9-93c5-470d-b029-59656566a699" providerId="ADAL" clId="{06DD399E-387B-6247-9101-D9256D82257F}" dt="2021-10-18T12:30:05.682" v="65945" actId="33524"/>
          <ac:graphicFrameMkLst>
            <pc:docMk/>
            <pc:sldMk cId="2137434531" sldId="2145707138"/>
            <ac:graphicFrameMk id="5" creationId="{A1A1E082-93A7-2341-B277-5872BC7FB95B}"/>
          </ac:graphicFrameMkLst>
        </pc:graphicFrameChg>
      </pc:sldChg>
      <pc:sldChg chg="addSp delSp modSp add mod ord">
        <pc:chgData name="Dan McTavish" userId="3bdd38c9-93c5-470d-b029-59656566a699" providerId="ADAL" clId="{06DD399E-387B-6247-9101-D9256D82257F}" dt="2021-10-05T17:26:17.551" v="20763" actId="20578"/>
        <pc:sldMkLst>
          <pc:docMk/>
          <pc:sldMk cId="2537875688" sldId="2145707139"/>
        </pc:sldMkLst>
        <pc:spChg chg="mod">
          <ac:chgData name="Dan McTavish" userId="3bdd38c9-93c5-470d-b029-59656566a699" providerId="ADAL" clId="{06DD399E-387B-6247-9101-D9256D82257F}" dt="2021-10-05T13:15:44.479" v="18963" actId="313"/>
          <ac:spMkLst>
            <pc:docMk/>
            <pc:sldMk cId="2537875688" sldId="2145707139"/>
            <ac:spMk id="2" creationId="{23C47170-A357-0540-A812-A0FEC348D32C}"/>
          </ac:spMkLst>
        </pc:spChg>
        <pc:graphicFrameChg chg="add del mod">
          <ac:chgData name="Dan McTavish" userId="3bdd38c9-93c5-470d-b029-59656566a699" providerId="ADAL" clId="{06DD399E-387B-6247-9101-D9256D82257F}" dt="2021-10-05T13:15:12.726" v="18884"/>
          <ac:graphicFrameMkLst>
            <pc:docMk/>
            <pc:sldMk cId="2537875688" sldId="2145707139"/>
            <ac:graphicFrameMk id="4" creationId="{E2E18D96-B446-F743-AA4F-29D25975A39D}"/>
          </ac:graphicFrameMkLst>
        </pc:graphicFrameChg>
        <pc:graphicFrameChg chg="modGraphic">
          <ac:chgData name="Dan McTavish" userId="3bdd38c9-93c5-470d-b029-59656566a699" providerId="ADAL" clId="{06DD399E-387B-6247-9101-D9256D82257F}" dt="2021-10-05T13:14:39.604" v="18880" actId="6549"/>
          <ac:graphicFrameMkLst>
            <pc:docMk/>
            <pc:sldMk cId="2537875688" sldId="2145707139"/>
            <ac:graphicFrameMk id="5" creationId="{A1A1E082-93A7-2341-B277-5872BC7FB95B}"/>
          </ac:graphicFrameMkLst>
        </pc:graphicFrameChg>
        <pc:graphicFrameChg chg="add del mod">
          <ac:chgData name="Dan McTavish" userId="3bdd38c9-93c5-470d-b029-59656566a699" providerId="ADAL" clId="{06DD399E-387B-6247-9101-D9256D82257F}" dt="2021-10-05T13:15:46.615" v="18964" actId="478"/>
          <ac:graphicFrameMkLst>
            <pc:docMk/>
            <pc:sldMk cId="2537875688" sldId="2145707139"/>
            <ac:graphicFrameMk id="6" creationId="{23D6760F-2219-724C-A400-7178EF632C42}"/>
          </ac:graphicFrameMkLst>
        </pc:graphicFrameChg>
      </pc:sldChg>
      <pc:sldChg chg="modSp add del mod ord">
        <pc:chgData name="Dan McTavish" userId="3bdd38c9-93c5-470d-b029-59656566a699" providerId="ADAL" clId="{06DD399E-387B-6247-9101-D9256D82257F}" dt="2021-10-08T17:31:03.240" v="39937" actId="2696"/>
        <pc:sldMkLst>
          <pc:docMk/>
          <pc:sldMk cId="3429928273" sldId="2145707140"/>
        </pc:sldMkLst>
        <pc:spChg chg="mod">
          <ac:chgData name="Dan McTavish" userId="3bdd38c9-93c5-470d-b029-59656566a699" providerId="ADAL" clId="{06DD399E-387B-6247-9101-D9256D82257F}" dt="2021-10-05T14:29:50.317" v="18978" actId="20577"/>
          <ac:spMkLst>
            <pc:docMk/>
            <pc:sldMk cId="3429928273" sldId="2145707140"/>
            <ac:spMk id="2" creationId="{23C47170-A357-0540-A812-A0FEC348D32C}"/>
          </ac:spMkLst>
        </pc:spChg>
        <pc:graphicFrameChg chg="mod modGraphic">
          <ac:chgData name="Dan McTavish" userId="3bdd38c9-93c5-470d-b029-59656566a699" providerId="ADAL" clId="{06DD399E-387B-6247-9101-D9256D82257F}" dt="2021-10-08T17:29:55.876" v="39883" actId="14734"/>
          <ac:graphicFrameMkLst>
            <pc:docMk/>
            <pc:sldMk cId="3429928273" sldId="2145707140"/>
            <ac:graphicFrameMk id="5" creationId="{A1A1E082-93A7-2341-B277-5872BC7FB95B}"/>
          </ac:graphicFrameMkLst>
        </pc:graphicFrameChg>
      </pc:sldChg>
      <pc:sldChg chg="modSp mod ord">
        <pc:chgData name="Dan McTavish" userId="3bdd38c9-93c5-470d-b029-59656566a699" providerId="ADAL" clId="{06DD399E-387B-6247-9101-D9256D82257F}" dt="2021-10-06T13:49:50.553" v="23883" actId="20578"/>
        <pc:sldMkLst>
          <pc:docMk/>
          <pc:sldMk cId="3269536815" sldId="2145707141"/>
        </pc:sldMkLst>
        <pc:spChg chg="mod">
          <ac:chgData name="Dan McTavish" userId="3bdd38c9-93c5-470d-b029-59656566a699" providerId="ADAL" clId="{06DD399E-387B-6247-9101-D9256D82257F}" dt="2021-10-06T13:07:32.794" v="21300"/>
          <ac:spMkLst>
            <pc:docMk/>
            <pc:sldMk cId="3269536815" sldId="2145707141"/>
            <ac:spMk id="2" creationId="{23C47170-A357-0540-A812-A0FEC348D32C}"/>
          </ac:spMkLst>
        </pc:spChg>
        <pc:graphicFrameChg chg="mod modGraphic">
          <ac:chgData name="Dan McTavish" userId="3bdd38c9-93c5-470d-b029-59656566a699" providerId="ADAL" clId="{06DD399E-387B-6247-9101-D9256D82257F}" dt="2021-10-06T13:49:34.341" v="23882" actId="20577"/>
          <ac:graphicFrameMkLst>
            <pc:docMk/>
            <pc:sldMk cId="3269536815" sldId="2145707141"/>
            <ac:graphicFrameMk id="5" creationId="{A1A1E082-93A7-2341-B277-5872BC7FB95B}"/>
          </ac:graphicFrameMkLst>
        </pc:graphicFrameChg>
      </pc:sldChg>
      <pc:sldChg chg="addSp delSp modSp add del mod">
        <pc:chgData name="Dan McTavish" userId="3bdd38c9-93c5-470d-b029-59656566a699" providerId="ADAL" clId="{06DD399E-387B-6247-9101-D9256D82257F}" dt="2021-10-07T08:30:18.645" v="26805" actId="2696"/>
        <pc:sldMkLst>
          <pc:docMk/>
          <pc:sldMk cId="468507741" sldId="2145707143"/>
        </pc:sldMkLst>
        <pc:spChg chg="mod">
          <ac:chgData name="Dan McTavish" userId="3bdd38c9-93c5-470d-b029-59656566a699" providerId="ADAL" clId="{06DD399E-387B-6247-9101-D9256D82257F}" dt="2021-10-06T15:15:42.383" v="25869" actId="1035"/>
          <ac:spMkLst>
            <pc:docMk/>
            <pc:sldMk cId="468507741" sldId="2145707143"/>
            <ac:spMk id="2" creationId="{23C47170-A357-0540-A812-A0FEC348D32C}"/>
          </ac:spMkLst>
        </pc:spChg>
        <pc:graphicFrameChg chg="add del mod">
          <ac:chgData name="Dan McTavish" userId="3bdd38c9-93c5-470d-b029-59656566a699" providerId="ADAL" clId="{06DD399E-387B-6247-9101-D9256D82257F}" dt="2021-10-06T15:15:29.213" v="25841"/>
          <ac:graphicFrameMkLst>
            <pc:docMk/>
            <pc:sldMk cId="468507741" sldId="2145707143"/>
            <ac:graphicFrameMk id="4" creationId="{CE91DCAB-2AC1-BA4F-9E48-A5BDAF0C37FE}"/>
          </ac:graphicFrameMkLst>
        </pc:graphicFrameChg>
        <pc:graphicFrameChg chg="mod modGraphic">
          <ac:chgData name="Dan McTavish" userId="3bdd38c9-93c5-470d-b029-59656566a699" providerId="ADAL" clId="{06DD399E-387B-6247-9101-D9256D82257F}" dt="2021-10-06T14:29:25.724" v="25838" actId="14734"/>
          <ac:graphicFrameMkLst>
            <pc:docMk/>
            <pc:sldMk cId="468507741" sldId="2145707143"/>
            <ac:graphicFrameMk id="5" creationId="{A1A1E082-93A7-2341-B277-5872BC7FB95B}"/>
          </ac:graphicFrameMkLst>
        </pc:graphicFrameChg>
      </pc:sldChg>
      <pc:sldChg chg="modSp add mod ord">
        <pc:chgData name="Dan McTavish" userId="3bdd38c9-93c5-470d-b029-59656566a699" providerId="ADAL" clId="{06DD399E-387B-6247-9101-D9256D82257F}" dt="2021-10-09T11:29:09.201" v="43143" actId="20578"/>
        <pc:sldMkLst>
          <pc:docMk/>
          <pc:sldMk cId="2049783955" sldId="2145707144"/>
        </pc:sldMkLst>
        <pc:graphicFrameChg chg="mod modGraphic">
          <ac:chgData name="Dan McTavish" userId="3bdd38c9-93c5-470d-b029-59656566a699" providerId="ADAL" clId="{06DD399E-387B-6247-9101-D9256D82257F}" dt="2021-10-09T11:28:53.922" v="43142" actId="313"/>
          <ac:graphicFrameMkLst>
            <pc:docMk/>
            <pc:sldMk cId="2049783955" sldId="2145707144"/>
            <ac:graphicFrameMk id="5" creationId="{A1A1E082-93A7-2341-B277-5872BC7FB95B}"/>
          </ac:graphicFrameMkLst>
        </pc:graphicFrameChg>
      </pc:sldChg>
      <pc:sldChg chg="modSp add mod ord">
        <pc:chgData name="Dan McTavish" userId="3bdd38c9-93c5-470d-b029-59656566a699" providerId="ADAL" clId="{06DD399E-387B-6247-9101-D9256D82257F}" dt="2021-11-23T12:56:44.407" v="92169" actId="14734"/>
        <pc:sldMkLst>
          <pc:docMk/>
          <pc:sldMk cId="186437211" sldId="2145707145"/>
        </pc:sldMkLst>
        <pc:spChg chg="mod">
          <ac:chgData name="Dan McTavish" userId="3bdd38c9-93c5-470d-b029-59656566a699" providerId="ADAL" clId="{06DD399E-387B-6247-9101-D9256D82257F}" dt="2021-10-06T15:27:36.672" v="25886" actId="20577"/>
          <ac:spMkLst>
            <pc:docMk/>
            <pc:sldMk cId="186437211" sldId="2145707145"/>
            <ac:spMk id="2" creationId="{23C47170-A357-0540-A812-A0FEC348D32C}"/>
          </ac:spMkLst>
        </pc:spChg>
        <pc:graphicFrameChg chg="mod modGraphic">
          <ac:chgData name="Dan McTavish" userId="3bdd38c9-93c5-470d-b029-59656566a699" providerId="ADAL" clId="{06DD399E-387B-6247-9101-D9256D82257F}" dt="2021-11-23T12:56:44.407" v="92169" actId="14734"/>
          <ac:graphicFrameMkLst>
            <pc:docMk/>
            <pc:sldMk cId="186437211" sldId="2145707145"/>
            <ac:graphicFrameMk id="5" creationId="{A1A1E082-93A7-2341-B277-5872BC7FB95B}"/>
          </ac:graphicFrameMkLst>
        </pc:graphicFrameChg>
      </pc:sldChg>
      <pc:sldChg chg="new del">
        <pc:chgData name="Dan McTavish" userId="3bdd38c9-93c5-470d-b029-59656566a699" providerId="ADAL" clId="{06DD399E-387B-6247-9101-D9256D82257F}" dt="2021-10-07T10:22:39.553" v="26808" actId="680"/>
        <pc:sldMkLst>
          <pc:docMk/>
          <pc:sldMk cId="1014021648" sldId="2145707146"/>
        </pc:sldMkLst>
      </pc:sldChg>
      <pc:sldChg chg="modSp add mod ord">
        <pc:chgData name="Dan McTavish" userId="3bdd38c9-93c5-470d-b029-59656566a699" providerId="ADAL" clId="{06DD399E-387B-6247-9101-D9256D82257F}" dt="2021-10-20T08:02:05.089" v="72361" actId="14100"/>
        <pc:sldMkLst>
          <pc:docMk/>
          <pc:sldMk cId="2099246873" sldId="2145707146"/>
        </pc:sldMkLst>
        <pc:spChg chg="mod">
          <ac:chgData name="Dan McTavish" userId="3bdd38c9-93c5-470d-b029-59656566a699" providerId="ADAL" clId="{06DD399E-387B-6247-9101-D9256D82257F}" dt="2021-10-08T16:31:25.094" v="37360" actId="20577"/>
          <ac:spMkLst>
            <pc:docMk/>
            <pc:sldMk cId="2099246873" sldId="2145707146"/>
            <ac:spMk id="2" creationId="{23C47170-A357-0540-A812-A0FEC348D32C}"/>
          </ac:spMkLst>
        </pc:spChg>
        <pc:graphicFrameChg chg="mod modGraphic">
          <ac:chgData name="Dan McTavish" userId="3bdd38c9-93c5-470d-b029-59656566a699" providerId="ADAL" clId="{06DD399E-387B-6247-9101-D9256D82257F}" dt="2021-10-20T08:02:05.089" v="72361" actId="14100"/>
          <ac:graphicFrameMkLst>
            <pc:docMk/>
            <pc:sldMk cId="2099246873" sldId="2145707146"/>
            <ac:graphicFrameMk id="5" creationId="{A1A1E082-93A7-2341-B277-5872BC7FB95B}"/>
          </ac:graphicFrameMkLst>
        </pc:graphicFrameChg>
      </pc:sldChg>
      <pc:sldChg chg="new del">
        <pc:chgData name="Dan McTavish" userId="3bdd38c9-93c5-470d-b029-59656566a699" providerId="ADAL" clId="{06DD399E-387B-6247-9101-D9256D82257F}" dt="2021-10-07T10:27:08.369" v="26810" actId="2696"/>
        <pc:sldMkLst>
          <pc:docMk/>
          <pc:sldMk cId="2212367797" sldId="2145707146"/>
        </pc:sldMkLst>
      </pc:sldChg>
      <pc:sldChg chg="modSp add del mod">
        <pc:chgData name="Dan McTavish" userId="3bdd38c9-93c5-470d-b029-59656566a699" providerId="ADAL" clId="{06DD399E-387B-6247-9101-D9256D82257F}" dt="2021-10-07T14:34:05.876" v="30518" actId="2696"/>
        <pc:sldMkLst>
          <pc:docMk/>
          <pc:sldMk cId="2788330942" sldId="2145707147"/>
        </pc:sldMkLst>
        <pc:picChg chg="mod">
          <ac:chgData name="Dan McTavish" userId="3bdd38c9-93c5-470d-b029-59656566a699" providerId="ADAL" clId="{06DD399E-387B-6247-9101-D9256D82257F}" dt="2021-10-07T12:46:29.981" v="27968" actId="207"/>
          <ac:picMkLst>
            <pc:docMk/>
            <pc:sldMk cId="2788330942" sldId="2145707147"/>
            <ac:picMk id="7" creationId="{99927EFD-263C-8A42-8E65-2570A9DD0E3A}"/>
          </ac:picMkLst>
        </pc:picChg>
      </pc:sldChg>
      <pc:sldChg chg="modSp add mod ord">
        <pc:chgData name="Dan McTavish" userId="3bdd38c9-93c5-470d-b029-59656566a699" providerId="ADAL" clId="{06DD399E-387B-6247-9101-D9256D82257F}" dt="2021-10-10T16:46:57.856" v="49711" actId="313"/>
        <pc:sldMkLst>
          <pc:docMk/>
          <pc:sldMk cId="2975083381" sldId="2145707148"/>
        </pc:sldMkLst>
        <pc:spChg chg="mod">
          <ac:chgData name="Dan McTavish" userId="3bdd38c9-93c5-470d-b029-59656566a699" providerId="ADAL" clId="{06DD399E-387B-6247-9101-D9256D82257F}" dt="2021-10-07T13:09:37.028" v="28651" actId="20577"/>
          <ac:spMkLst>
            <pc:docMk/>
            <pc:sldMk cId="2975083381" sldId="2145707148"/>
            <ac:spMk id="2" creationId="{23C47170-A357-0540-A812-A0FEC348D32C}"/>
          </ac:spMkLst>
        </pc:spChg>
        <pc:graphicFrameChg chg="mod modGraphic">
          <ac:chgData name="Dan McTavish" userId="3bdd38c9-93c5-470d-b029-59656566a699" providerId="ADAL" clId="{06DD399E-387B-6247-9101-D9256D82257F}" dt="2021-10-10T16:46:57.856" v="49711" actId="313"/>
          <ac:graphicFrameMkLst>
            <pc:docMk/>
            <pc:sldMk cId="2975083381" sldId="2145707148"/>
            <ac:graphicFrameMk id="5" creationId="{A1A1E082-93A7-2341-B277-5872BC7FB95B}"/>
          </ac:graphicFrameMkLst>
        </pc:graphicFrameChg>
      </pc:sldChg>
      <pc:sldChg chg="addSp delSp modSp add del mod ord">
        <pc:chgData name="Dan McTavish" userId="3bdd38c9-93c5-470d-b029-59656566a699" providerId="ADAL" clId="{06DD399E-387B-6247-9101-D9256D82257F}" dt="2021-10-07T14:30:20.183" v="30508" actId="2696"/>
        <pc:sldMkLst>
          <pc:docMk/>
          <pc:sldMk cId="840926715" sldId="2145707149"/>
        </pc:sldMkLst>
        <pc:spChg chg="add del">
          <ac:chgData name="Dan McTavish" userId="3bdd38c9-93c5-470d-b029-59656566a699" providerId="ADAL" clId="{06DD399E-387B-6247-9101-D9256D82257F}" dt="2021-10-07T14:29:08.510" v="30484" actId="478"/>
          <ac:spMkLst>
            <pc:docMk/>
            <pc:sldMk cId="840926715" sldId="2145707149"/>
            <ac:spMk id="4" creationId="{4F663578-F070-3B49-8F93-8E569E8622CB}"/>
          </ac:spMkLst>
        </pc:spChg>
        <pc:spChg chg="mod">
          <ac:chgData name="Dan McTavish" userId="3bdd38c9-93c5-470d-b029-59656566a699" providerId="ADAL" clId="{06DD399E-387B-6247-9101-D9256D82257F}" dt="2021-10-07T14:22:13.958" v="30259" actId="1076"/>
          <ac:spMkLst>
            <pc:docMk/>
            <pc:sldMk cId="840926715" sldId="2145707149"/>
            <ac:spMk id="9" creationId="{6202E203-05F8-2845-9744-864BE43297F8}"/>
          </ac:spMkLst>
        </pc:spChg>
        <pc:spChg chg="mod">
          <ac:chgData name="Dan McTavish" userId="3bdd38c9-93c5-470d-b029-59656566a699" providerId="ADAL" clId="{06DD399E-387B-6247-9101-D9256D82257F}" dt="2021-10-07T14:23:53.149" v="30262" actId="1076"/>
          <ac:spMkLst>
            <pc:docMk/>
            <pc:sldMk cId="840926715" sldId="2145707149"/>
            <ac:spMk id="10" creationId="{75869530-141A-1A4C-A99D-02D2593AF49B}"/>
          </ac:spMkLst>
        </pc:spChg>
        <pc:spChg chg="mod">
          <ac:chgData name="Dan McTavish" userId="3bdd38c9-93c5-470d-b029-59656566a699" providerId="ADAL" clId="{06DD399E-387B-6247-9101-D9256D82257F}" dt="2021-10-07T14:23:50.402" v="30261" actId="1076"/>
          <ac:spMkLst>
            <pc:docMk/>
            <pc:sldMk cId="840926715" sldId="2145707149"/>
            <ac:spMk id="12" creationId="{0EF27AD5-C1FD-B746-9CD9-A190EBCE9318}"/>
          </ac:spMkLst>
        </pc:spChg>
        <pc:spChg chg="mod">
          <ac:chgData name="Dan McTavish" userId="3bdd38c9-93c5-470d-b029-59656566a699" providerId="ADAL" clId="{06DD399E-387B-6247-9101-D9256D82257F}" dt="2021-10-07T14:20:06.742" v="30224" actId="1037"/>
          <ac:spMkLst>
            <pc:docMk/>
            <pc:sldMk cId="840926715" sldId="2145707149"/>
            <ac:spMk id="14" creationId="{E973EEFB-A164-3443-AD74-6F9C71E4AE36}"/>
          </ac:spMkLst>
        </pc:spChg>
        <pc:spChg chg="mod">
          <ac:chgData name="Dan McTavish" userId="3bdd38c9-93c5-470d-b029-59656566a699" providerId="ADAL" clId="{06DD399E-387B-6247-9101-D9256D82257F}" dt="2021-10-07T14:20:27.402" v="30253" actId="1037"/>
          <ac:spMkLst>
            <pc:docMk/>
            <pc:sldMk cId="840926715" sldId="2145707149"/>
            <ac:spMk id="16" creationId="{02E8C3DE-1B76-E94D-9B89-2E46846710D4}"/>
          </ac:spMkLst>
        </pc:spChg>
        <pc:spChg chg="mod">
          <ac:chgData name="Dan McTavish" userId="3bdd38c9-93c5-470d-b029-59656566a699" providerId="ADAL" clId="{06DD399E-387B-6247-9101-D9256D82257F}" dt="2021-10-07T14:20:38.559" v="30255" actId="1076"/>
          <ac:spMkLst>
            <pc:docMk/>
            <pc:sldMk cId="840926715" sldId="2145707149"/>
            <ac:spMk id="17" creationId="{368CD5D2-EB08-314B-AAF7-EE0F682C66D5}"/>
          </ac:spMkLst>
        </pc:spChg>
        <pc:spChg chg="add del mod">
          <ac:chgData name="Dan McTavish" userId="3bdd38c9-93c5-470d-b029-59656566a699" providerId="ADAL" clId="{06DD399E-387B-6247-9101-D9256D82257F}" dt="2021-10-07T14:19:45.953" v="30218" actId="255"/>
          <ac:spMkLst>
            <pc:docMk/>
            <pc:sldMk cId="840926715" sldId="2145707149"/>
            <ac:spMk id="18" creationId="{5222C53B-8786-4D48-9230-432CB7157E9F}"/>
          </ac:spMkLst>
        </pc:spChg>
        <pc:picChg chg="add del mod">
          <ac:chgData name="Dan McTavish" userId="3bdd38c9-93c5-470d-b029-59656566a699" providerId="ADAL" clId="{06DD399E-387B-6247-9101-D9256D82257F}" dt="2021-10-07T14:29:26.942" v="30491" actId="478"/>
          <ac:picMkLst>
            <pc:docMk/>
            <pc:sldMk cId="840926715" sldId="2145707149"/>
            <ac:picMk id="19" creationId="{6D100EC2-51B2-C24D-801B-F8770C4CACC3}"/>
          </ac:picMkLst>
        </pc:picChg>
        <pc:picChg chg="add mod">
          <ac:chgData name="Dan McTavish" userId="3bdd38c9-93c5-470d-b029-59656566a699" providerId="ADAL" clId="{06DD399E-387B-6247-9101-D9256D82257F}" dt="2021-10-07T14:29:31.129" v="30493" actId="1076"/>
          <ac:picMkLst>
            <pc:docMk/>
            <pc:sldMk cId="840926715" sldId="2145707149"/>
            <ac:picMk id="20" creationId="{B4E578F4-DF35-E147-8C03-9349EAE34444}"/>
          </ac:picMkLst>
        </pc:picChg>
        <pc:picChg chg="mod">
          <ac:chgData name="Dan McTavish" userId="3bdd38c9-93c5-470d-b029-59656566a699" providerId="ADAL" clId="{06DD399E-387B-6247-9101-D9256D82257F}" dt="2021-10-07T14:24:55.084" v="30482"/>
          <ac:picMkLst>
            <pc:docMk/>
            <pc:sldMk cId="840926715" sldId="2145707149"/>
            <ac:picMk id="1026" creationId="{40D32668-EADC-7941-B0C9-E190863818AF}"/>
          </ac:picMkLst>
        </pc:picChg>
      </pc:sldChg>
      <pc:sldChg chg="addSp delSp modSp add del mod">
        <pc:chgData name="Dan McTavish" userId="3bdd38c9-93c5-470d-b029-59656566a699" providerId="ADAL" clId="{06DD399E-387B-6247-9101-D9256D82257F}" dt="2021-10-08T09:10:42.287" v="32519"/>
        <pc:sldMkLst>
          <pc:docMk/>
          <pc:sldMk cId="3462806675" sldId="2145707150"/>
        </pc:sldMkLst>
        <pc:spChg chg="del">
          <ac:chgData name="Dan McTavish" userId="3bdd38c9-93c5-470d-b029-59656566a699" providerId="ADAL" clId="{06DD399E-387B-6247-9101-D9256D82257F}" dt="2021-10-07T14:47:22.588" v="30586" actId="478"/>
          <ac:spMkLst>
            <pc:docMk/>
            <pc:sldMk cId="3462806675" sldId="2145707150"/>
            <ac:spMk id="2" creationId="{5C1976D7-57CC-A046-A5D5-465BE452893F}"/>
          </ac:spMkLst>
        </pc:spChg>
        <pc:spChg chg="mod">
          <ac:chgData name="Dan McTavish" userId="3bdd38c9-93c5-470d-b029-59656566a699" providerId="ADAL" clId="{06DD399E-387B-6247-9101-D9256D82257F}" dt="2021-10-07T16:24:15.021" v="32516" actId="20577"/>
          <ac:spMkLst>
            <pc:docMk/>
            <pc:sldMk cId="3462806675" sldId="2145707150"/>
            <ac:spMk id="3" creationId="{9727F235-D435-AC40-9012-B1AFF6D2161F}"/>
          </ac:spMkLst>
        </pc:spChg>
        <pc:spChg chg="add mod">
          <ac:chgData name="Dan McTavish" userId="3bdd38c9-93c5-470d-b029-59656566a699" providerId="ADAL" clId="{06DD399E-387B-6247-9101-D9256D82257F}" dt="2021-10-07T14:50:00.784" v="30604" actId="313"/>
          <ac:spMkLst>
            <pc:docMk/>
            <pc:sldMk cId="3462806675" sldId="2145707150"/>
            <ac:spMk id="4" creationId="{99542A22-9D28-E047-AE05-7E06C859E778}"/>
          </ac:spMkLst>
        </pc:spChg>
        <pc:spChg chg="mod">
          <ac:chgData name="Dan McTavish" userId="3bdd38c9-93c5-470d-b029-59656566a699" providerId="ADAL" clId="{06DD399E-387B-6247-9101-D9256D82257F}" dt="2021-10-07T14:34:16.153" v="30519" actId="14100"/>
          <ac:spMkLst>
            <pc:docMk/>
            <pc:sldMk cId="3462806675" sldId="2145707150"/>
            <ac:spMk id="8" creationId="{638D8710-524F-E548-BE2D-31091AAAA5FC}"/>
          </ac:spMkLst>
        </pc:spChg>
        <pc:spChg chg="del mod">
          <ac:chgData name="Dan McTavish" userId="3bdd38c9-93c5-470d-b029-59656566a699" providerId="ADAL" clId="{06DD399E-387B-6247-9101-D9256D82257F}" dt="2021-10-07T14:41:38.390" v="30526" actId="478"/>
          <ac:spMkLst>
            <pc:docMk/>
            <pc:sldMk cId="3462806675" sldId="2145707150"/>
            <ac:spMk id="9" creationId="{6202E203-05F8-2845-9744-864BE43297F8}"/>
          </ac:spMkLst>
        </pc:spChg>
        <pc:spChg chg="del">
          <ac:chgData name="Dan McTavish" userId="3bdd38c9-93c5-470d-b029-59656566a699" providerId="ADAL" clId="{06DD399E-387B-6247-9101-D9256D82257F}" dt="2021-10-07T14:29:53.692" v="30502" actId="478"/>
          <ac:spMkLst>
            <pc:docMk/>
            <pc:sldMk cId="3462806675" sldId="2145707150"/>
            <ac:spMk id="10" creationId="{75869530-141A-1A4C-A99D-02D2593AF49B}"/>
          </ac:spMkLst>
        </pc:spChg>
        <pc:spChg chg="del">
          <ac:chgData name="Dan McTavish" userId="3bdd38c9-93c5-470d-b029-59656566a699" providerId="ADAL" clId="{06DD399E-387B-6247-9101-D9256D82257F}" dt="2021-10-07T14:29:52.645" v="30501" actId="478"/>
          <ac:spMkLst>
            <pc:docMk/>
            <pc:sldMk cId="3462806675" sldId="2145707150"/>
            <ac:spMk id="12" creationId="{0EF27AD5-C1FD-B746-9CD9-A190EBCE9318}"/>
          </ac:spMkLst>
        </pc:spChg>
        <pc:spChg chg="del">
          <ac:chgData name="Dan McTavish" userId="3bdd38c9-93c5-470d-b029-59656566a699" providerId="ADAL" clId="{06DD399E-387B-6247-9101-D9256D82257F}" dt="2021-10-07T14:29:51.523" v="30500" actId="478"/>
          <ac:spMkLst>
            <pc:docMk/>
            <pc:sldMk cId="3462806675" sldId="2145707150"/>
            <ac:spMk id="13" creationId="{1A5757B5-438A-3E4D-A756-E61B16C564C5}"/>
          </ac:spMkLst>
        </pc:spChg>
        <pc:spChg chg="del">
          <ac:chgData name="Dan McTavish" userId="3bdd38c9-93c5-470d-b029-59656566a699" providerId="ADAL" clId="{06DD399E-387B-6247-9101-D9256D82257F}" dt="2021-10-07T14:29:50.891" v="30499" actId="478"/>
          <ac:spMkLst>
            <pc:docMk/>
            <pc:sldMk cId="3462806675" sldId="2145707150"/>
            <ac:spMk id="14" creationId="{E973EEFB-A164-3443-AD74-6F9C71E4AE36}"/>
          </ac:spMkLst>
        </pc:spChg>
        <pc:spChg chg="del mod">
          <ac:chgData name="Dan McTavish" userId="3bdd38c9-93c5-470d-b029-59656566a699" providerId="ADAL" clId="{06DD399E-387B-6247-9101-D9256D82257F}" dt="2021-10-07T14:29:57.552" v="30505" actId="478"/>
          <ac:spMkLst>
            <pc:docMk/>
            <pc:sldMk cId="3462806675" sldId="2145707150"/>
            <ac:spMk id="16" creationId="{02E8C3DE-1B76-E94D-9B89-2E46846710D4}"/>
          </ac:spMkLst>
        </pc:spChg>
        <pc:spChg chg="del">
          <ac:chgData name="Dan McTavish" userId="3bdd38c9-93c5-470d-b029-59656566a699" providerId="ADAL" clId="{06DD399E-387B-6247-9101-D9256D82257F}" dt="2021-10-07T14:29:49.801" v="30498" actId="478"/>
          <ac:spMkLst>
            <pc:docMk/>
            <pc:sldMk cId="3462806675" sldId="2145707150"/>
            <ac:spMk id="17" creationId="{368CD5D2-EB08-314B-AAF7-EE0F682C66D5}"/>
          </ac:spMkLst>
        </pc:spChg>
        <pc:spChg chg="del">
          <ac:chgData name="Dan McTavish" userId="3bdd38c9-93c5-470d-b029-59656566a699" providerId="ADAL" clId="{06DD399E-387B-6247-9101-D9256D82257F}" dt="2021-10-07T14:29:48.427" v="30497" actId="478"/>
          <ac:spMkLst>
            <pc:docMk/>
            <pc:sldMk cId="3462806675" sldId="2145707150"/>
            <ac:spMk id="18" creationId="{5222C53B-8786-4D48-9230-432CB7157E9F}"/>
          </ac:spMkLst>
        </pc:spChg>
        <pc:spChg chg="del">
          <ac:chgData name="Dan McTavish" userId="3bdd38c9-93c5-470d-b029-59656566a699" providerId="ADAL" clId="{06DD399E-387B-6247-9101-D9256D82257F}" dt="2021-10-07T14:29:55.731" v="30504" actId="478"/>
          <ac:spMkLst>
            <pc:docMk/>
            <pc:sldMk cId="3462806675" sldId="2145707150"/>
            <ac:spMk id="31" creationId="{A0E1AC89-DCDB-5B4C-A645-848A9AE8B4E8}"/>
          </ac:spMkLst>
        </pc:spChg>
        <pc:graphicFrameChg chg="mod modGraphic">
          <ac:chgData name="Dan McTavish" userId="3bdd38c9-93c5-470d-b029-59656566a699" providerId="ADAL" clId="{06DD399E-387B-6247-9101-D9256D82257F}" dt="2021-10-07T14:46:46.735" v="30538" actId="14100"/>
          <ac:graphicFrameMkLst>
            <pc:docMk/>
            <pc:sldMk cId="3462806675" sldId="2145707150"/>
            <ac:graphicFrameMk id="6" creationId="{6F702D48-9599-724C-B5B3-CF659D19C36A}"/>
          </ac:graphicFrameMkLst>
        </pc:graphicFrameChg>
        <pc:picChg chg="mod modCrop">
          <ac:chgData name="Dan McTavish" userId="3bdd38c9-93c5-470d-b029-59656566a699" providerId="ADAL" clId="{06DD399E-387B-6247-9101-D9256D82257F}" dt="2021-10-07T14:47:11.382" v="30585" actId="167"/>
          <ac:picMkLst>
            <pc:docMk/>
            <pc:sldMk cId="3462806675" sldId="2145707150"/>
            <ac:picMk id="20" creationId="{B4E578F4-DF35-E147-8C03-9349EAE34444}"/>
          </ac:picMkLst>
        </pc:picChg>
        <pc:picChg chg="del">
          <ac:chgData name="Dan McTavish" userId="3bdd38c9-93c5-470d-b029-59656566a699" providerId="ADAL" clId="{06DD399E-387B-6247-9101-D9256D82257F}" dt="2021-10-07T14:29:44.418" v="30495" actId="478"/>
          <ac:picMkLst>
            <pc:docMk/>
            <pc:sldMk cId="3462806675" sldId="2145707150"/>
            <ac:picMk id="1026" creationId="{40D32668-EADC-7941-B0C9-E190863818AF}"/>
          </ac:picMkLst>
        </pc:picChg>
      </pc:sldChg>
      <pc:sldChg chg="modSp ord">
        <pc:chgData name="Dan McTavish" userId="3bdd38c9-93c5-470d-b029-59656566a699" providerId="ADAL" clId="{06DD399E-387B-6247-9101-D9256D82257F}" dt="2021-10-10T16:47:13.065" v="49712"/>
        <pc:sldMkLst>
          <pc:docMk/>
          <pc:sldMk cId="2619527506" sldId="2145707151"/>
        </pc:sldMkLst>
        <pc:graphicFrameChg chg="mod">
          <ac:chgData name="Dan McTavish" userId="3bdd38c9-93c5-470d-b029-59656566a699" providerId="ADAL" clId="{06DD399E-387B-6247-9101-D9256D82257F}" dt="2021-10-10T16:47:13.065" v="49712"/>
          <ac:graphicFrameMkLst>
            <pc:docMk/>
            <pc:sldMk cId="2619527506" sldId="2145707151"/>
            <ac:graphicFrameMk id="5" creationId="{A1A1E082-93A7-2341-B277-5872BC7FB95B}"/>
          </ac:graphicFrameMkLst>
        </pc:graphicFrameChg>
      </pc:sldChg>
      <pc:sldChg chg="add del">
        <pc:chgData name="Dan McTavish" userId="3bdd38c9-93c5-470d-b029-59656566a699" providerId="ADAL" clId="{06DD399E-387B-6247-9101-D9256D82257F}" dt="2021-10-08T09:11:09.964" v="32520" actId="2696"/>
        <pc:sldMkLst>
          <pc:docMk/>
          <pc:sldMk cId="4082456471" sldId="2145707151"/>
        </pc:sldMkLst>
      </pc:sldChg>
      <pc:sldChg chg="modSp add mod ord">
        <pc:chgData name="Dan McTavish" userId="3bdd38c9-93c5-470d-b029-59656566a699" providerId="ADAL" clId="{06DD399E-387B-6247-9101-D9256D82257F}" dt="2021-10-08T16:05:33.440" v="35777" actId="20578"/>
        <pc:sldMkLst>
          <pc:docMk/>
          <pc:sldMk cId="2450164866" sldId="2145707152"/>
        </pc:sldMkLst>
        <pc:spChg chg="mod">
          <ac:chgData name="Dan McTavish" userId="3bdd38c9-93c5-470d-b029-59656566a699" providerId="ADAL" clId="{06DD399E-387B-6247-9101-D9256D82257F}" dt="2021-10-08T14:03:26.797" v="32563" actId="20577"/>
          <ac:spMkLst>
            <pc:docMk/>
            <pc:sldMk cId="2450164866" sldId="2145707152"/>
            <ac:spMk id="2" creationId="{23C47170-A357-0540-A812-A0FEC348D32C}"/>
          </ac:spMkLst>
        </pc:spChg>
        <pc:graphicFrameChg chg="mod modGraphic">
          <ac:chgData name="Dan McTavish" userId="3bdd38c9-93c5-470d-b029-59656566a699" providerId="ADAL" clId="{06DD399E-387B-6247-9101-D9256D82257F}" dt="2021-10-08T15:08:03.745" v="35776" actId="33524"/>
          <ac:graphicFrameMkLst>
            <pc:docMk/>
            <pc:sldMk cId="2450164866" sldId="2145707152"/>
            <ac:graphicFrameMk id="5" creationId="{A1A1E082-93A7-2341-B277-5872BC7FB95B}"/>
          </ac:graphicFrameMkLst>
        </pc:graphicFrameChg>
      </pc:sldChg>
      <pc:sldChg chg="modSp add mod">
        <pc:chgData name="Dan McTavish" userId="3bdd38c9-93c5-470d-b029-59656566a699" providerId="ADAL" clId="{06DD399E-387B-6247-9101-D9256D82257F}" dt="2021-10-08T17:30:32.587" v="39936" actId="20577"/>
        <pc:sldMkLst>
          <pc:docMk/>
          <pc:sldMk cId="998408239" sldId="2145707153"/>
        </pc:sldMkLst>
        <pc:graphicFrameChg chg="modGraphic">
          <ac:chgData name="Dan McTavish" userId="3bdd38c9-93c5-470d-b029-59656566a699" providerId="ADAL" clId="{06DD399E-387B-6247-9101-D9256D82257F}" dt="2021-10-08T17:30:32.587" v="39936" actId="20577"/>
          <ac:graphicFrameMkLst>
            <pc:docMk/>
            <pc:sldMk cId="998408239" sldId="2145707153"/>
            <ac:graphicFrameMk id="5" creationId="{A1A1E082-93A7-2341-B277-5872BC7FB95B}"/>
          </ac:graphicFrameMkLst>
        </pc:graphicFrameChg>
      </pc:sldChg>
      <pc:sldChg chg="modSp add mod ord">
        <pc:chgData name="Dan McTavish" userId="3bdd38c9-93c5-470d-b029-59656566a699" providerId="ADAL" clId="{06DD399E-387B-6247-9101-D9256D82257F}" dt="2021-10-10T10:58:03.967" v="46747" actId="20577"/>
        <pc:sldMkLst>
          <pc:docMk/>
          <pc:sldMk cId="3000803748" sldId="2145707154"/>
        </pc:sldMkLst>
        <pc:spChg chg="mod">
          <ac:chgData name="Dan McTavish" userId="3bdd38c9-93c5-470d-b029-59656566a699" providerId="ADAL" clId="{06DD399E-387B-6247-9101-D9256D82257F}" dt="2021-10-09T11:46:03.265" v="45020" actId="5793"/>
          <ac:spMkLst>
            <pc:docMk/>
            <pc:sldMk cId="3000803748" sldId="2145707154"/>
            <ac:spMk id="2" creationId="{23C47170-A357-0540-A812-A0FEC348D32C}"/>
          </ac:spMkLst>
        </pc:spChg>
        <pc:graphicFrameChg chg="mod modGraphic">
          <ac:chgData name="Dan McTavish" userId="3bdd38c9-93c5-470d-b029-59656566a699" providerId="ADAL" clId="{06DD399E-387B-6247-9101-D9256D82257F}" dt="2021-10-10T10:58:03.967" v="46747" actId="20577"/>
          <ac:graphicFrameMkLst>
            <pc:docMk/>
            <pc:sldMk cId="3000803748" sldId="2145707154"/>
            <ac:graphicFrameMk id="5" creationId="{A1A1E082-93A7-2341-B277-5872BC7FB95B}"/>
          </ac:graphicFrameMkLst>
        </pc:graphicFrameChg>
      </pc:sldChg>
      <pc:sldChg chg="addSp delSp modSp add del mod ord">
        <pc:chgData name="Dan McTavish" userId="3bdd38c9-93c5-470d-b029-59656566a699" providerId="ADAL" clId="{06DD399E-387B-6247-9101-D9256D82257F}" dt="2021-10-18T11:33:25.126" v="65565" actId="2696"/>
        <pc:sldMkLst>
          <pc:docMk/>
          <pc:sldMk cId="3081289538" sldId="2145707155"/>
        </pc:sldMkLst>
        <pc:spChg chg="mod">
          <ac:chgData name="Dan McTavish" userId="3bdd38c9-93c5-470d-b029-59656566a699" providerId="ADAL" clId="{06DD399E-387B-6247-9101-D9256D82257F}" dt="2021-10-11T11:59:12.121" v="54253" actId="20577"/>
          <ac:spMkLst>
            <pc:docMk/>
            <pc:sldMk cId="3081289538" sldId="2145707155"/>
            <ac:spMk id="2" creationId="{23C47170-A357-0540-A812-A0FEC348D32C}"/>
          </ac:spMkLst>
        </pc:spChg>
        <pc:spChg chg="add del mod">
          <ac:chgData name="Dan McTavish" userId="3bdd38c9-93c5-470d-b029-59656566a699" providerId="ADAL" clId="{06DD399E-387B-6247-9101-D9256D82257F}" dt="2021-10-11T09:59:56.773" v="49862"/>
          <ac:spMkLst>
            <pc:docMk/>
            <pc:sldMk cId="3081289538" sldId="2145707155"/>
            <ac:spMk id="4" creationId="{92823366-9DED-F047-97C0-A6E8BEB499E2}"/>
          </ac:spMkLst>
        </pc:spChg>
        <pc:spChg chg="add del mod">
          <ac:chgData name="Dan McTavish" userId="3bdd38c9-93c5-470d-b029-59656566a699" providerId="ADAL" clId="{06DD399E-387B-6247-9101-D9256D82257F}" dt="2021-10-13T08:04:30.394" v="57636"/>
          <ac:spMkLst>
            <pc:docMk/>
            <pc:sldMk cId="3081289538" sldId="2145707155"/>
            <ac:spMk id="4" creationId="{D2EF260D-72C6-724D-875D-2FB3C6A9EFA3}"/>
          </ac:spMkLst>
        </pc:spChg>
        <pc:graphicFrameChg chg="mod modGraphic">
          <ac:chgData name="Dan McTavish" userId="3bdd38c9-93c5-470d-b029-59656566a699" providerId="ADAL" clId="{06DD399E-387B-6247-9101-D9256D82257F}" dt="2021-10-11T12:01:36" v="54296" actId="113"/>
          <ac:graphicFrameMkLst>
            <pc:docMk/>
            <pc:sldMk cId="3081289538" sldId="2145707155"/>
            <ac:graphicFrameMk id="5" creationId="{A1A1E082-93A7-2341-B277-5872BC7FB95B}"/>
          </ac:graphicFrameMkLst>
        </pc:graphicFrameChg>
        <pc:graphicFrameChg chg="add del mod">
          <ac:chgData name="Dan McTavish" userId="3bdd38c9-93c5-470d-b029-59656566a699" providerId="ADAL" clId="{06DD399E-387B-6247-9101-D9256D82257F}" dt="2021-10-11T11:39:51.174" v="53091" actId="478"/>
          <ac:graphicFrameMkLst>
            <pc:docMk/>
            <pc:sldMk cId="3081289538" sldId="2145707155"/>
            <ac:graphicFrameMk id="6" creationId="{0F0DE07F-0A96-AD49-B8D3-D23D2A1B4B7C}"/>
          </ac:graphicFrameMkLst>
        </pc:graphicFrameChg>
      </pc:sldChg>
      <pc:sldChg chg="modSp add mod ord">
        <pc:chgData name="Dan McTavish" userId="3bdd38c9-93c5-470d-b029-59656566a699" providerId="ADAL" clId="{06DD399E-387B-6247-9101-D9256D82257F}" dt="2021-10-18T11:01:08.535" v="62982" actId="20578"/>
        <pc:sldMkLst>
          <pc:docMk/>
          <pc:sldMk cId="4151783051" sldId="2145707156"/>
        </pc:sldMkLst>
        <pc:spChg chg="mod">
          <ac:chgData name="Dan McTavish" userId="3bdd38c9-93c5-470d-b029-59656566a699" providerId="ADAL" clId="{06DD399E-387B-6247-9101-D9256D82257F}" dt="2021-10-10T16:21:57.740" v="48593" actId="20577"/>
          <ac:spMkLst>
            <pc:docMk/>
            <pc:sldMk cId="4151783051" sldId="2145707156"/>
            <ac:spMk id="2" creationId="{23C47170-A357-0540-A812-A0FEC348D32C}"/>
          </ac:spMkLst>
        </pc:spChg>
        <pc:graphicFrameChg chg="mod modGraphic">
          <ac:chgData name="Dan McTavish" userId="3bdd38c9-93c5-470d-b029-59656566a699" providerId="ADAL" clId="{06DD399E-387B-6247-9101-D9256D82257F}" dt="2021-10-18T11:01:00.837" v="62981" actId="20577"/>
          <ac:graphicFrameMkLst>
            <pc:docMk/>
            <pc:sldMk cId="4151783051" sldId="2145707156"/>
            <ac:graphicFrameMk id="5" creationId="{A1A1E082-93A7-2341-B277-5872BC7FB95B}"/>
          </ac:graphicFrameMkLst>
        </pc:graphicFrameChg>
      </pc:sldChg>
      <pc:sldChg chg="addSp delSp modSp add del mod ord">
        <pc:chgData name="Dan McTavish" userId="3bdd38c9-93c5-470d-b029-59656566a699" providerId="ADAL" clId="{06DD399E-387B-6247-9101-D9256D82257F}" dt="2021-10-18T11:04:34.439" v="62994" actId="20577"/>
        <pc:sldMkLst>
          <pc:docMk/>
          <pc:sldMk cId="1351592566" sldId="2145707157"/>
        </pc:sldMkLst>
        <pc:spChg chg="mod">
          <ac:chgData name="Dan McTavish" userId="3bdd38c9-93c5-470d-b029-59656566a699" providerId="ADAL" clId="{06DD399E-387B-6247-9101-D9256D82257F}" dt="2021-10-18T11:04:34.439" v="62994" actId="20577"/>
          <ac:spMkLst>
            <pc:docMk/>
            <pc:sldMk cId="1351592566" sldId="2145707157"/>
            <ac:spMk id="2" creationId="{23C47170-A357-0540-A812-A0FEC348D32C}"/>
          </ac:spMkLst>
        </pc:spChg>
        <pc:spChg chg="add del mod">
          <ac:chgData name="Dan McTavish" userId="3bdd38c9-93c5-470d-b029-59656566a699" providerId="ADAL" clId="{06DD399E-387B-6247-9101-D9256D82257F}" dt="2021-10-10T16:21:46.331" v="48575"/>
          <ac:spMkLst>
            <pc:docMk/>
            <pc:sldMk cId="1351592566" sldId="2145707157"/>
            <ac:spMk id="4" creationId="{701E6ED0-2B35-5A4C-B05D-9D02BACB67D7}"/>
          </ac:spMkLst>
        </pc:spChg>
        <pc:graphicFrameChg chg="mod modGraphic">
          <ac:chgData name="Dan McTavish" userId="3bdd38c9-93c5-470d-b029-59656566a699" providerId="ADAL" clId="{06DD399E-387B-6247-9101-D9256D82257F}" dt="2021-10-11T09:14:06.450" v="49855" actId="14734"/>
          <ac:graphicFrameMkLst>
            <pc:docMk/>
            <pc:sldMk cId="1351592566" sldId="2145707157"/>
            <ac:graphicFrameMk id="5" creationId="{A1A1E082-93A7-2341-B277-5872BC7FB95B}"/>
          </ac:graphicFrameMkLst>
        </pc:graphicFrameChg>
      </pc:sldChg>
      <pc:sldChg chg="addSp delSp modSp add del mod">
        <pc:chgData name="Dan McTavish" userId="3bdd38c9-93c5-470d-b029-59656566a699" providerId="ADAL" clId="{06DD399E-387B-6247-9101-D9256D82257F}" dt="2021-10-10T16:23:19.484" v="48653" actId="2696"/>
        <pc:sldMkLst>
          <pc:docMk/>
          <pc:sldMk cId="95672847" sldId="2145707158"/>
        </pc:sldMkLst>
        <pc:spChg chg="mod">
          <ac:chgData name="Dan McTavish" userId="3bdd38c9-93c5-470d-b029-59656566a699" providerId="ADAL" clId="{06DD399E-387B-6247-9101-D9256D82257F}" dt="2021-10-10T16:23:02.600" v="48650" actId="20577"/>
          <ac:spMkLst>
            <pc:docMk/>
            <pc:sldMk cId="95672847" sldId="2145707158"/>
            <ac:spMk id="2" creationId="{23C47170-A357-0540-A812-A0FEC348D32C}"/>
          </ac:spMkLst>
        </pc:spChg>
        <pc:spChg chg="add del mod">
          <ac:chgData name="Dan McTavish" userId="3bdd38c9-93c5-470d-b029-59656566a699" providerId="ADAL" clId="{06DD399E-387B-6247-9101-D9256D82257F}" dt="2021-10-10T16:23:04.100" v="48652"/>
          <ac:spMkLst>
            <pc:docMk/>
            <pc:sldMk cId="95672847" sldId="2145707158"/>
            <ac:spMk id="4" creationId="{6AB4896A-5E57-4E43-B55E-B9B0A3C4CB6F}"/>
          </ac:spMkLst>
        </pc:spChg>
      </pc:sldChg>
      <pc:sldChg chg="modSp add mod ord">
        <pc:chgData name="Dan McTavish" userId="3bdd38c9-93c5-470d-b029-59656566a699" providerId="ADAL" clId="{06DD399E-387B-6247-9101-D9256D82257F}" dt="2021-10-26T08:04:16.689" v="80456" actId="20578"/>
        <pc:sldMkLst>
          <pc:docMk/>
          <pc:sldMk cId="268948547" sldId="2145707158"/>
        </pc:sldMkLst>
        <pc:spChg chg="mod">
          <ac:chgData name="Dan McTavish" userId="3bdd38c9-93c5-470d-b029-59656566a699" providerId="ADAL" clId="{06DD399E-387B-6247-9101-D9256D82257F}" dt="2021-10-11T11:31:42.950" v="53085" actId="20577"/>
          <ac:spMkLst>
            <pc:docMk/>
            <pc:sldMk cId="268948547" sldId="2145707158"/>
            <ac:spMk id="2" creationId="{23C47170-A357-0540-A812-A0FEC348D32C}"/>
          </ac:spMkLst>
        </pc:spChg>
        <pc:graphicFrameChg chg="mod modGraphic">
          <ac:chgData name="Dan McTavish" userId="3bdd38c9-93c5-470d-b029-59656566a699" providerId="ADAL" clId="{06DD399E-387B-6247-9101-D9256D82257F}" dt="2021-10-12T12:58:47.843" v="57632" actId="20577"/>
          <ac:graphicFrameMkLst>
            <pc:docMk/>
            <pc:sldMk cId="268948547" sldId="2145707158"/>
            <ac:graphicFrameMk id="5" creationId="{A1A1E082-93A7-2341-B277-5872BC7FB95B}"/>
          </ac:graphicFrameMkLst>
        </pc:graphicFrameChg>
      </pc:sldChg>
      <pc:sldChg chg="modSp add mod ord">
        <pc:chgData name="Dan McTavish" userId="3bdd38c9-93c5-470d-b029-59656566a699" providerId="ADAL" clId="{06DD399E-387B-6247-9101-D9256D82257F}" dt="2021-10-12T12:57:26.118" v="57606" actId="313"/>
        <pc:sldMkLst>
          <pc:docMk/>
          <pc:sldMk cId="631440114" sldId="2145707159"/>
        </pc:sldMkLst>
        <pc:spChg chg="mod">
          <ac:chgData name="Dan McTavish" userId="3bdd38c9-93c5-470d-b029-59656566a699" providerId="ADAL" clId="{06DD399E-387B-6247-9101-D9256D82257F}" dt="2021-10-12T12:43:05.922" v="56366" actId="20577"/>
          <ac:spMkLst>
            <pc:docMk/>
            <pc:sldMk cId="631440114" sldId="2145707159"/>
            <ac:spMk id="2" creationId="{23C47170-A357-0540-A812-A0FEC348D32C}"/>
          </ac:spMkLst>
        </pc:spChg>
        <pc:graphicFrameChg chg="mod modGraphic">
          <ac:chgData name="Dan McTavish" userId="3bdd38c9-93c5-470d-b029-59656566a699" providerId="ADAL" clId="{06DD399E-387B-6247-9101-D9256D82257F}" dt="2021-10-12T12:57:26.118" v="57606" actId="313"/>
          <ac:graphicFrameMkLst>
            <pc:docMk/>
            <pc:sldMk cId="631440114" sldId="2145707159"/>
            <ac:graphicFrameMk id="5" creationId="{A1A1E082-93A7-2341-B277-5872BC7FB95B}"/>
          </ac:graphicFrameMkLst>
        </pc:graphicFrameChg>
      </pc:sldChg>
      <pc:sldChg chg="modSp add mod ord modShow">
        <pc:chgData name="Dan McTavish" userId="3bdd38c9-93c5-470d-b029-59656566a699" providerId="ADAL" clId="{06DD399E-387B-6247-9101-D9256D82257F}" dt="2021-11-30T09:48:10.063" v="92170"/>
        <pc:sldMkLst>
          <pc:docMk/>
          <pc:sldMk cId="1909228005" sldId="2145707160"/>
        </pc:sldMkLst>
        <pc:spChg chg="mod">
          <ac:chgData name="Dan McTavish" userId="3bdd38c9-93c5-470d-b029-59656566a699" providerId="ADAL" clId="{06DD399E-387B-6247-9101-D9256D82257F}" dt="2021-11-30T09:48:10.063" v="92170"/>
          <ac:spMkLst>
            <pc:docMk/>
            <pc:sldMk cId="1909228005" sldId="2145707160"/>
            <ac:spMk id="2" creationId="{00000000-0000-0000-0000-000000000000}"/>
          </ac:spMkLst>
        </pc:spChg>
        <pc:spChg chg="mod">
          <ac:chgData name="Dan McTavish" userId="3bdd38c9-93c5-470d-b029-59656566a699" providerId="ADAL" clId="{06DD399E-387B-6247-9101-D9256D82257F}" dt="2021-11-30T09:48:10.063" v="92170"/>
          <ac:spMkLst>
            <pc:docMk/>
            <pc:sldMk cId="1909228005" sldId="2145707160"/>
            <ac:spMk id="3" creationId="{00000000-0000-0000-0000-000000000000}"/>
          </ac:spMkLst>
        </pc:spChg>
        <pc:spChg chg="mod">
          <ac:chgData name="Dan McTavish" userId="3bdd38c9-93c5-470d-b029-59656566a699" providerId="ADAL" clId="{06DD399E-387B-6247-9101-D9256D82257F}" dt="2021-11-30T09:48:10.063" v="92170"/>
          <ac:spMkLst>
            <pc:docMk/>
            <pc:sldMk cId="1909228005" sldId="2145707160"/>
            <ac:spMk id="6" creationId="{62E3292C-AE15-8E46-8E62-F9C713150B0B}"/>
          </ac:spMkLst>
        </pc:spChg>
        <pc:spChg chg="mod">
          <ac:chgData name="Dan McTavish" userId="3bdd38c9-93c5-470d-b029-59656566a699" providerId="ADAL" clId="{06DD399E-387B-6247-9101-D9256D82257F}" dt="2021-11-30T09:48:10.063" v="92170"/>
          <ac:spMkLst>
            <pc:docMk/>
            <pc:sldMk cId="1909228005" sldId="2145707160"/>
            <ac:spMk id="7" creationId="{B4CF97F0-A72F-3548-B6E2-F7FDA86E817B}"/>
          </ac:spMkLst>
        </pc:spChg>
        <pc:spChg chg="mod">
          <ac:chgData name="Dan McTavish" userId="3bdd38c9-93c5-470d-b029-59656566a699" providerId="ADAL" clId="{06DD399E-387B-6247-9101-D9256D82257F}" dt="2021-11-30T09:48:10.063" v="92170"/>
          <ac:spMkLst>
            <pc:docMk/>
            <pc:sldMk cId="1909228005" sldId="2145707160"/>
            <ac:spMk id="19" creationId="{A1274B1C-C051-2A45-BFB8-F91265C2D8E0}"/>
          </ac:spMkLst>
        </pc:spChg>
        <pc:grpChg chg="mod">
          <ac:chgData name="Dan McTavish" userId="3bdd38c9-93c5-470d-b029-59656566a699" providerId="ADAL" clId="{06DD399E-387B-6247-9101-D9256D82257F}" dt="2021-11-30T09:48:10.063" v="92170"/>
          <ac:grpSpMkLst>
            <pc:docMk/>
            <pc:sldMk cId="1909228005" sldId="2145707160"/>
            <ac:grpSpMk id="1" creationId="{00000000-0000-0000-0000-000000000000}"/>
          </ac:grpSpMkLst>
        </pc:grpChg>
        <pc:graphicFrameChg chg="mod">
          <ac:chgData name="Dan McTavish" userId="3bdd38c9-93c5-470d-b029-59656566a699" providerId="ADAL" clId="{06DD399E-387B-6247-9101-D9256D82257F}" dt="2021-11-30T09:48:10.063" v="92170"/>
          <ac:graphicFrameMkLst>
            <pc:docMk/>
            <pc:sldMk cId="1909228005" sldId="2145707160"/>
            <ac:graphicFrameMk id="4" creationId="{00000000-0000-0000-0000-000000000000}"/>
          </ac:graphicFrameMkLst>
        </pc:graphicFrameChg>
        <pc:graphicFrameChg chg="mod">
          <ac:chgData name="Dan McTavish" userId="3bdd38c9-93c5-470d-b029-59656566a699" providerId="ADAL" clId="{06DD399E-387B-6247-9101-D9256D82257F}" dt="2021-11-30T09:48:10.063" v="92170"/>
          <ac:graphicFrameMkLst>
            <pc:docMk/>
            <pc:sldMk cId="1909228005" sldId="2145707160"/>
            <ac:graphicFrameMk id="9" creationId="{0A29D54C-1B74-B740-B224-E17F5D6326AE}"/>
          </ac:graphicFrameMkLst>
        </pc:graphicFrameChg>
        <pc:graphicFrameChg chg="mod">
          <ac:chgData name="Dan McTavish" userId="3bdd38c9-93c5-470d-b029-59656566a699" providerId="ADAL" clId="{06DD399E-387B-6247-9101-D9256D82257F}" dt="2021-11-30T09:48:10.063" v="92170"/>
          <ac:graphicFrameMkLst>
            <pc:docMk/>
            <pc:sldMk cId="1909228005" sldId="2145707160"/>
            <ac:graphicFrameMk id="10" creationId="{A226D61D-C3F0-AD42-87E9-7D7BB7F954AF}"/>
          </ac:graphicFrameMkLst>
        </pc:graphicFrameChg>
        <pc:picChg chg="mod">
          <ac:chgData name="Dan McTavish" userId="3bdd38c9-93c5-470d-b029-59656566a699" providerId="ADAL" clId="{06DD399E-387B-6247-9101-D9256D82257F}" dt="2021-11-30T09:48:10.063" v="92170"/>
          <ac:picMkLst>
            <pc:docMk/>
            <pc:sldMk cId="1909228005" sldId="2145707160"/>
            <ac:picMk id="12" creationId="{ACB97710-995B-754E-8566-3CF6941D043D}"/>
          </ac:picMkLst>
        </pc:picChg>
        <pc:picChg chg="mod">
          <ac:chgData name="Dan McTavish" userId="3bdd38c9-93c5-470d-b029-59656566a699" providerId="ADAL" clId="{06DD399E-387B-6247-9101-D9256D82257F}" dt="2021-11-30T09:48:10.063" v="92170"/>
          <ac:picMkLst>
            <pc:docMk/>
            <pc:sldMk cId="1909228005" sldId="2145707160"/>
            <ac:picMk id="14" creationId="{4D3E0617-F5E5-4345-84DB-D3BE218456B7}"/>
          </ac:picMkLst>
        </pc:picChg>
        <pc:picChg chg="mod">
          <ac:chgData name="Dan McTavish" userId="3bdd38c9-93c5-470d-b029-59656566a699" providerId="ADAL" clId="{06DD399E-387B-6247-9101-D9256D82257F}" dt="2021-11-30T09:48:10.063" v="92170"/>
          <ac:picMkLst>
            <pc:docMk/>
            <pc:sldMk cId="1909228005" sldId="2145707160"/>
            <ac:picMk id="16" creationId="{C078A8B1-DA1E-A040-A1AC-5B54BA4DB2CE}"/>
          </ac:picMkLst>
        </pc:picChg>
        <pc:picChg chg="mod">
          <ac:chgData name="Dan McTavish" userId="3bdd38c9-93c5-470d-b029-59656566a699" providerId="ADAL" clId="{06DD399E-387B-6247-9101-D9256D82257F}" dt="2021-11-30T09:48:10.063" v="92170"/>
          <ac:picMkLst>
            <pc:docMk/>
            <pc:sldMk cId="1909228005" sldId="2145707160"/>
            <ac:picMk id="18" creationId="{4BE95D9C-64EA-6A47-9DDE-FF5DB88CC374}"/>
          </ac:picMkLst>
        </pc:picChg>
      </pc:sldChg>
      <pc:sldChg chg="modSp add mod ord modNotesTx">
        <pc:chgData name="Dan McTavish" userId="3bdd38c9-93c5-470d-b029-59656566a699" providerId="ADAL" clId="{06DD399E-387B-6247-9101-D9256D82257F}" dt="2021-10-19T08:01:30.432" v="68124" actId="20577"/>
        <pc:sldMkLst>
          <pc:docMk/>
          <pc:sldMk cId="642802485" sldId="2145707161"/>
        </pc:sldMkLst>
        <pc:spChg chg="mod">
          <ac:chgData name="Dan McTavish" userId="3bdd38c9-93c5-470d-b029-59656566a699" providerId="ADAL" clId="{06DD399E-387B-6247-9101-D9256D82257F}" dt="2021-10-18T11:36:13.134" v="65636" actId="20577"/>
          <ac:spMkLst>
            <pc:docMk/>
            <pc:sldMk cId="642802485" sldId="2145707161"/>
            <ac:spMk id="2" creationId="{23C47170-A357-0540-A812-A0FEC348D32C}"/>
          </ac:spMkLst>
        </pc:spChg>
        <pc:graphicFrameChg chg="mod modGraphic">
          <ac:chgData name="Dan McTavish" userId="3bdd38c9-93c5-470d-b029-59656566a699" providerId="ADAL" clId="{06DD399E-387B-6247-9101-D9256D82257F}" dt="2021-10-19T07:57:34.679" v="68122" actId="20577"/>
          <ac:graphicFrameMkLst>
            <pc:docMk/>
            <pc:sldMk cId="642802485" sldId="2145707161"/>
            <ac:graphicFrameMk id="5" creationId="{A1A1E082-93A7-2341-B277-5872BC7FB95B}"/>
          </ac:graphicFrameMkLst>
        </pc:graphicFrameChg>
      </pc:sldChg>
      <pc:sldChg chg="modSp add del mod">
        <pc:chgData name="Dan McTavish" userId="3bdd38c9-93c5-470d-b029-59656566a699" providerId="ADAL" clId="{06DD399E-387B-6247-9101-D9256D82257F}" dt="2021-10-18T09:40:52.879" v="60991" actId="2696"/>
        <pc:sldMkLst>
          <pc:docMk/>
          <pc:sldMk cId="4128025524" sldId="2145707162"/>
        </pc:sldMkLst>
        <pc:spChg chg="mod">
          <ac:chgData name="Dan McTavish" userId="3bdd38c9-93c5-470d-b029-59656566a699" providerId="ADAL" clId="{06DD399E-387B-6247-9101-D9256D82257F}" dt="2021-10-13T08:08:07.307" v="57680" actId="20577"/>
          <ac:spMkLst>
            <pc:docMk/>
            <pc:sldMk cId="4128025524" sldId="2145707162"/>
            <ac:spMk id="2" creationId="{23C47170-A357-0540-A812-A0FEC348D32C}"/>
          </ac:spMkLst>
        </pc:spChg>
        <pc:graphicFrameChg chg="modGraphic">
          <ac:chgData name="Dan McTavish" userId="3bdd38c9-93c5-470d-b029-59656566a699" providerId="ADAL" clId="{06DD399E-387B-6247-9101-D9256D82257F}" dt="2021-10-13T09:48:39.574" v="57871" actId="6549"/>
          <ac:graphicFrameMkLst>
            <pc:docMk/>
            <pc:sldMk cId="4128025524" sldId="2145707162"/>
            <ac:graphicFrameMk id="5" creationId="{A1A1E082-93A7-2341-B277-5872BC7FB95B}"/>
          </ac:graphicFrameMkLst>
        </pc:graphicFrameChg>
      </pc:sldChg>
      <pc:sldChg chg="modSp add ord">
        <pc:chgData name="Dan McTavish" userId="3bdd38c9-93c5-470d-b029-59656566a699" providerId="ADAL" clId="{06DD399E-387B-6247-9101-D9256D82257F}" dt="2021-11-30T09:48:10.063" v="92170"/>
        <pc:sldMkLst>
          <pc:docMk/>
          <pc:sldMk cId="451671605" sldId="2145707163"/>
        </pc:sldMkLst>
        <pc:spChg chg="mod">
          <ac:chgData name="Dan McTavish" userId="3bdd38c9-93c5-470d-b029-59656566a699" providerId="ADAL" clId="{06DD399E-387B-6247-9101-D9256D82257F}" dt="2021-11-30T09:48:10.063" v="92170"/>
          <ac:spMkLst>
            <pc:docMk/>
            <pc:sldMk cId="451671605" sldId="2145707163"/>
            <ac:spMk id="2" creationId="{00000000-0000-0000-0000-000000000000}"/>
          </ac:spMkLst>
        </pc:spChg>
        <pc:spChg chg="mod">
          <ac:chgData name="Dan McTavish" userId="3bdd38c9-93c5-470d-b029-59656566a699" providerId="ADAL" clId="{06DD399E-387B-6247-9101-D9256D82257F}" dt="2021-11-30T09:48:10.063" v="92170"/>
          <ac:spMkLst>
            <pc:docMk/>
            <pc:sldMk cId="451671605" sldId="2145707163"/>
            <ac:spMk id="3" creationId="{00000000-0000-0000-0000-000000000000}"/>
          </ac:spMkLst>
        </pc:spChg>
        <pc:spChg chg="mod">
          <ac:chgData name="Dan McTavish" userId="3bdd38c9-93c5-470d-b029-59656566a699" providerId="ADAL" clId="{06DD399E-387B-6247-9101-D9256D82257F}" dt="2021-11-30T09:48:10.063" v="92170"/>
          <ac:spMkLst>
            <pc:docMk/>
            <pc:sldMk cId="451671605" sldId="2145707163"/>
            <ac:spMk id="6" creationId="{62E3292C-AE15-8E46-8E62-F9C713150B0B}"/>
          </ac:spMkLst>
        </pc:spChg>
        <pc:grpChg chg="mod">
          <ac:chgData name="Dan McTavish" userId="3bdd38c9-93c5-470d-b029-59656566a699" providerId="ADAL" clId="{06DD399E-387B-6247-9101-D9256D82257F}" dt="2021-11-30T09:48:10.063" v="92170"/>
          <ac:grpSpMkLst>
            <pc:docMk/>
            <pc:sldMk cId="451671605" sldId="2145707163"/>
            <ac:grpSpMk id="1" creationId="{00000000-0000-0000-0000-000000000000}"/>
          </ac:grpSpMkLst>
        </pc:grpChg>
        <pc:graphicFrameChg chg="mod">
          <ac:chgData name="Dan McTavish" userId="3bdd38c9-93c5-470d-b029-59656566a699" providerId="ADAL" clId="{06DD399E-387B-6247-9101-D9256D82257F}" dt="2021-11-30T09:48:10.063" v="92170"/>
          <ac:graphicFrameMkLst>
            <pc:docMk/>
            <pc:sldMk cId="451671605" sldId="2145707163"/>
            <ac:graphicFrameMk id="4" creationId="{00000000-0000-0000-0000-000000000000}"/>
          </ac:graphicFrameMkLst>
        </pc:graphicFrameChg>
        <pc:graphicFrameChg chg="mod">
          <ac:chgData name="Dan McTavish" userId="3bdd38c9-93c5-470d-b029-59656566a699" providerId="ADAL" clId="{06DD399E-387B-6247-9101-D9256D82257F}" dt="2021-11-30T09:48:10.063" v="92170"/>
          <ac:graphicFrameMkLst>
            <pc:docMk/>
            <pc:sldMk cId="451671605" sldId="2145707163"/>
            <ac:graphicFrameMk id="7" creationId="{0652C58B-32C6-9446-B4B3-CCE2F64D5CB7}"/>
          </ac:graphicFrameMkLst>
        </pc:graphicFrameChg>
      </pc:sldChg>
      <pc:sldChg chg="modSp add mod ord">
        <pc:chgData name="Dan McTavish" userId="3bdd38c9-93c5-470d-b029-59656566a699" providerId="ADAL" clId="{06DD399E-387B-6247-9101-D9256D82257F}" dt="2021-12-02T14:11:52.492" v="92879" actId="20577"/>
        <pc:sldMkLst>
          <pc:docMk/>
          <pc:sldMk cId="54800713" sldId="2145707164"/>
        </pc:sldMkLst>
        <pc:spChg chg="mod">
          <ac:chgData name="Dan McTavish" userId="3bdd38c9-93c5-470d-b029-59656566a699" providerId="ADAL" clId="{06DD399E-387B-6247-9101-D9256D82257F}" dt="2021-10-14T15:29:27.623" v="60165" actId="20577"/>
          <ac:spMkLst>
            <pc:docMk/>
            <pc:sldMk cId="54800713" sldId="2145707164"/>
            <ac:spMk id="2" creationId="{23C47170-A357-0540-A812-A0FEC348D32C}"/>
          </ac:spMkLst>
        </pc:spChg>
        <pc:graphicFrameChg chg="mod modGraphic">
          <ac:chgData name="Dan McTavish" userId="3bdd38c9-93c5-470d-b029-59656566a699" providerId="ADAL" clId="{06DD399E-387B-6247-9101-D9256D82257F}" dt="2021-12-02T14:11:52.492" v="92879" actId="20577"/>
          <ac:graphicFrameMkLst>
            <pc:docMk/>
            <pc:sldMk cId="54800713" sldId="2145707164"/>
            <ac:graphicFrameMk id="5" creationId="{A1A1E082-93A7-2341-B277-5872BC7FB95B}"/>
          </ac:graphicFrameMkLst>
        </pc:graphicFrameChg>
      </pc:sldChg>
      <pc:sldChg chg="add del">
        <pc:chgData name="Dan McTavish" userId="3bdd38c9-93c5-470d-b029-59656566a699" providerId="ADAL" clId="{06DD399E-387B-6247-9101-D9256D82257F}" dt="2021-10-14T15:29:57.210" v="60171"/>
        <pc:sldMkLst>
          <pc:docMk/>
          <pc:sldMk cId="2475326954" sldId="2145707165"/>
        </pc:sldMkLst>
      </pc:sldChg>
      <pc:sldChg chg="modSp add mod ord">
        <pc:chgData name="Dan McTavish" userId="3bdd38c9-93c5-470d-b029-59656566a699" providerId="ADAL" clId="{06DD399E-387B-6247-9101-D9256D82257F}" dt="2021-10-18T11:43:43.975" v="65898" actId="313"/>
        <pc:sldMkLst>
          <pc:docMk/>
          <pc:sldMk cId="3160472428" sldId="2145707165"/>
        </pc:sldMkLst>
        <pc:spChg chg="mod">
          <ac:chgData name="Dan McTavish" userId="3bdd38c9-93c5-470d-b029-59656566a699" providerId="ADAL" clId="{06DD399E-387B-6247-9101-D9256D82257F}" dt="2021-10-18T11:06:08.239" v="63027" actId="20577"/>
          <ac:spMkLst>
            <pc:docMk/>
            <pc:sldMk cId="3160472428" sldId="2145707165"/>
            <ac:spMk id="2" creationId="{23C47170-A357-0540-A812-A0FEC348D32C}"/>
          </ac:spMkLst>
        </pc:spChg>
        <pc:graphicFrameChg chg="modGraphic">
          <ac:chgData name="Dan McTavish" userId="3bdd38c9-93c5-470d-b029-59656566a699" providerId="ADAL" clId="{06DD399E-387B-6247-9101-D9256D82257F}" dt="2021-10-18T11:43:43.975" v="65898" actId="313"/>
          <ac:graphicFrameMkLst>
            <pc:docMk/>
            <pc:sldMk cId="3160472428" sldId="2145707165"/>
            <ac:graphicFrameMk id="5" creationId="{A1A1E082-93A7-2341-B277-5872BC7FB95B}"/>
          </ac:graphicFrameMkLst>
        </pc:graphicFrameChg>
      </pc:sldChg>
      <pc:sldChg chg="modSp add mod">
        <pc:chgData name="Dan McTavish" userId="3bdd38c9-93c5-470d-b029-59656566a699" providerId="ADAL" clId="{06DD399E-387B-6247-9101-D9256D82257F}" dt="2021-10-20T11:29:56.418" v="72370" actId="20577"/>
        <pc:sldMkLst>
          <pc:docMk/>
          <pc:sldMk cId="453201455" sldId="2145707166"/>
        </pc:sldMkLst>
        <pc:graphicFrameChg chg="mod modGraphic">
          <ac:chgData name="Dan McTavish" userId="3bdd38c9-93c5-470d-b029-59656566a699" providerId="ADAL" clId="{06DD399E-387B-6247-9101-D9256D82257F}" dt="2021-10-20T11:29:56.418" v="72370" actId="20577"/>
          <ac:graphicFrameMkLst>
            <pc:docMk/>
            <pc:sldMk cId="453201455" sldId="2145707166"/>
            <ac:graphicFrameMk id="7" creationId="{0652C58B-32C6-9446-B4B3-CCE2F64D5CB7}"/>
          </ac:graphicFrameMkLst>
        </pc:graphicFrameChg>
      </pc:sldChg>
      <pc:sldChg chg="add">
        <pc:chgData name="Dan McTavish" userId="3bdd38c9-93c5-470d-b029-59656566a699" providerId="ADAL" clId="{06DD399E-387B-6247-9101-D9256D82257F}" dt="2021-10-18T11:46:08.174" v="65900"/>
        <pc:sldMkLst>
          <pc:docMk/>
          <pc:sldMk cId="561540980" sldId="2145707167"/>
        </pc:sldMkLst>
      </pc:sldChg>
      <pc:sldChg chg="modSp add mod">
        <pc:chgData name="Dan McTavish" userId="3bdd38c9-93c5-470d-b029-59656566a699" providerId="ADAL" clId="{06DD399E-387B-6247-9101-D9256D82257F}" dt="2021-10-29T08:06:52.137" v="89104" actId="2"/>
        <pc:sldMkLst>
          <pc:docMk/>
          <pc:sldMk cId="365222853" sldId="2145707168"/>
        </pc:sldMkLst>
        <pc:graphicFrameChg chg="modGraphic">
          <ac:chgData name="Dan McTavish" userId="3bdd38c9-93c5-470d-b029-59656566a699" providerId="ADAL" clId="{06DD399E-387B-6247-9101-D9256D82257F}" dt="2021-10-29T08:06:52.137" v="89104" actId="2"/>
          <ac:graphicFrameMkLst>
            <pc:docMk/>
            <pc:sldMk cId="365222853" sldId="2145707168"/>
            <ac:graphicFrameMk id="7" creationId="{0652C58B-32C6-9446-B4B3-CCE2F64D5CB7}"/>
          </ac:graphicFrameMkLst>
        </pc:graphicFrameChg>
      </pc:sldChg>
      <pc:sldChg chg="add">
        <pc:chgData name="Dan McTavish" userId="3bdd38c9-93c5-470d-b029-59656566a699" providerId="ADAL" clId="{06DD399E-387B-6247-9101-D9256D82257F}" dt="2021-10-18T11:46:08.174" v="65900"/>
        <pc:sldMkLst>
          <pc:docMk/>
          <pc:sldMk cId="4102888677" sldId="2145707169"/>
        </pc:sldMkLst>
      </pc:sldChg>
      <pc:sldChg chg="modSp add mod ord addCm modNotesTx">
        <pc:chgData name="Dan McTavish" userId="3bdd38c9-93c5-470d-b029-59656566a699" providerId="ADAL" clId="{06DD399E-387B-6247-9101-D9256D82257F}" dt="2021-11-08T13:23:31.014" v="89988" actId="20578"/>
        <pc:sldMkLst>
          <pc:docMk/>
          <pc:sldMk cId="2552193057" sldId="2145707170"/>
        </pc:sldMkLst>
        <pc:spChg chg="mod">
          <ac:chgData name="Dan McTavish" userId="3bdd38c9-93c5-470d-b029-59656566a699" providerId="ADAL" clId="{06DD399E-387B-6247-9101-D9256D82257F}" dt="2021-11-08T11:20:02.820" v="89237" actId="20577"/>
          <ac:spMkLst>
            <pc:docMk/>
            <pc:sldMk cId="2552193057" sldId="2145707170"/>
            <ac:spMk id="2" creationId="{00000000-0000-0000-0000-000000000000}"/>
          </ac:spMkLst>
        </pc:spChg>
        <pc:spChg chg="mod">
          <ac:chgData name="Dan McTavish" userId="3bdd38c9-93c5-470d-b029-59656566a699" providerId="ADAL" clId="{06DD399E-387B-6247-9101-D9256D82257F}" dt="2021-11-08T13:23:31.014" v="89988" actId="20578"/>
          <ac:spMkLst>
            <pc:docMk/>
            <pc:sldMk cId="2552193057" sldId="2145707170"/>
            <ac:spMk id="17" creationId="{A0786D38-8BB9-C14A-96BF-033146F7208D}"/>
          </ac:spMkLst>
        </pc:spChg>
        <pc:spChg chg="mod">
          <ac:chgData name="Dan McTavish" userId="3bdd38c9-93c5-470d-b029-59656566a699" providerId="ADAL" clId="{06DD399E-387B-6247-9101-D9256D82257F}" dt="2021-11-08T10:17:38.109" v="89136" actId="20577"/>
          <ac:spMkLst>
            <pc:docMk/>
            <pc:sldMk cId="2552193057" sldId="2145707170"/>
            <ac:spMk id="54" creationId="{A7DD93EE-2A6C-2D44-8C5F-34F2D3F3960E}"/>
          </ac:spMkLst>
        </pc:spChg>
        <pc:spChg chg="mod">
          <ac:chgData name="Dan McTavish" userId="3bdd38c9-93c5-470d-b029-59656566a699" providerId="ADAL" clId="{06DD399E-387B-6247-9101-D9256D82257F}" dt="2021-11-08T10:20:57.523" v="89171" actId="20578"/>
          <ac:spMkLst>
            <pc:docMk/>
            <pc:sldMk cId="2552193057" sldId="2145707170"/>
            <ac:spMk id="89" creationId="{D97D64F7-0C08-6C4B-A54A-0D71A9636618}"/>
          </ac:spMkLst>
        </pc:spChg>
      </pc:sldChg>
      <pc:sldChg chg="add">
        <pc:chgData name="Dan McTavish" userId="3bdd38c9-93c5-470d-b029-59656566a699" providerId="ADAL" clId="{06DD399E-387B-6247-9101-D9256D82257F}" dt="2021-10-19T08:36:25.515" v="68125"/>
        <pc:sldMkLst>
          <pc:docMk/>
          <pc:sldMk cId="192151864" sldId="2145707171"/>
        </pc:sldMkLst>
      </pc:sldChg>
      <pc:sldChg chg="add del">
        <pc:chgData name="Dan McTavish" userId="3bdd38c9-93c5-470d-b029-59656566a699" providerId="ADAL" clId="{06DD399E-387B-6247-9101-D9256D82257F}" dt="2021-10-25T15:48:05.041" v="80450" actId="2696"/>
        <pc:sldMkLst>
          <pc:docMk/>
          <pc:sldMk cId="1011479175" sldId="2145707172"/>
        </pc:sldMkLst>
      </pc:sldChg>
      <pc:sldChg chg="modSp add mod ord">
        <pc:chgData name="Dan McTavish" userId="3bdd38c9-93c5-470d-b029-59656566a699" providerId="ADAL" clId="{06DD399E-387B-6247-9101-D9256D82257F}" dt="2021-10-25T15:47:40.076" v="80449" actId="20577"/>
        <pc:sldMkLst>
          <pc:docMk/>
          <pc:sldMk cId="142993496" sldId="2145707173"/>
        </pc:sldMkLst>
        <pc:spChg chg="mod">
          <ac:chgData name="Dan McTavish" userId="3bdd38c9-93c5-470d-b029-59656566a699" providerId="ADAL" clId="{06DD399E-387B-6247-9101-D9256D82257F}" dt="2021-10-19T14:06:28.555" v="68185" actId="20577"/>
          <ac:spMkLst>
            <pc:docMk/>
            <pc:sldMk cId="142993496" sldId="2145707173"/>
            <ac:spMk id="2" creationId="{23C47170-A357-0540-A812-A0FEC348D32C}"/>
          </ac:spMkLst>
        </pc:spChg>
        <pc:graphicFrameChg chg="mod modGraphic">
          <ac:chgData name="Dan McTavish" userId="3bdd38c9-93c5-470d-b029-59656566a699" providerId="ADAL" clId="{06DD399E-387B-6247-9101-D9256D82257F}" dt="2021-10-25T15:47:40.076" v="80449" actId="20577"/>
          <ac:graphicFrameMkLst>
            <pc:docMk/>
            <pc:sldMk cId="142993496" sldId="2145707173"/>
            <ac:graphicFrameMk id="5" creationId="{A1A1E082-93A7-2341-B277-5872BC7FB95B}"/>
          </ac:graphicFrameMkLst>
        </pc:graphicFrameChg>
      </pc:sldChg>
      <pc:sldChg chg="modSp add mod modNotesTx">
        <pc:chgData name="Dan McTavish" userId="3bdd38c9-93c5-470d-b029-59656566a699" providerId="ADAL" clId="{06DD399E-387B-6247-9101-D9256D82257F}" dt="2021-10-25T14:18:56.655" v="77400" actId="14734"/>
        <pc:sldMkLst>
          <pc:docMk/>
          <pc:sldMk cId="2534044850" sldId="2145707174"/>
        </pc:sldMkLst>
        <pc:spChg chg="mod">
          <ac:chgData name="Dan McTavish" userId="3bdd38c9-93c5-470d-b029-59656566a699" providerId="ADAL" clId="{06DD399E-387B-6247-9101-D9256D82257F}" dt="2021-10-19T14:39:54.355" v="69931" actId="20577"/>
          <ac:spMkLst>
            <pc:docMk/>
            <pc:sldMk cId="2534044850" sldId="2145707174"/>
            <ac:spMk id="2" creationId="{23C47170-A357-0540-A812-A0FEC348D32C}"/>
          </ac:spMkLst>
        </pc:spChg>
        <pc:graphicFrameChg chg="modGraphic">
          <ac:chgData name="Dan McTavish" userId="3bdd38c9-93c5-470d-b029-59656566a699" providerId="ADAL" clId="{06DD399E-387B-6247-9101-D9256D82257F}" dt="2021-10-25T14:18:56.655" v="77400" actId="14734"/>
          <ac:graphicFrameMkLst>
            <pc:docMk/>
            <pc:sldMk cId="2534044850" sldId="2145707174"/>
            <ac:graphicFrameMk id="5" creationId="{A1A1E082-93A7-2341-B277-5872BC7FB95B}"/>
          </ac:graphicFrameMkLst>
        </pc:graphicFrameChg>
      </pc:sldChg>
      <pc:sldChg chg="modSp add">
        <pc:chgData name="Dan McTavish" userId="3bdd38c9-93c5-470d-b029-59656566a699" providerId="ADAL" clId="{06DD399E-387B-6247-9101-D9256D82257F}" dt="2021-11-30T09:48:10.063" v="92170"/>
        <pc:sldMkLst>
          <pc:docMk/>
          <pc:sldMk cId="436909755" sldId="2145707175"/>
        </pc:sldMkLst>
        <pc:spChg chg="mod">
          <ac:chgData name="Dan McTavish" userId="3bdd38c9-93c5-470d-b029-59656566a699" providerId="ADAL" clId="{06DD399E-387B-6247-9101-D9256D82257F}" dt="2021-11-30T09:48:10.063" v="92170"/>
          <ac:spMkLst>
            <pc:docMk/>
            <pc:sldMk cId="436909755" sldId="2145707175"/>
            <ac:spMk id="3" creationId="{00000000-0000-0000-0000-000000000000}"/>
          </ac:spMkLst>
        </pc:spChg>
        <pc:spChg chg="mod">
          <ac:chgData name="Dan McTavish" userId="3bdd38c9-93c5-470d-b029-59656566a699" providerId="ADAL" clId="{06DD399E-387B-6247-9101-D9256D82257F}" dt="2021-11-30T09:48:10.063" v="92170"/>
          <ac:spMkLst>
            <pc:docMk/>
            <pc:sldMk cId="436909755" sldId="2145707175"/>
            <ac:spMk id="6" creationId="{62E3292C-AE15-8E46-8E62-F9C713150B0B}"/>
          </ac:spMkLst>
        </pc:spChg>
        <pc:spChg chg="mod">
          <ac:chgData name="Dan McTavish" userId="3bdd38c9-93c5-470d-b029-59656566a699" providerId="ADAL" clId="{06DD399E-387B-6247-9101-D9256D82257F}" dt="2021-11-30T09:48:10.063" v="92170"/>
          <ac:spMkLst>
            <pc:docMk/>
            <pc:sldMk cId="436909755" sldId="2145707175"/>
            <ac:spMk id="11" creationId="{0485555A-50C3-584C-B24C-A11C331C6CE2}"/>
          </ac:spMkLst>
        </pc:spChg>
        <pc:grpChg chg="mod">
          <ac:chgData name="Dan McTavish" userId="3bdd38c9-93c5-470d-b029-59656566a699" providerId="ADAL" clId="{06DD399E-387B-6247-9101-D9256D82257F}" dt="2021-11-30T09:48:10.063" v="92170"/>
          <ac:grpSpMkLst>
            <pc:docMk/>
            <pc:sldMk cId="436909755" sldId="2145707175"/>
            <ac:grpSpMk id="1" creationId="{00000000-0000-0000-0000-000000000000}"/>
          </ac:grpSpMkLst>
        </pc:grpChg>
        <pc:graphicFrameChg chg="mod">
          <ac:chgData name="Dan McTavish" userId="3bdd38c9-93c5-470d-b029-59656566a699" providerId="ADAL" clId="{06DD399E-387B-6247-9101-D9256D82257F}" dt="2021-11-30T09:48:10.063" v="92170"/>
          <ac:graphicFrameMkLst>
            <pc:docMk/>
            <pc:sldMk cId="436909755" sldId="2145707175"/>
            <ac:graphicFrameMk id="4" creationId="{00000000-0000-0000-0000-000000000000}"/>
          </ac:graphicFrameMkLst>
        </pc:graphicFrameChg>
        <pc:graphicFrameChg chg="mod">
          <ac:chgData name="Dan McTavish" userId="3bdd38c9-93c5-470d-b029-59656566a699" providerId="ADAL" clId="{06DD399E-387B-6247-9101-D9256D82257F}" dt="2021-11-30T09:48:10.063" v="92170"/>
          <ac:graphicFrameMkLst>
            <pc:docMk/>
            <pc:sldMk cId="436909755" sldId="2145707175"/>
            <ac:graphicFrameMk id="7" creationId="{0652C58B-32C6-9446-B4B3-CCE2F64D5CB7}"/>
          </ac:graphicFrameMkLst>
        </pc:graphicFrameChg>
      </pc:sldChg>
      <pc:sldChg chg="new del">
        <pc:chgData name="Dan McTavish" userId="3bdd38c9-93c5-470d-b029-59656566a699" providerId="ADAL" clId="{06DD399E-387B-6247-9101-D9256D82257F}" dt="2021-10-20T08:27:40.833" v="72363" actId="680"/>
        <pc:sldMkLst>
          <pc:docMk/>
          <pc:sldMk cId="3756263477" sldId="2145707175"/>
        </pc:sldMkLst>
      </pc:sldChg>
      <pc:sldChg chg="modSp add">
        <pc:chgData name="Dan McTavish" userId="3bdd38c9-93c5-470d-b029-59656566a699" providerId="ADAL" clId="{06DD399E-387B-6247-9101-D9256D82257F}" dt="2021-11-30T09:48:10.063" v="92170"/>
        <pc:sldMkLst>
          <pc:docMk/>
          <pc:sldMk cId="937874512" sldId="2145707176"/>
        </pc:sldMkLst>
        <pc:spChg chg="mod">
          <ac:chgData name="Dan McTavish" userId="3bdd38c9-93c5-470d-b029-59656566a699" providerId="ADAL" clId="{06DD399E-387B-6247-9101-D9256D82257F}" dt="2021-11-30T09:48:10.063" v="92170"/>
          <ac:spMkLst>
            <pc:docMk/>
            <pc:sldMk cId="937874512" sldId="2145707176"/>
            <ac:spMk id="2" creationId="{00000000-0000-0000-0000-000000000000}"/>
          </ac:spMkLst>
        </pc:spChg>
        <pc:spChg chg="mod">
          <ac:chgData name="Dan McTavish" userId="3bdd38c9-93c5-470d-b029-59656566a699" providerId="ADAL" clId="{06DD399E-387B-6247-9101-D9256D82257F}" dt="2021-11-30T09:48:10.063" v="92170"/>
          <ac:spMkLst>
            <pc:docMk/>
            <pc:sldMk cId="937874512" sldId="2145707176"/>
            <ac:spMk id="3" creationId="{00000000-0000-0000-0000-000000000000}"/>
          </ac:spMkLst>
        </pc:spChg>
        <pc:spChg chg="mod">
          <ac:chgData name="Dan McTavish" userId="3bdd38c9-93c5-470d-b029-59656566a699" providerId="ADAL" clId="{06DD399E-387B-6247-9101-D9256D82257F}" dt="2021-11-30T09:48:10.063" v="92170"/>
          <ac:spMkLst>
            <pc:docMk/>
            <pc:sldMk cId="937874512" sldId="2145707176"/>
            <ac:spMk id="6" creationId="{62E3292C-AE15-8E46-8E62-F9C713150B0B}"/>
          </ac:spMkLst>
        </pc:spChg>
        <pc:grpChg chg="mod">
          <ac:chgData name="Dan McTavish" userId="3bdd38c9-93c5-470d-b029-59656566a699" providerId="ADAL" clId="{06DD399E-387B-6247-9101-D9256D82257F}" dt="2021-11-30T09:48:10.063" v="92170"/>
          <ac:grpSpMkLst>
            <pc:docMk/>
            <pc:sldMk cId="937874512" sldId="2145707176"/>
            <ac:grpSpMk id="1" creationId="{00000000-0000-0000-0000-000000000000}"/>
          </ac:grpSpMkLst>
        </pc:grpChg>
        <pc:graphicFrameChg chg="mod">
          <ac:chgData name="Dan McTavish" userId="3bdd38c9-93c5-470d-b029-59656566a699" providerId="ADAL" clId="{06DD399E-387B-6247-9101-D9256D82257F}" dt="2021-11-30T09:48:10.063" v="92170"/>
          <ac:graphicFrameMkLst>
            <pc:docMk/>
            <pc:sldMk cId="937874512" sldId="2145707176"/>
            <ac:graphicFrameMk id="4" creationId="{00000000-0000-0000-0000-000000000000}"/>
          </ac:graphicFrameMkLst>
        </pc:graphicFrameChg>
        <pc:graphicFrameChg chg="mod">
          <ac:chgData name="Dan McTavish" userId="3bdd38c9-93c5-470d-b029-59656566a699" providerId="ADAL" clId="{06DD399E-387B-6247-9101-D9256D82257F}" dt="2021-11-30T09:48:10.063" v="92170"/>
          <ac:graphicFrameMkLst>
            <pc:docMk/>
            <pc:sldMk cId="937874512" sldId="2145707176"/>
            <ac:graphicFrameMk id="7" creationId="{0652C58B-32C6-9446-B4B3-CCE2F64D5CB7}"/>
          </ac:graphicFrameMkLst>
        </pc:graphicFrameChg>
      </pc:sldChg>
      <pc:sldChg chg="modSp add">
        <pc:chgData name="Dan McTavish" userId="3bdd38c9-93c5-470d-b029-59656566a699" providerId="ADAL" clId="{06DD399E-387B-6247-9101-D9256D82257F}" dt="2021-11-30T09:48:10.063" v="92170"/>
        <pc:sldMkLst>
          <pc:docMk/>
          <pc:sldMk cId="990398270" sldId="2145707177"/>
        </pc:sldMkLst>
        <pc:spChg chg="mod">
          <ac:chgData name="Dan McTavish" userId="3bdd38c9-93c5-470d-b029-59656566a699" providerId="ADAL" clId="{06DD399E-387B-6247-9101-D9256D82257F}" dt="2021-11-30T09:48:10.063" v="92170"/>
          <ac:spMkLst>
            <pc:docMk/>
            <pc:sldMk cId="990398270" sldId="2145707177"/>
            <ac:spMk id="2" creationId="{00000000-0000-0000-0000-000000000000}"/>
          </ac:spMkLst>
        </pc:spChg>
        <pc:spChg chg="mod">
          <ac:chgData name="Dan McTavish" userId="3bdd38c9-93c5-470d-b029-59656566a699" providerId="ADAL" clId="{06DD399E-387B-6247-9101-D9256D82257F}" dt="2021-11-30T09:48:10.063" v="92170"/>
          <ac:spMkLst>
            <pc:docMk/>
            <pc:sldMk cId="990398270" sldId="2145707177"/>
            <ac:spMk id="3" creationId="{00000000-0000-0000-0000-000000000000}"/>
          </ac:spMkLst>
        </pc:spChg>
        <pc:spChg chg="mod">
          <ac:chgData name="Dan McTavish" userId="3bdd38c9-93c5-470d-b029-59656566a699" providerId="ADAL" clId="{06DD399E-387B-6247-9101-D9256D82257F}" dt="2021-11-30T09:48:10.063" v="92170"/>
          <ac:spMkLst>
            <pc:docMk/>
            <pc:sldMk cId="990398270" sldId="2145707177"/>
            <ac:spMk id="6" creationId="{62E3292C-AE15-8E46-8E62-F9C713150B0B}"/>
          </ac:spMkLst>
        </pc:spChg>
        <pc:grpChg chg="mod">
          <ac:chgData name="Dan McTavish" userId="3bdd38c9-93c5-470d-b029-59656566a699" providerId="ADAL" clId="{06DD399E-387B-6247-9101-D9256D82257F}" dt="2021-11-30T09:48:10.063" v="92170"/>
          <ac:grpSpMkLst>
            <pc:docMk/>
            <pc:sldMk cId="990398270" sldId="2145707177"/>
            <ac:grpSpMk id="1" creationId="{00000000-0000-0000-0000-000000000000}"/>
          </ac:grpSpMkLst>
        </pc:grpChg>
        <pc:graphicFrameChg chg="mod">
          <ac:chgData name="Dan McTavish" userId="3bdd38c9-93c5-470d-b029-59656566a699" providerId="ADAL" clId="{06DD399E-387B-6247-9101-D9256D82257F}" dt="2021-11-30T09:48:10.063" v="92170"/>
          <ac:graphicFrameMkLst>
            <pc:docMk/>
            <pc:sldMk cId="990398270" sldId="2145707177"/>
            <ac:graphicFrameMk id="4" creationId="{00000000-0000-0000-0000-000000000000}"/>
          </ac:graphicFrameMkLst>
        </pc:graphicFrameChg>
        <pc:graphicFrameChg chg="mod">
          <ac:chgData name="Dan McTavish" userId="3bdd38c9-93c5-470d-b029-59656566a699" providerId="ADAL" clId="{06DD399E-387B-6247-9101-D9256D82257F}" dt="2021-11-30T09:48:10.063" v="92170"/>
          <ac:graphicFrameMkLst>
            <pc:docMk/>
            <pc:sldMk cId="990398270" sldId="2145707177"/>
            <ac:graphicFrameMk id="7" creationId="{0652C58B-32C6-9446-B4B3-CCE2F64D5CB7}"/>
          </ac:graphicFrameMkLst>
        </pc:graphicFrameChg>
      </pc:sldChg>
      <pc:sldChg chg="modSp add mod ord">
        <pc:chgData name="Dan McTavish" userId="3bdd38c9-93c5-470d-b029-59656566a699" providerId="ADAL" clId="{06DD399E-387B-6247-9101-D9256D82257F}" dt="2021-10-26T08:04:08.927" v="80455" actId="20578"/>
        <pc:sldMkLst>
          <pc:docMk/>
          <pc:sldMk cId="3102894989" sldId="2145707178"/>
        </pc:sldMkLst>
        <pc:spChg chg="mod">
          <ac:chgData name="Dan McTavish" userId="3bdd38c9-93c5-470d-b029-59656566a699" providerId="ADAL" clId="{06DD399E-387B-6247-9101-D9256D82257F}" dt="2021-10-22T08:05:48.032" v="72391" actId="20577"/>
          <ac:spMkLst>
            <pc:docMk/>
            <pc:sldMk cId="3102894989" sldId="2145707178"/>
            <ac:spMk id="2" creationId="{23C47170-A357-0540-A812-A0FEC348D32C}"/>
          </ac:spMkLst>
        </pc:spChg>
        <pc:graphicFrameChg chg="mod modGraphic">
          <ac:chgData name="Dan McTavish" userId="3bdd38c9-93c5-470d-b029-59656566a699" providerId="ADAL" clId="{06DD399E-387B-6247-9101-D9256D82257F}" dt="2021-10-26T07:59:17.702" v="80454" actId="20577"/>
          <ac:graphicFrameMkLst>
            <pc:docMk/>
            <pc:sldMk cId="3102894989" sldId="2145707178"/>
            <ac:graphicFrameMk id="5" creationId="{A1A1E082-93A7-2341-B277-5872BC7FB95B}"/>
          </ac:graphicFrameMkLst>
        </pc:graphicFrameChg>
      </pc:sldChg>
      <pc:sldChg chg="modSp add mod ord modNotesTx">
        <pc:chgData name="Dan McTavish" userId="3bdd38c9-93c5-470d-b029-59656566a699" providerId="ADAL" clId="{06DD399E-387B-6247-9101-D9256D82257F}" dt="2021-10-25T15:29:29.403" v="80425" actId="20577"/>
        <pc:sldMkLst>
          <pc:docMk/>
          <pc:sldMk cId="3189410595" sldId="2145707179"/>
        </pc:sldMkLst>
        <pc:spChg chg="mod">
          <ac:chgData name="Dan McTavish" userId="3bdd38c9-93c5-470d-b029-59656566a699" providerId="ADAL" clId="{06DD399E-387B-6247-9101-D9256D82257F}" dt="2021-10-25T14:08:09.721" v="76661" actId="20577"/>
          <ac:spMkLst>
            <pc:docMk/>
            <pc:sldMk cId="3189410595" sldId="2145707179"/>
            <ac:spMk id="2" creationId="{23C47170-A357-0540-A812-A0FEC348D32C}"/>
          </ac:spMkLst>
        </pc:spChg>
        <pc:graphicFrameChg chg="mod modGraphic">
          <ac:chgData name="Dan McTavish" userId="3bdd38c9-93c5-470d-b029-59656566a699" providerId="ADAL" clId="{06DD399E-387B-6247-9101-D9256D82257F}" dt="2021-10-25T15:29:29.403" v="80425" actId="20577"/>
          <ac:graphicFrameMkLst>
            <pc:docMk/>
            <pc:sldMk cId="3189410595" sldId="2145707179"/>
            <ac:graphicFrameMk id="5" creationId="{A1A1E082-93A7-2341-B277-5872BC7FB95B}"/>
          </ac:graphicFrameMkLst>
        </pc:graphicFrameChg>
      </pc:sldChg>
      <pc:sldChg chg="modSp mod">
        <pc:chgData name="Dan McTavish" userId="3bdd38c9-93c5-470d-b029-59656566a699" providerId="ADAL" clId="{06DD399E-387B-6247-9101-D9256D82257F}" dt="2021-11-08T13:08:33.728" v="89986" actId="1076"/>
        <pc:sldMkLst>
          <pc:docMk/>
          <pc:sldMk cId="4278204829" sldId="2145707181"/>
        </pc:sldMkLst>
        <pc:spChg chg="mod">
          <ac:chgData name="Dan McTavish" userId="3bdd38c9-93c5-470d-b029-59656566a699" providerId="ADAL" clId="{06DD399E-387B-6247-9101-D9256D82257F}" dt="2021-11-08T13:08:33.728" v="89986" actId="1076"/>
          <ac:spMkLst>
            <pc:docMk/>
            <pc:sldMk cId="4278204829" sldId="2145707181"/>
            <ac:spMk id="2" creationId="{0599F168-896D-064C-9115-9052FA7C1D6A}"/>
          </ac:spMkLst>
        </pc:spChg>
        <pc:spChg chg="mod">
          <ac:chgData name="Dan McTavish" userId="3bdd38c9-93c5-470d-b029-59656566a699" providerId="ADAL" clId="{06DD399E-387B-6247-9101-D9256D82257F}" dt="2021-10-29T08:05:51.954" v="89079" actId="2"/>
          <ac:spMkLst>
            <pc:docMk/>
            <pc:sldMk cId="4278204829" sldId="2145707181"/>
            <ac:spMk id="4" creationId="{99542A22-9D28-E047-AE05-7E06C859E778}"/>
          </ac:spMkLst>
        </pc:spChg>
      </pc:sldChg>
      <pc:sldChg chg="modSp mod">
        <pc:chgData name="Dan McTavish" userId="3bdd38c9-93c5-470d-b029-59656566a699" providerId="ADAL" clId="{06DD399E-387B-6247-9101-D9256D82257F}" dt="2021-10-29T07:59:00.197" v="89077" actId="20577"/>
        <pc:sldMkLst>
          <pc:docMk/>
          <pc:sldMk cId="203805431" sldId="2145707182"/>
        </pc:sldMkLst>
        <pc:spChg chg="mod">
          <ac:chgData name="Dan McTavish" userId="3bdd38c9-93c5-470d-b029-59656566a699" providerId="ADAL" clId="{06DD399E-387B-6247-9101-D9256D82257F}" dt="2021-10-29T07:55:23.726" v="89035" actId="20577"/>
          <ac:spMkLst>
            <pc:docMk/>
            <pc:sldMk cId="203805431" sldId="2145707182"/>
            <ac:spMk id="30" creationId="{7FAC344C-6E6B-E041-83CA-0C5F04430204}"/>
          </ac:spMkLst>
        </pc:spChg>
        <pc:spChg chg="mod">
          <ac:chgData name="Dan McTavish" userId="3bdd38c9-93c5-470d-b029-59656566a699" providerId="ADAL" clId="{06DD399E-387B-6247-9101-D9256D82257F}" dt="2021-10-29T07:59:00.197" v="89077" actId="20577"/>
          <ac:spMkLst>
            <pc:docMk/>
            <pc:sldMk cId="203805431" sldId="2145707182"/>
            <ac:spMk id="31" creationId="{50A667C1-4B1A-644B-B3D3-E8D5B3F06EC0}"/>
          </ac:spMkLst>
        </pc:spChg>
      </pc:sldChg>
      <pc:sldChg chg="delSp modSp mod">
        <pc:chgData name="Dan McTavish" userId="3bdd38c9-93c5-470d-b029-59656566a699" providerId="ADAL" clId="{06DD399E-387B-6247-9101-D9256D82257F}" dt="2021-10-28T13:33:21.615" v="87755" actId="20577"/>
        <pc:sldMkLst>
          <pc:docMk/>
          <pc:sldMk cId="411085113" sldId="2145707187"/>
        </pc:sldMkLst>
        <pc:spChg chg="mod">
          <ac:chgData name="Dan McTavish" userId="3bdd38c9-93c5-470d-b029-59656566a699" providerId="ADAL" clId="{06DD399E-387B-6247-9101-D9256D82257F}" dt="2021-10-28T13:33:21.615" v="87755" actId="20577"/>
          <ac:spMkLst>
            <pc:docMk/>
            <pc:sldMk cId="411085113" sldId="2145707187"/>
            <ac:spMk id="7" creationId="{8175B6F3-84EA-0046-ABFB-B6A53EC3D309}"/>
          </ac:spMkLst>
        </pc:spChg>
        <pc:spChg chg="mod">
          <ac:chgData name="Dan McTavish" userId="3bdd38c9-93c5-470d-b029-59656566a699" providerId="ADAL" clId="{06DD399E-387B-6247-9101-D9256D82257F}" dt="2021-10-28T12:20:16.056" v="86530" actId="20577"/>
          <ac:spMkLst>
            <pc:docMk/>
            <pc:sldMk cId="411085113" sldId="2145707187"/>
            <ac:spMk id="10" creationId="{5B19BCBF-869D-9E45-9604-8FD87AB122D8}"/>
          </ac:spMkLst>
        </pc:spChg>
        <pc:spChg chg="mod">
          <ac:chgData name="Dan McTavish" userId="3bdd38c9-93c5-470d-b029-59656566a699" providerId="ADAL" clId="{06DD399E-387B-6247-9101-D9256D82257F}" dt="2021-10-28T12:14:10.223" v="86275" actId="20577"/>
          <ac:spMkLst>
            <pc:docMk/>
            <pc:sldMk cId="411085113" sldId="2145707187"/>
            <ac:spMk id="13" creationId="{BE0FD6E4-D370-1C4A-A3FE-BA91B5734C99}"/>
          </ac:spMkLst>
        </pc:spChg>
        <pc:spChg chg="mod">
          <ac:chgData name="Dan McTavish" userId="3bdd38c9-93c5-470d-b029-59656566a699" providerId="ADAL" clId="{06DD399E-387B-6247-9101-D9256D82257F}" dt="2021-10-28T11:36:34.938" v="83823" actId="1076"/>
          <ac:spMkLst>
            <pc:docMk/>
            <pc:sldMk cId="411085113" sldId="2145707187"/>
            <ac:spMk id="14" creationId="{37090FE7-C84A-E24F-BECA-5F10D68EC207}"/>
          </ac:spMkLst>
        </pc:spChg>
        <pc:spChg chg="del mod">
          <ac:chgData name="Dan McTavish" userId="3bdd38c9-93c5-470d-b029-59656566a699" providerId="ADAL" clId="{06DD399E-387B-6247-9101-D9256D82257F}" dt="2021-10-28T11:35:02.124" v="83808" actId="478"/>
          <ac:spMkLst>
            <pc:docMk/>
            <pc:sldMk cId="411085113" sldId="2145707187"/>
            <ac:spMk id="17" creationId="{C7C6F4A5-D693-CA4E-A56C-3C75B8CD5F21}"/>
          </ac:spMkLst>
        </pc:spChg>
        <pc:spChg chg="del">
          <ac:chgData name="Dan McTavish" userId="3bdd38c9-93c5-470d-b029-59656566a699" providerId="ADAL" clId="{06DD399E-387B-6247-9101-D9256D82257F}" dt="2021-10-28T11:36:18.690" v="83816" actId="478"/>
          <ac:spMkLst>
            <pc:docMk/>
            <pc:sldMk cId="411085113" sldId="2145707187"/>
            <ac:spMk id="19" creationId="{D5702503-BEB7-EC44-AC7B-76D8F3B093D4}"/>
          </ac:spMkLst>
        </pc:spChg>
        <pc:spChg chg="del">
          <ac:chgData name="Dan McTavish" userId="3bdd38c9-93c5-470d-b029-59656566a699" providerId="ADAL" clId="{06DD399E-387B-6247-9101-D9256D82257F}" dt="2021-10-28T11:36:10.566" v="83815" actId="478"/>
          <ac:spMkLst>
            <pc:docMk/>
            <pc:sldMk cId="411085113" sldId="2145707187"/>
            <ac:spMk id="21" creationId="{83676F63-0FAC-A643-9C03-0B38F6A60565}"/>
          </ac:spMkLst>
        </pc:spChg>
        <pc:spChg chg="del">
          <ac:chgData name="Dan McTavish" userId="3bdd38c9-93c5-470d-b029-59656566a699" providerId="ADAL" clId="{06DD399E-387B-6247-9101-D9256D82257F}" dt="2021-10-28T11:54:53.189" v="85024" actId="478"/>
          <ac:spMkLst>
            <pc:docMk/>
            <pc:sldMk cId="411085113" sldId="2145707187"/>
            <ac:spMk id="23" creationId="{D9D0E682-E5E7-0A47-9F3D-6906727231E8}"/>
          </ac:spMkLst>
        </pc:spChg>
        <pc:spChg chg="del">
          <ac:chgData name="Dan McTavish" userId="3bdd38c9-93c5-470d-b029-59656566a699" providerId="ADAL" clId="{06DD399E-387B-6247-9101-D9256D82257F}" dt="2021-10-28T11:52:16.276" v="84834" actId="478"/>
          <ac:spMkLst>
            <pc:docMk/>
            <pc:sldMk cId="411085113" sldId="2145707187"/>
            <ac:spMk id="25" creationId="{57BB6FF1-DC7B-D34C-B550-C28AFD9153BD}"/>
          </ac:spMkLst>
        </pc:spChg>
        <pc:grpChg chg="mod">
          <ac:chgData name="Dan McTavish" userId="3bdd38c9-93c5-470d-b029-59656566a699" providerId="ADAL" clId="{06DD399E-387B-6247-9101-D9256D82257F}" dt="2021-10-28T12:10:41.160" v="86265" actId="1076"/>
          <ac:grpSpMkLst>
            <pc:docMk/>
            <pc:sldMk cId="411085113" sldId="2145707187"/>
            <ac:grpSpMk id="5" creationId="{66F65BCE-C372-0A44-87FE-681EBF65E873}"/>
          </ac:grpSpMkLst>
        </pc:grpChg>
        <pc:grpChg chg="mod">
          <ac:chgData name="Dan McTavish" userId="3bdd38c9-93c5-470d-b029-59656566a699" providerId="ADAL" clId="{06DD399E-387B-6247-9101-D9256D82257F}" dt="2021-10-28T12:14:15.597" v="86276" actId="1076"/>
          <ac:grpSpMkLst>
            <pc:docMk/>
            <pc:sldMk cId="411085113" sldId="2145707187"/>
            <ac:grpSpMk id="8" creationId="{6B0ED50B-0E8A-C141-AB6E-EF91D20C58BE}"/>
          </ac:grpSpMkLst>
        </pc:grpChg>
        <pc:grpChg chg="mod">
          <ac:chgData name="Dan McTavish" userId="3bdd38c9-93c5-470d-b029-59656566a699" providerId="ADAL" clId="{06DD399E-387B-6247-9101-D9256D82257F}" dt="2021-10-28T12:08:47.598" v="86086" actId="1076"/>
          <ac:grpSpMkLst>
            <pc:docMk/>
            <pc:sldMk cId="411085113" sldId="2145707187"/>
            <ac:grpSpMk id="11" creationId="{A570CAAF-FECD-5243-BEEB-163E3B9B955B}"/>
          </ac:grpSpMkLst>
        </pc:grpChg>
      </pc:sldChg>
      <pc:sldChg chg="modSp mod">
        <pc:chgData name="Dan McTavish" userId="3bdd38c9-93c5-470d-b029-59656566a699" providerId="ADAL" clId="{06DD399E-387B-6247-9101-D9256D82257F}" dt="2021-11-08T10:55:47.186" v="89175" actId="20577"/>
        <pc:sldMkLst>
          <pc:docMk/>
          <pc:sldMk cId="3988442953" sldId="2145707193"/>
        </pc:sldMkLst>
        <pc:spChg chg="mod">
          <ac:chgData name="Dan McTavish" userId="3bdd38c9-93c5-470d-b029-59656566a699" providerId="ADAL" clId="{06DD399E-387B-6247-9101-D9256D82257F}" dt="2021-11-08T10:55:47.186" v="89175" actId="20577"/>
          <ac:spMkLst>
            <pc:docMk/>
            <pc:sldMk cId="3988442953" sldId="2145707193"/>
            <ac:spMk id="18" creationId="{D19CF441-862B-DE41-AC3E-4595ADDF8171}"/>
          </ac:spMkLst>
        </pc:spChg>
      </pc:sldChg>
      <pc:sldChg chg="modSp mod">
        <pc:chgData name="Dan McTavish" userId="3bdd38c9-93c5-470d-b029-59656566a699" providerId="ADAL" clId="{06DD399E-387B-6247-9101-D9256D82257F}" dt="2021-10-27T17:04:17.597" v="82619" actId="20577"/>
        <pc:sldMkLst>
          <pc:docMk/>
          <pc:sldMk cId="552946183" sldId="2145707201"/>
        </pc:sldMkLst>
        <pc:spChg chg="mod">
          <ac:chgData name="Dan McTavish" userId="3bdd38c9-93c5-470d-b029-59656566a699" providerId="ADAL" clId="{06DD399E-387B-6247-9101-D9256D82257F}" dt="2021-10-27T17:04:17.597" v="82619" actId="20577"/>
          <ac:spMkLst>
            <pc:docMk/>
            <pc:sldMk cId="552946183" sldId="2145707201"/>
            <ac:spMk id="11" creationId="{E77DA4AA-CE9B-614E-B2E5-704A618BDB6E}"/>
          </ac:spMkLst>
        </pc:spChg>
      </pc:sldChg>
      <pc:sldChg chg="modSp del mod">
        <pc:chgData name="Dan McTavish" userId="3bdd38c9-93c5-470d-b029-59656566a699" providerId="ADAL" clId="{06DD399E-387B-6247-9101-D9256D82257F}" dt="2021-10-27T17:50:05.234" v="82903" actId="2696"/>
        <pc:sldMkLst>
          <pc:docMk/>
          <pc:sldMk cId="4143148250" sldId="2145707203"/>
        </pc:sldMkLst>
        <pc:graphicFrameChg chg="mod modGraphic">
          <ac:chgData name="Dan McTavish" userId="3bdd38c9-93c5-470d-b029-59656566a699" providerId="ADAL" clId="{06DD399E-387B-6247-9101-D9256D82257F}" dt="2021-10-27T15:57:30.149" v="81148" actId="20577"/>
          <ac:graphicFrameMkLst>
            <pc:docMk/>
            <pc:sldMk cId="4143148250" sldId="2145707203"/>
            <ac:graphicFrameMk id="7" creationId="{0652C58B-32C6-9446-B4B3-CCE2F64D5CB7}"/>
          </ac:graphicFrameMkLst>
        </pc:graphicFrameChg>
      </pc:sldChg>
      <pc:sldChg chg="modSp add">
        <pc:chgData name="Dan McTavish" userId="3bdd38c9-93c5-470d-b029-59656566a699" providerId="ADAL" clId="{06DD399E-387B-6247-9101-D9256D82257F}" dt="2021-11-30T09:48:10.063" v="92170"/>
        <pc:sldMkLst>
          <pc:docMk/>
          <pc:sldMk cId="2787873799" sldId="2145707204"/>
        </pc:sldMkLst>
        <pc:spChg chg="mod">
          <ac:chgData name="Dan McTavish" userId="3bdd38c9-93c5-470d-b029-59656566a699" providerId="ADAL" clId="{06DD399E-387B-6247-9101-D9256D82257F}" dt="2021-11-30T09:48:10.063" v="92170"/>
          <ac:spMkLst>
            <pc:docMk/>
            <pc:sldMk cId="2787873799" sldId="2145707204"/>
            <ac:spMk id="2" creationId="{00000000-0000-0000-0000-000000000000}"/>
          </ac:spMkLst>
        </pc:spChg>
        <pc:spChg chg="mod">
          <ac:chgData name="Dan McTavish" userId="3bdd38c9-93c5-470d-b029-59656566a699" providerId="ADAL" clId="{06DD399E-387B-6247-9101-D9256D82257F}" dt="2021-11-30T09:48:10.063" v="92170"/>
          <ac:spMkLst>
            <pc:docMk/>
            <pc:sldMk cId="2787873799" sldId="2145707204"/>
            <ac:spMk id="3" creationId="{00000000-0000-0000-0000-000000000000}"/>
          </ac:spMkLst>
        </pc:spChg>
        <pc:spChg chg="mod">
          <ac:chgData name="Dan McTavish" userId="3bdd38c9-93c5-470d-b029-59656566a699" providerId="ADAL" clId="{06DD399E-387B-6247-9101-D9256D82257F}" dt="2021-11-30T09:48:10.063" v="92170"/>
          <ac:spMkLst>
            <pc:docMk/>
            <pc:sldMk cId="2787873799" sldId="2145707204"/>
            <ac:spMk id="6" creationId="{62E3292C-AE15-8E46-8E62-F9C713150B0B}"/>
          </ac:spMkLst>
        </pc:spChg>
        <pc:grpChg chg="mod">
          <ac:chgData name="Dan McTavish" userId="3bdd38c9-93c5-470d-b029-59656566a699" providerId="ADAL" clId="{06DD399E-387B-6247-9101-D9256D82257F}" dt="2021-11-30T09:48:10.063" v="92170"/>
          <ac:grpSpMkLst>
            <pc:docMk/>
            <pc:sldMk cId="2787873799" sldId="2145707204"/>
            <ac:grpSpMk id="1" creationId="{00000000-0000-0000-0000-000000000000}"/>
          </ac:grpSpMkLst>
        </pc:grpChg>
        <pc:graphicFrameChg chg="mod">
          <ac:chgData name="Dan McTavish" userId="3bdd38c9-93c5-470d-b029-59656566a699" providerId="ADAL" clId="{06DD399E-387B-6247-9101-D9256D82257F}" dt="2021-11-30T09:48:10.063" v="92170"/>
          <ac:graphicFrameMkLst>
            <pc:docMk/>
            <pc:sldMk cId="2787873799" sldId="2145707204"/>
            <ac:graphicFrameMk id="4" creationId="{00000000-0000-0000-0000-000000000000}"/>
          </ac:graphicFrameMkLst>
        </pc:graphicFrameChg>
        <pc:graphicFrameChg chg="mod">
          <ac:chgData name="Dan McTavish" userId="3bdd38c9-93c5-470d-b029-59656566a699" providerId="ADAL" clId="{06DD399E-387B-6247-9101-D9256D82257F}" dt="2021-11-30T09:48:10.063" v="92170"/>
          <ac:graphicFrameMkLst>
            <pc:docMk/>
            <pc:sldMk cId="2787873799" sldId="2145707204"/>
            <ac:graphicFrameMk id="7" creationId="{0652C58B-32C6-9446-B4B3-CCE2F64D5CB7}"/>
          </ac:graphicFrameMkLst>
        </pc:graphicFrameChg>
      </pc:sldChg>
      <pc:sldChg chg="add del">
        <pc:chgData name="Dan McTavish" userId="3bdd38c9-93c5-470d-b029-59656566a699" providerId="ADAL" clId="{06DD399E-387B-6247-9101-D9256D82257F}" dt="2021-10-27T15:41:19.845" v="81119" actId="2696"/>
        <pc:sldMkLst>
          <pc:docMk/>
          <pc:sldMk cId="3064350107" sldId="2145707204"/>
        </pc:sldMkLst>
      </pc:sldChg>
      <pc:sldChg chg="modSp add mod">
        <pc:chgData name="Dan McTavish" userId="3bdd38c9-93c5-470d-b029-59656566a699" providerId="ADAL" clId="{06DD399E-387B-6247-9101-D9256D82257F}" dt="2021-11-08T15:47:47.616" v="90309" actId="20577"/>
        <pc:sldMkLst>
          <pc:docMk/>
          <pc:sldMk cId="3351432992" sldId="2145707205"/>
        </pc:sldMkLst>
        <pc:spChg chg="mod">
          <ac:chgData name="Dan McTavish" userId="3bdd38c9-93c5-470d-b029-59656566a699" providerId="ADAL" clId="{06DD399E-387B-6247-9101-D9256D82257F}" dt="2021-10-27T15:29:59.007" v="80969" actId="20577"/>
          <ac:spMkLst>
            <pc:docMk/>
            <pc:sldMk cId="3351432992" sldId="2145707205"/>
            <ac:spMk id="2" creationId="{23C47170-A357-0540-A812-A0FEC348D32C}"/>
          </ac:spMkLst>
        </pc:spChg>
        <pc:graphicFrameChg chg="mod modGraphic">
          <ac:chgData name="Dan McTavish" userId="3bdd38c9-93c5-470d-b029-59656566a699" providerId="ADAL" clId="{06DD399E-387B-6247-9101-D9256D82257F}" dt="2021-11-08T15:47:47.616" v="90309" actId="20577"/>
          <ac:graphicFrameMkLst>
            <pc:docMk/>
            <pc:sldMk cId="3351432992" sldId="2145707205"/>
            <ac:graphicFrameMk id="5" creationId="{A1A1E082-93A7-2341-B277-5872BC7FB95B}"/>
          </ac:graphicFrameMkLst>
        </pc:graphicFrameChg>
      </pc:sldChg>
      <pc:sldChg chg="addSp delSp modSp add mod">
        <pc:chgData name="Dan McTavish" userId="3bdd38c9-93c5-470d-b029-59656566a699" providerId="ADAL" clId="{06DD399E-387B-6247-9101-D9256D82257F}" dt="2021-10-27T17:17:36.685" v="82649" actId="478"/>
        <pc:sldMkLst>
          <pc:docMk/>
          <pc:sldMk cId="1352740164" sldId="2145707206"/>
        </pc:sldMkLst>
        <pc:spChg chg="mod">
          <ac:chgData name="Dan McTavish" userId="3bdd38c9-93c5-470d-b029-59656566a699" providerId="ADAL" clId="{06DD399E-387B-6247-9101-D9256D82257F}" dt="2021-10-27T16:02:10.218" v="81164" actId="20577"/>
          <ac:spMkLst>
            <pc:docMk/>
            <pc:sldMk cId="1352740164" sldId="2145707206"/>
            <ac:spMk id="5" creationId="{0E21E275-F6DD-E647-AA25-29499D14E0C6}"/>
          </ac:spMkLst>
        </pc:spChg>
        <pc:spChg chg="add mod">
          <ac:chgData name="Dan McTavish" userId="3bdd38c9-93c5-470d-b029-59656566a699" providerId="ADAL" clId="{06DD399E-387B-6247-9101-D9256D82257F}" dt="2021-10-27T16:01:56.656" v="81163" actId="20577"/>
          <ac:spMkLst>
            <pc:docMk/>
            <pc:sldMk cId="1352740164" sldId="2145707206"/>
            <ac:spMk id="8" creationId="{0E21E275-F6DD-E647-AA25-29499D14E0C6}"/>
          </ac:spMkLst>
        </pc:spChg>
        <pc:spChg chg="del">
          <ac:chgData name="Dan McTavish" userId="3bdd38c9-93c5-470d-b029-59656566a699" providerId="ADAL" clId="{06DD399E-387B-6247-9101-D9256D82257F}" dt="2021-10-27T16:02:23.949" v="81171" actId="478"/>
          <ac:spMkLst>
            <pc:docMk/>
            <pc:sldMk cId="1352740164" sldId="2145707206"/>
            <ac:spMk id="8" creationId="{35756758-5DAC-2B42-AA11-8F58D9B6F48E}"/>
          </ac:spMkLst>
        </pc:spChg>
        <pc:spChg chg="add del mod">
          <ac:chgData name="Dan McTavish" userId="3bdd38c9-93c5-470d-b029-59656566a699" providerId="ADAL" clId="{06DD399E-387B-6247-9101-D9256D82257F}" dt="2021-10-27T17:17:36.685" v="82649" actId="478"/>
          <ac:spMkLst>
            <pc:docMk/>
            <pc:sldMk cId="1352740164" sldId="2145707206"/>
            <ac:spMk id="8" creationId="{A5B28136-F5CD-9A4C-AE87-15E526FC1E45}"/>
          </ac:spMkLst>
        </pc:spChg>
        <pc:spChg chg="mod">
          <ac:chgData name="Dan McTavish" userId="3bdd38c9-93c5-470d-b029-59656566a699" providerId="ADAL" clId="{06DD399E-387B-6247-9101-D9256D82257F}" dt="2021-10-27T16:10:07.681" v="81679" actId="20577"/>
          <ac:spMkLst>
            <pc:docMk/>
            <pc:sldMk cId="1352740164" sldId="2145707206"/>
            <ac:spMk id="9" creationId="{0E21E275-F6DD-E647-AA25-29499D14E0C6}"/>
          </ac:spMkLst>
        </pc:spChg>
        <pc:spChg chg="add del mod">
          <ac:chgData name="Dan McTavish" userId="3bdd38c9-93c5-470d-b029-59656566a699" providerId="ADAL" clId="{06DD399E-387B-6247-9101-D9256D82257F}" dt="2021-10-27T16:04:49.857" v="81292" actId="767"/>
          <ac:spMkLst>
            <pc:docMk/>
            <pc:sldMk cId="1352740164" sldId="2145707206"/>
            <ac:spMk id="10" creationId="{7F512137-DD2D-E14D-B2F9-82058F941890}"/>
          </ac:spMkLst>
        </pc:spChg>
        <pc:spChg chg="add del mod">
          <ac:chgData name="Dan McTavish" userId="3bdd38c9-93c5-470d-b029-59656566a699" providerId="ADAL" clId="{06DD399E-387B-6247-9101-D9256D82257F}" dt="2021-10-27T16:04:48.461" v="81291" actId="767"/>
          <ac:spMkLst>
            <pc:docMk/>
            <pc:sldMk cId="1352740164" sldId="2145707206"/>
            <ac:spMk id="12" creationId="{0C86C42A-302D-E742-B656-7CB378CFB3E0}"/>
          </ac:spMkLst>
        </pc:spChg>
        <pc:graphicFrameChg chg="mod modGraphic">
          <ac:chgData name="Dan McTavish" userId="3bdd38c9-93c5-470d-b029-59656566a699" providerId="ADAL" clId="{06DD399E-387B-6247-9101-D9256D82257F}" dt="2021-10-27T16:10:15.703" v="81690" actId="1036"/>
          <ac:graphicFrameMkLst>
            <pc:docMk/>
            <pc:sldMk cId="1352740164" sldId="2145707206"/>
            <ac:graphicFrameMk id="7" creationId="{0652C58B-32C6-9446-B4B3-CCE2F64D5CB7}"/>
          </ac:graphicFrameMkLst>
        </pc:graphicFrameChg>
      </pc:sldChg>
      <pc:sldChg chg="addSp delSp modSp mod">
        <pc:chgData name="Dan McTavish" userId="3bdd38c9-93c5-470d-b029-59656566a699" providerId="ADAL" clId="{06DD399E-387B-6247-9101-D9256D82257F}" dt="2021-10-29T08:05:54.248" v="89082" actId="2"/>
        <pc:sldMkLst>
          <pc:docMk/>
          <pc:sldMk cId="1000800879" sldId="2145707207"/>
        </pc:sldMkLst>
        <pc:spChg chg="add del mod">
          <ac:chgData name="Dan McTavish" userId="3bdd38c9-93c5-470d-b029-59656566a699" providerId="ADAL" clId="{06DD399E-387B-6247-9101-D9256D82257F}" dt="2021-10-27T16:47:34.291" v="82618"/>
          <ac:spMkLst>
            <pc:docMk/>
            <pc:sldMk cId="1000800879" sldId="2145707207"/>
            <ac:spMk id="12" creationId="{43A435BD-CCCB-0E41-B79F-081239CDFB03}"/>
          </ac:spMkLst>
        </pc:spChg>
        <pc:spChg chg="mod">
          <ac:chgData name="Dan McTavish" userId="3bdd38c9-93c5-470d-b029-59656566a699" providerId="ADAL" clId="{06DD399E-387B-6247-9101-D9256D82257F}" dt="2021-10-29T08:05:54.248" v="89082" actId="2"/>
          <ac:spMkLst>
            <pc:docMk/>
            <pc:sldMk cId="1000800879" sldId="2145707207"/>
            <ac:spMk id="22" creationId="{2A408C95-8E62-BF45-AE08-E03BB4D3307A}"/>
          </ac:spMkLst>
        </pc:spChg>
      </pc:sldChg>
      <pc:sldChg chg="modSp add mod modNotesTx">
        <pc:chgData name="Dan McTavish" userId="3bdd38c9-93c5-470d-b029-59656566a699" providerId="ADAL" clId="{06DD399E-387B-6247-9101-D9256D82257F}" dt="2021-11-08T12:05:48.944" v="89353" actId="20578"/>
        <pc:sldMkLst>
          <pc:docMk/>
          <pc:sldMk cId="3603620203" sldId="2145707208"/>
        </pc:sldMkLst>
        <pc:spChg chg="mod">
          <ac:chgData name="Dan McTavish" userId="3bdd38c9-93c5-470d-b029-59656566a699" providerId="ADAL" clId="{06DD399E-387B-6247-9101-D9256D82257F}" dt="2021-10-27T17:18:09.619" v="82667" actId="20577"/>
          <ac:spMkLst>
            <pc:docMk/>
            <pc:sldMk cId="3603620203" sldId="2145707208"/>
            <ac:spMk id="2" creationId="{00000000-0000-0000-0000-000000000000}"/>
          </ac:spMkLst>
        </pc:spChg>
        <pc:spChg chg="mod">
          <ac:chgData name="Dan McTavish" userId="3bdd38c9-93c5-470d-b029-59656566a699" providerId="ADAL" clId="{06DD399E-387B-6247-9101-D9256D82257F}" dt="2021-11-08T12:05:48.944" v="89353" actId="20578"/>
          <ac:spMkLst>
            <pc:docMk/>
            <pc:sldMk cId="3603620203" sldId="2145707208"/>
            <ac:spMk id="8" creationId="{312CFC3D-757A-4147-9D9A-36A53E5300D6}"/>
          </ac:spMkLst>
        </pc:spChg>
        <pc:spChg chg="mod">
          <ac:chgData name="Dan McTavish" userId="3bdd38c9-93c5-470d-b029-59656566a699" providerId="ADAL" clId="{06DD399E-387B-6247-9101-D9256D82257F}" dt="2021-10-27T17:54:16.855" v="82986" actId="20577"/>
          <ac:spMkLst>
            <pc:docMk/>
            <pc:sldMk cId="3603620203" sldId="2145707208"/>
            <ac:spMk id="11" creationId="{E77DA4AA-CE9B-614E-B2E5-704A618BDB6E}"/>
          </ac:spMkLst>
        </pc:spChg>
      </pc:sldChg>
      <pc:sldChg chg="modSp mod modNotesTx">
        <pc:chgData name="Dan McTavish" userId="3bdd38c9-93c5-470d-b029-59656566a699" providerId="ADAL" clId="{06DD399E-387B-6247-9101-D9256D82257F}" dt="2021-10-29T08:06:42.643" v="89091" actId="2"/>
        <pc:sldMkLst>
          <pc:docMk/>
          <pc:sldMk cId="2330062057" sldId="2145707209"/>
        </pc:sldMkLst>
        <pc:graphicFrameChg chg="modGraphic">
          <ac:chgData name="Dan McTavish" userId="3bdd38c9-93c5-470d-b029-59656566a699" providerId="ADAL" clId="{06DD399E-387B-6247-9101-D9256D82257F}" dt="2021-10-29T08:06:42.643" v="89091" actId="2"/>
          <ac:graphicFrameMkLst>
            <pc:docMk/>
            <pc:sldMk cId="2330062057" sldId="2145707209"/>
            <ac:graphicFrameMk id="7" creationId="{0652C58B-32C6-9446-B4B3-CCE2F64D5CB7}"/>
          </ac:graphicFrameMkLst>
        </pc:graphicFrameChg>
        <pc:graphicFrameChg chg="mod modGraphic">
          <ac:chgData name="Dan McTavish" userId="3bdd38c9-93c5-470d-b029-59656566a699" providerId="ADAL" clId="{06DD399E-387B-6247-9101-D9256D82257F}" dt="2021-10-28T11:14:47.315" v="83785" actId="2165"/>
          <ac:graphicFrameMkLst>
            <pc:docMk/>
            <pc:sldMk cId="2330062057" sldId="2145707209"/>
            <ac:graphicFrameMk id="9" creationId="{EE2BB197-9EA1-634A-8C5C-7C08446EF3FE}"/>
          </ac:graphicFrameMkLst>
        </pc:graphicFrameChg>
      </pc:sldChg>
      <pc:sldChg chg="addSp delSp modSp mod">
        <pc:chgData name="Dan McTavish" userId="3bdd38c9-93c5-470d-b029-59656566a699" providerId="ADAL" clId="{06DD399E-387B-6247-9101-D9256D82257F}" dt="2021-10-28T13:45:47.283" v="88922" actId="313"/>
        <pc:sldMkLst>
          <pc:docMk/>
          <pc:sldMk cId="4224498387" sldId="2145707210"/>
        </pc:sldMkLst>
        <pc:spChg chg="mod">
          <ac:chgData name="Dan McTavish" userId="3bdd38c9-93c5-470d-b029-59656566a699" providerId="ADAL" clId="{06DD399E-387B-6247-9101-D9256D82257F}" dt="2021-10-28T13:45:47.283" v="88922" actId="313"/>
          <ac:spMkLst>
            <pc:docMk/>
            <pc:sldMk cId="4224498387" sldId="2145707210"/>
            <ac:spMk id="7" creationId="{8175B6F3-84EA-0046-ABFB-B6A53EC3D309}"/>
          </ac:spMkLst>
        </pc:spChg>
        <pc:spChg chg="mod">
          <ac:chgData name="Dan McTavish" userId="3bdd38c9-93c5-470d-b029-59656566a699" providerId="ADAL" clId="{06DD399E-387B-6247-9101-D9256D82257F}" dt="2021-10-28T13:44:02.514" v="88858" actId="20577"/>
          <ac:spMkLst>
            <pc:docMk/>
            <pc:sldMk cId="4224498387" sldId="2145707210"/>
            <ac:spMk id="10" creationId="{5B19BCBF-869D-9E45-9604-8FD87AB122D8}"/>
          </ac:spMkLst>
        </pc:spChg>
        <pc:spChg chg="mod">
          <ac:chgData name="Dan McTavish" userId="3bdd38c9-93c5-470d-b029-59656566a699" providerId="ADAL" clId="{06DD399E-387B-6247-9101-D9256D82257F}" dt="2021-10-28T13:40:45.991" v="88581" actId="20577"/>
          <ac:spMkLst>
            <pc:docMk/>
            <pc:sldMk cId="4224498387" sldId="2145707210"/>
            <ac:spMk id="13" creationId="{BE0FD6E4-D370-1C4A-A3FE-BA91B5734C99}"/>
          </ac:spMkLst>
        </pc:spChg>
        <pc:spChg chg="del mod">
          <ac:chgData name="Dan McTavish" userId="3bdd38c9-93c5-470d-b029-59656566a699" providerId="ADAL" clId="{06DD399E-387B-6247-9101-D9256D82257F}" dt="2021-10-28T13:26:37.270" v="87663"/>
          <ac:spMkLst>
            <pc:docMk/>
            <pc:sldMk cId="4224498387" sldId="2145707210"/>
            <ac:spMk id="14" creationId="{37090FE7-C84A-E24F-BECA-5F10D68EC207}"/>
          </ac:spMkLst>
        </pc:spChg>
        <pc:spChg chg="add mod">
          <ac:chgData name="Dan McTavish" userId="3bdd38c9-93c5-470d-b029-59656566a699" providerId="ADAL" clId="{06DD399E-387B-6247-9101-D9256D82257F}" dt="2021-10-28T13:27:39.807" v="87748" actId="20577"/>
          <ac:spMkLst>
            <pc:docMk/>
            <pc:sldMk cId="4224498387" sldId="2145707210"/>
            <ac:spMk id="16" creationId="{B26E87BD-B596-3640-B1AF-C95448237C98}"/>
          </ac:spMkLst>
        </pc:spChg>
      </pc:sldChg>
      <pc:sldChg chg="modSp mod">
        <pc:chgData name="Dan McTavish" userId="3bdd38c9-93c5-470d-b029-59656566a699" providerId="ADAL" clId="{06DD399E-387B-6247-9101-D9256D82257F}" dt="2021-10-29T08:06:46.258" v="89094" actId="2"/>
        <pc:sldMkLst>
          <pc:docMk/>
          <pc:sldMk cId="1479127884" sldId="2145707211"/>
        </pc:sldMkLst>
        <pc:spChg chg="mod">
          <ac:chgData name="Dan McTavish" userId="3bdd38c9-93c5-470d-b029-59656566a699" providerId="ADAL" clId="{06DD399E-387B-6247-9101-D9256D82257F}" dt="2021-10-29T08:06:46.258" v="89094" actId="2"/>
          <ac:spMkLst>
            <pc:docMk/>
            <pc:sldMk cId="1479127884" sldId="2145707211"/>
            <ac:spMk id="10" creationId="{5B19BCBF-869D-9E45-9604-8FD87AB122D8}"/>
          </ac:spMkLst>
        </pc:spChg>
        <pc:spChg chg="mod">
          <ac:chgData name="Dan McTavish" userId="3bdd38c9-93c5-470d-b029-59656566a699" providerId="ADAL" clId="{06DD399E-387B-6247-9101-D9256D82257F}" dt="2021-10-28T13:47:28.608" v="88983" actId="20577"/>
          <ac:spMkLst>
            <pc:docMk/>
            <pc:sldMk cId="1479127884" sldId="2145707211"/>
            <ac:spMk id="13" creationId="{BE0FD6E4-D370-1C4A-A3FE-BA91B5734C99}"/>
          </ac:spMkLst>
        </pc:spChg>
      </pc:sldChg>
      <pc:sldChg chg="add del">
        <pc:chgData name="Dan McTavish" userId="3bdd38c9-93c5-470d-b029-59656566a699" providerId="ADAL" clId="{06DD399E-387B-6247-9101-D9256D82257F}" dt="2021-10-28T11:35:41.461" v="83811" actId="2696"/>
        <pc:sldMkLst>
          <pc:docMk/>
          <pc:sldMk cId="4220681182" sldId="2145707211"/>
        </pc:sldMkLst>
      </pc:sldChg>
      <pc:sldChg chg="modSp mod">
        <pc:chgData name="Dan McTavish" userId="3bdd38c9-93c5-470d-b029-59656566a699" providerId="ADAL" clId="{06DD399E-387B-6247-9101-D9256D82257F}" dt="2021-10-29T08:06:48.553" v="89097" actId="2"/>
        <pc:sldMkLst>
          <pc:docMk/>
          <pc:sldMk cId="3785697922" sldId="2145707212"/>
        </pc:sldMkLst>
        <pc:spChg chg="mod">
          <ac:chgData name="Dan McTavish" userId="3bdd38c9-93c5-470d-b029-59656566a699" providerId="ADAL" clId="{06DD399E-387B-6247-9101-D9256D82257F}" dt="2021-10-29T08:06:48.553" v="89097" actId="2"/>
          <ac:spMkLst>
            <pc:docMk/>
            <pc:sldMk cId="3785697922" sldId="2145707212"/>
            <ac:spMk id="10" creationId="{5B19BCBF-869D-9E45-9604-8FD87AB122D8}"/>
          </ac:spMkLst>
        </pc:spChg>
      </pc:sldChg>
      <pc:sldChg chg="modSp mod">
        <pc:chgData name="Dan McTavish" userId="3bdd38c9-93c5-470d-b029-59656566a699" providerId="ADAL" clId="{06DD399E-387B-6247-9101-D9256D82257F}" dt="2021-10-29T08:06:50.411" v="89100" actId="2"/>
        <pc:sldMkLst>
          <pc:docMk/>
          <pc:sldMk cId="1825293014" sldId="2145707213"/>
        </pc:sldMkLst>
        <pc:spChg chg="mod">
          <ac:chgData name="Dan McTavish" userId="3bdd38c9-93c5-470d-b029-59656566a699" providerId="ADAL" clId="{06DD399E-387B-6247-9101-D9256D82257F}" dt="2021-10-29T08:06:50.411" v="89100" actId="2"/>
          <ac:spMkLst>
            <pc:docMk/>
            <pc:sldMk cId="1825293014" sldId="2145707213"/>
            <ac:spMk id="10" creationId="{5B19BCBF-869D-9E45-9604-8FD87AB122D8}"/>
          </ac:spMkLst>
        </pc:spChg>
      </pc:sldChg>
      <pc:sldChg chg="modSp mod">
        <pc:chgData name="Dan McTavish" userId="3bdd38c9-93c5-470d-b029-59656566a699" providerId="ADAL" clId="{06DD399E-387B-6247-9101-D9256D82257F}" dt="2021-10-29T08:06:51.833" v="89103" actId="2"/>
        <pc:sldMkLst>
          <pc:docMk/>
          <pc:sldMk cId="341947764" sldId="2145707214"/>
        </pc:sldMkLst>
        <pc:spChg chg="mod">
          <ac:chgData name="Dan McTavish" userId="3bdd38c9-93c5-470d-b029-59656566a699" providerId="ADAL" clId="{06DD399E-387B-6247-9101-D9256D82257F}" dt="2021-10-29T08:06:51.833" v="89103" actId="2"/>
          <ac:spMkLst>
            <pc:docMk/>
            <pc:sldMk cId="341947764" sldId="2145707214"/>
            <ac:spMk id="10" creationId="{5B19BCBF-869D-9E45-9604-8FD87AB122D8}"/>
          </ac:spMkLst>
        </pc:spChg>
      </pc:sldChg>
      <pc:sldChg chg="modSp mod">
        <pc:chgData name="Dan McTavish" userId="3bdd38c9-93c5-470d-b029-59656566a699" providerId="ADAL" clId="{06DD399E-387B-6247-9101-D9256D82257F}" dt="2021-10-29T08:05:56.759" v="89088" actId="2"/>
        <pc:sldMkLst>
          <pc:docMk/>
          <pc:sldMk cId="322981065" sldId="2145707215"/>
        </pc:sldMkLst>
        <pc:spChg chg="mod">
          <ac:chgData name="Dan McTavish" userId="3bdd38c9-93c5-470d-b029-59656566a699" providerId="ADAL" clId="{06DD399E-387B-6247-9101-D9256D82257F}" dt="2021-10-29T08:05:56.759" v="89088" actId="2"/>
          <ac:spMkLst>
            <pc:docMk/>
            <pc:sldMk cId="322981065" sldId="2145707215"/>
            <ac:spMk id="22" creationId="{2A408C95-8E62-BF45-AE08-E03BB4D3307A}"/>
          </ac:spMkLst>
        </pc:spChg>
      </pc:sldChg>
      <pc:sldChg chg="modSp mod">
        <pc:chgData name="Dan McTavish" userId="3bdd38c9-93c5-470d-b029-59656566a699" providerId="ADAL" clId="{06DD399E-387B-6247-9101-D9256D82257F}" dt="2021-10-29T08:05:55.722" v="89085" actId="2"/>
        <pc:sldMkLst>
          <pc:docMk/>
          <pc:sldMk cId="1819857655" sldId="2145707216"/>
        </pc:sldMkLst>
        <pc:spChg chg="mod">
          <ac:chgData name="Dan McTavish" userId="3bdd38c9-93c5-470d-b029-59656566a699" providerId="ADAL" clId="{06DD399E-387B-6247-9101-D9256D82257F}" dt="2021-10-29T08:05:55.722" v="89085" actId="2"/>
          <ac:spMkLst>
            <pc:docMk/>
            <pc:sldMk cId="1819857655" sldId="2145707216"/>
            <ac:spMk id="22" creationId="{2A408C95-8E62-BF45-AE08-E03BB4D3307A}"/>
          </ac:spMkLst>
        </pc:spChg>
      </pc:sldChg>
      <pc:sldChg chg="modSp mod">
        <pc:chgData name="Dan McTavish" userId="3bdd38c9-93c5-470d-b029-59656566a699" providerId="ADAL" clId="{06DD399E-387B-6247-9101-D9256D82257F}" dt="2021-10-29T08:06:11.430" v="89090" actId="2"/>
        <pc:sldMkLst>
          <pc:docMk/>
          <pc:sldMk cId="2296764281" sldId="2145707217"/>
        </pc:sldMkLst>
        <pc:spChg chg="mod">
          <ac:chgData name="Dan McTavish" userId="3bdd38c9-93c5-470d-b029-59656566a699" providerId="ADAL" clId="{06DD399E-387B-6247-9101-D9256D82257F}" dt="2021-10-29T08:06:11.430" v="89090" actId="2"/>
          <ac:spMkLst>
            <pc:docMk/>
            <pc:sldMk cId="2296764281" sldId="2145707217"/>
            <ac:spMk id="22" creationId="{2A408C95-8E62-BF45-AE08-E03BB4D3307A}"/>
          </ac:spMkLst>
        </pc:spChg>
      </pc:sldChg>
      <pc:sldChg chg="modSp mod">
        <pc:chgData name="Dan McTavish" userId="3bdd38c9-93c5-470d-b029-59656566a699" providerId="ADAL" clId="{06DD399E-387B-6247-9101-D9256D82257F}" dt="2021-11-08T10:39:02.662" v="89172" actId="20577"/>
        <pc:sldMkLst>
          <pc:docMk/>
          <pc:sldMk cId="335313518" sldId="2145707219"/>
        </pc:sldMkLst>
        <pc:spChg chg="mod">
          <ac:chgData name="Dan McTavish" userId="3bdd38c9-93c5-470d-b029-59656566a699" providerId="ADAL" clId="{06DD399E-387B-6247-9101-D9256D82257F}" dt="2021-11-08T10:39:02.662" v="89172" actId="20577"/>
          <ac:spMkLst>
            <pc:docMk/>
            <pc:sldMk cId="335313518" sldId="2145707219"/>
            <ac:spMk id="9" creationId="{0E21E275-F6DD-E647-AA25-29499D14E0C6}"/>
          </ac:spMkLst>
        </pc:spChg>
      </pc:sldChg>
      <pc:sldChg chg="modSp">
        <pc:chgData name="Dan McTavish" userId="3bdd38c9-93c5-470d-b029-59656566a699" providerId="ADAL" clId="{06DD399E-387B-6247-9101-D9256D82257F}" dt="2021-11-08T10:53:25.990" v="89174" actId="20578"/>
        <pc:sldMkLst>
          <pc:docMk/>
          <pc:sldMk cId="1843871537" sldId="2145707221"/>
        </pc:sldMkLst>
        <pc:spChg chg="mod">
          <ac:chgData name="Dan McTavish" userId="3bdd38c9-93c5-470d-b029-59656566a699" providerId="ADAL" clId="{06DD399E-387B-6247-9101-D9256D82257F}" dt="2021-11-08T10:53:25.990" v="89174" actId="20578"/>
          <ac:spMkLst>
            <pc:docMk/>
            <pc:sldMk cId="1843871537" sldId="2145707221"/>
            <ac:spMk id="16" creationId="{F715D659-0B3D-3441-8784-EDED0A7173C7}"/>
          </ac:spMkLst>
        </pc:spChg>
      </pc:sldChg>
      <pc:sldChg chg="modSp mod">
        <pc:chgData name="Dan McTavish" userId="3bdd38c9-93c5-470d-b029-59656566a699" providerId="ADAL" clId="{06DD399E-387B-6247-9101-D9256D82257F}" dt="2021-11-18T07:48:11.700" v="92147" actId="14734"/>
        <pc:sldMkLst>
          <pc:docMk/>
          <pc:sldMk cId="2814621072" sldId="2145707225"/>
        </pc:sldMkLst>
        <pc:graphicFrameChg chg="modGraphic">
          <ac:chgData name="Dan McTavish" userId="3bdd38c9-93c5-470d-b029-59656566a699" providerId="ADAL" clId="{06DD399E-387B-6247-9101-D9256D82257F}" dt="2021-11-18T07:48:11.700" v="92147" actId="14734"/>
          <ac:graphicFrameMkLst>
            <pc:docMk/>
            <pc:sldMk cId="2814621072" sldId="2145707225"/>
            <ac:graphicFrameMk id="26" creationId="{B868C0AB-3D2C-4647-A123-6629F1806D7E}"/>
          </ac:graphicFrameMkLst>
        </pc:graphicFrameChg>
      </pc:sldChg>
      <pc:sldChg chg="addSp delSp modSp mod">
        <pc:chgData name="Dan McTavish" userId="3bdd38c9-93c5-470d-b029-59656566a699" providerId="ADAL" clId="{06DD399E-387B-6247-9101-D9256D82257F}" dt="2021-11-09T09:59:33.781" v="90310" actId="20578"/>
        <pc:sldMkLst>
          <pc:docMk/>
          <pc:sldMk cId="380627945" sldId="2145707231"/>
        </pc:sldMkLst>
        <pc:spChg chg="mod">
          <ac:chgData name="Dan McTavish" userId="3bdd38c9-93c5-470d-b029-59656566a699" providerId="ADAL" clId="{06DD399E-387B-6247-9101-D9256D82257F}" dt="2021-11-08T14:54:56.847" v="89998" actId="20577"/>
          <ac:spMkLst>
            <pc:docMk/>
            <pc:sldMk cId="380627945" sldId="2145707231"/>
            <ac:spMk id="4" creationId="{CEF1AEE4-C47F-2A4C-A991-855D708E03B9}"/>
          </ac:spMkLst>
        </pc:spChg>
        <pc:spChg chg="mod">
          <ac:chgData name="Dan McTavish" userId="3bdd38c9-93c5-470d-b029-59656566a699" providerId="ADAL" clId="{06DD399E-387B-6247-9101-D9256D82257F}" dt="2021-11-08T14:57:55.856" v="90003" actId="20577"/>
          <ac:spMkLst>
            <pc:docMk/>
            <pc:sldMk cId="380627945" sldId="2145707231"/>
            <ac:spMk id="18" creationId="{4916077A-60E9-5B42-9F26-5471DB11FB89}"/>
          </ac:spMkLst>
        </pc:spChg>
        <pc:spChg chg="mod">
          <ac:chgData name="Dan McTavish" userId="3bdd38c9-93c5-470d-b029-59656566a699" providerId="ADAL" clId="{06DD399E-387B-6247-9101-D9256D82257F}" dt="2021-11-08T14:58:25.016" v="90004" actId="20578"/>
          <ac:spMkLst>
            <pc:docMk/>
            <pc:sldMk cId="380627945" sldId="2145707231"/>
            <ac:spMk id="20" creationId="{4E8CE5CF-D32C-E24F-A35A-340AFB075B36}"/>
          </ac:spMkLst>
        </pc:spChg>
        <pc:spChg chg="add del mod">
          <ac:chgData name="Dan McTavish" userId="3bdd38c9-93c5-470d-b029-59656566a699" providerId="ADAL" clId="{06DD399E-387B-6247-9101-D9256D82257F}" dt="2021-11-08T14:53:58.735" v="89990" actId="1076"/>
          <ac:spMkLst>
            <pc:docMk/>
            <pc:sldMk cId="380627945" sldId="2145707231"/>
            <ac:spMk id="21" creationId="{57A29E00-FE77-E640-A3E7-6EF353B77C88}"/>
          </ac:spMkLst>
        </pc:spChg>
        <pc:spChg chg="mod">
          <ac:chgData name="Dan McTavish" userId="3bdd38c9-93c5-470d-b029-59656566a699" providerId="ADAL" clId="{06DD399E-387B-6247-9101-D9256D82257F}" dt="2021-11-08T14:54:12.391" v="89994" actId="20577"/>
          <ac:spMkLst>
            <pc:docMk/>
            <pc:sldMk cId="380627945" sldId="2145707231"/>
            <ac:spMk id="60" creationId="{1797CD6C-B388-7F4B-98E5-20CC8E3226B8}"/>
          </ac:spMkLst>
        </pc:spChg>
        <pc:spChg chg="mod">
          <ac:chgData name="Dan McTavish" userId="3bdd38c9-93c5-470d-b029-59656566a699" providerId="ADAL" clId="{06DD399E-387B-6247-9101-D9256D82257F}" dt="2021-11-09T09:59:33.781" v="90310" actId="20578"/>
          <ac:spMkLst>
            <pc:docMk/>
            <pc:sldMk cId="380627945" sldId="2145707231"/>
            <ac:spMk id="64" creationId="{7C87FF8A-9CE4-664F-83A0-2D6953F7ED9C}"/>
          </ac:spMkLst>
        </pc:spChg>
      </pc:sldChg>
      <pc:sldChg chg="addSp delSp modSp add mod modNotesTx">
        <pc:chgData name="Dan McTavish" userId="3bdd38c9-93c5-470d-b029-59656566a699" providerId="ADAL" clId="{06DD399E-387B-6247-9101-D9256D82257F}" dt="2021-11-22T08:51:15.161" v="92168" actId="1076"/>
        <pc:sldMkLst>
          <pc:docMk/>
          <pc:sldMk cId="3876722291" sldId="2145707234"/>
        </pc:sldMkLst>
        <pc:spChg chg="mod">
          <ac:chgData name="Dan McTavish" userId="3bdd38c9-93c5-470d-b029-59656566a699" providerId="ADAL" clId="{06DD399E-387B-6247-9101-D9256D82257F}" dt="2021-11-11T11:45:52.334" v="90413" actId="20577"/>
          <ac:spMkLst>
            <pc:docMk/>
            <pc:sldMk cId="3876722291" sldId="2145707234"/>
            <ac:spMk id="2" creationId="{00000000-0000-0000-0000-000000000000}"/>
          </ac:spMkLst>
        </pc:spChg>
        <pc:spChg chg="add del mod">
          <ac:chgData name="Dan McTavish" userId="3bdd38c9-93c5-470d-b029-59656566a699" providerId="ADAL" clId="{06DD399E-387B-6247-9101-D9256D82257F}" dt="2021-11-17T08:46:48.838" v="91365"/>
          <ac:spMkLst>
            <pc:docMk/>
            <pc:sldMk cId="3876722291" sldId="2145707234"/>
            <ac:spMk id="5" creationId="{0641CA59-A381-874D-A42B-EC9D720C34D0}"/>
          </ac:spMkLst>
        </pc:spChg>
        <pc:spChg chg="add del mod">
          <ac:chgData name="Dan McTavish" userId="3bdd38c9-93c5-470d-b029-59656566a699" providerId="ADAL" clId="{06DD399E-387B-6247-9101-D9256D82257F}" dt="2021-11-11T14:35:11.079" v="90822" actId="478"/>
          <ac:spMkLst>
            <pc:docMk/>
            <pc:sldMk cId="3876722291" sldId="2145707234"/>
            <ac:spMk id="5" creationId="{83E4550E-7CB5-7546-AEF2-780864F9704B}"/>
          </ac:spMkLst>
        </pc:spChg>
        <pc:spChg chg="add del mod">
          <ac:chgData name="Dan McTavish" userId="3bdd38c9-93c5-470d-b029-59656566a699" providerId="ADAL" clId="{06DD399E-387B-6247-9101-D9256D82257F}" dt="2021-11-12T10:07:31.329" v="90902" actId="478"/>
          <ac:spMkLst>
            <pc:docMk/>
            <pc:sldMk cId="3876722291" sldId="2145707234"/>
            <ac:spMk id="6" creationId="{8A012417-92B4-224F-95DB-CA68192906CE}"/>
          </ac:spMkLst>
        </pc:spChg>
        <pc:spChg chg="add del mod">
          <ac:chgData name="Dan McTavish" userId="3bdd38c9-93c5-470d-b029-59656566a699" providerId="ADAL" clId="{06DD399E-387B-6247-9101-D9256D82257F}" dt="2021-11-17T08:51:25.672" v="91443" actId="478"/>
          <ac:spMkLst>
            <pc:docMk/>
            <pc:sldMk cId="3876722291" sldId="2145707234"/>
            <ac:spMk id="6" creationId="{BDF3D850-3FA1-1549-852B-89BE9D3876B6}"/>
          </ac:spMkLst>
        </pc:spChg>
        <pc:spChg chg="del">
          <ac:chgData name="Dan McTavish" userId="3bdd38c9-93c5-470d-b029-59656566a699" providerId="ADAL" clId="{06DD399E-387B-6247-9101-D9256D82257F}" dt="2021-11-11T11:43:56.339" v="90398" actId="478"/>
          <ac:spMkLst>
            <pc:docMk/>
            <pc:sldMk cId="3876722291" sldId="2145707234"/>
            <ac:spMk id="7" creationId="{4E5F52BF-C941-9C41-BEBD-3E19F5FA1276}"/>
          </ac:spMkLst>
        </pc:spChg>
        <pc:spChg chg="add del mod">
          <ac:chgData name="Dan McTavish" userId="3bdd38c9-93c5-470d-b029-59656566a699" providerId="ADAL" clId="{06DD399E-387B-6247-9101-D9256D82257F}" dt="2021-11-18T07:09:37.611" v="91840" actId="478"/>
          <ac:spMkLst>
            <pc:docMk/>
            <pc:sldMk cId="3876722291" sldId="2145707234"/>
            <ac:spMk id="7" creationId="{5DFB6E25-2F7D-EE49-BE6F-06FCCF7C9440}"/>
          </ac:spMkLst>
        </pc:spChg>
        <pc:spChg chg="add del mod">
          <ac:chgData name="Dan McTavish" userId="3bdd38c9-93c5-470d-b029-59656566a699" providerId="ADAL" clId="{06DD399E-387B-6247-9101-D9256D82257F}" dt="2021-11-12T10:06:44.233" v="90877"/>
          <ac:spMkLst>
            <pc:docMk/>
            <pc:sldMk cId="3876722291" sldId="2145707234"/>
            <ac:spMk id="8" creationId="{C06C90E8-2618-5444-9CE1-FEFECB496C98}"/>
          </ac:spMkLst>
        </pc:spChg>
        <pc:spChg chg="del">
          <ac:chgData name="Dan McTavish" userId="3bdd38c9-93c5-470d-b029-59656566a699" providerId="ADAL" clId="{06DD399E-387B-6247-9101-D9256D82257F}" dt="2021-11-11T11:44:08.903" v="90408" actId="478"/>
          <ac:spMkLst>
            <pc:docMk/>
            <pc:sldMk cId="3876722291" sldId="2145707234"/>
            <ac:spMk id="9" creationId="{830963B0-EC21-6844-B457-D76C8A955C49}"/>
          </ac:spMkLst>
        </pc:spChg>
        <pc:spChg chg="del">
          <ac:chgData name="Dan McTavish" userId="3bdd38c9-93c5-470d-b029-59656566a699" providerId="ADAL" clId="{06DD399E-387B-6247-9101-D9256D82257F}" dt="2021-11-11T11:44:05.241" v="90405" actId="478"/>
          <ac:spMkLst>
            <pc:docMk/>
            <pc:sldMk cId="3876722291" sldId="2145707234"/>
            <ac:spMk id="10" creationId="{AA4B3751-6FF3-874A-8E5D-223CB4CE2C1E}"/>
          </ac:spMkLst>
        </pc:spChg>
        <pc:spChg chg="del">
          <ac:chgData name="Dan McTavish" userId="3bdd38c9-93c5-470d-b029-59656566a699" providerId="ADAL" clId="{06DD399E-387B-6247-9101-D9256D82257F}" dt="2021-11-11T11:44:01.398" v="90401" actId="478"/>
          <ac:spMkLst>
            <pc:docMk/>
            <pc:sldMk cId="3876722291" sldId="2145707234"/>
            <ac:spMk id="11" creationId="{2268E45F-6B0F-9E49-A688-899F2496CF6B}"/>
          </ac:spMkLst>
        </pc:spChg>
        <pc:spChg chg="del">
          <ac:chgData name="Dan McTavish" userId="3bdd38c9-93c5-470d-b029-59656566a699" providerId="ADAL" clId="{06DD399E-387B-6247-9101-D9256D82257F}" dt="2021-11-11T11:44:03.186" v="90403" actId="478"/>
          <ac:spMkLst>
            <pc:docMk/>
            <pc:sldMk cId="3876722291" sldId="2145707234"/>
            <ac:spMk id="12" creationId="{0B514D86-AD76-1A4D-94B9-37EEA1E6BAF5}"/>
          </ac:spMkLst>
        </pc:spChg>
        <pc:spChg chg="mod">
          <ac:chgData name="Dan McTavish" userId="3bdd38c9-93c5-470d-b029-59656566a699" providerId="ADAL" clId="{06DD399E-387B-6247-9101-D9256D82257F}" dt="2021-11-11T13:20:23.663" v="90414" actId="14100"/>
          <ac:spMkLst>
            <pc:docMk/>
            <pc:sldMk cId="3876722291" sldId="2145707234"/>
            <ac:spMk id="13" creationId="{07E3E143-5154-A646-87A3-08C21A5C36E8}"/>
          </ac:spMkLst>
        </pc:spChg>
        <pc:spChg chg="add del mod">
          <ac:chgData name="Dan McTavish" userId="3bdd38c9-93c5-470d-b029-59656566a699" providerId="ADAL" clId="{06DD399E-387B-6247-9101-D9256D82257F}" dt="2021-11-12T10:07:26.122" v="90900" actId="478"/>
          <ac:spMkLst>
            <pc:docMk/>
            <pc:sldMk cId="3876722291" sldId="2145707234"/>
            <ac:spMk id="14" creationId="{89428234-6373-5C47-B327-8BCB8C2B2338}"/>
          </ac:spMkLst>
        </pc:spChg>
        <pc:spChg chg="mod">
          <ac:chgData name="Dan McTavish" userId="3bdd38c9-93c5-470d-b029-59656566a699" providerId="ADAL" clId="{06DD399E-387B-6247-9101-D9256D82257F}" dt="2021-11-11T13:20:23.663" v="90414" actId="14100"/>
          <ac:spMkLst>
            <pc:docMk/>
            <pc:sldMk cId="3876722291" sldId="2145707234"/>
            <ac:spMk id="15" creationId="{B9ED7676-D75E-CD4C-AEC6-C56A164704ED}"/>
          </ac:spMkLst>
        </pc:spChg>
        <pc:spChg chg="mod">
          <ac:chgData name="Dan McTavish" userId="3bdd38c9-93c5-470d-b029-59656566a699" providerId="ADAL" clId="{06DD399E-387B-6247-9101-D9256D82257F}" dt="2021-11-19T11:23:08.871" v="92166" actId="20578"/>
          <ac:spMkLst>
            <pc:docMk/>
            <pc:sldMk cId="3876722291" sldId="2145707234"/>
            <ac:spMk id="16" creationId="{31C5E5D2-FFD8-E746-BB5C-961B37795212}"/>
          </ac:spMkLst>
        </pc:spChg>
        <pc:spChg chg="mod">
          <ac:chgData name="Dan McTavish" userId="3bdd38c9-93c5-470d-b029-59656566a699" providerId="ADAL" clId="{06DD399E-387B-6247-9101-D9256D82257F}" dt="2021-11-11T13:20:23.663" v="90414" actId="14100"/>
          <ac:spMkLst>
            <pc:docMk/>
            <pc:sldMk cId="3876722291" sldId="2145707234"/>
            <ac:spMk id="17" creationId="{8F40B7A4-92EF-1C4F-9A1E-FC9FB344D392}"/>
          </ac:spMkLst>
        </pc:spChg>
        <pc:spChg chg="mod">
          <ac:chgData name="Dan McTavish" userId="3bdd38c9-93c5-470d-b029-59656566a699" providerId="ADAL" clId="{06DD399E-387B-6247-9101-D9256D82257F}" dt="2021-11-11T14:16:57.835" v="90578" actId="20577"/>
          <ac:spMkLst>
            <pc:docMk/>
            <pc:sldMk cId="3876722291" sldId="2145707234"/>
            <ac:spMk id="18" creationId="{D54C0A8D-B585-F947-B1C1-8FBC376E832E}"/>
          </ac:spMkLst>
        </pc:spChg>
        <pc:spChg chg="del">
          <ac:chgData name="Dan McTavish" userId="3bdd38c9-93c5-470d-b029-59656566a699" providerId="ADAL" clId="{06DD399E-387B-6247-9101-D9256D82257F}" dt="2021-11-11T11:44:07.256" v="90407" actId="478"/>
          <ac:spMkLst>
            <pc:docMk/>
            <pc:sldMk cId="3876722291" sldId="2145707234"/>
            <ac:spMk id="19" creationId="{FFED9F2A-CA37-494A-BFE0-FB9D9F9AC70D}"/>
          </ac:spMkLst>
        </pc:spChg>
        <pc:spChg chg="del">
          <ac:chgData name="Dan McTavish" userId="3bdd38c9-93c5-470d-b029-59656566a699" providerId="ADAL" clId="{06DD399E-387B-6247-9101-D9256D82257F}" dt="2021-11-11T11:44:10.025" v="90409" actId="478"/>
          <ac:spMkLst>
            <pc:docMk/>
            <pc:sldMk cId="3876722291" sldId="2145707234"/>
            <ac:spMk id="20" creationId="{402E6269-6E43-284C-994C-53753D65F08A}"/>
          </ac:spMkLst>
        </pc:spChg>
        <pc:spChg chg="add mod">
          <ac:chgData name="Dan McTavish" userId="3bdd38c9-93c5-470d-b029-59656566a699" providerId="ADAL" clId="{06DD399E-387B-6247-9101-D9256D82257F}" dt="2021-11-12T10:09:24.616" v="90950" actId="1076"/>
          <ac:spMkLst>
            <pc:docMk/>
            <pc:sldMk cId="3876722291" sldId="2145707234"/>
            <ac:spMk id="22" creationId="{26FC7AB4-FC05-9A43-82D8-71E345643228}"/>
          </ac:spMkLst>
        </pc:spChg>
        <pc:spChg chg="mod">
          <ac:chgData name="Dan McTavish" userId="3bdd38c9-93c5-470d-b029-59656566a699" providerId="ADAL" clId="{06DD399E-387B-6247-9101-D9256D82257F}" dt="2021-11-17T08:38:44.016" v="91270" actId="1076"/>
          <ac:spMkLst>
            <pc:docMk/>
            <pc:sldMk cId="3876722291" sldId="2145707234"/>
            <ac:spMk id="27" creationId="{8A7ED0D4-851F-9C41-AA1B-B59BF341AA0D}"/>
          </ac:spMkLst>
        </pc:spChg>
        <pc:spChg chg="mod">
          <ac:chgData name="Dan McTavish" userId="3bdd38c9-93c5-470d-b029-59656566a699" providerId="ADAL" clId="{06DD399E-387B-6247-9101-D9256D82257F}" dt="2021-11-22T08:51:15.161" v="92168" actId="1076"/>
          <ac:spMkLst>
            <pc:docMk/>
            <pc:sldMk cId="3876722291" sldId="2145707234"/>
            <ac:spMk id="29" creationId="{76739A09-28BB-8D4C-973E-BDE6FCD0BE69}"/>
          </ac:spMkLst>
        </pc:spChg>
        <pc:spChg chg="add mod">
          <ac:chgData name="Dan McTavish" userId="3bdd38c9-93c5-470d-b029-59656566a699" providerId="ADAL" clId="{06DD399E-387B-6247-9101-D9256D82257F}" dt="2021-11-12T10:10:22.711" v="90955" actId="1076"/>
          <ac:spMkLst>
            <pc:docMk/>
            <pc:sldMk cId="3876722291" sldId="2145707234"/>
            <ac:spMk id="30" creationId="{2A28B9BA-03A9-DD42-9433-8A06E4FD5F92}"/>
          </ac:spMkLst>
        </pc:spChg>
        <pc:spChg chg="del">
          <ac:chgData name="Dan McTavish" userId="3bdd38c9-93c5-470d-b029-59656566a699" providerId="ADAL" clId="{06DD399E-387B-6247-9101-D9256D82257F}" dt="2021-11-11T11:43:49.597" v="90394" actId="478"/>
          <ac:spMkLst>
            <pc:docMk/>
            <pc:sldMk cId="3876722291" sldId="2145707234"/>
            <ac:spMk id="31" creationId="{E4D90DAF-1445-3540-9BF7-751D7147172A}"/>
          </ac:spMkLst>
        </pc:spChg>
        <pc:spChg chg="del">
          <ac:chgData name="Dan McTavish" userId="3bdd38c9-93c5-470d-b029-59656566a699" providerId="ADAL" clId="{06DD399E-387B-6247-9101-D9256D82257F}" dt="2021-11-11T11:43:52.834" v="90395" actId="478"/>
          <ac:spMkLst>
            <pc:docMk/>
            <pc:sldMk cId="3876722291" sldId="2145707234"/>
            <ac:spMk id="32" creationId="{DCA2AF9B-2F13-0A47-8335-9A9507521FEC}"/>
          </ac:spMkLst>
        </pc:spChg>
        <pc:spChg chg="del">
          <ac:chgData name="Dan McTavish" userId="3bdd38c9-93c5-470d-b029-59656566a699" providerId="ADAL" clId="{06DD399E-387B-6247-9101-D9256D82257F}" dt="2021-11-11T11:43:59.483" v="90399" actId="478"/>
          <ac:spMkLst>
            <pc:docMk/>
            <pc:sldMk cId="3876722291" sldId="2145707234"/>
            <ac:spMk id="33" creationId="{DC26EBA0-F03D-114A-BE3F-18DDFB6D24C7}"/>
          </ac:spMkLst>
        </pc:spChg>
        <pc:spChg chg="del">
          <ac:chgData name="Dan McTavish" userId="3bdd38c9-93c5-470d-b029-59656566a699" providerId="ADAL" clId="{06DD399E-387B-6247-9101-D9256D82257F}" dt="2021-11-11T11:44:04.319" v="90404" actId="478"/>
          <ac:spMkLst>
            <pc:docMk/>
            <pc:sldMk cId="3876722291" sldId="2145707234"/>
            <ac:spMk id="34" creationId="{C7B4C74E-B074-E44F-8C83-59DA5CD2D3FA}"/>
          </ac:spMkLst>
        </pc:spChg>
        <pc:spChg chg="del mod">
          <ac:chgData name="Dan McTavish" userId="3bdd38c9-93c5-470d-b029-59656566a699" providerId="ADAL" clId="{06DD399E-387B-6247-9101-D9256D82257F}" dt="2021-11-11T11:43:55.335" v="90397" actId="478"/>
          <ac:spMkLst>
            <pc:docMk/>
            <pc:sldMk cId="3876722291" sldId="2145707234"/>
            <ac:spMk id="35" creationId="{19C6468E-F4CB-4B47-95DB-368B01CD4FA6}"/>
          </ac:spMkLst>
        </pc:spChg>
        <pc:spChg chg="mod">
          <ac:chgData name="Dan McTavish" userId="3bdd38c9-93c5-470d-b029-59656566a699" providerId="ADAL" clId="{06DD399E-387B-6247-9101-D9256D82257F}" dt="2021-11-11T13:20:23.663" v="90414" actId="14100"/>
          <ac:spMkLst>
            <pc:docMk/>
            <pc:sldMk cId="3876722291" sldId="2145707234"/>
            <ac:spMk id="36" creationId="{4EEC3B5D-60E2-4840-BF55-2759035A708B}"/>
          </ac:spMkLst>
        </pc:spChg>
        <pc:spChg chg="add mod">
          <ac:chgData name="Dan McTavish" userId="3bdd38c9-93c5-470d-b029-59656566a699" providerId="ADAL" clId="{06DD399E-387B-6247-9101-D9256D82257F}" dt="2021-11-12T12:59:12.036" v="91099" actId="208"/>
          <ac:spMkLst>
            <pc:docMk/>
            <pc:sldMk cId="3876722291" sldId="2145707234"/>
            <ac:spMk id="37" creationId="{0314A543-357F-2843-95AC-1BADD057A1D2}"/>
          </ac:spMkLst>
        </pc:spChg>
        <pc:spChg chg="mod">
          <ac:chgData name="Dan McTavish" userId="3bdd38c9-93c5-470d-b029-59656566a699" providerId="ADAL" clId="{06DD399E-387B-6247-9101-D9256D82257F}" dt="2021-11-11T13:20:23.663" v="90414" actId="14100"/>
          <ac:spMkLst>
            <pc:docMk/>
            <pc:sldMk cId="3876722291" sldId="2145707234"/>
            <ac:spMk id="38" creationId="{9451E953-DDBA-304B-A8F4-C16709E44AE3}"/>
          </ac:spMkLst>
        </pc:spChg>
        <pc:spChg chg="add mod">
          <ac:chgData name="Dan McTavish" userId="3bdd38c9-93c5-470d-b029-59656566a699" providerId="ADAL" clId="{06DD399E-387B-6247-9101-D9256D82257F}" dt="2021-11-15T14:32:18.105" v="91148" actId="1076"/>
          <ac:spMkLst>
            <pc:docMk/>
            <pc:sldMk cId="3876722291" sldId="2145707234"/>
            <ac:spMk id="39" creationId="{985DBF1B-300A-9A42-B2F4-DD7D2363635E}"/>
          </ac:spMkLst>
        </pc:spChg>
        <pc:spChg chg="del">
          <ac:chgData name="Dan McTavish" userId="3bdd38c9-93c5-470d-b029-59656566a699" providerId="ADAL" clId="{06DD399E-387B-6247-9101-D9256D82257F}" dt="2021-11-11T11:44:06.292" v="90406" actId="478"/>
          <ac:spMkLst>
            <pc:docMk/>
            <pc:sldMk cId="3876722291" sldId="2145707234"/>
            <ac:spMk id="39" creationId="{C28C593A-B50A-0E4A-88B3-22558DF03A33}"/>
          </ac:spMkLst>
        </pc:spChg>
        <pc:spChg chg="del">
          <ac:chgData name="Dan McTavish" userId="3bdd38c9-93c5-470d-b029-59656566a699" providerId="ADAL" clId="{06DD399E-387B-6247-9101-D9256D82257F}" dt="2021-11-11T11:44:02.332" v="90402" actId="478"/>
          <ac:spMkLst>
            <pc:docMk/>
            <pc:sldMk cId="3876722291" sldId="2145707234"/>
            <ac:spMk id="40" creationId="{551DA18D-B257-704C-9B01-981ED0BFCCE0}"/>
          </ac:spMkLst>
        </pc:spChg>
        <pc:spChg chg="add mod">
          <ac:chgData name="Dan McTavish" userId="3bdd38c9-93c5-470d-b029-59656566a699" providerId="ADAL" clId="{06DD399E-387B-6247-9101-D9256D82257F}" dt="2021-11-15T14:32:31.605" v="91150" actId="1076"/>
          <ac:spMkLst>
            <pc:docMk/>
            <pc:sldMk cId="3876722291" sldId="2145707234"/>
            <ac:spMk id="40" creationId="{6C042DFC-4F46-1A43-864E-19C2EB770B20}"/>
          </ac:spMkLst>
        </pc:spChg>
        <pc:spChg chg="add mod">
          <ac:chgData name="Dan McTavish" userId="3bdd38c9-93c5-470d-b029-59656566a699" providerId="ADAL" clId="{06DD399E-387B-6247-9101-D9256D82257F}" dt="2021-11-12T12:59:20.861" v="91100" actId="208"/>
          <ac:spMkLst>
            <pc:docMk/>
            <pc:sldMk cId="3876722291" sldId="2145707234"/>
            <ac:spMk id="41" creationId="{D0977BC3-C708-144D-AC21-E1D135100A19}"/>
          </ac:spMkLst>
        </pc:spChg>
        <pc:spChg chg="del">
          <ac:chgData name="Dan McTavish" userId="3bdd38c9-93c5-470d-b029-59656566a699" providerId="ADAL" clId="{06DD399E-387B-6247-9101-D9256D82257F}" dt="2021-11-11T11:44:00.640" v="90400" actId="478"/>
          <ac:spMkLst>
            <pc:docMk/>
            <pc:sldMk cId="3876722291" sldId="2145707234"/>
            <ac:spMk id="42" creationId="{08601101-FA62-104A-A08A-5797E34F9ED6}"/>
          </ac:spMkLst>
        </pc:spChg>
        <pc:spChg chg="add mod">
          <ac:chgData name="Dan McTavish" userId="3bdd38c9-93c5-470d-b029-59656566a699" providerId="ADAL" clId="{06DD399E-387B-6247-9101-D9256D82257F}" dt="2021-11-15T14:35:01.693" v="91205" actId="1076"/>
          <ac:spMkLst>
            <pc:docMk/>
            <pc:sldMk cId="3876722291" sldId="2145707234"/>
            <ac:spMk id="42" creationId="{D7212CF0-F676-8643-BCB6-916D21DE7BE3}"/>
          </ac:spMkLst>
        </pc:spChg>
        <pc:spChg chg="add mod">
          <ac:chgData name="Dan McTavish" userId="3bdd38c9-93c5-470d-b029-59656566a699" providerId="ADAL" clId="{06DD399E-387B-6247-9101-D9256D82257F}" dt="2021-11-11T14:28:51.694" v="90745" actId="1076"/>
          <ac:spMkLst>
            <pc:docMk/>
            <pc:sldMk cId="3876722291" sldId="2145707234"/>
            <ac:spMk id="43" creationId="{D3E676E0-D824-FA46-9BD6-62510671E74A}"/>
          </ac:spMkLst>
        </pc:spChg>
        <pc:spChg chg="add mod">
          <ac:chgData name="Dan McTavish" userId="3bdd38c9-93c5-470d-b029-59656566a699" providerId="ADAL" clId="{06DD399E-387B-6247-9101-D9256D82257F}" dt="2021-11-11T14:28:53.798" v="90746" actId="1076"/>
          <ac:spMkLst>
            <pc:docMk/>
            <pc:sldMk cId="3876722291" sldId="2145707234"/>
            <ac:spMk id="44" creationId="{AF238685-C3E6-1643-ADC8-5DDF993EE142}"/>
          </ac:spMkLst>
        </pc:spChg>
        <pc:spChg chg="add mod">
          <ac:chgData name="Dan McTavish" userId="3bdd38c9-93c5-470d-b029-59656566a699" providerId="ADAL" clId="{06DD399E-387B-6247-9101-D9256D82257F}" dt="2021-11-12T10:10:26.581" v="90956" actId="1076"/>
          <ac:spMkLst>
            <pc:docMk/>
            <pc:sldMk cId="3876722291" sldId="2145707234"/>
            <ac:spMk id="45" creationId="{180212A9-36E0-4944-8DDA-D95A6574884F}"/>
          </ac:spMkLst>
        </pc:spChg>
        <pc:spChg chg="add mod">
          <ac:chgData name="Dan McTavish" userId="3bdd38c9-93c5-470d-b029-59656566a699" providerId="ADAL" clId="{06DD399E-387B-6247-9101-D9256D82257F}" dt="2021-11-12T10:10:11.371" v="90952" actId="1076"/>
          <ac:spMkLst>
            <pc:docMk/>
            <pc:sldMk cId="3876722291" sldId="2145707234"/>
            <ac:spMk id="46" creationId="{75C72431-B50A-6245-9BC6-37CE7202F0E6}"/>
          </ac:spMkLst>
        </pc:spChg>
        <pc:spChg chg="add mod">
          <ac:chgData name="Dan McTavish" userId="3bdd38c9-93c5-470d-b029-59656566a699" providerId="ADAL" clId="{06DD399E-387B-6247-9101-D9256D82257F}" dt="2021-11-17T16:31:19.510" v="91530" actId="1076"/>
          <ac:spMkLst>
            <pc:docMk/>
            <pc:sldMk cId="3876722291" sldId="2145707234"/>
            <ac:spMk id="47" creationId="{D2E1CF86-B845-9148-B93D-580DE3091895}"/>
          </ac:spMkLst>
        </pc:spChg>
        <pc:spChg chg="add mod">
          <ac:chgData name="Dan McTavish" userId="3bdd38c9-93c5-470d-b029-59656566a699" providerId="ADAL" clId="{06DD399E-387B-6247-9101-D9256D82257F}" dt="2021-11-18T07:11:52.203" v="91975" actId="20577"/>
          <ac:spMkLst>
            <pc:docMk/>
            <pc:sldMk cId="3876722291" sldId="2145707234"/>
            <ac:spMk id="48" creationId="{52B14573-BE3A-CD45-8E71-DEAB1B0BD013}"/>
          </ac:spMkLst>
        </pc:spChg>
        <pc:spChg chg="add mod">
          <ac:chgData name="Dan McTavish" userId="3bdd38c9-93c5-470d-b029-59656566a699" providerId="ADAL" clId="{06DD399E-387B-6247-9101-D9256D82257F}" dt="2021-11-12T10:10:29.720" v="90957" actId="1076"/>
          <ac:spMkLst>
            <pc:docMk/>
            <pc:sldMk cId="3876722291" sldId="2145707234"/>
            <ac:spMk id="49" creationId="{CBB112B4-8488-2F45-A71D-6D110DBC008E}"/>
          </ac:spMkLst>
        </pc:spChg>
        <pc:spChg chg="add mod">
          <ac:chgData name="Dan McTavish" userId="3bdd38c9-93c5-470d-b029-59656566a699" providerId="ADAL" clId="{06DD399E-387B-6247-9101-D9256D82257F}" dt="2021-11-15T14:32:10.729" v="91146" actId="1076"/>
          <ac:spMkLst>
            <pc:docMk/>
            <pc:sldMk cId="3876722291" sldId="2145707234"/>
            <ac:spMk id="50" creationId="{91D23297-B194-2840-87AA-69E1C30556A1}"/>
          </ac:spMkLst>
        </pc:spChg>
        <pc:spChg chg="add mod">
          <ac:chgData name="Dan McTavish" userId="3bdd38c9-93c5-470d-b029-59656566a699" providerId="ADAL" clId="{06DD399E-387B-6247-9101-D9256D82257F}" dt="2021-11-17T16:27:22.382" v="91528" actId="20578"/>
          <ac:spMkLst>
            <pc:docMk/>
            <pc:sldMk cId="3876722291" sldId="2145707234"/>
            <ac:spMk id="51" creationId="{7113032B-4049-2E4F-8A08-33F72382349C}"/>
          </ac:spMkLst>
        </pc:spChg>
        <pc:spChg chg="add mod">
          <ac:chgData name="Dan McTavish" userId="3bdd38c9-93c5-470d-b029-59656566a699" providerId="ADAL" clId="{06DD399E-387B-6247-9101-D9256D82257F}" dt="2021-11-17T08:40:09.354" v="91345" actId="1076"/>
          <ac:spMkLst>
            <pc:docMk/>
            <pc:sldMk cId="3876722291" sldId="2145707234"/>
            <ac:spMk id="52" creationId="{E38D3AAE-FEED-424E-8D8B-BD39192FE420}"/>
          </ac:spMkLst>
        </pc:spChg>
        <pc:spChg chg="add mod">
          <ac:chgData name="Dan McTavish" userId="3bdd38c9-93c5-470d-b029-59656566a699" providerId="ADAL" clId="{06DD399E-387B-6247-9101-D9256D82257F}" dt="2021-11-12T10:28:00.624" v="91004" actId="20577"/>
          <ac:spMkLst>
            <pc:docMk/>
            <pc:sldMk cId="3876722291" sldId="2145707234"/>
            <ac:spMk id="53" creationId="{E28F78F1-ED15-DA4D-B82A-E1A0861B1133}"/>
          </ac:spMkLst>
        </pc:spChg>
        <pc:spChg chg="add mod">
          <ac:chgData name="Dan McTavish" userId="3bdd38c9-93c5-470d-b029-59656566a699" providerId="ADAL" clId="{06DD399E-387B-6247-9101-D9256D82257F}" dt="2021-11-12T10:28:36.989" v="91023" actId="20577"/>
          <ac:spMkLst>
            <pc:docMk/>
            <pc:sldMk cId="3876722291" sldId="2145707234"/>
            <ac:spMk id="54" creationId="{D086ABE5-52C7-5F48-9D84-FB5A477699CD}"/>
          </ac:spMkLst>
        </pc:spChg>
        <pc:spChg chg="add mod">
          <ac:chgData name="Dan McTavish" userId="3bdd38c9-93c5-470d-b029-59656566a699" providerId="ADAL" clId="{06DD399E-387B-6247-9101-D9256D82257F}" dt="2021-11-18T07:57:19.423" v="92148" actId="1076"/>
          <ac:spMkLst>
            <pc:docMk/>
            <pc:sldMk cId="3876722291" sldId="2145707234"/>
            <ac:spMk id="55" creationId="{54CECEE4-4A3D-9B42-BB74-6E4C3F026F65}"/>
          </ac:spMkLst>
        </pc:spChg>
        <pc:spChg chg="add mod">
          <ac:chgData name="Dan McTavish" userId="3bdd38c9-93c5-470d-b029-59656566a699" providerId="ADAL" clId="{06DD399E-387B-6247-9101-D9256D82257F}" dt="2021-11-12T12:58:15.628" v="91062" actId="20577"/>
          <ac:spMkLst>
            <pc:docMk/>
            <pc:sldMk cId="3876722291" sldId="2145707234"/>
            <ac:spMk id="56" creationId="{3491B4DD-E4E7-1047-9C30-A64B7192B860}"/>
          </ac:spMkLst>
        </pc:spChg>
        <pc:spChg chg="add mod">
          <ac:chgData name="Dan McTavish" userId="3bdd38c9-93c5-470d-b029-59656566a699" providerId="ADAL" clId="{06DD399E-387B-6247-9101-D9256D82257F}" dt="2021-11-12T12:58:33.540" v="91081" actId="20577"/>
          <ac:spMkLst>
            <pc:docMk/>
            <pc:sldMk cId="3876722291" sldId="2145707234"/>
            <ac:spMk id="57" creationId="{6D1FD6D6-44A5-474E-865D-83CFB7E0D3B5}"/>
          </ac:spMkLst>
        </pc:spChg>
        <pc:spChg chg="add mod">
          <ac:chgData name="Dan McTavish" userId="3bdd38c9-93c5-470d-b029-59656566a699" providerId="ADAL" clId="{06DD399E-387B-6247-9101-D9256D82257F}" dt="2021-11-12T12:58:44.994" v="91098" actId="20577"/>
          <ac:spMkLst>
            <pc:docMk/>
            <pc:sldMk cId="3876722291" sldId="2145707234"/>
            <ac:spMk id="58" creationId="{9DDEEFA0-8ACC-A548-8C5D-2D4A3BDC0343}"/>
          </ac:spMkLst>
        </pc:spChg>
        <pc:spChg chg="add mod">
          <ac:chgData name="Dan McTavish" userId="3bdd38c9-93c5-470d-b029-59656566a699" providerId="ADAL" clId="{06DD399E-387B-6247-9101-D9256D82257F}" dt="2021-11-17T08:49:16.059" v="91424" actId="1076"/>
          <ac:spMkLst>
            <pc:docMk/>
            <pc:sldMk cId="3876722291" sldId="2145707234"/>
            <ac:spMk id="59" creationId="{5E4730D7-7C70-B84B-B66F-4FDBBA44EB09}"/>
          </ac:spMkLst>
        </pc:spChg>
        <pc:spChg chg="add mod">
          <ac:chgData name="Dan McTavish" userId="3bdd38c9-93c5-470d-b029-59656566a699" providerId="ADAL" clId="{06DD399E-387B-6247-9101-D9256D82257F}" dt="2021-11-12T13:00:26.893" v="91143" actId="313"/>
          <ac:spMkLst>
            <pc:docMk/>
            <pc:sldMk cId="3876722291" sldId="2145707234"/>
            <ac:spMk id="60" creationId="{6F0F1002-4105-BE4A-B3B5-CB821EECA8C0}"/>
          </ac:spMkLst>
        </pc:spChg>
        <pc:spChg chg="add mod">
          <ac:chgData name="Dan McTavish" userId="3bdd38c9-93c5-470d-b029-59656566a699" providerId="ADAL" clId="{06DD399E-387B-6247-9101-D9256D82257F}" dt="2021-11-17T08:46:42.631" v="91363" actId="208"/>
          <ac:spMkLst>
            <pc:docMk/>
            <pc:sldMk cId="3876722291" sldId="2145707234"/>
            <ac:spMk id="61" creationId="{B740208E-709C-7340-95A5-798975BAC374}"/>
          </ac:spMkLst>
        </pc:spChg>
        <pc:spChg chg="add mod">
          <ac:chgData name="Dan McTavish" userId="3bdd38c9-93c5-470d-b029-59656566a699" providerId="ADAL" clId="{06DD399E-387B-6247-9101-D9256D82257F}" dt="2021-11-17T15:39:11.160" v="91465" actId="1076"/>
          <ac:spMkLst>
            <pc:docMk/>
            <pc:sldMk cId="3876722291" sldId="2145707234"/>
            <ac:spMk id="62" creationId="{14E3AC19-4389-5D4D-9049-1031BF7384AE}"/>
          </ac:spMkLst>
        </pc:spChg>
        <pc:spChg chg="add mod">
          <ac:chgData name="Dan McTavish" userId="3bdd38c9-93c5-470d-b029-59656566a699" providerId="ADAL" clId="{06DD399E-387B-6247-9101-D9256D82257F}" dt="2021-11-17T08:47:26.793" v="91375" actId="20577"/>
          <ac:spMkLst>
            <pc:docMk/>
            <pc:sldMk cId="3876722291" sldId="2145707234"/>
            <ac:spMk id="63" creationId="{52EE4D56-5273-0341-8BD2-F3135EB51918}"/>
          </ac:spMkLst>
        </pc:spChg>
        <pc:spChg chg="add mod">
          <ac:chgData name="Dan McTavish" userId="3bdd38c9-93c5-470d-b029-59656566a699" providerId="ADAL" clId="{06DD399E-387B-6247-9101-D9256D82257F}" dt="2021-11-18T07:06:02.618" v="91835" actId="1076"/>
          <ac:spMkLst>
            <pc:docMk/>
            <pc:sldMk cId="3876722291" sldId="2145707234"/>
            <ac:spMk id="64" creationId="{0C7F1755-E6DF-3F49-934A-A022117A4635}"/>
          </ac:spMkLst>
        </pc:spChg>
        <pc:spChg chg="add mod">
          <ac:chgData name="Dan McTavish" userId="3bdd38c9-93c5-470d-b029-59656566a699" providerId="ADAL" clId="{06DD399E-387B-6247-9101-D9256D82257F}" dt="2021-11-17T08:50:58.863" v="91441" actId="108"/>
          <ac:spMkLst>
            <pc:docMk/>
            <pc:sldMk cId="3876722291" sldId="2145707234"/>
            <ac:spMk id="65" creationId="{A6E72899-920C-7946-AB45-2601F5AA95C8}"/>
          </ac:spMkLst>
        </pc:spChg>
        <pc:spChg chg="add mod">
          <ac:chgData name="Dan McTavish" userId="3bdd38c9-93c5-470d-b029-59656566a699" providerId="ADAL" clId="{06DD399E-387B-6247-9101-D9256D82257F}" dt="2021-11-17T16:56:32.307" v="91764" actId="1076"/>
          <ac:spMkLst>
            <pc:docMk/>
            <pc:sldMk cId="3876722291" sldId="2145707234"/>
            <ac:spMk id="66" creationId="{BFA10CBF-ECBC-9B48-BD2E-64BAC45F608D}"/>
          </ac:spMkLst>
        </pc:spChg>
        <pc:spChg chg="add mod">
          <ac:chgData name="Dan McTavish" userId="3bdd38c9-93c5-470d-b029-59656566a699" providerId="ADAL" clId="{06DD399E-387B-6247-9101-D9256D82257F}" dt="2021-11-17T08:51:59.778" v="91462" actId="208"/>
          <ac:spMkLst>
            <pc:docMk/>
            <pc:sldMk cId="3876722291" sldId="2145707234"/>
            <ac:spMk id="67" creationId="{F9F26EF4-34A3-9349-AB1C-8C255F0EA253}"/>
          </ac:spMkLst>
        </pc:spChg>
        <pc:spChg chg="add mod">
          <ac:chgData name="Dan McTavish" userId="3bdd38c9-93c5-470d-b029-59656566a699" providerId="ADAL" clId="{06DD399E-387B-6247-9101-D9256D82257F}" dt="2021-11-17T16:16:25.322" v="91468" actId="1076"/>
          <ac:spMkLst>
            <pc:docMk/>
            <pc:sldMk cId="3876722291" sldId="2145707234"/>
            <ac:spMk id="68" creationId="{E40D0750-9F2D-DB40-964B-C1F745D48A00}"/>
          </ac:spMkLst>
        </pc:spChg>
        <pc:spChg chg="add del mod">
          <ac:chgData name="Dan McTavish" userId="3bdd38c9-93c5-470d-b029-59656566a699" providerId="ADAL" clId="{06DD399E-387B-6247-9101-D9256D82257F}" dt="2021-11-17T16:16:51.572" v="91471" actId="478"/>
          <ac:spMkLst>
            <pc:docMk/>
            <pc:sldMk cId="3876722291" sldId="2145707234"/>
            <ac:spMk id="69" creationId="{74220A1F-0823-5148-AE7D-C23579A1F415}"/>
          </ac:spMkLst>
        </pc:spChg>
        <pc:spChg chg="add mod">
          <ac:chgData name="Dan McTavish" userId="3bdd38c9-93c5-470d-b029-59656566a699" providerId="ADAL" clId="{06DD399E-387B-6247-9101-D9256D82257F}" dt="2021-11-18T07:44:50.505" v="92092" actId="1076"/>
          <ac:spMkLst>
            <pc:docMk/>
            <pc:sldMk cId="3876722291" sldId="2145707234"/>
            <ac:spMk id="70" creationId="{71A47357-D62E-E348-B6D4-67AE8D925EC9}"/>
          </ac:spMkLst>
        </pc:spChg>
        <pc:spChg chg="add mod">
          <ac:chgData name="Dan McTavish" userId="3bdd38c9-93c5-470d-b029-59656566a699" providerId="ADAL" clId="{06DD399E-387B-6247-9101-D9256D82257F}" dt="2021-11-18T07:47:04.234" v="92146" actId="1076"/>
          <ac:spMkLst>
            <pc:docMk/>
            <pc:sldMk cId="3876722291" sldId="2145707234"/>
            <ac:spMk id="71" creationId="{F53AC68A-69C1-8C4E-A4C7-63D22EBE90D2}"/>
          </ac:spMkLst>
        </pc:spChg>
        <pc:spChg chg="add mod">
          <ac:chgData name="Dan McTavish" userId="3bdd38c9-93c5-470d-b029-59656566a699" providerId="ADAL" clId="{06DD399E-387B-6247-9101-D9256D82257F}" dt="2021-11-17T16:35:38.940" v="91576" actId="20577"/>
          <ac:spMkLst>
            <pc:docMk/>
            <pc:sldMk cId="3876722291" sldId="2145707234"/>
            <ac:spMk id="72" creationId="{5170BF2A-8B2F-C84F-AE89-DFD4EBA61449}"/>
          </ac:spMkLst>
        </pc:spChg>
        <pc:spChg chg="add mod">
          <ac:chgData name="Dan McTavish" userId="3bdd38c9-93c5-470d-b029-59656566a699" providerId="ADAL" clId="{06DD399E-387B-6247-9101-D9256D82257F}" dt="2021-11-17T16:40:21.460" v="91693" actId="1035"/>
          <ac:spMkLst>
            <pc:docMk/>
            <pc:sldMk cId="3876722291" sldId="2145707234"/>
            <ac:spMk id="73" creationId="{3E13E380-5374-A248-AF4C-B8BEEBA6B495}"/>
          </ac:spMkLst>
        </pc:spChg>
        <pc:spChg chg="add mod">
          <ac:chgData name="Dan McTavish" userId="3bdd38c9-93c5-470d-b029-59656566a699" providerId="ADAL" clId="{06DD399E-387B-6247-9101-D9256D82257F}" dt="2021-11-18T07:09:20.136" v="91836" actId="1076"/>
          <ac:spMkLst>
            <pc:docMk/>
            <pc:sldMk cId="3876722291" sldId="2145707234"/>
            <ac:spMk id="74" creationId="{790F750E-ED14-2546-A973-70CCE96CD15E}"/>
          </ac:spMkLst>
        </pc:spChg>
        <pc:spChg chg="add mod">
          <ac:chgData name="Dan McTavish" userId="3bdd38c9-93c5-470d-b029-59656566a699" providerId="ADAL" clId="{06DD399E-387B-6247-9101-D9256D82257F}" dt="2021-11-18T07:09:22.329" v="91837" actId="1076"/>
          <ac:spMkLst>
            <pc:docMk/>
            <pc:sldMk cId="3876722291" sldId="2145707234"/>
            <ac:spMk id="75" creationId="{8EEF82F4-AF69-3A40-8D8E-ECF872A58413}"/>
          </ac:spMkLst>
        </pc:spChg>
        <pc:spChg chg="add mod">
          <ac:chgData name="Dan McTavish" userId="3bdd38c9-93c5-470d-b029-59656566a699" providerId="ADAL" clId="{06DD399E-387B-6247-9101-D9256D82257F}" dt="2021-11-17T16:52:37.246" v="91762" actId="1076"/>
          <ac:spMkLst>
            <pc:docMk/>
            <pc:sldMk cId="3876722291" sldId="2145707234"/>
            <ac:spMk id="76" creationId="{A941C7A5-B89D-0D40-8E2D-66972B114710}"/>
          </ac:spMkLst>
        </pc:spChg>
        <pc:spChg chg="add mod">
          <ac:chgData name="Dan McTavish" userId="3bdd38c9-93c5-470d-b029-59656566a699" providerId="ADAL" clId="{06DD399E-387B-6247-9101-D9256D82257F}" dt="2021-11-18T07:32:26.282" v="92011" actId="1076"/>
          <ac:spMkLst>
            <pc:docMk/>
            <pc:sldMk cId="3876722291" sldId="2145707234"/>
            <ac:spMk id="77" creationId="{5D03D736-947B-4F49-8DE7-9EEEEBAC72AF}"/>
          </ac:spMkLst>
        </pc:spChg>
        <pc:spChg chg="add mod">
          <ac:chgData name="Dan McTavish" userId="3bdd38c9-93c5-470d-b029-59656566a699" providerId="ADAL" clId="{06DD399E-387B-6247-9101-D9256D82257F}" dt="2021-11-17T16:58:05.885" v="91831" actId="1076"/>
          <ac:spMkLst>
            <pc:docMk/>
            <pc:sldMk cId="3876722291" sldId="2145707234"/>
            <ac:spMk id="78" creationId="{F3669694-3D34-C847-A6E6-0E47DDED162B}"/>
          </ac:spMkLst>
        </pc:spChg>
        <pc:spChg chg="add mod">
          <ac:chgData name="Dan McTavish" userId="3bdd38c9-93c5-470d-b029-59656566a699" providerId="ADAL" clId="{06DD399E-387B-6247-9101-D9256D82257F}" dt="2021-11-17T16:58:15.399" v="91832" actId="1076"/>
          <ac:spMkLst>
            <pc:docMk/>
            <pc:sldMk cId="3876722291" sldId="2145707234"/>
            <ac:spMk id="79" creationId="{EFF68E29-56FD-DF4F-AC57-3965E67043EA}"/>
          </ac:spMkLst>
        </pc:spChg>
        <pc:spChg chg="add mod">
          <ac:chgData name="Dan McTavish" userId="3bdd38c9-93c5-470d-b029-59656566a699" providerId="ADAL" clId="{06DD399E-387B-6247-9101-D9256D82257F}" dt="2021-11-18T07:09:24.714" v="91838" actId="1076"/>
          <ac:spMkLst>
            <pc:docMk/>
            <pc:sldMk cId="3876722291" sldId="2145707234"/>
            <ac:spMk id="80" creationId="{31C940D7-4901-344C-A72A-A82D25DF9405}"/>
          </ac:spMkLst>
        </pc:spChg>
        <pc:spChg chg="add mod">
          <ac:chgData name="Dan McTavish" userId="3bdd38c9-93c5-470d-b029-59656566a699" providerId="ADAL" clId="{06DD399E-387B-6247-9101-D9256D82257F}" dt="2021-11-18T07:10:17.255" v="91927" actId="20577"/>
          <ac:spMkLst>
            <pc:docMk/>
            <pc:sldMk cId="3876722291" sldId="2145707234"/>
            <ac:spMk id="81" creationId="{8F6EEF12-2629-FA47-AE1D-F47595AEC58A}"/>
          </ac:spMkLst>
        </pc:spChg>
        <pc:spChg chg="add mod">
          <ac:chgData name="Dan McTavish" userId="3bdd38c9-93c5-470d-b029-59656566a699" providerId="ADAL" clId="{06DD399E-387B-6247-9101-D9256D82257F}" dt="2021-11-18T07:31:19.649" v="92002" actId="1076"/>
          <ac:spMkLst>
            <pc:docMk/>
            <pc:sldMk cId="3876722291" sldId="2145707234"/>
            <ac:spMk id="82" creationId="{8689DE57-267E-4646-B632-1E21CDC7B5A4}"/>
          </ac:spMkLst>
        </pc:spChg>
        <pc:spChg chg="add mod">
          <ac:chgData name="Dan McTavish" userId="3bdd38c9-93c5-470d-b029-59656566a699" providerId="ADAL" clId="{06DD399E-387B-6247-9101-D9256D82257F}" dt="2021-11-18T07:13:46.039" v="91996" actId="20577"/>
          <ac:spMkLst>
            <pc:docMk/>
            <pc:sldMk cId="3876722291" sldId="2145707234"/>
            <ac:spMk id="83" creationId="{8298898A-A69E-0B44-8E29-0063E771A731}"/>
          </ac:spMkLst>
        </pc:spChg>
        <pc:spChg chg="add mod">
          <ac:chgData name="Dan McTavish" userId="3bdd38c9-93c5-470d-b029-59656566a699" providerId="ADAL" clId="{06DD399E-387B-6247-9101-D9256D82257F}" dt="2021-11-18T07:38:08.200" v="92091" actId="1076"/>
          <ac:spMkLst>
            <pc:docMk/>
            <pc:sldMk cId="3876722291" sldId="2145707234"/>
            <ac:spMk id="84" creationId="{100E2684-CBFF-2943-AA2C-70E4F6030193}"/>
          </ac:spMkLst>
        </pc:spChg>
        <pc:spChg chg="add mod">
          <ac:chgData name="Dan McTavish" userId="3bdd38c9-93c5-470d-b029-59656566a699" providerId="ADAL" clId="{06DD399E-387B-6247-9101-D9256D82257F}" dt="2021-11-18T07:32:54.241" v="92084" actId="20577"/>
          <ac:spMkLst>
            <pc:docMk/>
            <pc:sldMk cId="3876722291" sldId="2145707234"/>
            <ac:spMk id="85" creationId="{C8F55CE2-15B0-4A49-9453-EFFCB7E44054}"/>
          </ac:spMkLst>
        </pc:spChg>
        <pc:spChg chg="add mod">
          <ac:chgData name="Dan McTavish" userId="3bdd38c9-93c5-470d-b029-59656566a699" providerId="ADAL" clId="{06DD399E-387B-6247-9101-D9256D82257F}" dt="2021-11-18T07:35:49.332" v="92086" actId="1076"/>
          <ac:spMkLst>
            <pc:docMk/>
            <pc:sldMk cId="3876722291" sldId="2145707234"/>
            <ac:spMk id="86" creationId="{D0E1F830-768A-7F4D-B707-6F76F7701D0D}"/>
          </ac:spMkLst>
        </pc:spChg>
        <pc:spChg chg="add mod">
          <ac:chgData name="Dan McTavish" userId="3bdd38c9-93c5-470d-b029-59656566a699" providerId="ADAL" clId="{06DD399E-387B-6247-9101-D9256D82257F}" dt="2021-11-18T07:37:17.239" v="92089" actId="1076"/>
          <ac:spMkLst>
            <pc:docMk/>
            <pc:sldMk cId="3876722291" sldId="2145707234"/>
            <ac:spMk id="87" creationId="{A4612C51-EE43-2543-9DBE-B83D0C949A85}"/>
          </ac:spMkLst>
        </pc:spChg>
        <pc:spChg chg="add mod">
          <ac:chgData name="Dan McTavish" userId="3bdd38c9-93c5-470d-b029-59656566a699" providerId="ADAL" clId="{06DD399E-387B-6247-9101-D9256D82257F}" dt="2021-11-18T07:46:37.368" v="92145" actId="20577"/>
          <ac:spMkLst>
            <pc:docMk/>
            <pc:sldMk cId="3876722291" sldId="2145707234"/>
            <ac:spMk id="88" creationId="{508C43D5-BA74-7D40-B5E0-475E8A8F397C}"/>
          </ac:spMkLst>
        </pc:spChg>
        <pc:spChg chg="add mod">
          <ac:chgData name="Dan McTavish" userId="3bdd38c9-93c5-470d-b029-59656566a699" providerId="ADAL" clId="{06DD399E-387B-6247-9101-D9256D82257F}" dt="2021-11-18T07:57:28.930" v="92162" actId="20577"/>
          <ac:spMkLst>
            <pc:docMk/>
            <pc:sldMk cId="3876722291" sldId="2145707234"/>
            <ac:spMk id="89" creationId="{CD1165CE-6387-A345-887A-5ECC0EFD43B9}"/>
          </ac:spMkLst>
        </pc:spChg>
        <pc:spChg chg="add mod">
          <ac:chgData name="Dan McTavish" userId="3bdd38c9-93c5-470d-b029-59656566a699" providerId="ADAL" clId="{06DD399E-387B-6247-9101-D9256D82257F}" dt="2021-11-18T07:57:37.831" v="92164" actId="1076"/>
          <ac:spMkLst>
            <pc:docMk/>
            <pc:sldMk cId="3876722291" sldId="2145707234"/>
            <ac:spMk id="90" creationId="{FDB33A29-A298-D14A-8B13-764F3F19BEC2}"/>
          </ac:spMkLst>
        </pc:spChg>
      </pc:sldChg>
      <pc:sldChg chg="add">
        <pc:chgData name="Dan McTavish" userId="3bdd38c9-93c5-470d-b029-59656566a699" providerId="ADAL" clId="{06DD399E-387B-6247-9101-D9256D82257F}" dt="2021-11-30T10:07:20.165" v="92373"/>
        <pc:sldMkLst>
          <pc:docMk/>
          <pc:sldMk cId="2327813027" sldId="2145707235"/>
        </pc:sldMkLst>
      </pc:sldChg>
      <pc:sldChg chg="add del">
        <pc:chgData name="Dan McTavish" userId="3bdd38c9-93c5-470d-b029-59656566a699" providerId="ADAL" clId="{06DD399E-387B-6247-9101-D9256D82257F}" dt="2021-12-02T14:47:25.175" v="92882" actId="2696"/>
        <pc:sldMkLst>
          <pc:docMk/>
          <pc:sldMk cId="3901844319" sldId="2145707236"/>
        </pc:sldMkLst>
      </pc:sldChg>
      <pc:sldChg chg="modSp add del mod">
        <pc:chgData name="Dan McTavish" userId="3bdd38c9-93c5-470d-b029-59656566a699" providerId="ADAL" clId="{06DD399E-387B-6247-9101-D9256D82257F}" dt="2021-11-30T10:25:34.868" v="92387" actId="2696"/>
        <pc:sldMkLst>
          <pc:docMk/>
          <pc:sldMk cId="2298480874" sldId="2145707237"/>
        </pc:sldMkLst>
        <pc:spChg chg="mod">
          <ac:chgData name="Dan McTavish" userId="3bdd38c9-93c5-470d-b029-59656566a699" providerId="ADAL" clId="{06DD399E-387B-6247-9101-D9256D82257F}" dt="2021-11-30T10:24:36.521" v="92378" actId="207"/>
          <ac:spMkLst>
            <pc:docMk/>
            <pc:sldMk cId="2298480874" sldId="2145707237"/>
            <ac:spMk id="14" creationId="{5673CA48-0CB9-144E-AF9D-00CFD2715850}"/>
          </ac:spMkLst>
        </pc:spChg>
        <pc:spChg chg="mod">
          <ac:chgData name="Dan McTavish" userId="3bdd38c9-93c5-470d-b029-59656566a699" providerId="ADAL" clId="{06DD399E-387B-6247-9101-D9256D82257F}" dt="2021-11-30T10:24:38.419" v="92379" actId="207"/>
          <ac:spMkLst>
            <pc:docMk/>
            <pc:sldMk cId="2298480874" sldId="2145707237"/>
            <ac:spMk id="15" creationId="{2A32160C-4059-3E44-B5BB-122D93ABBDE7}"/>
          </ac:spMkLst>
        </pc:spChg>
        <pc:spChg chg="mod">
          <ac:chgData name="Dan McTavish" userId="3bdd38c9-93c5-470d-b029-59656566a699" providerId="ADAL" clId="{06DD399E-387B-6247-9101-D9256D82257F}" dt="2021-11-30T10:24:40.073" v="92380" actId="207"/>
          <ac:spMkLst>
            <pc:docMk/>
            <pc:sldMk cId="2298480874" sldId="2145707237"/>
            <ac:spMk id="16" creationId="{0F5DFFED-BD0D-AF4F-8269-C1E82BBBCB9A}"/>
          </ac:spMkLst>
        </pc:spChg>
      </pc:sldChg>
      <pc:sldChg chg="addSp delSp modSp add del mod">
        <pc:chgData name="Dan McTavish" userId="3bdd38c9-93c5-470d-b029-59656566a699" providerId="ADAL" clId="{06DD399E-387B-6247-9101-D9256D82257F}" dt="2021-12-02T14:47:27.907" v="92884" actId="2696"/>
        <pc:sldMkLst>
          <pc:docMk/>
          <pc:sldMk cId="1989702582" sldId="2145707238"/>
        </pc:sldMkLst>
        <pc:spChg chg="add mod">
          <ac:chgData name="Dan McTavish" userId="3bdd38c9-93c5-470d-b029-59656566a699" providerId="ADAL" clId="{06DD399E-387B-6247-9101-D9256D82257F}" dt="2021-11-30T10:25:07.131" v="92384"/>
          <ac:spMkLst>
            <pc:docMk/>
            <pc:sldMk cId="1989702582" sldId="2145707238"/>
            <ac:spMk id="8" creationId="{85997395-3E2F-B147-A267-CAC807D82357}"/>
          </ac:spMkLst>
        </pc:spChg>
        <pc:spChg chg="add mod">
          <ac:chgData name="Dan McTavish" userId="3bdd38c9-93c5-470d-b029-59656566a699" providerId="ADAL" clId="{06DD399E-387B-6247-9101-D9256D82257F}" dt="2021-11-30T10:25:07.131" v="92384"/>
          <ac:spMkLst>
            <pc:docMk/>
            <pc:sldMk cId="1989702582" sldId="2145707238"/>
            <ac:spMk id="9" creationId="{7CEB867B-B69C-C742-84A6-AA9361DCCD4A}"/>
          </ac:spMkLst>
        </pc:spChg>
        <pc:spChg chg="add mod">
          <ac:chgData name="Dan McTavish" userId="3bdd38c9-93c5-470d-b029-59656566a699" providerId="ADAL" clId="{06DD399E-387B-6247-9101-D9256D82257F}" dt="2021-11-30T10:25:07.131" v="92384"/>
          <ac:spMkLst>
            <pc:docMk/>
            <pc:sldMk cId="1989702582" sldId="2145707238"/>
            <ac:spMk id="10" creationId="{A1015D1C-F771-7C48-AA24-F19EA283135B}"/>
          </ac:spMkLst>
        </pc:spChg>
        <pc:spChg chg="add mod">
          <ac:chgData name="Dan McTavish" userId="3bdd38c9-93c5-470d-b029-59656566a699" providerId="ADAL" clId="{06DD399E-387B-6247-9101-D9256D82257F}" dt="2021-11-30T10:25:17.989" v="92385"/>
          <ac:spMkLst>
            <pc:docMk/>
            <pc:sldMk cId="1989702582" sldId="2145707238"/>
            <ac:spMk id="11" creationId="{D7EBD303-22AF-124A-A9FB-705ABA1673DC}"/>
          </ac:spMkLst>
        </pc:spChg>
        <pc:spChg chg="add mod">
          <ac:chgData name="Dan McTavish" userId="3bdd38c9-93c5-470d-b029-59656566a699" providerId="ADAL" clId="{06DD399E-387B-6247-9101-D9256D82257F}" dt="2021-11-30T10:25:17.989" v="92385"/>
          <ac:spMkLst>
            <pc:docMk/>
            <pc:sldMk cId="1989702582" sldId="2145707238"/>
            <ac:spMk id="12" creationId="{9EE8EF1B-CD26-FD40-91FD-861EAABED0AE}"/>
          </ac:spMkLst>
        </pc:spChg>
        <pc:spChg chg="add mod">
          <ac:chgData name="Dan McTavish" userId="3bdd38c9-93c5-470d-b029-59656566a699" providerId="ADAL" clId="{06DD399E-387B-6247-9101-D9256D82257F}" dt="2021-11-30T10:25:17.989" v="92385"/>
          <ac:spMkLst>
            <pc:docMk/>
            <pc:sldMk cId="1989702582" sldId="2145707238"/>
            <ac:spMk id="13" creationId="{AE4F5FF9-16B1-E441-851D-1E242BF3E731}"/>
          </ac:spMkLst>
        </pc:spChg>
        <pc:spChg chg="del">
          <ac:chgData name="Dan McTavish" userId="3bdd38c9-93c5-470d-b029-59656566a699" providerId="ADAL" clId="{06DD399E-387B-6247-9101-D9256D82257F}" dt="2021-11-30T10:24:56.900" v="92383" actId="478"/>
          <ac:spMkLst>
            <pc:docMk/>
            <pc:sldMk cId="1989702582" sldId="2145707238"/>
            <ac:spMk id="16" creationId="{F715D659-0B3D-3441-8784-EDED0A7173C7}"/>
          </ac:spMkLst>
        </pc:spChg>
        <pc:graphicFrameChg chg="add mod">
          <ac:chgData name="Dan McTavish" userId="3bdd38c9-93c5-470d-b029-59656566a699" providerId="ADAL" clId="{06DD399E-387B-6247-9101-D9256D82257F}" dt="2021-11-30T10:25:26.927" v="92386"/>
          <ac:graphicFrameMkLst>
            <pc:docMk/>
            <pc:sldMk cId="1989702582" sldId="2145707238"/>
            <ac:graphicFrameMk id="14" creationId="{7735EEB5-3591-5341-A5F3-A8412213E5BB}"/>
          </ac:graphicFrameMkLst>
        </pc:graphicFrameChg>
        <pc:graphicFrameChg chg="del">
          <ac:chgData name="Dan McTavish" userId="3bdd38c9-93c5-470d-b029-59656566a699" providerId="ADAL" clId="{06DD399E-387B-6247-9101-D9256D82257F}" dt="2021-11-30T10:24:53.988" v="92382" actId="478"/>
          <ac:graphicFrameMkLst>
            <pc:docMk/>
            <pc:sldMk cId="1989702582" sldId="2145707238"/>
            <ac:graphicFrameMk id="26" creationId="{B868C0AB-3D2C-4647-A123-6629F1806D7E}"/>
          </ac:graphicFrameMkLst>
        </pc:graphicFrameChg>
      </pc:sldChg>
      <pc:sldChg chg="addSp delSp add del mod">
        <pc:chgData name="Dan McTavish" userId="3bdd38c9-93c5-470d-b029-59656566a699" providerId="ADAL" clId="{06DD399E-387B-6247-9101-D9256D82257F}" dt="2021-12-02T14:47:27.444" v="92883" actId="2696"/>
        <pc:sldMkLst>
          <pc:docMk/>
          <pc:sldMk cId="60264465" sldId="2145707239"/>
        </pc:sldMkLst>
        <pc:spChg chg="del">
          <ac:chgData name="Dan McTavish" userId="3bdd38c9-93c5-470d-b029-59656566a699" providerId="ADAL" clId="{06DD399E-387B-6247-9101-D9256D82257F}" dt="2021-11-30T10:25:52.146" v="92390" actId="478"/>
          <ac:spMkLst>
            <pc:docMk/>
            <pc:sldMk cId="60264465" sldId="2145707239"/>
            <ac:spMk id="8" creationId="{85997395-3E2F-B147-A267-CAC807D82357}"/>
          </ac:spMkLst>
        </pc:spChg>
        <pc:spChg chg="del">
          <ac:chgData name="Dan McTavish" userId="3bdd38c9-93c5-470d-b029-59656566a699" providerId="ADAL" clId="{06DD399E-387B-6247-9101-D9256D82257F}" dt="2021-11-30T10:25:53.569" v="92391" actId="478"/>
          <ac:spMkLst>
            <pc:docMk/>
            <pc:sldMk cId="60264465" sldId="2145707239"/>
            <ac:spMk id="9" creationId="{7CEB867B-B69C-C742-84A6-AA9361DCCD4A}"/>
          </ac:spMkLst>
        </pc:spChg>
        <pc:spChg chg="del">
          <ac:chgData name="Dan McTavish" userId="3bdd38c9-93c5-470d-b029-59656566a699" providerId="ADAL" clId="{06DD399E-387B-6247-9101-D9256D82257F}" dt="2021-11-30T10:25:55.801" v="92393" actId="478"/>
          <ac:spMkLst>
            <pc:docMk/>
            <pc:sldMk cId="60264465" sldId="2145707239"/>
            <ac:spMk id="10" creationId="{A1015D1C-F771-7C48-AA24-F19EA283135B}"/>
          </ac:spMkLst>
        </pc:spChg>
        <pc:spChg chg="del">
          <ac:chgData name="Dan McTavish" userId="3bdd38c9-93c5-470d-b029-59656566a699" providerId="ADAL" clId="{06DD399E-387B-6247-9101-D9256D82257F}" dt="2021-11-30T10:25:51.213" v="92389" actId="478"/>
          <ac:spMkLst>
            <pc:docMk/>
            <pc:sldMk cId="60264465" sldId="2145707239"/>
            <ac:spMk id="11" creationId="{D7EBD303-22AF-124A-A9FB-705ABA1673DC}"/>
          </ac:spMkLst>
        </pc:spChg>
        <pc:spChg chg="del">
          <ac:chgData name="Dan McTavish" userId="3bdd38c9-93c5-470d-b029-59656566a699" providerId="ADAL" clId="{06DD399E-387B-6247-9101-D9256D82257F}" dt="2021-11-30T10:25:54.623" v="92392" actId="478"/>
          <ac:spMkLst>
            <pc:docMk/>
            <pc:sldMk cId="60264465" sldId="2145707239"/>
            <ac:spMk id="12" creationId="{9EE8EF1B-CD26-FD40-91FD-861EAABED0AE}"/>
          </ac:spMkLst>
        </pc:spChg>
        <pc:spChg chg="del">
          <ac:chgData name="Dan McTavish" userId="3bdd38c9-93c5-470d-b029-59656566a699" providerId="ADAL" clId="{06DD399E-387B-6247-9101-D9256D82257F}" dt="2021-11-30T10:25:56.407" v="92394" actId="478"/>
          <ac:spMkLst>
            <pc:docMk/>
            <pc:sldMk cId="60264465" sldId="2145707239"/>
            <ac:spMk id="13" creationId="{AE4F5FF9-16B1-E441-851D-1E242BF3E731}"/>
          </ac:spMkLst>
        </pc:spChg>
        <pc:graphicFrameChg chg="add del">
          <ac:chgData name="Dan McTavish" userId="3bdd38c9-93c5-470d-b029-59656566a699" providerId="ADAL" clId="{06DD399E-387B-6247-9101-D9256D82257F}" dt="2021-11-30T10:26:03.732" v="92396" actId="478"/>
          <ac:graphicFrameMkLst>
            <pc:docMk/>
            <pc:sldMk cId="60264465" sldId="2145707239"/>
            <ac:graphicFrameMk id="14" creationId="{7735EEB5-3591-5341-A5F3-A8412213E5BB}"/>
          </ac:graphicFrameMkLst>
        </pc:graphicFrameChg>
      </pc:sldChg>
      <pc:sldChg chg="add del">
        <pc:chgData name="Dan McTavish" userId="3bdd38c9-93c5-470d-b029-59656566a699" providerId="ADAL" clId="{06DD399E-387B-6247-9101-D9256D82257F}" dt="2021-12-02T14:21:35.215" v="92881" actId="2696"/>
        <pc:sldMkLst>
          <pc:docMk/>
          <pc:sldMk cId="2367721618" sldId="2145707240"/>
        </pc:sldMkLst>
      </pc:sldChg>
      <pc:sldChg chg="addSp delSp modSp add del mod">
        <pc:chgData name="Dan McTavish" userId="3bdd38c9-93c5-470d-b029-59656566a699" providerId="ADAL" clId="{06DD399E-387B-6247-9101-D9256D82257F}" dt="2021-12-02T14:21:33.762" v="92880" actId="2696"/>
        <pc:sldMkLst>
          <pc:docMk/>
          <pc:sldMk cId="371470107" sldId="2145707241"/>
        </pc:sldMkLst>
        <pc:spChg chg="mod">
          <ac:chgData name="Dan McTavish" userId="3bdd38c9-93c5-470d-b029-59656566a699" providerId="ADAL" clId="{06DD399E-387B-6247-9101-D9256D82257F}" dt="2021-12-01T09:26:20.417" v="92402" actId="20577"/>
          <ac:spMkLst>
            <pc:docMk/>
            <pc:sldMk cId="371470107" sldId="2145707241"/>
            <ac:spMk id="2" creationId="{00000000-0000-0000-0000-000000000000}"/>
          </ac:spMkLst>
        </pc:spChg>
        <pc:spChg chg="add mod">
          <ac:chgData name="Dan McTavish" userId="3bdd38c9-93c5-470d-b029-59656566a699" providerId="ADAL" clId="{06DD399E-387B-6247-9101-D9256D82257F}" dt="2021-12-01T09:27:41.273" v="92407"/>
          <ac:spMkLst>
            <pc:docMk/>
            <pc:sldMk cId="371470107" sldId="2145707241"/>
            <ac:spMk id="8" creationId="{2422086B-E0FB-0646-A8E5-9E62A07E009E}"/>
          </ac:spMkLst>
        </pc:spChg>
        <pc:spChg chg="add mod">
          <ac:chgData name="Dan McTavish" userId="3bdd38c9-93c5-470d-b029-59656566a699" providerId="ADAL" clId="{06DD399E-387B-6247-9101-D9256D82257F}" dt="2021-12-01T09:27:41.273" v="92407"/>
          <ac:spMkLst>
            <pc:docMk/>
            <pc:sldMk cId="371470107" sldId="2145707241"/>
            <ac:spMk id="9" creationId="{56EE109A-A36D-7143-ABA1-16BCB7C54362}"/>
          </ac:spMkLst>
        </pc:spChg>
        <pc:spChg chg="add mod">
          <ac:chgData name="Dan McTavish" userId="3bdd38c9-93c5-470d-b029-59656566a699" providerId="ADAL" clId="{06DD399E-387B-6247-9101-D9256D82257F}" dt="2021-12-01T09:27:51.079" v="92408"/>
          <ac:spMkLst>
            <pc:docMk/>
            <pc:sldMk cId="371470107" sldId="2145707241"/>
            <ac:spMk id="10" creationId="{E49ACF55-C99C-5E4E-8590-6AB7999F727E}"/>
          </ac:spMkLst>
        </pc:spChg>
        <pc:spChg chg="add mod">
          <ac:chgData name="Dan McTavish" userId="3bdd38c9-93c5-470d-b029-59656566a699" providerId="ADAL" clId="{06DD399E-387B-6247-9101-D9256D82257F}" dt="2021-12-01T09:27:57.593" v="92409"/>
          <ac:spMkLst>
            <pc:docMk/>
            <pc:sldMk cId="371470107" sldId="2145707241"/>
            <ac:spMk id="11" creationId="{37CB0E8C-A472-6247-A6CD-4D0D91114DF0}"/>
          </ac:spMkLst>
        </pc:spChg>
        <pc:spChg chg="add mod">
          <ac:chgData name="Dan McTavish" userId="3bdd38c9-93c5-470d-b029-59656566a699" providerId="ADAL" clId="{06DD399E-387B-6247-9101-D9256D82257F}" dt="2021-12-01T09:28:10.328" v="92410"/>
          <ac:spMkLst>
            <pc:docMk/>
            <pc:sldMk cId="371470107" sldId="2145707241"/>
            <ac:spMk id="12" creationId="{309E3526-B816-3045-84A0-88F5C0132A5D}"/>
          </ac:spMkLst>
        </pc:spChg>
        <pc:spChg chg="add mod">
          <ac:chgData name="Dan McTavish" userId="3bdd38c9-93c5-470d-b029-59656566a699" providerId="ADAL" clId="{06DD399E-387B-6247-9101-D9256D82257F}" dt="2021-12-01T09:28:10.328" v="92410"/>
          <ac:spMkLst>
            <pc:docMk/>
            <pc:sldMk cId="371470107" sldId="2145707241"/>
            <ac:spMk id="13" creationId="{6E6D010C-1F57-CF4E-A7A7-60EF6781601B}"/>
          </ac:spMkLst>
        </pc:spChg>
        <pc:spChg chg="add mod">
          <ac:chgData name="Dan McTavish" userId="3bdd38c9-93c5-470d-b029-59656566a699" providerId="ADAL" clId="{06DD399E-387B-6247-9101-D9256D82257F}" dt="2021-12-01T09:29:22.447" v="92413"/>
          <ac:spMkLst>
            <pc:docMk/>
            <pc:sldMk cId="371470107" sldId="2145707241"/>
            <ac:spMk id="14" creationId="{13C3F96A-6F69-6B46-B555-ADFA49C87F5B}"/>
          </ac:spMkLst>
        </pc:spChg>
        <pc:spChg chg="mod">
          <ac:chgData name="Dan McTavish" userId="3bdd38c9-93c5-470d-b029-59656566a699" providerId="ADAL" clId="{06DD399E-387B-6247-9101-D9256D82257F}" dt="2021-12-01T09:29:40.686" v="92415" actId="108"/>
          <ac:spMkLst>
            <pc:docMk/>
            <pc:sldMk cId="371470107" sldId="2145707241"/>
            <ac:spMk id="17" creationId="{457738E6-9119-6547-9E96-14815B903C29}"/>
          </ac:spMkLst>
        </pc:spChg>
        <pc:spChg chg="mod">
          <ac:chgData name="Dan McTavish" userId="3bdd38c9-93c5-470d-b029-59656566a699" providerId="ADAL" clId="{06DD399E-387B-6247-9101-D9256D82257F}" dt="2021-12-01T09:29:30.843" v="92414"/>
          <ac:spMkLst>
            <pc:docMk/>
            <pc:sldMk cId="371470107" sldId="2145707241"/>
            <ac:spMk id="18" creationId="{C0E68453-811C-C34E-AA3F-2AFEEC894CDC}"/>
          </ac:spMkLst>
        </pc:spChg>
        <pc:spChg chg="mod">
          <ac:chgData name="Dan McTavish" userId="3bdd38c9-93c5-470d-b029-59656566a699" providerId="ADAL" clId="{06DD399E-387B-6247-9101-D9256D82257F}" dt="2021-12-01T09:30:06.294" v="92420" actId="113"/>
          <ac:spMkLst>
            <pc:docMk/>
            <pc:sldMk cId="371470107" sldId="2145707241"/>
            <ac:spMk id="20" creationId="{22B26E5C-B881-0B4A-8E42-5386D4EF1B4B}"/>
          </ac:spMkLst>
        </pc:spChg>
        <pc:spChg chg="mod">
          <ac:chgData name="Dan McTavish" userId="3bdd38c9-93c5-470d-b029-59656566a699" providerId="ADAL" clId="{06DD399E-387B-6247-9101-D9256D82257F}" dt="2021-12-01T09:29:48.728" v="92416"/>
          <ac:spMkLst>
            <pc:docMk/>
            <pc:sldMk cId="371470107" sldId="2145707241"/>
            <ac:spMk id="21" creationId="{5E2FAFD2-414C-9446-9E08-AF9A3730A4E1}"/>
          </ac:spMkLst>
        </pc:spChg>
        <pc:grpChg chg="add mod">
          <ac:chgData name="Dan McTavish" userId="3bdd38c9-93c5-470d-b029-59656566a699" providerId="ADAL" clId="{06DD399E-387B-6247-9101-D9256D82257F}" dt="2021-12-01T09:29:30.843" v="92414"/>
          <ac:grpSpMkLst>
            <pc:docMk/>
            <pc:sldMk cId="371470107" sldId="2145707241"/>
            <ac:grpSpMk id="15" creationId="{8CA4BA55-B0E3-0748-A33B-4A48A8102324}"/>
          </ac:grpSpMkLst>
        </pc:grpChg>
        <pc:grpChg chg="add mod">
          <ac:chgData name="Dan McTavish" userId="3bdd38c9-93c5-470d-b029-59656566a699" providerId="ADAL" clId="{06DD399E-387B-6247-9101-D9256D82257F}" dt="2021-12-01T09:29:48.728" v="92416"/>
          <ac:grpSpMkLst>
            <pc:docMk/>
            <pc:sldMk cId="371470107" sldId="2145707241"/>
            <ac:grpSpMk id="19" creationId="{16150E62-CBD0-BC4F-865C-EB2B630BF48E}"/>
          </ac:grpSpMkLst>
        </pc:grpChg>
        <pc:graphicFrameChg chg="del">
          <ac:chgData name="Dan McTavish" userId="3bdd38c9-93c5-470d-b029-59656566a699" providerId="ADAL" clId="{06DD399E-387B-6247-9101-D9256D82257F}" dt="2021-12-01T09:26:16.221" v="92401" actId="478"/>
          <ac:graphicFrameMkLst>
            <pc:docMk/>
            <pc:sldMk cId="371470107" sldId="2145707241"/>
            <ac:graphicFrameMk id="26" creationId="{B868C0AB-3D2C-4647-A123-6629F1806D7E}"/>
          </ac:graphicFrameMkLst>
        </pc:graphicFrameChg>
      </pc:sldChg>
      <pc:sldChg chg="modSp add mod">
        <pc:chgData name="Dan McTavish" userId="3bdd38c9-93c5-470d-b029-59656566a699" providerId="ADAL" clId="{06DD399E-387B-6247-9101-D9256D82257F}" dt="2021-12-01T15:05:45.272" v="92423" actId="14734"/>
        <pc:sldMkLst>
          <pc:docMk/>
          <pc:sldMk cId="2074644650" sldId="2145707242"/>
        </pc:sldMkLst>
        <pc:graphicFrameChg chg="modGraphic">
          <ac:chgData name="Dan McTavish" userId="3bdd38c9-93c5-470d-b029-59656566a699" providerId="ADAL" clId="{06DD399E-387B-6247-9101-D9256D82257F}" dt="2021-12-01T15:05:45.272" v="92423" actId="14734"/>
          <ac:graphicFrameMkLst>
            <pc:docMk/>
            <pc:sldMk cId="2074644650" sldId="2145707242"/>
            <ac:graphicFrameMk id="5" creationId="{A1A1E082-93A7-2341-B277-5872BC7FB95B}"/>
          </ac:graphicFrameMkLst>
        </pc:graphicFrameChg>
      </pc:sldChg>
      <pc:sldChg chg="add del">
        <pc:chgData name="Dan McTavish" userId="3bdd38c9-93c5-470d-b029-59656566a699" providerId="ADAL" clId="{06DD399E-387B-6247-9101-D9256D82257F}" dt="2021-12-01T09:27:33.428" v="92406"/>
        <pc:sldMkLst>
          <pc:docMk/>
          <pc:sldMk cId="2272013975" sldId="2145707242"/>
        </pc:sldMkLst>
      </pc:sldChg>
      <pc:sldChg chg="add del">
        <pc:chgData name="Dan McTavish" userId="3bdd38c9-93c5-470d-b029-59656566a699" providerId="ADAL" clId="{06DD399E-387B-6247-9101-D9256D82257F}" dt="2021-12-01T09:26:53.657" v="92404"/>
        <pc:sldMkLst>
          <pc:docMk/>
          <pc:sldMk cId="3000688055" sldId="2145707242"/>
        </pc:sldMkLst>
      </pc:sldChg>
      <pc:sldMasterChg chg="delSldLayout">
        <pc:chgData name="Dan McTavish" userId="3bdd38c9-93c5-470d-b029-59656566a699" providerId="ADAL" clId="{06DD399E-387B-6247-9101-D9256D82257F}" dt="2021-12-02T14:47:25.175" v="92882" actId="2696"/>
        <pc:sldMasterMkLst>
          <pc:docMk/>
          <pc:sldMasterMk cId="848992802" sldId="2147483938"/>
        </pc:sldMasterMkLst>
        <pc:sldLayoutChg chg="del">
          <pc:chgData name="Dan McTavish" userId="3bdd38c9-93c5-470d-b029-59656566a699" providerId="ADAL" clId="{06DD399E-387B-6247-9101-D9256D82257F}" dt="2021-10-03T09:35:13.324" v="7564" actId="2696"/>
          <pc:sldLayoutMkLst>
            <pc:docMk/>
            <pc:sldMasterMk cId="848992802" sldId="2147483938"/>
            <pc:sldLayoutMk cId="3347409505" sldId="2147483955"/>
          </pc:sldLayoutMkLst>
        </pc:sldLayoutChg>
        <pc:sldLayoutChg chg="del">
          <pc:chgData name="Dan McTavish" userId="3bdd38c9-93c5-470d-b029-59656566a699" providerId="ADAL" clId="{06DD399E-387B-6247-9101-D9256D82257F}" dt="2021-12-02T14:47:25.175" v="92882" actId="2696"/>
          <pc:sldLayoutMkLst>
            <pc:docMk/>
            <pc:sldMasterMk cId="848992802" sldId="2147483938"/>
            <pc:sldLayoutMk cId="3423397042" sldId="2147483972"/>
          </pc:sldLayoutMkLst>
        </pc:sldLayoutChg>
      </pc:sldMasterChg>
    </pc:docChg>
  </pc:docChgLst>
  <pc:docChgLst>
    <pc:chgData name="Liz Brown" userId="cca18a2c-ec13-4cb5-bb2e-e485438d5f06" providerId="ADAL" clId="{EE2E5326-4291-EC4B-B504-7C2C5E7B8B86}"/>
    <pc:docChg chg="undo custSel addSld modSld">
      <pc:chgData name="Liz Brown" userId="cca18a2c-ec13-4cb5-bb2e-e485438d5f06" providerId="ADAL" clId="{EE2E5326-4291-EC4B-B504-7C2C5E7B8B86}" dt="2021-12-23T13:25:05.550" v="2430"/>
      <pc:docMkLst>
        <pc:docMk/>
      </pc:docMkLst>
      <pc:sldChg chg="modSp mod">
        <pc:chgData name="Liz Brown" userId="cca18a2c-ec13-4cb5-bb2e-e485438d5f06" providerId="ADAL" clId="{EE2E5326-4291-EC4B-B504-7C2C5E7B8B86}" dt="2021-12-23T13:10:31.559" v="2058" actId="20577"/>
        <pc:sldMkLst>
          <pc:docMk/>
          <pc:sldMk cId="3574932048" sldId="1448943273"/>
        </pc:sldMkLst>
        <pc:spChg chg="mod">
          <ac:chgData name="Liz Brown" userId="cca18a2c-ec13-4cb5-bb2e-e485438d5f06" providerId="ADAL" clId="{EE2E5326-4291-EC4B-B504-7C2C5E7B8B86}" dt="2021-12-23T13:10:24.187" v="2054" actId="20577"/>
          <ac:spMkLst>
            <pc:docMk/>
            <pc:sldMk cId="3574932048" sldId="1448943273"/>
            <ac:spMk id="8" creationId="{F1C83EA9-5794-4990-80E0-DF214A10237B}"/>
          </ac:spMkLst>
        </pc:spChg>
        <pc:graphicFrameChg chg="modGraphic">
          <ac:chgData name="Liz Brown" userId="cca18a2c-ec13-4cb5-bb2e-e485438d5f06" providerId="ADAL" clId="{EE2E5326-4291-EC4B-B504-7C2C5E7B8B86}" dt="2021-12-23T13:10:31.559" v="2058" actId="20577"/>
          <ac:graphicFrameMkLst>
            <pc:docMk/>
            <pc:sldMk cId="3574932048" sldId="1448943273"/>
            <ac:graphicFrameMk id="4" creationId="{5B85875E-159E-C242-A11A-2F415E56E063}"/>
          </ac:graphicFrameMkLst>
        </pc:graphicFrameChg>
      </pc:sldChg>
      <pc:sldChg chg="modSp mod">
        <pc:chgData name="Liz Brown" userId="cca18a2c-ec13-4cb5-bb2e-e485438d5f06" providerId="ADAL" clId="{EE2E5326-4291-EC4B-B504-7C2C5E7B8B86}" dt="2021-12-23T13:10:42.545" v="2059" actId="20577"/>
        <pc:sldMkLst>
          <pc:docMk/>
          <pc:sldMk cId="4082691307" sldId="1448943275"/>
        </pc:sldMkLst>
        <pc:spChg chg="mod">
          <ac:chgData name="Liz Brown" userId="cca18a2c-ec13-4cb5-bb2e-e485438d5f06" providerId="ADAL" clId="{EE2E5326-4291-EC4B-B504-7C2C5E7B8B86}" dt="2021-12-23T13:10:42.545" v="2059" actId="20577"/>
          <ac:spMkLst>
            <pc:docMk/>
            <pc:sldMk cId="4082691307" sldId="1448943275"/>
            <ac:spMk id="9" creationId="{830963B0-EC21-6844-B457-D76C8A955C49}"/>
          </ac:spMkLst>
        </pc:spChg>
      </pc:sldChg>
      <pc:sldChg chg="modSp mod addCm">
        <pc:chgData name="Liz Brown" userId="cca18a2c-ec13-4cb5-bb2e-e485438d5f06" providerId="ADAL" clId="{EE2E5326-4291-EC4B-B504-7C2C5E7B8B86}" dt="2021-12-23T13:09:39.114" v="1947"/>
        <pc:sldMkLst>
          <pc:docMk/>
          <pc:sldMk cId="3988442953" sldId="2145707193"/>
        </pc:sldMkLst>
        <pc:spChg chg="mod">
          <ac:chgData name="Liz Brown" userId="cca18a2c-ec13-4cb5-bb2e-e485438d5f06" providerId="ADAL" clId="{EE2E5326-4291-EC4B-B504-7C2C5E7B8B86}" dt="2021-12-23T13:09:00.577" v="1946" actId="13926"/>
          <ac:spMkLst>
            <pc:docMk/>
            <pc:sldMk cId="3988442953" sldId="2145707193"/>
            <ac:spMk id="2" creationId="{B0B31CDD-9A09-ED44-9637-5E22E17CA552}"/>
          </ac:spMkLst>
        </pc:spChg>
      </pc:sldChg>
      <pc:sldChg chg="modSp mod addCm">
        <pc:chgData name="Liz Brown" userId="cca18a2c-ec13-4cb5-bb2e-e485438d5f06" providerId="ADAL" clId="{EE2E5326-4291-EC4B-B504-7C2C5E7B8B86}" dt="2021-12-23T10:07:39.653" v="1358" actId="13926"/>
        <pc:sldMkLst>
          <pc:docMk/>
          <pc:sldMk cId="794360038" sldId="2145707242"/>
        </pc:sldMkLst>
        <pc:spChg chg="mod">
          <ac:chgData name="Liz Brown" userId="cca18a2c-ec13-4cb5-bb2e-e485438d5f06" providerId="ADAL" clId="{EE2E5326-4291-EC4B-B504-7C2C5E7B8B86}" dt="2021-12-23T10:04:19.681" v="1354" actId="13926"/>
          <ac:spMkLst>
            <pc:docMk/>
            <pc:sldMk cId="794360038" sldId="2145707242"/>
            <ac:spMk id="24" creationId="{C39E927A-ADEC-654E-8961-3509EA829314}"/>
          </ac:spMkLst>
        </pc:spChg>
        <pc:spChg chg="mod">
          <ac:chgData name="Liz Brown" userId="cca18a2c-ec13-4cb5-bb2e-e485438d5f06" providerId="ADAL" clId="{EE2E5326-4291-EC4B-B504-7C2C5E7B8B86}" dt="2021-12-23T10:07:39.653" v="1358" actId="13926"/>
          <ac:spMkLst>
            <pc:docMk/>
            <pc:sldMk cId="794360038" sldId="2145707242"/>
            <ac:spMk id="61" creationId="{9AC8F61D-C073-5F42-952D-80F54E199B50}"/>
          </ac:spMkLst>
        </pc:spChg>
        <pc:spChg chg="mod">
          <ac:chgData name="Liz Brown" userId="cca18a2c-ec13-4cb5-bb2e-e485438d5f06" providerId="ADAL" clId="{EE2E5326-4291-EC4B-B504-7C2C5E7B8B86}" dt="2021-12-23T10:03:59.394" v="1353" actId="14100"/>
          <ac:spMkLst>
            <pc:docMk/>
            <pc:sldMk cId="794360038" sldId="2145707242"/>
            <ac:spMk id="112" creationId="{D43C51F4-8170-FC48-8329-D0B64EBAB929}"/>
          </ac:spMkLst>
        </pc:spChg>
      </pc:sldChg>
      <pc:sldChg chg="addCm">
        <pc:chgData name="Liz Brown" userId="cca18a2c-ec13-4cb5-bb2e-e485438d5f06" providerId="ADAL" clId="{EE2E5326-4291-EC4B-B504-7C2C5E7B8B86}" dt="2021-12-21T12:22:57.741" v="22"/>
        <pc:sldMkLst>
          <pc:docMk/>
          <pc:sldMk cId="889857472" sldId="2145707279"/>
        </pc:sldMkLst>
      </pc:sldChg>
      <pc:sldChg chg="modSp mod addCm">
        <pc:chgData name="Liz Brown" userId="cca18a2c-ec13-4cb5-bb2e-e485438d5f06" providerId="ADAL" clId="{EE2E5326-4291-EC4B-B504-7C2C5E7B8B86}" dt="2021-12-22T17:46:40.025" v="1338" actId="400"/>
        <pc:sldMkLst>
          <pc:docMk/>
          <pc:sldMk cId="957403761" sldId="2145708065"/>
        </pc:sldMkLst>
        <pc:graphicFrameChg chg="modGraphic">
          <ac:chgData name="Liz Brown" userId="cca18a2c-ec13-4cb5-bb2e-e485438d5f06" providerId="ADAL" clId="{EE2E5326-4291-EC4B-B504-7C2C5E7B8B86}" dt="2021-12-22T17:46:40.025" v="1338" actId="400"/>
          <ac:graphicFrameMkLst>
            <pc:docMk/>
            <pc:sldMk cId="957403761" sldId="2145708065"/>
            <ac:graphicFrameMk id="2" creationId="{C936049E-4494-6547-93D5-77CC5AD22A24}"/>
          </ac:graphicFrameMkLst>
        </pc:graphicFrameChg>
      </pc:sldChg>
      <pc:sldChg chg="modSp mod addCm modCm">
        <pc:chgData name="Liz Brown" userId="cca18a2c-ec13-4cb5-bb2e-e485438d5f06" providerId="ADAL" clId="{EE2E5326-4291-EC4B-B504-7C2C5E7B8B86}" dt="2021-12-23T10:03:06.925" v="1351" actId="13926"/>
        <pc:sldMkLst>
          <pc:docMk/>
          <pc:sldMk cId="2489041963" sldId="2145708067"/>
        </pc:sldMkLst>
        <pc:spChg chg="mod">
          <ac:chgData name="Liz Brown" userId="cca18a2c-ec13-4cb5-bb2e-e485438d5f06" providerId="ADAL" clId="{EE2E5326-4291-EC4B-B504-7C2C5E7B8B86}" dt="2021-12-23T10:02:28.310" v="1349" actId="20577"/>
          <ac:spMkLst>
            <pc:docMk/>
            <pc:sldMk cId="2489041963" sldId="2145708067"/>
            <ac:spMk id="7" creationId="{892E9E0C-01FC-1740-9B08-C381AC69FDD1}"/>
          </ac:spMkLst>
        </pc:spChg>
        <pc:spChg chg="mod">
          <ac:chgData name="Liz Brown" userId="cca18a2c-ec13-4cb5-bb2e-e485438d5f06" providerId="ADAL" clId="{EE2E5326-4291-EC4B-B504-7C2C5E7B8B86}" dt="2021-12-23T10:03:06.925" v="1351" actId="13926"/>
          <ac:spMkLst>
            <pc:docMk/>
            <pc:sldMk cId="2489041963" sldId="2145708067"/>
            <ac:spMk id="19" creationId="{1487E005-8D68-734A-B5E9-05BC79427B74}"/>
          </ac:spMkLst>
        </pc:spChg>
      </pc:sldChg>
      <pc:sldChg chg="modSp mod addCm">
        <pc:chgData name="Liz Brown" userId="cca18a2c-ec13-4cb5-bb2e-e485438d5f06" providerId="ADAL" clId="{EE2E5326-4291-EC4B-B504-7C2C5E7B8B86}" dt="2021-12-23T12:26:39.689" v="1403" actId="20577"/>
        <pc:sldMkLst>
          <pc:docMk/>
          <pc:sldMk cId="409810355" sldId="2145708068"/>
        </pc:sldMkLst>
        <pc:spChg chg="mod">
          <ac:chgData name="Liz Brown" userId="cca18a2c-ec13-4cb5-bb2e-e485438d5f06" providerId="ADAL" clId="{EE2E5326-4291-EC4B-B504-7C2C5E7B8B86}" dt="2021-12-23T12:26:39.689" v="1403" actId="20577"/>
          <ac:spMkLst>
            <pc:docMk/>
            <pc:sldMk cId="409810355" sldId="2145708068"/>
            <ac:spMk id="15" creationId="{344024B8-4780-414B-916D-6D41148D4E98}"/>
          </ac:spMkLst>
        </pc:spChg>
        <pc:spChg chg="mod">
          <ac:chgData name="Liz Brown" userId="cca18a2c-ec13-4cb5-bb2e-e485438d5f06" providerId="ADAL" clId="{EE2E5326-4291-EC4B-B504-7C2C5E7B8B86}" dt="2021-12-23T12:26:12.238" v="1401" actId="13926"/>
          <ac:spMkLst>
            <pc:docMk/>
            <pc:sldMk cId="409810355" sldId="2145708068"/>
            <ac:spMk id="24" creationId="{71660C57-FF23-C648-B333-F05E77884992}"/>
          </ac:spMkLst>
        </pc:spChg>
      </pc:sldChg>
      <pc:sldChg chg="modSp mod addCm modCm">
        <pc:chgData name="Liz Brown" userId="cca18a2c-ec13-4cb5-bb2e-e485438d5f06" providerId="ADAL" clId="{EE2E5326-4291-EC4B-B504-7C2C5E7B8B86}" dt="2021-12-23T10:21:08.881" v="1388" actId="20577"/>
        <pc:sldMkLst>
          <pc:docMk/>
          <pc:sldMk cId="2439348659" sldId="2145708069"/>
        </pc:sldMkLst>
        <pc:graphicFrameChg chg="modGraphic">
          <ac:chgData name="Liz Brown" userId="cca18a2c-ec13-4cb5-bb2e-e485438d5f06" providerId="ADAL" clId="{EE2E5326-4291-EC4B-B504-7C2C5E7B8B86}" dt="2021-12-23T10:21:08.881" v="1388" actId="20577"/>
          <ac:graphicFrameMkLst>
            <pc:docMk/>
            <pc:sldMk cId="2439348659" sldId="2145708069"/>
            <ac:graphicFrameMk id="4" creationId="{D648F469-9FD3-4446-BE3D-9571E81B47CF}"/>
          </ac:graphicFrameMkLst>
        </pc:graphicFrameChg>
      </pc:sldChg>
      <pc:sldChg chg="modSp mod addCm">
        <pc:chgData name="Liz Brown" userId="cca18a2c-ec13-4cb5-bb2e-e485438d5f06" providerId="ADAL" clId="{EE2E5326-4291-EC4B-B504-7C2C5E7B8B86}" dt="2021-12-23T12:59:14.540" v="1669" actId="20577"/>
        <pc:sldMkLst>
          <pc:docMk/>
          <pc:sldMk cId="2416394318" sldId="2145708070"/>
        </pc:sldMkLst>
        <pc:graphicFrameChg chg="modGraphic">
          <ac:chgData name="Liz Brown" userId="cca18a2c-ec13-4cb5-bb2e-e485438d5f06" providerId="ADAL" clId="{EE2E5326-4291-EC4B-B504-7C2C5E7B8B86}" dt="2021-12-23T12:59:14.540" v="1669" actId="20577"/>
          <ac:graphicFrameMkLst>
            <pc:docMk/>
            <pc:sldMk cId="2416394318" sldId="2145708070"/>
            <ac:graphicFrameMk id="4" creationId="{93D35352-A6E9-3B4E-A85E-6F9D009369E7}"/>
          </ac:graphicFrameMkLst>
        </pc:graphicFrameChg>
      </pc:sldChg>
      <pc:sldChg chg="modSp mod addCm">
        <pc:chgData name="Liz Brown" userId="cca18a2c-ec13-4cb5-bb2e-e485438d5f06" providerId="ADAL" clId="{EE2E5326-4291-EC4B-B504-7C2C5E7B8B86}" dt="2021-12-22T17:49:47.950" v="1346"/>
        <pc:sldMkLst>
          <pc:docMk/>
          <pc:sldMk cId="3539399706" sldId="2145708071"/>
        </pc:sldMkLst>
        <pc:graphicFrameChg chg="modGraphic">
          <ac:chgData name="Liz Brown" userId="cca18a2c-ec13-4cb5-bb2e-e485438d5f06" providerId="ADAL" clId="{EE2E5326-4291-EC4B-B504-7C2C5E7B8B86}" dt="2021-12-22T17:49:36.932" v="1345" actId="13926"/>
          <ac:graphicFrameMkLst>
            <pc:docMk/>
            <pc:sldMk cId="3539399706" sldId="2145708071"/>
            <ac:graphicFrameMk id="2" creationId="{C936049E-4494-6547-93D5-77CC5AD22A24}"/>
          </ac:graphicFrameMkLst>
        </pc:graphicFrameChg>
      </pc:sldChg>
      <pc:sldChg chg="modSp mod addCm">
        <pc:chgData name="Liz Brown" userId="cca18a2c-ec13-4cb5-bb2e-e485438d5f06" providerId="ADAL" clId="{EE2E5326-4291-EC4B-B504-7C2C5E7B8B86}" dt="2021-12-23T11:27:43.458" v="1398" actId="20577"/>
        <pc:sldMkLst>
          <pc:docMk/>
          <pc:sldMk cId="2862548609" sldId="2145708072"/>
        </pc:sldMkLst>
        <pc:graphicFrameChg chg="modGraphic">
          <ac:chgData name="Liz Brown" userId="cca18a2c-ec13-4cb5-bb2e-e485438d5f06" providerId="ADAL" clId="{EE2E5326-4291-EC4B-B504-7C2C5E7B8B86}" dt="2021-12-23T11:27:43.458" v="1398" actId="20577"/>
          <ac:graphicFrameMkLst>
            <pc:docMk/>
            <pc:sldMk cId="2862548609" sldId="2145708072"/>
            <ac:graphicFrameMk id="2" creationId="{C936049E-4494-6547-93D5-77CC5AD22A24}"/>
          </ac:graphicFrameMkLst>
        </pc:graphicFrameChg>
      </pc:sldChg>
      <pc:sldChg chg="modSp mod addCm modCm">
        <pc:chgData name="Liz Brown" userId="cca18a2c-ec13-4cb5-bb2e-e485438d5f06" providerId="ADAL" clId="{EE2E5326-4291-EC4B-B504-7C2C5E7B8B86}" dt="2021-12-23T13:01:48.142" v="1710" actId="20577"/>
        <pc:sldMkLst>
          <pc:docMk/>
          <pc:sldMk cId="2063501385" sldId="2145708073"/>
        </pc:sldMkLst>
        <pc:graphicFrameChg chg="modGraphic">
          <ac:chgData name="Liz Brown" userId="cca18a2c-ec13-4cb5-bb2e-e485438d5f06" providerId="ADAL" clId="{EE2E5326-4291-EC4B-B504-7C2C5E7B8B86}" dt="2021-12-23T13:01:48.142" v="1710" actId="20577"/>
          <ac:graphicFrameMkLst>
            <pc:docMk/>
            <pc:sldMk cId="2063501385" sldId="2145708073"/>
            <ac:graphicFrameMk id="2" creationId="{C936049E-4494-6547-93D5-77CC5AD22A24}"/>
          </ac:graphicFrameMkLst>
        </pc:graphicFrameChg>
      </pc:sldChg>
      <pc:sldChg chg="modSp mod addCm">
        <pc:chgData name="Liz Brown" userId="cca18a2c-ec13-4cb5-bb2e-e485438d5f06" providerId="ADAL" clId="{EE2E5326-4291-EC4B-B504-7C2C5E7B8B86}" dt="2021-12-22T12:09:20.936" v="65"/>
        <pc:sldMkLst>
          <pc:docMk/>
          <pc:sldMk cId="3706502819" sldId="2145708077"/>
        </pc:sldMkLst>
        <pc:spChg chg="mod">
          <ac:chgData name="Liz Brown" userId="cca18a2c-ec13-4cb5-bb2e-e485438d5f06" providerId="ADAL" clId="{EE2E5326-4291-EC4B-B504-7C2C5E7B8B86}" dt="2021-12-22T12:08:50.718" v="64" actId="13926"/>
          <ac:spMkLst>
            <pc:docMk/>
            <pc:sldMk cId="3706502819" sldId="2145708077"/>
            <ac:spMk id="18" creationId="{87A0D5BE-92F8-324D-9365-1E344D7A55E4}"/>
          </ac:spMkLst>
        </pc:spChg>
      </pc:sldChg>
      <pc:sldChg chg="modSp mod addCm">
        <pc:chgData name="Liz Brown" userId="cca18a2c-ec13-4cb5-bb2e-e485438d5f06" providerId="ADAL" clId="{EE2E5326-4291-EC4B-B504-7C2C5E7B8B86}" dt="2021-12-22T11:59:04.124" v="40"/>
        <pc:sldMkLst>
          <pc:docMk/>
          <pc:sldMk cId="2123939920" sldId="2147374157"/>
        </pc:sldMkLst>
        <pc:spChg chg="mod">
          <ac:chgData name="Liz Brown" userId="cca18a2c-ec13-4cb5-bb2e-e485438d5f06" providerId="ADAL" clId="{EE2E5326-4291-EC4B-B504-7C2C5E7B8B86}" dt="2021-12-22T11:52:27.903" v="25" actId="20577"/>
          <ac:spMkLst>
            <pc:docMk/>
            <pc:sldMk cId="2123939920" sldId="2147374157"/>
            <ac:spMk id="24" creationId="{30B54731-2875-F94E-A417-1F80D2986AC3}"/>
          </ac:spMkLst>
        </pc:spChg>
        <pc:graphicFrameChg chg="modGraphic">
          <ac:chgData name="Liz Brown" userId="cca18a2c-ec13-4cb5-bb2e-e485438d5f06" providerId="ADAL" clId="{EE2E5326-4291-EC4B-B504-7C2C5E7B8B86}" dt="2021-12-22T11:58:30.413" v="39" actId="13926"/>
          <ac:graphicFrameMkLst>
            <pc:docMk/>
            <pc:sldMk cId="2123939920" sldId="2147374157"/>
            <ac:graphicFrameMk id="11" creationId="{35441FE6-AE12-0245-B9F4-8F9D8C92969F}"/>
          </ac:graphicFrameMkLst>
        </pc:graphicFrameChg>
      </pc:sldChg>
      <pc:sldChg chg="modSp mod addCm">
        <pc:chgData name="Liz Brown" userId="cca18a2c-ec13-4cb5-bb2e-e485438d5f06" providerId="ADAL" clId="{EE2E5326-4291-EC4B-B504-7C2C5E7B8B86}" dt="2021-12-22T12:00:00.266" v="42" actId="13926"/>
        <pc:sldMkLst>
          <pc:docMk/>
          <pc:sldMk cId="581444142" sldId="2147374158"/>
        </pc:sldMkLst>
        <pc:spChg chg="mod">
          <ac:chgData name="Liz Brown" userId="cca18a2c-ec13-4cb5-bb2e-e485438d5f06" providerId="ADAL" clId="{EE2E5326-4291-EC4B-B504-7C2C5E7B8B86}" dt="2021-12-22T12:00:00.266" v="42" actId="13926"/>
          <ac:spMkLst>
            <pc:docMk/>
            <pc:sldMk cId="581444142" sldId="2147374158"/>
            <ac:spMk id="16" creationId="{F715D659-0B3D-3441-8784-EDED0A7173C7}"/>
          </ac:spMkLst>
        </pc:spChg>
      </pc:sldChg>
      <pc:sldChg chg="modSp mod addCm modCm">
        <pc:chgData name="Liz Brown" userId="cca18a2c-ec13-4cb5-bb2e-e485438d5f06" providerId="ADAL" clId="{EE2E5326-4291-EC4B-B504-7C2C5E7B8B86}" dt="2021-12-22T12:07:14.598" v="60" actId="20577"/>
        <pc:sldMkLst>
          <pc:docMk/>
          <pc:sldMk cId="2988138454" sldId="2147374160"/>
        </pc:sldMkLst>
        <pc:spChg chg="mod">
          <ac:chgData name="Liz Brown" userId="cca18a2c-ec13-4cb5-bb2e-e485438d5f06" providerId="ADAL" clId="{EE2E5326-4291-EC4B-B504-7C2C5E7B8B86}" dt="2021-12-22T12:00:22.195" v="43" actId="13926"/>
          <ac:spMkLst>
            <pc:docMk/>
            <pc:sldMk cId="2988138454" sldId="2147374160"/>
            <ac:spMk id="16" creationId="{F715D659-0B3D-3441-8784-EDED0A7173C7}"/>
          </ac:spMkLst>
        </pc:spChg>
        <pc:graphicFrameChg chg="modGraphic">
          <ac:chgData name="Liz Brown" userId="cca18a2c-ec13-4cb5-bb2e-e485438d5f06" providerId="ADAL" clId="{EE2E5326-4291-EC4B-B504-7C2C5E7B8B86}" dt="2021-12-22T12:07:14.598" v="60" actId="20577"/>
          <ac:graphicFrameMkLst>
            <pc:docMk/>
            <pc:sldMk cId="2988138454" sldId="2147374160"/>
            <ac:graphicFrameMk id="26" creationId="{B868C0AB-3D2C-4647-A123-6629F1806D7E}"/>
          </ac:graphicFrameMkLst>
        </pc:graphicFrameChg>
      </pc:sldChg>
      <pc:sldChg chg="addCm">
        <pc:chgData name="Liz Brown" userId="cca18a2c-ec13-4cb5-bb2e-e485438d5f06" providerId="ADAL" clId="{EE2E5326-4291-EC4B-B504-7C2C5E7B8B86}" dt="2021-12-21T12:22:42.384" v="21"/>
        <pc:sldMkLst>
          <pc:docMk/>
          <pc:sldMk cId="1776922325" sldId="2147374163"/>
        </pc:sldMkLst>
      </pc:sldChg>
      <pc:sldChg chg="modSp mod addCm modCm">
        <pc:chgData name="Liz Brown" userId="cca18a2c-ec13-4cb5-bb2e-e485438d5f06" providerId="ADAL" clId="{EE2E5326-4291-EC4B-B504-7C2C5E7B8B86}" dt="2021-12-22T16:53:18.861" v="1315" actId="13926"/>
        <pc:sldMkLst>
          <pc:docMk/>
          <pc:sldMk cId="2512054534" sldId="2147374167"/>
        </pc:sldMkLst>
        <pc:spChg chg="mod">
          <ac:chgData name="Liz Brown" userId="cca18a2c-ec13-4cb5-bb2e-e485438d5f06" providerId="ADAL" clId="{EE2E5326-4291-EC4B-B504-7C2C5E7B8B86}" dt="2021-12-22T12:07:33.175" v="61" actId="13926"/>
          <ac:spMkLst>
            <pc:docMk/>
            <pc:sldMk cId="2512054534" sldId="2147374167"/>
            <ac:spMk id="16" creationId="{F715D659-0B3D-3441-8784-EDED0A7173C7}"/>
          </ac:spMkLst>
        </pc:spChg>
        <pc:graphicFrameChg chg="modGraphic">
          <ac:chgData name="Liz Brown" userId="cca18a2c-ec13-4cb5-bb2e-e485438d5f06" providerId="ADAL" clId="{EE2E5326-4291-EC4B-B504-7C2C5E7B8B86}" dt="2021-12-22T16:53:18.861" v="1315" actId="13926"/>
          <ac:graphicFrameMkLst>
            <pc:docMk/>
            <pc:sldMk cId="2512054534" sldId="2147374167"/>
            <ac:graphicFrameMk id="26" creationId="{B868C0AB-3D2C-4647-A123-6629F1806D7E}"/>
          </ac:graphicFrameMkLst>
        </pc:graphicFrameChg>
      </pc:sldChg>
      <pc:sldChg chg="addCm">
        <pc:chgData name="Liz Brown" userId="cca18a2c-ec13-4cb5-bb2e-e485438d5f06" providerId="ADAL" clId="{EE2E5326-4291-EC4B-B504-7C2C5E7B8B86}" dt="2021-12-21T12:19:02.900" v="18"/>
        <pc:sldMkLst>
          <pc:docMk/>
          <pc:sldMk cId="2926344828" sldId="2147374175"/>
        </pc:sldMkLst>
      </pc:sldChg>
      <pc:sldChg chg="addCm modCm">
        <pc:chgData name="Liz Brown" userId="cca18a2c-ec13-4cb5-bb2e-e485438d5f06" providerId="ADAL" clId="{EE2E5326-4291-EC4B-B504-7C2C5E7B8B86}" dt="2021-12-21T12:13:25.169" v="14"/>
        <pc:sldMkLst>
          <pc:docMk/>
          <pc:sldMk cId="726081772" sldId="2147374176"/>
        </pc:sldMkLst>
      </pc:sldChg>
      <pc:sldChg chg="modSp mod">
        <pc:chgData name="Liz Brown" userId="cca18a2c-ec13-4cb5-bb2e-e485438d5f06" providerId="ADAL" clId="{EE2E5326-4291-EC4B-B504-7C2C5E7B8B86}" dt="2021-12-23T13:16:20.796" v="2080" actId="13926"/>
        <pc:sldMkLst>
          <pc:docMk/>
          <pc:sldMk cId="814293231" sldId="2147374208"/>
        </pc:sldMkLst>
        <pc:graphicFrameChg chg="modGraphic">
          <ac:chgData name="Liz Brown" userId="cca18a2c-ec13-4cb5-bb2e-e485438d5f06" providerId="ADAL" clId="{EE2E5326-4291-EC4B-B504-7C2C5E7B8B86}" dt="2021-12-23T13:16:20.796" v="2080" actId="13926"/>
          <ac:graphicFrameMkLst>
            <pc:docMk/>
            <pc:sldMk cId="814293231" sldId="2147374208"/>
            <ac:graphicFrameMk id="5" creationId="{1F73E11B-085A-AD47-B820-F62CD6BB7304}"/>
          </ac:graphicFrameMkLst>
        </pc:graphicFrameChg>
      </pc:sldChg>
      <pc:sldChg chg="modSp mod addCm">
        <pc:chgData name="Liz Brown" userId="cca18a2c-ec13-4cb5-bb2e-e485438d5f06" providerId="ADAL" clId="{EE2E5326-4291-EC4B-B504-7C2C5E7B8B86}" dt="2021-12-23T13:15:27.045" v="2079"/>
        <pc:sldMkLst>
          <pc:docMk/>
          <pc:sldMk cId="1454324657" sldId="2147374215"/>
        </pc:sldMkLst>
        <pc:graphicFrameChg chg="modGraphic">
          <ac:chgData name="Liz Brown" userId="cca18a2c-ec13-4cb5-bb2e-e485438d5f06" providerId="ADAL" clId="{EE2E5326-4291-EC4B-B504-7C2C5E7B8B86}" dt="2021-12-23T13:15:14.116" v="2078" actId="13926"/>
          <ac:graphicFrameMkLst>
            <pc:docMk/>
            <pc:sldMk cId="1454324657" sldId="2147374215"/>
            <ac:graphicFrameMk id="5" creationId="{1F73E11B-085A-AD47-B820-F62CD6BB7304}"/>
          </ac:graphicFrameMkLst>
        </pc:graphicFrameChg>
      </pc:sldChg>
      <pc:sldChg chg="modSp mod addCm modCm">
        <pc:chgData name="Liz Brown" userId="cca18a2c-ec13-4cb5-bb2e-e485438d5f06" providerId="ADAL" clId="{EE2E5326-4291-EC4B-B504-7C2C5E7B8B86}" dt="2021-12-23T13:14:25.452" v="2077"/>
        <pc:sldMkLst>
          <pc:docMk/>
          <pc:sldMk cId="1256252104" sldId="2147374218"/>
        </pc:sldMkLst>
        <pc:spChg chg="mod">
          <ac:chgData name="Liz Brown" userId="cca18a2c-ec13-4cb5-bb2e-e485438d5f06" providerId="ADAL" clId="{EE2E5326-4291-EC4B-B504-7C2C5E7B8B86}" dt="2021-12-23T13:13:43.564" v="2073" actId="13926"/>
          <ac:spMkLst>
            <pc:docMk/>
            <pc:sldMk cId="1256252104" sldId="2147374218"/>
            <ac:spMk id="7" creationId="{FD420467-EF1E-C24E-B16A-0060A2106A3D}"/>
          </ac:spMkLst>
        </pc:spChg>
        <pc:spChg chg="mod">
          <ac:chgData name="Liz Brown" userId="cca18a2c-ec13-4cb5-bb2e-e485438d5f06" providerId="ADAL" clId="{EE2E5326-4291-EC4B-B504-7C2C5E7B8B86}" dt="2021-12-23T13:13:13.084" v="2071" actId="13926"/>
          <ac:spMkLst>
            <pc:docMk/>
            <pc:sldMk cId="1256252104" sldId="2147374218"/>
            <ac:spMk id="8" creationId="{93A72959-7AA1-144A-9BA1-BBF7754400AD}"/>
          </ac:spMkLst>
        </pc:spChg>
        <pc:graphicFrameChg chg="modGraphic">
          <ac:chgData name="Liz Brown" userId="cca18a2c-ec13-4cb5-bb2e-e485438d5f06" providerId="ADAL" clId="{EE2E5326-4291-EC4B-B504-7C2C5E7B8B86}" dt="2021-12-23T13:14:12.065" v="2076" actId="13926"/>
          <ac:graphicFrameMkLst>
            <pc:docMk/>
            <pc:sldMk cId="1256252104" sldId="2147374218"/>
            <ac:graphicFrameMk id="5" creationId="{1F73E11B-085A-AD47-B820-F62CD6BB7304}"/>
          </ac:graphicFrameMkLst>
        </pc:graphicFrameChg>
      </pc:sldChg>
      <pc:sldChg chg="modSp mod addCm">
        <pc:chgData name="Liz Brown" userId="cca18a2c-ec13-4cb5-bb2e-e485438d5f06" providerId="ADAL" clId="{EE2E5326-4291-EC4B-B504-7C2C5E7B8B86}" dt="2021-12-23T13:19:12.064" v="2085"/>
        <pc:sldMkLst>
          <pc:docMk/>
          <pc:sldMk cId="2027674031" sldId="2147374223"/>
        </pc:sldMkLst>
        <pc:spChg chg="mod">
          <ac:chgData name="Liz Brown" userId="cca18a2c-ec13-4cb5-bb2e-e485438d5f06" providerId="ADAL" clId="{EE2E5326-4291-EC4B-B504-7C2C5E7B8B86}" dt="2021-12-23T13:17:55.750" v="2082" actId="13926"/>
          <ac:spMkLst>
            <pc:docMk/>
            <pc:sldMk cId="2027674031" sldId="2147374223"/>
            <ac:spMk id="361" creationId="{F209A0E1-B5CC-F74F-8F09-C4FA62376197}"/>
          </ac:spMkLst>
        </pc:spChg>
        <pc:spChg chg="mod">
          <ac:chgData name="Liz Brown" userId="cca18a2c-ec13-4cb5-bb2e-e485438d5f06" providerId="ADAL" clId="{EE2E5326-4291-EC4B-B504-7C2C5E7B8B86}" dt="2021-12-23T13:16:56.065" v="2081" actId="13926"/>
          <ac:spMkLst>
            <pc:docMk/>
            <pc:sldMk cId="2027674031" sldId="2147374223"/>
            <ac:spMk id="858" creationId="{E7159715-D69F-944C-91C3-D7F3E6830A85}"/>
          </ac:spMkLst>
        </pc:spChg>
      </pc:sldChg>
      <pc:sldChg chg="modSp mod">
        <pc:chgData name="Liz Brown" userId="cca18a2c-ec13-4cb5-bb2e-e485438d5f06" providerId="ADAL" clId="{EE2E5326-4291-EC4B-B504-7C2C5E7B8B86}" dt="2021-12-23T13:02:31.254" v="1714" actId="20577"/>
        <pc:sldMkLst>
          <pc:docMk/>
          <pc:sldMk cId="3468478757" sldId="2147374229"/>
        </pc:sldMkLst>
        <pc:graphicFrameChg chg="modGraphic">
          <ac:chgData name="Liz Brown" userId="cca18a2c-ec13-4cb5-bb2e-e485438d5f06" providerId="ADAL" clId="{EE2E5326-4291-EC4B-B504-7C2C5E7B8B86}" dt="2021-12-23T13:02:31.254" v="1714" actId="20577"/>
          <ac:graphicFrameMkLst>
            <pc:docMk/>
            <pc:sldMk cId="3468478757" sldId="2147374229"/>
            <ac:graphicFrameMk id="7" creationId="{B0021113-E356-744D-9441-B64074BD5786}"/>
          </ac:graphicFrameMkLst>
        </pc:graphicFrameChg>
      </pc:sldChg>
      <pc:sldChg chg="modSp mod addCm">
        <pc:chgData name="Liz Brown" userId="cca18a2c-ec13-4cb5-bb2e-e485438d5f06" providerId="ADAL" clId="{EE2E5326-4291-EC4B-B504-7C2C5E7B8B86}" dt="2021-12-21T12:17:37.780" v="17"/>
        <pc:sldMkLst>
          <pc:docMk/>
          <pc:sldMk cId="3997382144" sldId="2147374231"/>
        </pc:sldMkLst>
        <pc:spChg chg="mod">
          <ac:chgData name="Liz Brown" userId="cca18a2c-ec13-4cb5-bb2e-e485438d5f06" providerId="ADAL" clId="{EE2E5326-4291-EC4B-B504-7C2C5E7B8B86}" dt="2021-12-21T12:15:00.674" v="16" actId="13926"/>
          <ac:spMkLst>
            <pc:docMk/>
            <pc:sldMk cId="3997382144" sldId="2147374231"/>
            <ac:spMk id="277" creationId="{D36CFC29-3B58-F846-8DB9-51E9AC13B8D2}"/>
          </ac:spMkLst>
        </pc:spChg>
      </pc:sldChg>
      <pc:sldChg chg="modSp mod addCm modCm">
        <pc:chgData name="Liz Brown" userId="cca18a2c-ec13-4cb5-bb2e-e485438d5f06" providerId="ADAL" clId="{EE2E5326-4291-EC4B-B504-7C2C5E7B8B86}" dt="2021-12-23T13:25:05.550" v="2430"/>
        <pc:sldMkLst>
          <pc:docMk/>
          <pc:sldMk cId="315647566" sldId="2147374233"/>
        </pc:sldMkLst>
        <pc:spChg chg="mod">
          <ac:chgData name="Liz Brown" userId="cca18a2c-ec13-4cb5-bb2e-e485438d5f06" providerId="ADAL" clId="{EE2E5326-4291-EC4B-B504-7C2C5E7B8B86}" dt="2021-12-23T13:24:21.519" v="2429" actId="20577"/>
          <ac:spMkLst>
            <pc:docMk/>
            <pc:sldMk cId="315647566" sldId="2147374233"/>
            <ac:spMk id="6" creationId="{7C616F68-C6E3-1F45-8BEE-9F90691ED017}"/>
          </ac:spMkLst>
        </pc:spChg>
        <pc:graphicFrameChg chg="modGraphic">
          <ac:chgData name="Liz Brown" userId="cca18a2c-ec13-4cb5-bb2e-e485438d5f06" providerId="ADAL" clId="{EE2E5326-4291-EC4B-B504-7C2C5E7B8B86}" dt="2021-12-23T13:24:18.886" v="2426" actId="13926"/>
          <ac:graphicFrameMkLst>
            <pc:docMk/>
            <pc:sldMk cId="315647566" sldId="2147374233"/>
            <ac:graphicFrameMk id="7" creationId="{F919ECF1-966C-E64F-BFF9-AD986DD4639F}"/>
          </ac:graphicFrameMkLst>
        </pc:graphicFrameChg>
      </pc:sldChg>
      <pc:sldChg chg="modSp mod addCm">
        <pc:chgData name="Liz Brown" userId="cca18a2c-ec13-4cb5-bb2e-e485438d5f06" providerId="ADAL" clId="{EE2E5326-4291-EC4B-B504-7C2C5E7B8B86}" dt="2021-12-21T12:08:19.726" v="11" actId="13926"/>
        <pc:sldMkLst>
          <pc:docMk/>
          <pc:sldMk cId="2271873400" sldId="2147374234"/>
        </pc:sldMkLst>
        <pc:spChg chg="mod">
          <ac:chgData name="Liz Brown" userId="cca18a2c-ec13-4cb5-bb2e-e485438d5f06" providerId="ADAL" clId="{EE2E5326-4291-EC4B-B504-7C2C5E7B8B86}" dt="2021-12-21T12:05:40.400" v="5" actId="20577"/>
          <ac:spMkLst>
            <pc:docMk/>
            <pc:sldMk cId="2271873400" sldId="2147374234"/>
            <ac:spMk id="4" creationId="{CEF1AEE4-C47F-2A4C-A991-855D708E03B9}"/>
          </ac:spMkLst>
        </pc:spChg>
        <pc:spChg chg="mod">
          <ac:chgData name="Liz Brown" userId="cca18a2c-ec13-4cb5-bb2e-e485438d5f06" providerId="ADAL" clId="{EE2E5326-4291-EC4B-B504-7C2C5E7B8B86}" dt="2021-12-21T12:07:38.134" v="8" actId="13926"/>
          <ac:spMkLst>
            <pc:docMk/>
            <pc:sldMk cId="2271873400" sldId="2147374234"/>
            <ac:spMk id="26" creationId="{52BC107D-7B71-F942-A59C-B017D0DE1F23}"/>
          </ac:spMkLst>
        </pc:spChg>
        <pc:spChg chg="mod">
          <ac:chgData name="Liz Brown" userId="cca18a2c-ec13-4cb5-bb2e-e485438d5f06" providerId="ADAL" clId="{EE2E5326-4291-EC4B-B504-7C2C5E7B8B86}" dt="2021-12-21T12:08:19.726" v="11" actId="13926"/>
          <ac:spMkLst>
            <pc:docMk/>
            <pc:sldMk cId="2271873400" sldId="2147374234"/>
            <ac:spMk id="60" creationId="{1797CD6C-B388-7F4B-98E5-20CC8E3226B8}"/>
          </ac:spMkLst>
        </pc:spChg>
        <pc:spChg chg="mod">
          <ac:chgData name="Liz Brown" userId="cca18a2c-ec13-4cb5-bb2e-e485438d5f06" providerId="ADAL" clId="{EE2E5326-4291-EC4B-B504-7C2C5E7B8B86}" dt="2021-12-21T12:07:13.940" v="6" actId="13926"/>
          <ac:spMkLst>
            <pc:docMk/>
            <pc:sldMk cId="2271873400" sldId="2147374234"/>
            <ac:spMk id="64" creationId="{7C87FF8A-9CE4-664F-83A0-2D6953F7ED9C}"/>
          </ac:spMkLst>
        </pc:spChg>
      </pc:sldChg>
      <pc:sldChg chg="modSp add mod">
        <pc:chgData name="Liz Brown" userId="cca18a2c-ec13-4cb5-bb2e-e485438d5f06" providerId="ADAL" clId="{EE2E5326-4291-EC4B-B504-7C2C5E7B8B86}" dt="2021-12-22T12:09:57.361" v="85" actId="20577"/>
        <pc:sldMkLst>
          <pc:docMk/>
          <pc:sldMk cId="3347182016" sldId="2147374234"/>
        </pc:sldMkLst>
        <pc:spChg chg="mod">
          <ac:chgData name="Liz Brown" userId="cca18a2c-ec13-4cb5-bb2e-e485438d5f06" providerId="ADAL" clId="{EE2E5326-4291-EC4B-B504-7C2C5E7B8B86}" dt="2021-12-22T12:09:57.361" v="85" actId="20577"/>
          <ac:spMkLst>
            <pc:docMk/>
            <pc:sldMk cId="3347182016" sldId="2147374234"/>
            <ac:spMk id="2" creationId="{97DF49F5-76E4-D045-9AE5-C5DFB0E4B946}"/>
          </ac:spMkLst>
        </pc:spChg>
      </pc:sldChg>
      <pc:sldChg chg="add">
        <pc:chgData name="Liz Brown" userId="cca18a2c-ec13-4cb5-bb2e-e485438d5f06" providerId="ADAL" clId="{EE2E5326-4291-EC4B-B504-7C2C5E7B8B86}" dt="2021-12-22T12:10:13.023" v="86"/>
        <pc:sldMkLst>
          <pc:docMk/>
          <pc:sldMk cId="1325974997" sldId="2147374235"/>
        </pc:sldMkLst>
      </pc:sldChg>
      <pc:sldChg chg="add">
        <pc:chgData name="Liz Brown" userId="cca18a2c-ec13-4cb5-bb2e-e485438d5f06" providerId="ADAL" clId="{EE2E5326-4291-EC4B-B504-7C2C5E7B8B86}" dt="2021-12-22T12:10:24.885" v="87"/>
        <pc:sldMkLst>
          <pc:docMk/>
          <pc:sldMk cId="2880595461" sldId="2147374236"/>
        </pc:sldMkLst>
      </pc:sldChg>
      <pc:sldChg chg="add addCm">
        <pc:chgData name="Liz Brown" userId="cca18a2c-ec13-4cb5-bb2e-e485438d5f06" providerId="ADAL" clId="{EE2E5326-4291-EC4B-B504-7C2C5E7B8B86}" dt="2021-12-22T12:24:52.117" v="881"/>
        <pc:sldMkLst>
          <pc:docMk/>
          <pc:sldMk cId="2129875948" sldId="2147374237"/>
        </pc:sldMkLst>
      </pc:sldChg>
      <pc:sldChg chg="add">
        <pc:chgData name="Liz Brown" userId="cca18a2c-ec13-4cb5-bb2e-e485438d5f06" providerId="ADAL" clId="{EE2E5326-4291-EC4B-B504-7C2C5E7B8B86}" dt="2021-12-22T12:10:53.319" v="89"/>
        <pc:sldMkLst>
          <pc:docMk/>
          <pc:sldMk cId="519564363" sldId="2147374238"/>
        </pc:sldMkLst>
      </pc:sldChg>
      <pc:sldChg chg="addSp delSp modSp add mod">
        <pc:chgData name="Liz Brown" userId="cca18a2c-ec13-4cb5-bb2e-e485438d5f06" providerId="ADAL" clId="{EE2E5326-4291-EC4B-B504-7C2C5E7B8B86}" dt="2021-12-22T12:23:52.790" v="880" actId="20577"/>
        <pc:sldMkLst>
          <pc:docMk/>
          <pc:sldMk cId="585038897" sldId="2147374239"/>
        </pc:sldMkLst>
        <pc:spChg chg="mod">
          <ac:chgData name="Liz Brown" userId="cca18a2c-ec13-4cb5-bb2e-e485438d5f06" providerId="ADAL" clId="{EE2E5326-4291-EC4B-B504-7C2C5E7B8B86}" dt="2021-12-22T12:19:46.111" v="447" actId="14100"/>
          <ac:spMkLst>
            <pc:docMk/>
            <pc:sldMk cId="585038897" sldId="2147374239"/>
            <ac:spMk id="2" creationId="{00000000-0000-0000-0000-000000000000}"/>
          </ac:spMkLst>
        </pc:spChg>
        <pc:spChg chg="add mod">
          <ac:chgData name="Liz Brown" userId="cca18a2c-ec13-4cb5-bb2e-e485438d5f06" providerId="ADAL" clId="{EE2E5326-4291-EC4B-B504-7C2C5E7B8B86}" dt="2021-12-22T12:16:58.516" v="342" actId="408"/>
          <ac:spMkLst>
            <pc:docMk/>
            <pc:sldMk cId="585038897" sldId="2147374239"/>
            <ac:spMk id="6" creationId="{71DEC92A-C88D-F946-A1A9-8B38E6C4179D}"/>
          </ac:spMkLst>
        </pc:spChg>
        <pc:spChg chg="mod">
          <ac:chgData name="Liz Brown" userId="cca18a2c-ec13-4cb5-bb2e-e485438d5f06" providerId="ADAL" clId="{EE2E5326-4291-EC4B-B504-7C2C5E7B8B86}" dt="2021-12-22T12:11:42.977" v="240" actId="20577"/>
          <ac:spMkLst>
            <pc:docMk/>
            <pc:sldMk cId="585038897" sldId="2147374239"/>
            <ac:spMk id="27" creationId="{4EFAD1A4-9034-8448-A693-CCB4220B8B5E}"/>
          </ac:spMkLst>
        </pc:spChg>
        <pc:spChg chg="del">
          <ac:chgData name="Liz Brown" userId="cca18a2c-ec13-4cb5-bb2e-e485438d5f06" providerId="ADAL" clId="{EE2E5326-4291-EC4B-B504-7C2C5E7B8B86}" dt="2021-12-22T12:11:46.893" v="241" actId="478"/>
          <ac:spMkLst>
            <pc:docMk/>
            <pc:sldMk cId="585038897" sldId="2147374239"/>
            <ac:spMk id="28" creationId="{EB83BA76-F5D6-F94D-95C7-D729B2EF3A13}"/>
          </ac:spMkLst>
        </pc:spChg>
        <pc:spChg chg="del">
          <ac:chgData name="Liz Brown" userId="cca18a2c-ec13-4cb5-bb2e-e485438d5f06" providerId="ADAL" clId="{EE2E5326-4291-EC4B-B504-7C2C5E7B8B86}" dt="2021-12-22T12:11:54.284" v="242" actId="478"/>
          <ac:spMkLst>
            <pc:docMk/>
            <pc:sldMk cId="585038897" sldId="2147374239"/>
            <ac:spMk id="30" creationId="{FB434F85-74F0-384B-9D7F-FF2A33898709}"/>
          </ac:spMkLst>
        </pc:spChg>
        <pc:spChg chg="del">
          <ac:chgData name="Liz Brown" userId="cca18a2c-ec13-4cb5-bb2e-e485438d5f06" providerId="ADAL" clId="{EE2E5326-4291-EC4B-B504-7C2C5E7B8B86}" dt="2021-12-22T12:11:54.284" v="242" actId="478"/>
          <ac:spMkLst>
            <pc:docMk/>
            <pc:sldMk cId="585038897" sldId="2147374239"/>
            <ac:spMk id="31" creationId="{52EEF356-4F06-7543-9F4E-C9797686F817}"/>
          </ac:spMkLst>
        </pc:spChg>
        <pc:spChg chg="del">
          <ac:chgData name="Liz Brown" userId="cca18a2c-ec13-4cb5-bb2e-e485438d5f06" providerId="ADAL" clId="{EE2E5326-4291-EC4B-B504-7C2C5E7B8B86}" dt="2021-12-22T12:11:46.893" v="241" actId="478"/>
          <ac:spMkLst>
            <pc:docMk/>
            <pc:sldMk cId="585038897" sldId="2147374239"/>
            <ac:spMk id="32" creationId="{4ECFF3F3-C2A1-4942-B5EC-E2802E4A8844}"/>
          </ac:spMkLst>
        </pc:spChg>
        <pc:spChg chg="del">
          <ac:chgData name="Liz Brown" userId="cca18a2c-ec13-4cb5-bb2e-e485438d5f06" providerId="ADAL" clId="{EE2E5326-4291-EC4B-B504-7C2C5E7B8B86}" dt="2021-12-22T12:11:54.284" v="242" actId="478"/>
          <ac:spMkLst>
            <pc:docMk/>
            <pc:sldMk cId="585038897" sldId="2147374239"/>
            <ac:spMk id="33" creationId="{A3D97B83-F595-E648-97CE-CA67B6983869}"/>
          </ac:spMkLst>
        </pc:spChg>
        <pc:spChg chg="del">
          <ac:chgData name="Liz Brown" userId="cca18a2c-ec13-4cb5-bb2e-e485438d5f06" providerId="ADAL" clId="{EE2E5326-4291-EC4B-B504-7C2C5E7B8B86}" dt="2021-12-22T12:11:54.284" v="242" actId="478"/>
          <ac:spMkLst>
            <pc:docMk/>
            <pc:sldMk cId="585038897" sldId="2147374239"/>
            <ac:spMk id="34" creationId="{E1A5336B-CF28-9048-AA52-D2B8FB259481}"/>
          </ac:spMkLst>
        </pc:spChg>
        <pc:spChg chg="del">
          <ac:chgData name="Liz Brown" userId="cca18a2c-ec13-4cb5-bb2e-e485438d5f06" providerId="ADAL" clId="{EE2E5326-4291-EC4B-B504-7C2C5E7B8B86}" dt="2021-12-22T12:11:54.284" v="242" actId="478"/>
          <ac:spMkLst>
            <pc:docMk/>
            <pc:sldMk cId="585038897" sldId="2147374239"/>
            <ac:spMk id="35" creationId="{A870685A-BCC1-F54D-90AE-9C2101354A9B}"/>
          </ac:spMkLst>
        </pc:spChg>
        <pc:spChg chg="del">
          <ac:chgData name="Liz Brown" userId="cca18a2c-ec13-4cb5-bb2e-e485438d5f06" providerId="ADAL" clId="{EE2E5326-4291-EC4B-B504-7C2C5E7B8B86}" dt="2021-12-22T12:11:54.284" v="242" actId="478"/>
          <ac:spMkLst>
            <pc:docMk/>
            <pc:sldMk cId="585038897" sldId="2147374239"/>
            <ac:spMk id="36" creationId="{587F6048-150D-BF44-AFBE-4A02FC8676F2}"/>
          </ac:spMkLst>
        </pc:spChg>
        <pc:spChg chg="add del mod">
          <ac:chgData name="Liz Brown" userId="cca18a2c-ec13-4cb5-bb2e-e485438d5f06" providerId="ADAL" clId="{EE2E5326-4291-EC4B-B504-7C2C5E7B8B86}" dt="2021-12-22T12:16:26.906" v="334" actId="478"/>
          <ac:spMkLst>
            <pc:docMk/>
            <pc:sldMk cId="585038897" sldId="2147374239"/>
            <ac:spMk id="38" creationId="{84D2848C-CB2E-3F40-B442-5E0515FE0EC5}"/>
          </ac:spMkLst>
        </pc:spChg>
        <pc:spChg chg="add mod">
          <ac:chgData name="Liz Brown" userId="cca18a2c-ec13-4cb5-bb2e-e485438d5f06" providerId="ADAL" clId="{EE2E5326-4291-EC4B-B504-7C2C5E7B8B86}" dt="2021-12-22T12:16:58.516" v="342" actId="408"/>
          <ac:spMkLst>
            <pc:docMk/>
            <pc:sldMk cId="585038897" sldId="2147374239"/>
            <ac:spMk id="39" creationId="{5831CEDB-D38E-1343-BE9C-83F0EFBBD13F}"/>
          </ac:spMkLst>
        </pc:spChg>
        <pc:spChg chg="add mod">
          <ac:chgData name="Liz Brown" userId="cca18a2c-ec13-4cb5-bb2e-e485438d5f06" providerId="ADAL" clId="{EE2E5326-4291-EC4B-B504-7C2C5E7B8B86}" dt="2021-12-22T12:16:58.516" v="342" actId="408"/>
          <ac:spMkLst>
            <pc:docMk/>
            <pc:sldMk cId="585038897" sldId="2147374239"/>
            <ac:spMk id="40" creationId="{E1C0E2C8-7B47-E548-A07D-68D7A4F22BA7}"/>
          </ac:spMkLst>
        </pc:spChg>
        <pc:spChg chg="add del mod">
          <ac:chgData name="Liz Brown" userId="cca18a2c-ec13-4cb5-bb2e-e485438d5f06" providerId="ADAL" clId="{EE2E5326-4291-EC4B-B504-7C2C5E7B8B86}" dt="2021-12-22T12:15:53.594" v="312" actId="478"/>
          <ac:spMkLst>
            <pc:docMk/>
            <pc:sldMk cId="585038897" sldId="2147374239"/>
            <ac:spMk id="41" creationId="{A479021A-0EA7-4740-A40A-76091923CB33}"/>
          </ac:spMkLst>
        </pc:spChg>
        <pc:spChg chg="add del mod">
          <ac:chgData name="Liz Brown" userId="cca18a2c-ec13-4cb5-bb2e-e485438d5f06" providerId="ADAL" clId="{EE2E5326-4291-EC4B-B504-7C2C5E7B8B86}" dt="2021-12-22T12:15:34.972" v="308" actId="478"/>
          <ac:spMkLst>
            <pc:docMk/>
            <pc:sldMk cId="585038897" sldId="2147374239"/>
            <ac:spMk id="42" creationId="{F6D0A799-AAF3-1846-92F0-C97625EA75DC}"/>
          </ac:spMkLst>
        </pc:spChg>
        <pc:spChg chg="add mod">
          <ac:chgData name="Liz Brown" userId="cca18a2c-ec13-4cb5-bb2e-e485438d5f06" providerId="ADAL" clId="{EE2E5326-4291-EC4B-B504-7C2C5E7B8B86}" dt="2021-12-22T12:17:34.307" v="357" actId="1076"/>
          <ac:spMkLst>
            <pc:docMk/>
            <pc:sldMk cId="585038897" sldId="2147374239"/>
            <ac:spMk id="43" creationId="{6722C459-EA4B-9046-BFE4-5ADCCCE9822B}"/>
          </ac:spMkLst>
        </pc:spChg>
        <pc:spChg chg="add mod">
          <ac:chgData name="Liz Brown" userId="cca18a2c-ec13-4cb5-bb2e-e485438d5f06" providerId="ADAL" clId="{EE2E5326-4291-EC4B-B504-7C2C5E7B8B86}" dt="2021-12-22T12:18:34.842" v="389" actId="14100"/>
          <ac:spMkLst>
            <pc:docMk/>
            <pc:sldMk cId="585038897" sldId="2147374239"/>
            <ac:spMk id="44" creationId="{94F77078-9FB8-334E-9C10-E9F04E16BBA7}"/>
          </ac:spMkLst>
        </pc:spChg>
        <pc:spChg chg="del">
          <ac:chgData name="Liz Brown" userId="cca18a2c-ec13-4cb5-bb2e-e485438d5f06" providerId="ADAL" clId="{EE2E5326-4291-EC4B-B504-7C2C5E7B8B86}" dt="2021-12-22T12:11:56.608" v="243" actId="478"/>
          <ac:spMkLst>
            <pc:docMk/>
            <pc:sldMk cId="585038897" sldId="2147374239"/>
            <ac:spMk id="47" creationId="{D9C929F6-41CE-AB46-A900-A92451DD1F9A}"/>
          </ac:spMkLst>
        </pc:spChg>
        <pc:spChg chg="add mod">
          <ac:chgData name="Liz Brown" userId="cca18a2c-ec13-4cb5-bb2e-e485438d5f06" providerId="ADAL" clId="{EE2E5326-4291-EC4B-B504-7C2C5E7B8B86}" dt="2021-12-22T12:18:30.993" v="388" actId="1037"/>
          <ac:spMkLst>
            <pc:docMk/>
            <pc:sldMk cId="585038897" sldId="2147374239"/>
            <ac:spMk id="48" creationId="{A64AE93D-4341-5940-88E2-777BF375B524}"/>
          </ac:spMkLst>
        </pc:spChg>
        <pc:spChg chg="add mod">
          <ac:chgData name="Liz Brown" userId="cca18a2c-ec13-4cb5-bb2e-e485438d5f06" providerId="ADAL" clId="{EE2E5326-4291-EC4B-B504-7C2C5E7B8B86}" dt="2021-12-22T12:18:30.993" v="388" actId="1037"/>
          <ac:spMkLst>
            <pc:docMk/>
            <pc:sldMk cId="585038897" sldId="2147374239"/>
            <ac:spMk id="49" creationId="{EB12C5EA-D5E9-6642-B105-31F682D36F5D}"/>
          </ac:spMkLst>
        </pc:spChg>
        <pc:spChg chg="del">
          <ac:chgData name="Liz Brown" userId="cca18a2c-ec13-4cb5-bb2e-e485438d5f06" providerId="ADAL" clId="{EE2E5326-4291-EC4B-B504-7C2C5E7B8B86}" dt="2021-12-22T12:11:54.284" v="242" actId="478"/>
          <ac:spMkLst>
            <pc:docMk/>
            <pc:sldMk cId="585038897" sldId="2147374239"/>
            <ac:spMk id="50" creationId="{12410B54-5493-0A4C-BA4B-0FB4FF08FF7E}"/>
          </ac:spMkLst>
        </pc:spChg>
        <pc:spChg chg="add mod">
          <ac:chgData name="Liz Brown" userId="cca18a2c-ec13-4cb5-bb2e-e485438d5f06" providerId="ADAL" clId="{EE2E5326-4291-EC4B-B504-7C2C5E7B8B86}" dt="2021-12-22T12:23:34.787" v="877" actId="2710"/>
          <ac:spMkLst>
            <pc:docMk/>
            <pc:sldMk cId="585038897" sldId="2147374239"/>
            <ac:spMk id="51" creationId="{390FA1DD-16DF-2E48-8A6B-AA33E10B0B14}"/>
          </ac:spMkLst>
        </pc:spChg>
        <pc:spChg chg="add mod">
          <ac:chgData name="Liz Brown" userId="cca18a2c-ec13-4cb5-bb2e-e485438d5f06" providerId="ADAL" clId="{EE2E5326-4291-EC4B-B504-7C2C5E7B8B86}" dt="2021-12-22T12:23:52.790" v="880" actId="20577"/>
          <ac:spMkLst>
            <pc:docMk/>
            <pc:sldMk cId="585038897" sldId="2147374239"/>
            <ac:spMk id="52" creationId="{C37DDBA5-5D7E-DA48-82EE-A53F018A0B51}"/>
          </ac:spMkLst>
        </pc:spChg>
        <pc:spChg chg="del">
          <ac:chgData name="Liz Brown" userId="cca18a2c-ec13-4cb5-bb2e-e485438d5f06" providerId="ADAL" clId="{EE2E5326-4291-EC4B-B504-7C2C5E7B8B86}" dt="2021-12-22T12:11:46.893" v="241" actId="478"/>
          <ac:spMkLst>
            <pc:docMk/>
            <pc:sldMk cId="585038897" sldId="2147374239"/>
            <ac:spMk id="85" creationId="{BF87E107-9B05-AD4A-BF17-CE66A1FC31B2}"/>
          </ac:spMkLst>
        </pc:spChg>
        <pc:spChg chg="del">
          <ac:chgData name="Liz Brown" userId="cca18a2c-ec13-4cb5-bb2e-e485438d5f06" providerId="ADAL" clId="{EE2E5326-4291-EC4B-B504-7C2C5E7B8B86}" dt="2021-12-22T12:11:54.284" v="242" actId="478"/>
          <ac:spMkLst>
            <pc:docMk/>
            <pc:sldMk cId="585038897" sldId="2147374239"/>
            <ac:spMk id="86" creationId="{D8828E80-B7D3-474D-A9F2-7711BEA3B95E}"/>
          </ac:spMkLst>
        </pc:spChg>
        <pc:spChg chg="del">
          <ac:chgData name="Liz Brown" userId="cca18a2c-ec13-4cb5-bb2e-e485438d5f06" providerId="ADAL" clId="{EE2E5326-4291-EC4B-B504-7C2C5E7B8B86}" dt="2021-12-22T12:11:46.893" v="241" actId="478"/>
          <ac:spMkLst>
            <pc:docMk/>
            <pc:sldMk cId="585038897" sldId="2147374239"/>
            <ac:spMk id="87" creationId="{8A070B73-B7B2-C647-9C66-B06000225C2C}"/>
          </ac:spMkLst>
        </pc:spChg>
        <pc:spChg chg="del">
          <ac:chgData name="Liz Brown" userId="cca18a2c-ec13-4cb5-bb2e-e485438d5f06" providerId="ADAL" clId="{EE2E5326-4291-EC4B-B504-7C2C5E7B8B86}" dt="2021-12-22T12:11:46.893" v="241" actId="478"/>
          <ac:spMkLst>
            <pc:docMk/>
            <pc:sldMk cId="585038897" sldId="2147374239"/>
            <ac:spMk id="88" creationId="{6E5EE1D9-A36C-5243-813A-6134380E8776}"/>
          </ac:spMkLst>
        </pc:spChg>
        <pc:picChg chg="del">
          <ac:chgData name="Liz Brown" userId="cca18a2c-ec13-4cb5-bb2e-e485438d5f06" providerId="ADAL" clId="{EE2E5326-4291-EC4B-B504-7C2C5E7B8B86}" dt="2021-12-22T12:11:54.284" v="242" actId="478"/>
          <ac:picMkLst>
            <pc:docMk/>
            <pc:sldMk cId="585038897" sldId="2147374239"/>
            <ac:picMk id="7" creationId="{B35C041F-C13B-6B44-902A-9200732B6C0B}"/>
          </ac:picMkLst>
        </pc:picChg>
        <pc:picChg chg="del">
          <ac:chgData name="Liz Brown" userId="cca18a2c-ec13-4cb5-bb2e-e485438d5f06" providerId="ADAL" clId="{EE2E5326-4291-EC4B-B504-7C2C5E7B8B86}" dt="2021-12-22T12:11:54.284" v="242" actId="478"/>
          <ac:picMkLst>
            <pc:docMk/>
            <pc:sldMk cId="585038897" sldId="2147374239"/>
            <ac:picMk id="8" creationId="{EF66DE1A-BF53-C747-B97A-CDF5D0F89A30}"/>
          </ac:picMkLst>
        </pc:picChg>
        <pc:picChg chg="del">
          <ac:chgData name="Liz Brown" userId="cca18a2c-ec13-4cb5-bb2e-e485438d5f06" providerId="ADAL" clId="{EE2E5326-4291-EC4B-B504-7C2C5E7B8B86}" dt="2021-12-22T12:11:54.284" v="242" actId="478"/>
          <ac:picMkLst>
            <pc:docMk/>
            <pc:sldMk cId="585038897" sldId="2147374239"/>
            <ac:picMk id="9" creationId="{546B8D7F-B499-FB41-B7ED-CB859BC8D8F6}"/>
          </ac:picMkLst>
        </pc:picChg>
        <pc:picChg chg="del">
          <ac:chgData name="Liz Brown" userId="cca18a2c-ec13-4cb5-bb2e-e485438d5f06" providerId="ADAL" clId="{EE2E5326-4291-EC4B-B504-7C2C5E7B8B86}" dt="2021-12-22T12:11:54.284" v="242" actId="478"/>
          <ac:picMkLst>
            <pc:docMk/>
            <pc:sldMk cId="585038897" sldId="2147374239"/>
            <ac:picMk id="10" creationId="{61E22803-DF9B-664D-AE0E-AEBA73881D53}"/>
          </ac:picMkLst>
        </pc:picChg>
        <pc:picChg chg="del">
          <ac:chgData name="Liz Brown" userId="cca18a2c-ec13-4cb5-bb2e-e485438d5f06" providerId="ADAL" clId="{EE2E5326-4291-EC4B-B504-7C2C5E7B8B86}" dt="2021-12-22T12:11:54.284" v="242" actId="478"/>
          <ac:picMkLst>
            <pc:docMk/>
            <pc:sldMk cId="585038897" sldId="2147374239"/>
            <ac:picMk id="11" creationId="{FCA246B5-E1D9-E348-B811-C499AC042802}"/>
          </ac:picMkLst>
        </pc:picChg>
        <pc:picChg chg="del">
          <ac:chgData name="Liz Brown" userId="cca18a2c-ec13-4cb5-bb2e-e485438d5f06" providerId="ADAL" clId="{EE2E5326-4291-EC4B-B504-7C2C5E7B8B86}" dt="2021-12-22T12:11:54.284" v="242" actId="478"/>
          <ac:picMkLst>
            <pc:docMk/>
            <pc:sldMk cId="585038897" sldId="2147374239"/>
            <ac:picMk id="12" creationId="{77E0D068-016F-5843-88BD-786D2579090F}"/>
          </ac:picMkLst>
        </pc:picChg>
        <pc:picChg chg="del">
          <ac:chgData name="Liz Brown" userId="cca18a2c-ec13-4cb5-bb2e-e485438d5f06" providerId="ADAL" clId="{EE2E5326-4291-EC4B-B504-7C2C5E7B8B86}" dt="2021-12-22T12:11:54.284" v="242" actId="478"/>
          <ac:picMkLst>
            <pc:docMk/>
            <pc:sldMk cId="585038897" sldId="2147374239"/>
            <ac:picMk id="24" creationId="{9BAFCD39-0818-9047-9316-95211C85A151}"/>
          </ac:picMkLst>
        </pc:picChg>
        <pc:picChg chg="add mod">
          <ac:chgData name="Liz Brown" userId="cca18a2c-ec13-4cb5-bb2e-e485438d5f06" providerId="ADAL" clId="{EE2E5326-4291-EC4B-B504-7C2C5E7B8B86}" dt="2021-12-22T12:19:41.599" v="446" actId="1035"/>
          <ac:picMkLst>
            <pc:docMk/>
            <pc:sldMk cId="585038897" sldId="2147374239"/>
            <ac:picMk id="45" creationId="{948F28F6-61E2-7243-997A-555466F62827}"/>
          </ac:picMkLst>
        </pc:picChg>
        <pc:picChg chg="add mod">
          <ac:chgData name="Liz Brown" userId="cca18a2c-ec13-4cb5-bb2e-e485438d5f06" providerId="ADAL" clId="{EE2E5326-4291-EC4B-B504-7C2C5E7B8B86}" dt="2021-12-22T12:19:41.599" v="446" actId="1035"/>
          <ac:picMkLst>
            <pc:docMk/>
            <pc:sldMk cId="585038897" sldId="2147374239"/>
            <ac:picMk id="46" creationId="{6BA8DE75-D227-DB40-A572-28050B78841A}"/>
          </ac:picMkLst>
        </pc:picChg>
        <pc:cxnChg chg="mod">
          <ac:chgData name="Liz Brown" userId="cca18a2c-ec13-4cb5-bb2e-e485438d5f06" providerId="ADAL" clId="{EE2E5326-4291-EC4B-B504-7C2C5E7B8B86}" dt="2021-12-22T12:17:10.778" v="345" actId="1076"/>
          <ac:cxnSpMkLst>
            <pc:docMk/>
            <pc:sldMk cId="585038897" sldId="2147374239"/>
            <ac:cxnSpMk id="29" creationId="{614F206B-05A2-7C4C-95E4-28B2D9B67F64}"/>
          </ac:cxnSpMkLst>
        </pc:cxnChg>
        <pc:cxnChg chg="add mod">
          <ac:chgData name="Liz Brown" userId="cca18a2c-ec13-4cb5-bb2e-e485438d5f06" providerId="ADAL" clId="{EE2E5326-4291-EC4B-B504-7C2C5E7B8B86}" dt="2021-12-22T12:17:05.939" v="344" actId="1076"/>
          <ac:cxnSpMkLst>
            <pc:docMk/>
            <pc:sldMk cId="585038897" sldId="2147374239"/>
            <ac:cxnSpMk id="37" creationId="{B762DF57-84A7-E447-9663-FFF81F2335B2}"/>
          </ac:cxnSpMkLst>
        </pc:cxnChg>
        <pc:cxnChg chg="del">
          <ac:chgData name="Liz Brown" userId="cca18a2c-ec13-4cb5-bb2e-e485438d5f06" providerId="ADAL" clId="{EE2E5326-4291-EC4B-B504-7C2C5E7B8B86}" dt="2021-12-22T12:11:46.893" v="241" actId="478"/>
          <ac:cxnSpMkLst>
            <pc:docMk/>
            <pc:sldMk cId="585038897" sldId="2147374239"/>
            <ac:cxnSpMk id="54" creationId="{DC5FEB28-39F0-B54D-84E0-A0836B2DE034}"/>
          </ac:cxnSpMkLst>
        </pc:cxnChg>
        <pc:cxnChg chg="del">
          <ac:chgData name="Liz Brown" userId="cca18a2c-ec13-4cb5-bb2e-e485438d5f06" providerId="ADAL" clId="{EE2E5326-4291-EC4B-B504-7C2C5E7B8B86}" dt="2021-12-22T12:11:46.893" v="241" actId="478"/>
          <ac:cxnSpMkLst>
            <pc:docMk/>
            <pc:sldMk cId="585038897" sldId="2147374239"/>
            <ac:cxnSpMk id="92" creationId="{00CA843C-C4EA-3B42-B2ED-5312039E36F4}"/>
          </ac:cxnSpMkLst>
        </pc:cxnChg>
      </pc:sldChg>
      <pc:sldChg chg="addSp delSp modSp add mod">
        <pc:chgData name="Liz Brown" userId="cca18a2c-ec13-4cb5-bb2e-e485438d5f06" providerId="ADAL" clId="{EE2E5326-4291-EC4B-B504-7C2C5E7B8B86}" dt="2021-12-22T12:39:08.984" v="931" actId="1076"/>
        <pc:sldMkLst>
          <pc:docMk/>
          <pc:sldMk cId="4288719239" sldId="2147374240"/>
        </pc:sldMkLst>
        <pc:spChg chg="mod">
          <ac:chgData name="Liz Brown" userId="cca18a2c-ec13-4cb5-bb2e-e485438d5f06" providerId="ADAL" clId="{EE2E5326-4291-EC4B-B504-7C2C5E7B8B86}" dt="2021-12-22T12:39:02.773" v="930" actId="20577"/>
          <ac:spMkLst>
            <pc:docMk/>
            <pc:sldMk cId="4288719239" sldId="2147374240"/>
            <ac:spMk id="6" creationId="{71DEC92A-C88D-F946-A1A9-8B38E6C4179D}"/>
          </ac:spMkLst>
        </pc:spChg>
        <pc:spChg chg="add mod">
          <ac:chgData name="Liz Brown" userId="cca18a2c-ec13-4cb5-bb2e-e485438d5f06" providerId="ADAL" clId="{EE2E5326-4291-EC4B-B504-7C2C5E7B8B86}" dt="2021-12-22T12:38:20.406" v="902" actId="20577"/>
          <ac:spMkLst>
            <pc:docMk/>
            <pc:sldMk cId="4288719239" sldId="2147374240"/>
            <ac:spMk id="21" creationId="{6330D18C-34F1-924A-BF1E-ACB7585DE856}"/>
          </ac:spMkLst>
        </pc:spChg>
        <pc:spChg chg="add mod">
          <ac:chgData name="Liz Brown" userId="cca18a2c-ec13-4cb5-bb2e-e485438d5f06" providerId="ADAL" clId="{EE2E5326-4291-EC4B-B504-7C2C5E7B8B86}" dt="2021-12-22T12:38:30.885" v="910" actId="20577"/>
          <ac:spMkLst>
            <pc:docMk/>
            <pc:sldMk cId="4288719239" sldId="2147374240"/>
            <ac:spMk id="23" creationId="{EDB73B83-733C-864A-9946-6F0F0076127C}"/>
          </ac:spMkLst>
        </pc:spChg>
        <pc:spChg chg="del">
          <ac:chgData name="Liz Brown" userId="cca18a2c-ec13-4cb5-bb2e-e485438d5f06" providerId="ADAL" clId="{EE2E5326-4291-EC4B-B504-7C2C5E7B8B86}" dt="2021-12-22T12:38:55.881" v="918" actId="478"/>
          <ac:spMkLst>
            <pc:docMk/>
            <pc:sldMk cId="4288719239" sldId="2147374240"/>
            <ac:spMk id="39" creationId="{5831CEDB-D38E-1343-BE9C-83F0EFBBD13F}"/>
          </ac:spMkLst>
        </pc:spChg>
        <pc:spChg chg="del">
          <ac:chgData name="Liz Brown" userId="cca18a2c-ec13-4cb5-bb2e-e485438d5f06" providerId="ADAL" clId="{EE2E5326-4291-EC4B-B504-7C2C5E7B8B86}" dt="2021-12-22T12:38:55.881" v="918" actId="478"/>
          <ac:spMkLst>
            <pc:docMk/>
            <pc:sldMk cId="4288719239" sldId="2147374240"/>
            <ac:spMk id="40" creationId="{E1C0E2C8-7B47-E548-A07D-68D7A4F22BA7}"/>
          </ac:spMkLst>
        </pc:spChg>
        <pc:spChg chg="mod">
          <ac:chgData name="Liz Brown" userId="cca18a2c-ec13-4cb5-bb2e-e485438d5f06" providerId="ADAL" clId="{EE2E5326-4291-EC4B-B504-7C2C5E7B8B86}" dt="2021-12-22T12:38:10.868" v="892" actId="20577"/>
          <ac:spMkLst>
            <pc:docMk/>
            <pc:sldMk cId="4288719239" sldId="2147374240"/>
            <ac:spMk id="43" creationId="{6722C459-EA4B-9046-BFE4-5ADCCCE9822B}"/>
          </ac:spMkLst>
        </pc:spChg>
        <pc:spChg chg="mod">
          <ac:chgData name="Liz Brown" userId="cca18a2c-ec13-4cb5-bb2e-e485438d5f06" providerId="ADAL" clId="{EE2E5326-4291-EC4B-B504-7C2C5E7B8B86}" dt="2021-12-22T12:38:41.165" v="913" actId="14100"/>
          <ac:spMkLst>
            <pc:docMk/>
            <pc:sldMk cId="4288719239" sldId="2147374240"/>
            <ac:spMk id="44" creationId="{94F77078-9FB8-334E-9C10-E9F04E16BBA7}"/>
          </ac:spMkLst>
        </pc:spChg>
        <pc:spChg chg="mod">
          <ac:chgData name="Liz Brown" userId="cca18a2c-ec13-4cb5-bb2e-e485438d5f06" providerId="ADAL" clId="{EE2E5326-4291-EC4B-B504-7C2C5E7B8B86}" dt="2021-12-22T12:38:48.414" v="915" actId="1076"/>
          <ac:spMkLst>
            <pc:docMk/>
            <pc:sldMk cId="4288719239" sldId="2147374240"/>
            <ac:spMk id="48" creationId="{A64AE93D-4341-5940-88E2-777BF375B524}"/>
          </ac:spMkLst>
        </pc:spChg>
        <pc:spChg chg="mod">
          <ac:chgData name="Liz Brown" userId="cca18a2c-ec13-4cb5-bb2e-e485438d5f06" providerId="ADAL" clId="{EE2E5326-4291-EC4B-B504-7C2C5E7B8B86}" dt="2021-12-22T12:39:08.984" v="931" actId="1076"/>
          <ac:spMkLst>
            <pc:docMk/>
            <pc:sldMk cId="4288719239" sldId="2147374240"/>
            <ac:spMk id="49" creationId="{EB12C5EA-D5E9-6642-B105-31F682D36F5D}"/>
          </ac:spMkLst>
        </pc:spChg>
        <pc:spChg chg="del">
          <ac:chgData name="Liz Brown" userId="cca18a2c-ec13-4cb5-bb2e-e485438d5f06" providerId="ADAL" clId="{EE2E5326-4291-EC4B-B504-7C2C5E7B8B86}" dt="2021-12-22T12:38:34.581" v="911" actId="478"/>
          <ac:spMkLst>
            <pc:docMk/>
            <pc:sldMk cId="4288719239" sldId="2147374240"/>
            <ac:spMk id="51" creationId="{390FA1DD-16DF-2E48-8A6B-AA33E10B0B14}"/>
          </ac:spMkLst>
        </pc:spChg>
        <pc:spChg chg="del">
          <ac:chgData name="Liz Brown" userId="cca18a2c-ec13-4cb5-bb2e-e485438d5f06" providerId="ADAL" clId="{EE2E5326-4291-EC4B-B504-7C2C5E7B8B86}" dt="2021-12-22T12:38:37.431" v="912" actId="478"/>
          <ac:spMkLst>
            <pc:docMk/>
            <pc:sldMk cId="4288719239" sldId="2147374240"/>
            <ac:spMk id="52" creationId="{C37DDBA5-5D7E-DA48-82EE-A53F018A0B51}"/>
          </ac:spMkLst>
        </pc:spChg>
        <pc:picChg chg="mod">
          <ac:chgData name="Liz Brown" userId="cca18a2c-ec13-4cb5-bb2e-e485438d5f06" providerId="ADAL" clId="{EE2E5326-4291-EC4B-B504-7C2C5E7B8B86}" dt="2021-12-22T12:39:08.984" v="931" actId="1076"/>
          <ac:picMkLst>
            <pc:docMk/>
            <pc:sldMk cId="4288719239" sldId="2147374240"/>
            <ac:picMk id="45" creationId="{948F28F6-61E2-7243-997A-555466F62827}"/>
          </ac:picMkLst>
        </pc:picChg>
        <pc:picChg chg="mod">
          <ac:chgData name="Liz Brown" userId="cca18a2c-ec13-4cb5-bb2e-e485438d5f06" providerId="ADAL" clId="{EE2E5326-4291-EC4B-B504-7C2C5E7B8B86}" dt="2021-12-22T12:38:43.786" v="914" actId="1076"/>
          <ac:picMkLst>
            <pc:docMk/>
            <pc:sldMk cId="4288719239" sldId="2147374240"/>
            <ac:picMk id="46" creationId="{6BA8DE75-D227-DB40-A572-28050B78841A}"/>
          </ac:picMkLst>
        </pc:picChg>
        <pc:cxnChg chg="mod">
          <ac:chgData name="Liz Brown" userId="cca18a2c-ec13-4cb5-bb2e-e485438d5f06" providerId="ADAL" clId="{EE2E5326-4291-EC4B-B504-7C2C5E7B8B86}" dt="2021-12-22T12:38:52.666" v="917" actId="1076"/>
          <ac:cxnSpMkLst>
            <pc:docMk/>
            <pc:sldMk cId="4288719239" sldId="2147374240"/>
            <ac:cxnSpMk id="29" creationId="{614F206B-05A2-7C4C-95E4-28B2D9B67F64}"/>
          </ac:cxnSpMkLst>
        </pc:cxnChg>
        <pc:cxnChg chg="del">
          <ac:chgData name="Liz Brown" userId="cca18a2c-ec13-4cb5-bb2e-e485438d5f06" providerId="ADAL" clId="{EE2E5326-4291-EC4B-B504-7C2C5E7B8B86}" dt="2021-12-22T12:38:55.881" v="918" actId="478"/>
          <ac:cxnSpMkLst>
            <pc:docMk/>
            <pc:sldMk cId="4288719239" sldId="2147374240"/>
            <ac:cxnSpMk id="37" creationId="{B762DF57-84A7-E447-9663-FFF81F2335B2}"/>
          </ac:cxnSpMkLst>
        </pc:cxnChg>
      </pc:sldChg>
      <pc:sldChg chg="modSp mod addCm">
        <pc:chgData name="Liz Brown" userId="cca18a2c-ec13-4cb5-bb2e-e485438d5f06" providerId="ADAL" clId="{EE2E5326-4291-EC4B-B504-7C2C5E7B8B86}" dt="2021-12-23T13:08:42.243" v="1945"/>
        <pc:sldMkLst>
          <pc:docMk/>
          <pc:sldMk cId="2319724506" sldId="2147374245"/>
        </pc:sldMkLst>
        <pc:spChg chg="mod">
          <ac:chgData name="Liz Brown" userId="cca18a2c-ec13-4cb5-bb2e-e485438d5f06" providerId="ADAL" clId="{EE2E5326-4291-EC4B-B504-7C2C5E7B8B86}" dt="2021-12-23T13:07:45.940" v="1923" actId="12"/>
          <ac:spMkLst>
            <pc:docMk/>
            <pc:sldMk cId="2319724506" sldId="2147374245"/>
            <ac:spMk id="21" creationId="{A304E711-3C9F-5048-87C2-367B868CA4C9}"/>
          </ac:spMkLst>
        </pc:spChg>
        <pc:spChg chg="mod">
          <ac:chgData name="Liz Brown" userId="cca18a2c-ec13-4cb5-bb2e-e485438d5f06" providerId="ADAL" clId="{EE2E5326-4291-EC4B-B504-7C2C5E7B8B86}" dt="2021-12-23T13:08:14.707" v="1944" actId="13926"/>
          <ac:spMkLst>
            <pc:docMk/>
            <pc:sldMk cId="2319724506" sldId="2147374245"/>
            <ac:spMk id="22" creationId="{6B47840B-56F0-5440-A0A4-30994039B249}"/>
          </ac:spMkLst>
        </pc:spChg>
        <pc:spChg chg="mod">
          <ac:chgData name="Liz Brown" userId="cca18a2c-ec13-4cb5-bb2e-e485438d5f06" providerId="ADAL" clId="{EE2E5326-4291-EC4B-B504-7C2C5E7B8B86}" dt="2021-12-23T13:04:42.082" v="1807" actId="20577"/>
          <ac:spMkLst>
            <pc:docMk/>
            <pc:sldMk cId="2319724506" sldId="2147374245"/>
            <ac:spMk id="27" creationId="{4EFAD1A4-9034-8448-A693-CCB4220B8B5E}"/>
          </ac:spMkLst>
        </pc:spChg>
        <pc:spChg chg="mod">
          <ac:chgData name="Liz Brown" userId="cca18a2c-ec13-4cb5-bb2e-e485438d5f06" providerId="ADAL" clId="{EE2E5326-4291-EC4B-B504-7C2C5E7B8B86}" dt="2021-12-23T13:05:32.829" v="1851" actId="20577"/>
          <ac:spMkLst>
            <pc:docMk/>
            <pc:sldMk cId="2319724506" sldId="2147374245"/>
            <ac:spMk id="51" creationId="{390FA1DD-16DF-2E48-8A6B-AA33E10B0B14}"/>
          </ac:spMkLst>
        </pc:spChg>
      </pc:sldChg>
      <pc:sldChg chg="modSp mod addCm">
        <pc:chgData name="Liz Brown" userId="cca18a2c-ec13-4cb5-bb2e-e485438d5f06" providerId="ADAL" clId="{EE2E5326-4291-EC4B-B504-7C2C5E7B8B86}" dt="2021-12-23T13:12:31.706" v="2070" actId="113"/>
        <pc:sldMkLst>
          <pc:docMk/>
          <pc:sldMk cId="2554591005" sldId="2147374246"/>
        </pc:sldMkLst>
        <pc:spChg chg="mod">
          <ac:chgData name="Liz Brown" userId="cca18a2c-ec13-4cb5-bb2e-e485438d5f06" providerId="ADAL" clId="{EE2E5326-4291-EC4B-B504-7C2C5E7B8B86}" dt="2021-12-23T13:11:04.106" v="2066" actId="1076"/>
          <ac:spMkLst>
            <pc:docMk/>
            <pc:sldMk cId="2554591005" sldId="2147374246"/>
            <ac:spMk id="40" creationId="{E1C0E2C8-7B47-E548-A07D-68D7A4F22BA7}"/>
          </ac:spMkLst>
        </pc:spChg>
        <pc:spChg chg="mod">
          <ac:chgData name="Liz Brown" userId="cca18a2c-ec13-4cb5-bb2e-e485438d5f06" providerId="ADAL" clId="{EE2E5326-4291-EC4B-B504-7C2C5E7B8B86}" dt="2021-12-23T13:12:31.706" v="2070" actId="113"/>
          <ac:spMkLst>
            <pc:docMk/>
            <pc:sldMk cId="2554591005" sldId="2147374246"/>
            <ac:spMk id="51" creationId="{390FA1DD-16DF-2E48-8A6B-AA33E10B0B14}"/>
          </ac:spMkLst>
        </pc:spChg>
      </pc:sldChg>
    </pc:docChg>
  </pc:docChgLst>
  <pc:docChgLst>
    <pc:chgData name="Nick Robinson" userId="d0c2b313-4ae0-4040-8c6a-fec7a720a7b5" providerId="ADAL" clId="{CDFDE331-7314-E341-B462-F97D1AAA110B}"/>
    <pc:docChg chg="undo custSel delSld modSld modSection">
      <pc:chgData name="Nick Robinson" userId="d0c2b313-4ae0-4040-8c6a-fec7a720a7b5" providerId="ADAL" clId="{CDFDE331-7314-E341-B462-F97D1AAA110B}" dt="2022-01-10T16:32:27.902" v="366" actId="20577"/>
      <pc:docMkLst>
        <pc:docMk/>
      </pc:docMkLst>
      <pc:sldChg chg="modSp mod">
        <pc:chgData name="Nick Robinson" userId="d0c2b313-4ae0-4040-8c6a-fec7a720a7b5" providerId="ADAL" clId="{CDFDE331-7314-E341-B462-F97D1AAA110B}" dt="2022-01-10T13:01:38.755" v="256" actId="1038"/>
        <pc:sldMkLst>
          <pc:docMk/>
          <pc:sldMk cId="3899156713" sldId="500"/>
        </pc:sldMkLst>
        <pc:picChg chg="mod">
          <ac:chgData name="Nick Robinson" userId="d0c2b313-4ae0-4040-8c6a-fec7a720a7b5" providerId="ADAL" clId="{CDFDE331-7314-E341-B462-F97D1AAA110B}" dt="2022-01-10T13:01:38.755" v="256" actId="1038"/>
          <ac:picMkLst>
            <pc:docMk/>
            <pc:sldMk cId="3899156713" sldId="500"/>
            <ac:picMk id="10" creationId="{5B989DD5-C24F-F94E-BAC6-26FB054A0200}"/>
          </ac:picMkLst>
        </pc:picChg>
      </pc:sldChg>
      <pc:sldChg chg="modSp mod">
        <pc:chgData name="Nick Robinson" userId="d0c2b313-4ae0-4040-8c6a-fec7a720a7b5" providerId="ADAL" clId="{CDFDE331-7314-E341-B462-F97D1AAA110B}" dt="2022-01-10T11:11:34.664" v="12" actId="20577"/>
        <pc:sldMkLst>
          <pc:docMk/>
          <pc:sldMk cId="957403761" sldId="2145708065"/>
        </pc:sldMkLst>
        <pc:graphicFrameChg chg="modGraphic">
          <ac:chgData name="Nick Robinson" userId="d0c2b313-4ae0-4040-8c6a-fec7a720a7b5" providerId="ADAL" clId="{CDFDE331-7314-E341-B462-F97D1AAA110B}" dt="2022-01-10T11:11:34.664" v="12" actId="20577"/>
          <ac:graphicFrameMkLst>
            <pc:docMk/>
            <pc:sldMk cId="957403761" sldId="2145708065"/>
            <ac:graphicFrameMk id="2" creationId="{C936049E-4494-6547-93D5-77CC5AD22A24}"/>
          </ac:graphicFrameMkLst>
        </pc:graphicFrameChg>
      </pc:sldChg>
      <pc:sldChg chg="modSp mod">
        <pc:chgData name="Nick Robinson" userId="d0c2b313-4ae0-4040-8c6a-fec7a720a7b5" providerId="ADAL" clId="{CDFDE331-7314-E341-B462-F97D1AAA110B}" dt="2022-01-10T11:16:04.927" v="255" actId="20577"/>
        <pc:sldMkLst>
          <pc:docMk/>
          <pc:sldMk cId="2439348659" sldId="2145708069"/>
        </pc:sldMkLst>
        <pc:graphicFrameChg chg="modGraphic">
          <ac:chgData name="Nick Robinson" userId="d0c2b313-4ae0-4040-8c6a-fec7a720a7b5" providerId="ADAL" clId="{CDFDE331-7314-E341-B462-F97D1AAA110B}" dt="2022-01-10T11:16:04.927" v="255" actId="20577"/>
          <ac:graphicFrameMkLst>
            <pc:docMk/>
            <pc:sldMk cId="2439348659" sldId="2145708069"/>
            <ac:graphicFrameMk id="4" creationId="{D648F469-9FD3-4446-BE3D-9571E81B47CF}"/>
          </ac:graphicFrameMkLst>
        </pc:graphicFrameChg>
      </pc:sldChg>
      <pc:sldChg chg="modSp mod">
        <pc:chgData name="Nick Robinson" userId="d0c2b313-4ae0-4040-8c6a-fec7a720a7b5" providerId="ADAL" clId="{CDFDE331-7314-E341-B462-F97D1AAA110B}" dt="2022-01-10T11:14:12.656" v="132" actId="113"/>
        <pc:sldMkLst>
          <pc:docMk/>
          <pc:sldMk cId="1291217972" sldId="2145708081"/>
        </pc:sldMkLst>
        <pc:spChg chg="mod">
          <ac:chgData name="Nick Robinson" userId="d0c2b313-4ae0-4040-8c6a-fec7a720a7b5" providerId="ADAL" clId="{CDFDE331-7314-E341-B462-F97D1AAA110B}" dt="2022-01-10T11:11:42.119" v="13" actId="20578"/>
          <ac:spMkLst>
            <pc:docMk/>
            <pc:sldMk cId="1291217972" sldId="2145708081"/>
            <ac:spMk id="7" creationId="{892E9E0C-01FC-1740-9B08-C381AC69FDD1}"/>
          </ac:spMkLst>
        </pc:spChg>
        <pc:spChg chg="mod">
          <ac:chgData name="Nick Robinson" userId="d0c2b313-4ae0-4040-8c6a-fec7a720a7b5" providerId="ADAL" clId="{CDFDE331-7314-E341-B462-F97D1AAA110B}" dt="2022-01-10T11:14:12.656" v="132" actId="113"/>
          <ac:spMkLst>
            <pc:docMk/>
            <pc:sldMk cId="1291217972" sldId="2145708081"/>
            <ac:spMk id="20" creationId="{F250A382-7342-3346-864D-36D4AD8152D1}"/>
          </ac:spMkLst>
        </pc:spChg>
        <pc:spChg chg="mod">
          <ac:chgData name="Nick Robinson" userId="d0c2b313-4ae0-4040-8c6a-fec7a720a7b5" providerId="ADAL" clId="{CDFDE331-7314-E341-B462-F97D1AAA110B}" dt="2022-01-10T11:11:24.651" v="8" actId="20577"/>
          <ac:spMkLst>
            <pc:docMk/>
            <pc:sldMk cId="1291217972" sldId="2145708081"/>
            <ac:spMk id="24" creationId="{71660C57-FF23-C648-B333-F05E77884992}"/>
          </ac:spMkLst>
        </pc:spChg>
      </pc:sldChg>
      <pc:sldChg chg="modSp mod">
        <pc:chgData name="Nick Robinson" userId="d0c2b313-4ae0-4040-8c6a-fec7a720a7b5" providerId="ADAL" clId="{CDFDE331-7314-E341-B462-F97D1AAA110B}" dt="2022-01-10T11:11:11.489" v="4" actId="20577"/>
        <pc:sldMkLst>
          <pc:docMk/>
          <pc:sldMk cId="2988138454" sldId="2147374160"/>
        </pc:sldMkLst>
        <pc:graphicFrameChg chg="modGraphic">
          <ac:chgData name="Nick Robinson" userId="d0c2b313-4ae0-4040-8c6a-fec7a720a7b5" providerId="ADAL" clId="{CDFDE331-7314-E341-B462-F97D1AAA110B}" dt="2022-01-10T11:11:11.489" v="4" actId="20577"/>
          <ac:graphicFrameMkLst>
            <pc:docMk/>
            <pc:sldMk cId="2988138454" sldId="2147374160"/>
            <ac:graphicFrameMk id="26" creationId="{B868C0AB-3D2C-4647-A123-6629F1806D7E}"/>
          </ac:graphicFrameMkLst>
        </pc:graphicFrameChg>
      </pc:sldChg>
      <pc:sldChg chg="modSp mod">
        <pc:chgData name="Nick Robinson" userId="d0c2b313-4ae0-4040-8c6a-fec7a720a7b5" providerId="ADAL" clId="{CDFDE331-7314-E341-B462-F97D1AAA110B}" dt="2022-01-10T11:12:50.633" v="14" actId="6549"/>
        <pc:sldMkLst>
          <pc:docMk/>
          <pc:sldMk cId="2512054534" sldId="2147374167"/>
        </pc:sldMkLst>
        <pc:graphicFrameChg chg="modGraphic">
          <ac:chgData name="Nick Robinson" userId="d0c2b313-4ae0-4040-8c6a-fec7a720a7b5" providerId="ADAL" clId="{CDFDE331-7314-E341-B462-F97D1AAA110B}" dt="2022-01-10T11:12:50.633" v="14" actId="6549"/>
          <ac:graphicFrameMkLst>
            <pc:docMk/>
            <pc:sldMk cId="2512054534" sldId="2147374167"/>
            <ac:graphicFrameMk id="26" creationId="{B868C0AB-3D2C-4647-A123-6629F1806D7E}"/>
          </ac:graphicFrameMkLst>
        </pc:graphicFrameChg>
      </pc:sldChg>
      <pc:sldChg chg="modSp">
        <pc:chgData name="Nick Robinson" userId="d0c2b313-4ae0-4040-8c6a-fec7a720a7b5" providerId="ADAL" clId="{CDFDE331-7314-E341-B462-F97D1AAA110B}" dt="2022-01-10T16:14:17.631" v="337"/>
        <pc:sldMkLst>
          <pc:docMk/>
          <pc:sldMk cId="4058638082" sldId="2147374209"/>
        </pc:sldMkLst>
        <pc:graphicFrameChg chg="mod">
          <ac:chgData name="Nick Robinson" userId="d0c2b313-4ae0-4040-8c6a-fec7a720a7b5" providerId="ADAL" clId="{CDFDE331-7314-E341-B462-F97D1AAA110B}" dt="2022-01-10T16:14:17.631" v="337"/>
          <ac:graphicFrameMkLst>
            <pc:docMk/>
            <pc:sldMk cId="4058638082" sldId="2147374209"/>
            <ac:graphicFrameMk id="5" creationId="{1F73E11B-085A-AD47-B820-F62CD6BB7304}"/>
          </ac:graphicFrameMkLst>
        </pc:graphicFrameChg>
      </pc:sldChg>
      <pc:sldChg chg="modSp">
        <pc:chgData name="Nick Robinson" userId="d0c2b313-4ae0-4040-8c6a-fec7a720a7b5" providerId="ADAL" clId="{CDFDE331-7314-E341-B462-F97D1AAA110B}" dt="2022-01-10T16:14:27.885" v="338"/>
        <pc:sldMkLst>
          <pc:docMk/>
          <pc:sldMk cId="901545591" sldId="2147374213"/>
        </pc:sldMkLst>
        <pc:graphicFrameChg chg="mod">
          <ac:chgData name="Nick Robinson" userId="d0c2b313-4ae0-4040-8c6a-fec7a720a7b5" providerId="ADAL" clId="{CDFDE331-7314-E341-B462-F97D1AAA110B}" dt="2022-01-10T16:14:27.885" v="338"/>
          <ac:graphicFrameMkLst>
            <pc:docMk/>
            <pc:sldMk cId="901545591" sldId="2147374213"/>
            <ac:graphicFrameMk id="5" creationId="{1F73E11B-085A-AD47-B820-F62CD6BB7304}"/>
          </ac:graphicFrameMkLst>
        </pc:graphicFrameChg>
      </pc:sldChg>
      <pc:sldChg chg="modSp mod">
        <pc:chgData name="Nick Robinson" userId="d0c2b313-4ae0-4040-8c6a-fec7a720a7b5" providerId="ADAL" clId="{CDFDE331-7314-E341-B462-F97D1AAA110B}" dt="2022-01-10T16:30:14.402" v="354" actId="21"/>
        <pc:sldMkLst>
          <pc:docMk/>
          <pc:sldMk cId="1454324657" sldId="2147374215"/>
        </pc:sldMkLst>
        <pc:graphicFrameChg chg="modGraphic">
          <ac:chgData name="Nick Robinson" userId="d0c2b313-4ae0-4040-8c6a-fec7a720a7b5" providerId="ADAL" clId="{CDFDE331-7314-E341-B462-F97D1AAA110B}" dt="2022-01-10T16:30:14.402" v="354" actId="21"/>
          <ac:graphicFrameMkLst>
            <pc:docMk/>
            <pc:sldMk cId="1454324657" sldId="2147374215"/>
            <ac:graphicFrameMk id="5" creationId="{1F73E11B-085A-AD47-B820-F62CD6BB7304}"/>
          </ac:graphicFrameMkLst>
        </pc:graphicFrameChg>
      </pc:sldChg>
      <pc:sldChg chg="addSp delSp modSp mod">
        <pc:chgData name="Nick Robinson" userId="d0c2b313-4ae0-4040-8c6a-fec7a720a7b5" providerId="ADAL" clId="{CDFDE331-7314-E341-B462-F97D1AAA110B}" dt="2022-01-10T16:14:42.292" v="340"/>
        <pc:sldMkLst>
          <pc:docMk/>
          <pc:sldMk cId="312590947" sldId="2147374226"/>
        </pc:sldMkLst>
        <pc:graphicFrameChg chg="del">
          <ac:chgData name="Nick Robinson" userId="d0c2b313-4ae0-4040-8c6a-fec7a720a7b5" providerId="ADAL" clId="{CDFDE331-7314-E341-B462-F97D1AAA110B}" dt="2022-01-10T16:14:32.837" v="339" actId="478"/>
          <ac:graphicFrameMkLst>
            <pc:docMk/>
            <pc:sldMk cId="312590947" sldId="2147374226"/>
            <ac:graphicFrameMk id="5" creationId="{1F73E11B-085A-AD47-B820-F62CD6BB7304}"/>
          </ac:graphicFrameMkLst>
        </pc:graphicFrameChg>
        <pc:graphicFrameChg chg="add mod">
          <ac:chgData name="Nick Robinson" userId="d0c2b313-4ae0-4040-8c6a-fec7a720a7b5" providerId="ADAL" clId="{CDFDE331-7314-E341-B462-F97D1AAA110B}" dt="2022-01-10T16:14:42.292" v="340"/>
          <ac:graphicFrameMkLst>
            <pc:docMk/>
            <pc:sldMk cId="312590947" sldId="2147374226"/>
            <ac:graphicFrameMk id="13" creationId="{E9F8E9DB-090C-814A-BE9A-E171BC112FA3}"/>
          </ac:graphicFrameMkLst>
        </pc:graphicFrameChg>
      </pc:sldChg>
      <pc:sldChg chg="modSp mod">
        <pc:chgData name="Nick Robinson" userId="d0c2b313-4ae0-4040-8c6a-fec7a720a7b5" providerId="ADAL" clId="{CDFDE331-7314-E341-B462-F97D1AAA110B}" dt="2022-01-10T16:13:58.992" v="336" actId="313"/>
        <pc:sldMkLst>
          <pc:docMk/>
          <pc:sldMk cId="2480481558" sldId="2147374232"/>
        </pc:sldMkLst>
        <pc:graphicFrameChg chg="modGraphic">
          <ac:chgData name="Nick Robinson" userId="d0c2b313-4ae0-4040-8c6a-fec7a720a7b5" providerId="ADAL" clId="{CDFDE331-7314-E341-B462-F97D1AAA110B}" dt="2022-01-10T16:13:58.992" v="336" actId="313"/>
          <ac:graphicFrameMkLst>
            <pc:docMk/>
            <pc:sldMk cId="2480481558" sldId="2147374232"/>
            <ac:graphicFrameMk id="14" creationId="{F0D1BDF9-E36C-BC44-94C4-D1BCB2170E63}"/>
          </ac:graphicFrameMkLst>
        </pc:graphicFrameChg>
      </pc:sldChg>
      <pc:sldChg chg="modSp mod">
        <pc:chgData name="Nick Robinson" userId="d0c2b313-4ae0-4040-8c6a-fec7a720a7b5" providerId="ADAL" clId="{CDFDE331-7314-E341-B462-F97D1AAA110B}" dt="2022-01-10T16:31:54.439" v="356" actId="20577"/>
        <pc:sldMkLst>
          <pc:docMk/>
          <pc:sldMk cId="3413238529" sldId="2147374241"/>
        </pc:sldMkLst>
        <pc:spChg chg="mod">
          <ac:chgData name="Nick Robinson" userId="d0c2b313-4ae0-4040-8c6a-fec7a720a7b5" providerId="ADAL" clId="{CDFDE331-7314-E341-B462-F97D1AAA110B}" dt="2022-01-10T16:31:54.439" v="356" actId="20577"/>
          <ac:spMkLst>
            <pc:docMk/>
            <pc:sldMk cId="3413238529" sldId="2147374241"/>
            <ac:spMk id="63" creationId="{90C3E5E6-1C54-114D-BC6F-3A7C14C202D4}"/>
          </ac:spMkLst>
        </pc:spChg>
      </pc:sldChg>
      <pc:sldChg chg="modSp mod">
        <pc:chgData name="Nick Robinson" userId="d0c2b313-4ae0-4040-8c6a-fec7a720a7b5" providerId="ADAL" clId="{CDFDE331-7314-E341-B462-F97D1AAA110B}" dt="2022-01-10T16:32:17.317" v="362" actId="20577"/>
        <pc:sldMkLst>
          <pc:docMk/>
          <pc:sldMk cId="2554591005" sldId="2147374246"/>
        </pc:sldMkLst>
        <pc:spChg chg="mod">
          <ac:chgData name="Nick Robinson" userId="d0c2b313-4ae0-4040-8c6a-fec7a720a7b5" providerId="ADAL" clId="{CDFDE331-7314-E341-B462-F97D1AAA110B}" dt="2022-01-10T16:32:10.519" v="358" actId="20577"/>
          <ac:spMkLst>
            <pc:docMk/>
            <pc:sldMk cId="2554591005" sldId="2147374246"/>
            <ac:spMk id="22" creationId="{6B47840B-56F0-5440-A0A4-30994039B249}"/>
          </ac:spMkLst>
        </pc:spChg>
        <pc:spChg chg="mod">
          <ac:chgData name="Nick Robinson" userId="d0c2b313-4ae0-4040-8c6a-fec7a720a7b5" providerId="ADAL" clId="{CDFDE331-7314-E341-B462-F97D1AAA110B}" dt="2022-01-10T16:32:17.317" v="362" actId="20577"/>
          <ac:spMkLst>
            <pc:docMk/>
            <pc:sldMk cId="2554591005" sldId="2147374246"/>
            <ac:spMk id="51" creationId="{390FA1DD-16DF-2E48-8A6B-AA33E10B0B14}"/>
          </ac:spMkLst>
        </pc:spChg>
      </pc:sldChg>
      <pc:sldChg chg="modSp mod">
        <pc:chgData name="Nick Robinson" userId="d0c2b313-4ae0-4040-8c6a-fec7a720a7b5" providerId="ADAL" clId="{CDFDE331-7314-E341-B462-F97D1AAA110B}" dt="2022-01-10T16:32:27.902" v="366" actId="20577"/>
        <pc:sldMkLst>
          <pc:docMk/>
          <pc:sldMk cId="3460546903" sldId="2147374253"/>
        </pc:sldMkLst>
        <pc:spChg chg="mod">
          <ac:chgData name="Nick Robinson" userId="d0c2b313-4ae0-4040-8c6a-fec7a720a7b5" providerId="ADAL" clId="{CDFDE331-7314-E341-B462-F97D1AAA110B}" dt="2022-01-10T16:32:27.902" v="366" actId="20577"/>
          <ac:spMkLst>
            <pc:docMk/>
            <pc:sldMk cId="3460546903" sldId="2147374253"/>
            <ac:spMk id="22" creationId="{6B47840B-56F0-5440-A0A4-30994039B249}"/>
          </ac:spMkLst>
        </pc:spChg>
        <pc:spChg chg="mod">
          <ac:chgData name="Nick Robinson" userId="d0c2b313-4ae0-4040-8c6a-fec7a720a7b5" providerId="ADAL" clId="{CDFDE331-7314-E341-B462-F97D1AAA110B}" dt="2022-01-10T16:32:24.633" v="364" actId="20577"/>
          <ac:spMkLst>
            <pc:docMk/>
            <pc:sldMk cId="3460546903" sldId="2147374253"/>
            <ac:spMk id="51" creationId="{390FA1DD-16DF-2E48-8A6B-AA33E10B0B14}"/>
          </ac:spMkLst>
        </pc:spChg>
      </pc:sldChg>
      <pc:sldChg chg="addSp delSp modSp mod">
        <pc:chgData name="Nick Robinson" userId="d0c2b313-4ae0-4040-8c6a-fec7a720a7b5" providerId="ADAL" clId="{CDFDE331-7314-E341-B462-F97D1AAA110B}" dt="2022-01-10T16:15:34.723" v="352" actId="20577"/>
        <pc:sldMkLst>
          <pc:docMk/>
          <pc:sldMk cId="799749972" sldId="2147374258"/>
        </pc:sldMkLst>
        <pc:graphicFrameChg chg="del">
          <ac:chgData name="Nick Robinson" userId="d0c2b313-4ae0-4040-8c6a-fec7a720a7b5" providerId="ADAL" clId="{CDFDE331-7314-E341-B462-F97D1AAA110B}" dt="2022-01-10T16:14:49.372" v="341" actId="478"/>
          <ac:graphicFrameMkLst>
            <pc:docMk/>
            <pc:sldMk cId="799749972" sldId="2147374258"/>
            <ac:graphicFrameMk id="5" creationId="{1F73E11B-085A-AD47-B820-F62CD6BB7304}"/>
          </ac:graphicFrameMkLst>
        </pc:graphicFrameChg>
        <pc:graphicFrameChg chg="add mod modGraphic">
          <ac:chgData name="Nick Robinson" userId="d0c2b313-4ae0-4040-8c6a-fec7a720a7b5" providerId="ADAL" clId="{CDFDE331-7314-E341-B462-F97D1AAA110B}" dt="2022-01-10T16:15:34.723" v="352" actId="20577"/>
          <ac:graphicFrameMkLst>
            <pc:docMk/>
            <pc:sldMk cId="799749972" sldId="2147374258"/>
            <ac:graphicFrameMk id="10" creationId="{48A41CB2-D504-AF41-A089-E9085C3E92C9}"/>
          </ac:graphicFrameMkLst>
        </pc:graphicFrameChg>
      </pc:sldChg>
      <pc:sldChg chg="del">
        <pc:chgData name="Nick Robinson" userId="d0c2b313-4ae0-4040-8c6a-fec7a720a7b5" providerId="ADAL" clId="{CDFDE331-7314-E341-B462-F97D1AAA110B}" dt="2022-01-10T09:54:45.449" v="0" actId="2696"/>
        <pc:sldMkLst>
          <pc:docMk/>
          <pc:sldMk cId="3777173687" sldId="2147374260"/>
        </pc:sldMkLst>
      </pc:sldChg>
    </pc:docChg>
  </pc:docChgLst>
  <pc:docChgLst>
    <pc:chgData name="Nick Robinson" userId="d0c2b313-4ae0-4040-8c6a-fec7a720a7b5" providerId="ADAL" clId="{190131DE-6250-C84F-B491-721E6CF30BCB}"/>
    <pc:docChg chg="undo custSel addSld delSld modSld sldOrd delMainMaster modMainMaster">
      <pc:chgData name="Nick Robinson" userId="d0c2b313-4ae0-4040-8c6a-fec7a720a7b5" providerId="ADAL" clId="{190131DE-6250-C84F-B491-721E6CF30BCB}" dt="2021-12-23T16:07:38.310" v="44726" actId="20577"/>
      <pc:docMkLst>
        <pc:docMk/>
      </pc:docMkLst>
      <pc:sldChg chg="modSp mod">
        <pc:chgData name="Nick Robinson" userId="d0c2b313-4ae0-4040-8c6a-fec7a720a7b5" providerId="ADAL" clId="{190131DE-6250-C84F-B491-721E6CF30BCB}" dt="2021-12-21T14:05:54.738" v="24099" actId="20577"/>
        <pc:sldMkLst>
          <pc:docMk/>
          <pc:sldMk cId="3899156713" sldId="500"/>
        </pc:sldMkLst>
        <pc:spChg chg="mod">
          <ac:chgData name="Nick Robinson" userId="d0c2b313-4ae0-4040-8c6a-fec7a720a7b5" providerId="ADAL" clId="{190131DE-6250-C84F-B491-721E6CF30BCB}" dt="2021-12-21T11:05:04.240" v="22227" actId="6549"/>
          <ac:spMkLst>
            <pc:docMk/>
            <pc:sldMk cId="3899156713" sldId="500"/>
            <ac:spMk id="8" creationId="{77BFE849-4BB6-1245-8013-9EC80472DD21}"/>
          </ac:spMkLst>
        </pc:spChg>
        <pc:spChg chg="mod">
          <ac:chgData name="Nick Robinson" userId="d0c2b313-4ae0-4040-8c6a-fec7a720a7b5" providerId="ADAL" clId="{190131DE-6250-C84F-B491-721E6CF30BCB}" dt="2021-12-21T14:05:54.738" v="24099" actId="20577"/>
          <ac:spMkLst>
            <pc:docMk/>
            <pc:sldMk cId="3899156713" sldId="500"/>
            <ac:spMk id="12" creationId="{00000000-0000-0000-0000-000000000000}"/>
          </ac:spMkLst>
        </pc:spChg>
        <pc:picChg chg="mod">
          <ac:chgData name="Nick Robinson" userId="d0c2b313-4ae0-4040-8c6a-fec7a720a7b5" providerId="ADAL" clId="{190131DE-6250-C84F-B491-721E6CF30BCB}" dt="2021-12-13T11:04:10.576" v="1" actId="14100"/>
          <ac:picMkLst>
            <pc:docMk/>
            <pc:sldMk cId="3899156713" sldId="500"/>
            <ac:picMk id="10" creationId="{5B989DD5-C24F-F94E-BAC6-26FB054A0200}"/>
          </ac:picMkLst>
        </pc:picChg>
      </pc:sldChg>
      <pc:sldChg chg="add del">
        <pc:chgData name="Nick Robinson" userId="d0c2b313-4ae0-4040-8c6a-fec7a720a7b5" providerId="ADAL" clId="{190131DE-6250-C84F-B491-721E6CF30BCB}" dt="2021-12-16T10:40:49.381" v="4289" actId="2696"/>
        <pc:sldMkLst>
          <pc:docMk/>
          <pc:sldMk cId="1438908625" sldId="2005"/>
        </pc:sldMkLst>
      </pc:sldChg>
      <pc:sldChg chg="del">
        <pc:chgData name="Nick Robinson" userId="d0c2b313-4ae0-4040-8c6a-fec7a720a7b5" providerId="ADAL" clId="{190131DE-6250-C84F-B491-721E6CF30BCB}" dt="2021-12-13T15:41:19.278" v="1261" actId="2696"/>
        <pc:sldMkLst>
          <pc:docMk/>
          <pc:sldMk cId="1921742160" sldId="2082"/>
        </pc:sldMkLst>
      </pc:sldChg>
      <pc:sldChg chg="modSp add del">
        <pc:chgData name="Nick Robinson" userId="d0c2b313-4ae0-4040-8c6a-fec7a720a7b5" providerId="ADAL" clId="{190131DE-6250-C84F-B491-721E6CF30BCB}" dt="2021-12-17T09:10:21.338" v="4353" actId="2696"/>
        <pc:sldMkLst>
          <pc:docMk/>
          <pc:sldMk cId="481473000" sldId="6634"/>
        </pc:sldMkLst>
        <pc:graphicFrameChg chg="mod">
          <ac:chgData name="Nick Robinson" userId="d0c2b313-4ae0-4040-8c6a-fec7a720a7b5" providerId="ADAL" clId="{190131DE-6250-C84F-B491-721E6CF30BCB}" dt="2021-12-17T09:08:59.248" v="4300"/>
          <ac:graphicFrameMkLst>
            <pc:docMk/>
            <pc:sldMk cId="481473000" sldId="6634"/>
            <ac:graphicFrameMk id="60" creationId="{E57B2759-793E-7448-8D40-7BD14B02C7A3}"/>
          </ac:graphicFrameMkLst>
        </pc:graphicFrameChg>
      </pc:sldChg>
      <pc:sldChg chg="modSp add del">
        <pc:chgData name="Nick Robinson" userId="d0c2b313-4ae0-4040-8c6a-fec7a720a7b5" providerId="ADAL" clId="{190131DE-6250-C84F-B491-721E6CF30BCB}" dt="2021-12-15T11:08:13.168" v="2697" actId="2696"/>
        <pc:sldMkLst>
          <pc:docMk/>
          <pc:sldMk cId="1066654818" sldId="6686"/>
        </pc:sldMkLst>
        <pc:graphicFrameChg chg="mod">
          <ac:chgData name="Nick Robinson" userId="d0c2b313-4ae0-4040-8c6a-fec7a720a7b5" providerId="ADAL" clId="{190131DE-6250-C84F-B491-721E6CF30BCB}" dt="2021-12-15T11:08:06.493" v="2696"/>
          <ac:graphicFrameMkLst>
            <pc:docMk/>
            <pc:sldMk cId="1066654818" sldId="6686"/>
            <ac:graphicFrameMk id="6" creationId="{BC1F783F-E768-6E4C-99F7-A3A15D6F6CD2}"/>
          </ac:graphicFrameMkLst>
        </pc:graphicFrameChg>
        <pc:graphicFrameChg chg="mod">
          <ac:chgData name="Nick Robinson" userId="d0c2b313-4ae0-4040-8c6a-fec7a720a7b5" providerId="ADAL" clId="{190131DE-6250-C84F-B491-721E6CF30BCB}" dt="2021-12-15T11:08:06.493" v="2696"/>
          <ac:graphicFrameMkLst>
            <pc:docMk/>
            <pc:sldMk cId="1066654818" sldId="6686"/>
            <ac:graphicFrameMk id="200" creationId="{E5FCFFAF-8C46-914D-A3A4-1E938D11133F}"/>
          </ac:graphicFrameMkLst>
        </pc:graphicFrameChg>
      </pc:sldChg>
      <pc:sldChg chg="modSp add">
        <pc:chgData name="Nick Robinson" userId="d0c2b313-4ae0-4040-8c6a-fec7a720a7b5" providerId="ADAL" clId="{190131DE-6250-C84F-B491-721E6CF30BCB}" dt="2021-12-21T11:38:07.195" v="22244"/>
        <pc:sldMkLst>
          <pc:docMk/>
          <pc:sldMk cId="1972466194" sldId="6690"/>
        </pc:sldMkLst>
        <pc:graphicFrameChg chg="mod">
          <ac:chgData name="Nick Robinson" userId="d0c2b313-4ae0-4040-8c6a-fec7a720a7b5" providerId="ADAL" clId="{190131DE-6250-C84F-B491-721E6CF30BCB}" dt="2021-12-21T11:38:07.195" v="22244"/>
          <ac:graphicFrameMkLst>
            <pc:docMk/>
            <pc:sldMk cId="1972466194" sldId="6690"/>
            <ac:graphicFrameMk id="55" creationId="{E80D17ED-CC0B-1343-9D25-D81B66E86171}"/>
          </ac:graphicFrameMkLst>
        </pc:graphicFrameChg>
      </pc:sldChg>
      <pc:sldChg chg="modSp add del mod modShow">
        <pc:chgData name="Nick Robinson" userId="d0c2b313-4ae0-4040-8c6a-fec7a720a7b5" providerId="ADAL" clId="{190131DE-6250-C84F-B491-721E6CF30BCB}" dt="2021-12-15T11:42:52.519" v="3092" actId="2696"/>
        <pc:sldMkLst>
          <pc:docMk/>
          <pc:sldMk cId="715044660" sldId="6722"/>
        </pc:sldMkLst>
        <pc:graphicFrameChg chg="mod">
          <ac:chgData name="Nick Robinson" userId="d0c2b313-4ae0-4040-8c6a-fec7a720a7b5" providerId="ADAL" clId="{190131DE-6250-C84F-B491-721E6CF30BCB}" dt="2021-12-13T11:08:44.557" v="345"/>
          <ac:graphicFrameMkLst>
            <pc:docMk/>
            <pc:sldMk cId="715044660" sldId="6722"/>
            <ac:graphicFrameMk id="56" creationId="{47673739-B512-974E-A94E-0FC6C1C31A65}"/>
          </ac:graphicFrameMkLst>
        </pc:graphicFrameChg>
      </pc:sldChg>
      <pc:sldChg chg="addSp delSp modSp add del mod modClrScheme chgLayout">
        <pc:chgData name="Nick Robinson" userId="d0c2b313-4ae0-4040-8c6a-fec7a720a7b5" providerId="ADAL" clId="{190131DE-6250-C84F-B491-721E6CF30BCB}" dt="2021-12-15T11:33:27.271" v="2965" actId="2696"/>
        <pc:sldMkLst>
          <pc:docMk/>
          <pc:sldMk cId="1652453697" sldId="6723"/>
        </pc:sldMkLst>
        <pc:spChg chg="mod ord">
          <ac:chgData name="Nick Robinson" userId="d0c2b313-4ae0-4040-8c6a-fec7a720a7b5" providerId="ADAL" clId="{190131DE-6250-C84F-B491-721E6CF30BCB}" dt="2021-12-15T10:37:16.476" v="2131" actId="700"/>
          <ac:spMkLst>
            <pc:docMk/>
            <pc:sldMk cId="1652453697" sldId="6723"/>
            <ac:spMk id="2" creationId="{59DEC116-37C7-704E-9AC2-6A54B687CD2C}"/>
          </ac:spMkLst>
        </pc:spChg>
        <pc:spChg chg="mod ord">
          <ac:chgData name="Nick Robinson" userId="d0c2b313-4ae0-4040-8c6a-fec7a720a7b5" providerId="ADAL" clId="{190131DE-6250-C84F-B491-721E6CF30BCB}" dt="2021-12-15T10:37:21.025" v="2132" actId="1076"/>
          <ac:spMkLst>
            <pc:docMk/>
            <pc:sldMk cId="1652453697" sldId="6723"/>
            <ac:spMk id="3" creationId="{5F6119B4-C9DC-9E4D-BEB3-EAC2B160BC0B}"/>
          </ac:spMkLst>
        </pc:spChg>
        <pc:spChg chg="add del mod ord">
          <ac:chgData name="Nick Robinson" userId="d0c2b313-4ae0-4040-8c6a-fec7a720a7b5" providerId="ADAL" clId="{190131DE-6250-C84F-B491-721E6CF30BCB}" dt="2021-12-15T10:37:23.475" v="2133" actId="478"/>
          <ac:spMkLst>
            <pc:docMk/>
            <pc:sldMk cId="1652453697" sldId="6723"/>
            <ac:spMk id="5" creationId="{99E9956E-D30C-044B-B99F-F1F557287605}"/>
          </ac:spMkLst>
        </pc:spChg>
        <pc:graphicFrameChg chg="mod">
          <ac:chgData name="Nick Robinson" userId="d0c2b313-4ae0-4040-8c6a-fec7a720a7b5" providerId="ADAL" clId="{190131DE-6250-C84F-B491-721E6CF30BCB}" dt="2021-12-15T10:37:07.913" v="2130"/>
          <ac:graphicFrameMkLst>
            <pc:docMk/>
            <pc:sldMk cId="1652453697" sldId="6723"/>
            <ac:graphicFrameMk id="180" creationId="{0BA9A4CA-89BA-1540-AAE0-948DF0DF707A}"/>
          </ac:graphicFrameMkLst>
        </pc:graphicFrameChg>
        <pc:graphicFrameChg chg="mod">
          <ac:chgData name="Nick Robinson" userId="d0c2b313-4ae0-4040-8c6a-fec7a720a7b5" providerId="ADAL" clId="{190131DE-6250-C84F-B491-721E6CF30BCB}" dt="2021-12-15T10:37:07.913" v="2130"/>
          <ac:graphicFrameMkLst>
            <pc:docMk/>
            <pc:sldMk cId="1652453697" sldId="6723"/>
            <ac:graphicFrameMk id="400" creationId="{CA6C62EF-9BAE-4544-9271-A5B6CB345C5B}"/>
          </ac:graphicFrameMkLst>
        </pc:graphicFrameChg>
      </pc:sldChg>
      <pc:sldChg chg="modSp add del">
        <pc:chgData name="Nick Robinson" userId="d0c2b313-4ae0-4040-8c6a-fec7a720a7b5" providerId="ADAL" clId="{190131DE-6250-C84F-B491-721E6CF30BCB}" dt="2021-12-13T15:33:23.813" v="1064" actId="2696"/>
        <pc:sldMkLst>
          <pc:docMk/>
          <pc:sldMk cId="1022692957" sldId="6726"/>
        </pc:sldMkLst>
        <pc:graphicFrameChg chg="mod">
          <ac:chgData name="Nick Robinson" userId="d0c2b313-4ae0-4040-8c6a-fec7a720a7b5" providerId="ADAL" clId="{190131DE-6250-C84F-B491-721E6CF30BCB}" dt="2021-12-13T15:33:17.246" v="1062"/>
          <ac:graphicFrameMkLst>
            <pc:docMk/>
            <pc:sldMk cId="1022692957" sldId="6726"/>
            <ac:graphicFrameMk id="4" creationId="{5902276E-8C4A-F34E-931A-87B9B721BD02}"/>
          </ac:graphicFrameMkLst>
        </pc:graphicFrameChg>
        <pc:graphicFrameChg chg="mod">
          <ac:chgData name="Nick Robinson" userId="d0c2b313-4ae0-4040-8c6a-fec7a720a7b5" providerId="ADAL" clId="{190131DE-6250-C84F-B491-721E6CF30BCB}" dt="2021-12-13T15:33:17.246" v="1062"/>
          <ac:graphicFrameMkLst>
            <pc:docMk/>
            <pc:sldMk cId="1022692957" sldId="6726"/>
            <ac:graphicFrameMk id="52" creationId="{14216A27-1379-A04A-AC31-D8B254EB4E2F}"/>
          </ac:graphicFrameMkLst>
        </pc:graphicFrameChg>
      </pc:sldChg>
      <pc:sldChg chg="modSp add del mod">
        <pc:chgData name="Nick Robinson" userId="d0c2b313-4ae0-4040-8c6a-fec7a720a7b5" providerId="ADAL" clId="{190131DE-6250-C84F-B491-721E6CF30BCB}" dt="2021-12-15T11:10:50.016" v="2723" actId="2696"/>
        <pc:sldMkLst>
          <pc:docMk/>
          <pc:sldMk cId="106644393" sldId="6727"/>
        </pc:sldMkLst>
        <pc:graphicFrameChg chg="mod modGraphic">
          <ac:chgData name="Nick Robinson" userId="d0c2b313-4ae0-4040-8c6a-fec7a720a7b5" providerId="ADAL" clId="{190131DE-6250-C84F-B491-721E6CF30BCB}" dt="2021-12-15T11:09:10.165" v="2710" actId="20577"/>
          <ac:graphicFrameMkLst>
            <pc:docMk/>
            <pc:sldMk cId="106644393" sldId="6727"/>
            <ac:graphicFrameMk id="6" creationId="{BC1F783F-E768-6E4C-99F7-A3A15D6F6CD2}"/>
          </ac:graphicFrameMkLst>
        </pc:graphicFrameChg>
        <pc:graphicFrameChg chg="mod">
          <ac:chgData name="Nick Robinson" userId="d0c2b313-4ae0-4040-8c6a-fec7a720a7b5" providerId="ADAL" clId="{190131DE-6250-C84F-B491-721E6CF30BCB}" dt="2021-12-15T11:08:45.743" v="2698"/>
          <ac:graphicFrameMkLst>
            <pc:docMk/>
            <pc:sldMk cId="106644393" sldId="6727"/>
            <ac:graphicFrameMk id="157" creationId="{B1648694-CFCB-4B41-87CE-33640DADADC4}"/>
          </ac:graphicFrameMkLst>
        </pc:graphicFrameChg>
      </pc:sldChg>
      <pc:sldChg chg="addSp delSp modSp add del mod ord modShow">
        <pc:chgData name="Nick Robinson" userId="d0c2b313-4ae0-4040-8c6a-fec7a720a7b5" providerId="ADAL" clId="{190131DE-6250-C84F-B491-721E6CF30BCB}" dt="2021-12-17T14:47:16.262" v="10366" actId="2696"/>
        <pc:sldMkLst>
          <pc:docMk/>
          <pc:sldMk cId="3640319687" sldId="1448943238"/>
        </pc:sldMkLst>
        <pc:spChg chg="del">
          <ac:chgData name="Nick Robinson" userId="d0c2b313-4ae0-4040-8c6a-fec7a720a7b5" providerId="ADAL" clId="{190131DE-6250-C84F-B491-721E6CF30BCB}" dt="2021-12-16T10:41:40.870" v="4291" actId="478"/>
          <ac:spMkLst>
            <pc:docMk/>
            <pc:sldMk cId="3640319687" sldId="1448943238"/>
            <ac:spMk id="4" creationId="{A0B79B07-50E5-784E-A408-F303A15C71B7}"/>
          </ac:spMkLst>
        </pc:spChg>
        <pc:spChg chg="del">
          <ac:chgData name="Nick Robinson" userId="d0c2b313-4ae0-4040-8c6a-fec7a720a7b5" providerId="ADAL" clId="{190131DE-6250-C84F-B491-721E6CF30BCB}" dt="2021-12-16T10:41:40.870" v="4291" actId="478"/>
          <ac:spMkLst>
            <pc:docMk/>
            <pc:sldMk cId="3640319687" sldId="1448943238"/>
            <ac:spMk id="5" creationId="{A4551B5E-3722-4047-B3C5-4EE89822F9A1}"/>
          </ac:spMkLst>
        </pc:spChg>
        <pc:spChg chg="mod">
          <ac:chgData name="Nick Robinson" userId="d0c2b313-4ae0-4040-8c6a-fec7a720a7b5" providerId="ADAL" clId="{190131DE-6250-C84F-B491-721E6CF30BCB}" dt="2021-12-17T09:18:35.986" v="4867"/>
          <ac:spMkLst>
            <pc:docMk/>
            <pc:sldMk cId="3640319687" sldId="1448943238"/>
            <ac:spMk id="7" creationId="{057581C4-CC99-2A46-AE18-D0CBC020606C}"/>
          </ac:spMkLst>
        </pc:spChg>
        <pc:graphicFrameChg chg="add mod">
          <ac:chgData name="Nick Robinson" userId="d0c2b313-4ae0-4040-8c6a-fec7a720a7b5" providerId="ADAL" clId="{190131DE-6250-C84F-B491-721E6CF30BCB}" dt="2021-12-17T09:10:37.264" v="4356"/>
          <ac:graphicFrameMkLst>
            <pc:docMk/>
            <pc:sldMk cId="3640319687" sldId="1448943238"/>
            <ac:graphicFrameMk id="66" creationId="{F98ED38C-3374-584E-B601-81AF17E9D573}"/>
          </ac:graphicFrameMkLst>
        </pc:graphicFrameChg>
        <pc:picChg chg="del">
          <ac:chgData name="Nick Robinson" userId="d0c2b313-4ae0-4040-8c6a-fec7a720a7b5" providerId="ADAL" clId="{190131DE-6250-C84F-B491-721E6CF30BCB}" dt="2021-12-16T10:41:40.870" v="4291" actId="478"/>
          <ac:picMkLst>
            <pc:docMk/>
            <pc:sldMk cId="3640319687" sldId="1448943238"/>
            <ac:picMk id="78" creationId="{C7F70F7C-658C-A74E-BB03-AA865695B5C9}"/>
          </ac:picMkLst>
        </pc:picChg>
        <pc:picChg chg="del">
          <ac:chgData name="Nick Robinson" userId="d0c2b313-4ae0-4040-8c6a-fec7a720a7b5" providerId="ADAL" clId="{190131DE-6250-C84F-B491-721E6CF30BCB}" dt="2021-12-16T10:41:40.870" v="4291" actId="478"/>
          <ac:picMkLst>
            <pc:docMk/>
            <pc:sldMk cId="3640319687" sldId="1448943238"/>
            <ac:picMk id="87" creationId="{BAC67A82-7107-3041-BFD5-4ACFCD17B0A0}"/>
          </ac:picMkLst>
        </pc:picChg>
        <pc:picChg chg="del">
          <ac:chgData name="Nick Robinson" userId="d0c2b313-4ae0-4040-8c6a-fec7a720a7b5" providerId="ADAL" clId="{190131DE-6250-C84F-B491-721E6CF30BCB}" dt="2021-12-16T10:41:40.870" v="4291" actId="478"/>
          <ac:picMkLst>
            <pc:docMk/>
            <pc:sldMk cId="3640319687" sldId="1448943238"/>
            <ac:picMk id="94" creationId="{E01D821A-7AD8-8547-8CAA-C40EF83A33F7}"/>
          </ac:picMkLst>
        </pc:picChg>
        <pc:picChg chg="del">
          <ac:chgData name="Nick Robinson" userId="d0c2b313-4ae0-4040-8c6a-fec7a720a7b5" providerId="ADAL" clId="{190131DE-6250-C84F-B491-721E6CF30BCB}" dt="2021-12-16T10:41:40.870" v="4291" actId="478"/>
          <ac:picMkLst>
            <pc:docMk/>
            <pc:sldMk cId="3640319687" sldId="1448943238"/>
            <ac:picMk id="106" creationId="{AFEA45EE-6E75-764D-8E3B-F82A823024CD}"/>
          </ac:picMkLst>
        </pc:picChg>
      </pc:sldChg>
      <pc:sldChg chg="modSp del mod modShow">
        <pc:chgData name="Nick Robinson" userId="d0c2b313-4ae0-4040-8c6a-fec7a720a7b5" providerId="ADAL" clId="{190131DE-6250-C84F-B491-721E6CF30BCB}" dt="2021-12-20T10:11:39.055" v="13942" actId="2696"/>
        <pc:sldMkLst>
          <pc:docMk/>
          <pc:sldMk cId="72529761" sldId="1448943263"/>
        </pc:sldMkLst>
        <pc:graphicFrameChg chg="modGraphic">
          <ac:chgData name="Nick Robinson" userId="d0c2b313-4ae0-4040-8c6a-fec7a720a7b5" providerId="ADAL" clId="{190131DE-6250-C84F-B491-721E6CF30BCB}" dt="2021-12-17T14:50:21.991" v="10389" actId="20577"/>
          <ac:graphicFrameMkLst>
            <pc:docMk/>
            <pc:sldMk cId="72529761" sldId="1448943263"/>
            <ac:graphicFrameMk id="7" creationId="{0652C58B-32C6-9446-B4B3-CCE2F64D5CB7}"/>
          </ac:graphicFrameMkLst>
        </pc:graphicFrameChg>
      </pc:sldChg>
      <pc:sldChg chg="del">
        <pc:chgData name="Nick Robinson" userId="d0c2b313-4ae0-4040-8c6a-fec7a720a7b5" providerId="ADAL" clId="{190131DE-6250-C84F-B491-721E6CF30BCB}" dt="2021-12-13T15:41:19.278" v="1261" actId="2696"/>
        <pc:sldMkLst>
          <pc:docMk/>
          <pc:sldMk cId="2625941426" sldId="1448943269"/>
        </pc:sldMkLst>
      </pc:sldChg>
      <pc:sldChg chg="addSp delSp modSp add mod ord">
        <pc:chgData name="Nick Robinson" userId="d0c2b313-4ae0-4040-8c6a-fec7a720a7b5" providerId="ADAL" clId="{190131DE-6250-C84F-B491-721E6CF30BCB}" dt="2021-12-23T08:22:27.160" v="37172" actId="1036"/>
        <pc:sldMkLst>
          <pc:docMk/>
          <pc:sldMk cId="3574932048" sldId="1448943273"/>
        </pc:sldMkLst>
        <pc:spChg chg="add del mod">
          <ac:chgData name="Nick Robinson" userId="d0c2b313-4ae0-4040-8c6a-fec7a720a7b5" providerId="ADAL" clId="{190131DE-6250-C84F-B491-721E6CF30BCB}" dt="2021-12-20T11:22:38.992" v="15381" actId="478"/>
          <ac:spMkLst>
            <pc:docMk/>
            <pc:sldMk cId="3574932048" sldId="1448943273"/>
            <ac:spMk id="2" creationId="{081CB6C0-2FA7-AD4C-826C-F8CDF327C023}"/>
          </ac:spMkLst>
        </pc:spChg>
        <pc:spChg chg="mod">
          <ac:chgData name="Nick Robinson" userId="d0c2b313-4ae0-4040-8c6a-fec7a720a7b5" providerId="ADAL" clId="{190131DE-6250-C84F-B491-721E6CF30BCB}" dt="2021-12-13T15:46:09.321" v="1617" actId="20577"/>
          <ac:spMkLst>
            <pc:docMk/>
            <pc:sldMk cId="3574932048" sldId="1448943273"/>
            <ac:spMk id="3" creationId="{D5C1911D-A553-CA48-B7BE-8213EBDB7BE2}"/>
          </ac:spMkLst>
        </pc:spChg>
        <pc:spChg chg="mod">
          <ac:chgData name="Nick Robinson" userId="d0c2b313-4ae0-4040-8c6a-fec7a720a7b5" providerId="ADAL" clId="{190131DE-6250-C84F-B491-721E6CF30BCB}" dt="2021-12-23T08:22:21.592" v="37163" actId="404"/>
          <ac:spMkLst>
            <pc:docMk/>
            <pc:sldMk cId="3574932048" sldId="1448943273"/>
            <ac:spMk id="8" creationId="{F1C83EA9-5794-4990-80E0-DF214A10237B}"/>
          </ac:spMkLst>
        </pc:spChg>
        <pc:graphicFrameChg chg="mod modGraphic">
          <ac:chgData name="Nick Robinson" userId="d0c2b313-4ae0-4040-8c6a-fec7a720a7b5" providerId="ADAL" clId="{190131DE-6250-C84F-B491-721E6CF30BCB}" dt="2021-12-23T08:22:27.160" v="37172" actId="1036"/>
          <ac:graphicFrameMkLst>
            <pc:docMk/>
            <pc:sldMk cId="3574932048" sldId="1448943273"/>
            <ac:graphicFrameMk id="4" creationId="{5B85875E-159E-C242-A11A-2F415E56E063}"/>
          </ac:graphicFrameMkLst>
        </pc:graphicFrameChg>
        <pc:graphicFrameChg chg="add del mod">
          <ac:chgData name="Nick Robinson" userId="d0c2b313-4ae0-4040-8c6a-fec7a720a7b5" providerId="ADAL" clId="{190131DE-6250-C84F-B491-721E6CF30BCB}" dt="2021-12-17T11:29:07.497" v="7275" actId="478"/>
          <ac:graphicFrameMkLst>
            <pc:docMk/>
            <pc:sldMk cId="3574932048" sldId="1448943273"/>
            <ac:graphicFrameMk id="29" creationId="{E1B4616B-90E6-CD41-B802-6FE3D5E3C1E3}"/>
          </ac:graphicFrameMkLst>
        </pc:graphicFrameChg>
        <pc:graphicFrameChg chg="add mod">
          <ac:chgData name="Nick Robinson" userId="d0c2b313-4ae0-4040-8c6a-fec7a720a7b5" providerId="ADAL" clId="{190131DE-6250-C84F-B491-721E6CF30BCB}" dt="2021-12-17T11:29:13.570" v="7277"/>
          <ac:graphicFrameMkLst>
            <pc:docMk/>
            <pc:sldMk cId="3574932048" sldId="1448943273"/>
            <ac:graphicFrameMk id="44" creationId="{FBC141D1-68F1-8E40-B6FF-3F22D1C7733B}"/>
          </ac:graphicFrameMkLst>
        </pc:graphicFrameChg>
        <pc:picChg chg="add mod">
          <ac:chgData name="Nick Robinson" userId="d0c2b313-4ae0-4040-8c6a-fec7a720a7b5" providerId="ADAL" clId="{190131DE-6250-C84F-B491-721E6CF30BCB}" dt="2021-12-23T08:22:27.160" v="37172" actId="1036"/>
          <ac:picMkLst>
            <pc:docMk/>
            <pc:sldMk cId="3574932048" sldId="1448943273"/>
            <ac:picMk id="9" creationId="{C52C5537-8FA3-7F40-8860-85BD2527055C}"/>
          </ac:picMkLst>
        </pc:picChg>
        <pc:picChg chg="add mod">
          <ac:chgData name="Nick Robinson" userId="d0c2b313-4ae0-4040-8c6a-fec7a720a7b5" providerId="ADAL" clId="{190131DE-6250-C84F-B491-721E6CF30BCB}" dt="2021-12-23T08:22:27.160" v="37172" actId="1036"/>
          <ac:picMkLst>
            <pc:docMk/>
            <pc:sldMk cId="3574932048" sldId="1448943273"/>
            <ac:picMk id="11" creationId="{23E9FCDA-7BD4-814F-B879-050A8C23BF5E}"/>
          </ac:picMkLst>
        </pc:picChg>
        <pc:picChg chg="add mod">
          <ac:chgData name="Nick Robinson" userId="d0c2b313-4ae0-4040-8c6a-fec7a720a7b5" providerId="ADAL" clId="{190131DE-6250-C84F-B491-721E6CF30BCB}" dt="2021-12-23T08:22:27.160" v="37172" actId="1036"/>
          <ac:picMkLst>
            <pc:docMk/>
            <pc:sldMk cId="3574932048" sldId="1448943273"/>
            <ac:picMk id="13" creationId="{386C8D35-BD52-E947-B04B-73A043C41580}"/>
          </ac:picMkLst>
        </pc:picChg>
        <pc:picChg chg="add mod">
          <ac:chgData name="Nick Robinson" userId="d0c2b313-4ae0-4040-8c6a-fec7a720a7b5" providerId="ADAL" clId="{190131DE-6250-C84F-B491-721E6CF30BCB}" dt="2021-12-23T08:22:27.160" v="37172" actId="1036"/>
          <ac:picMkLst>
            <pc:docMk/>
            <pc:sldMk cId="3574932048" sldId="1448943273"/>
            <ac:picMk id="15" creationId="{84D16891-B25B-1642-8501-499BFF323866}"/>
          </ac:picMkLst>
        </pc:picChg>
        <pc:picChg chg="mod">
          <ac:chgData name="Nick Robinson" userId="d0c2b313-4ae0-4040-8c6a-fec7a720a7b5" providerId="ADAL" clId="{190131DE-6250-C84F-B491-721E6CF30BCB}" dt="2021-12-23T08:22:27.160" v="37172" actId="1036"/>
          <ac:picMkLst>
            <pc:docMk/>
            <pc:sldMk cId="3574932048" sldId="1448943273"/>
            <ac:picMk id="17" creationId="{22490EBC-C193-E14C-BB54-A4D508A8C2EE}"/>
          </ac:picMkLst>
        </pc:picChg>
      </pc:sldChg>
      <pc:sldChg chg="modSp add del mod">
        <pc:chgData name="Nick Robinson" userId="d0c2b313-4ae0-4040-8c6a-fec7a720a7b5" providerId="ADAL" clId="{190131DE-6250-C84F-B491-721E6CF30BCB}" dt="2021-12-13T15:45:55.413" v="1580" actId="114"/>
        <pc:sldMkLst>
          <pc:docMk/>
          <pc:sldMk cId="4082691307" sldId="1448943275"/>
        </pc:sldMkLst>
        <pc:spChg chg="mod">
          <ac:chgData name="Nick Robinson" userId="d0c2b313-4ae0-4040-8c6a-fec7a720a7b5" providerId="ADAL" clId="{190131DE-6250-C84F-B491-721E6CF30BCB}" dt="2021-12-13T15:45:55.413" v="1580" actId="114"/>
          <ac:spMkLst>
            <pc:docMk/>
            <pc:sldMk cId="4082691307" sldId="1448943275"/>
            <ac:spMk id="29" creationId="{76739A09-28BB-8D4C-973E-BDE6FCD0BE69}"/>
          </ac:spMkLst>
        </pc:spChg>
      </pc:sldChg>
      <pc:sldChg chg="addSp delSp modSp del mod chgLayout">
        <pc:chgData name="Nick Robinson" userId="d0c2b313-4ae0-4040-8c6a-fec7a720a7b5" providerId="ADAL" clId="{190131DE-6250-C84F-B491-721E6CF30BCB}" dt="2021-12-16T09:57:49.746" v="3438" actId="2696"/>
        <pc:sldMkLst>
          <pc:docMk/>
          <pc:sldMk cId="3925339652" sldId="1448943276"/>
        </pc:sldMkLst>
        <pc:spChg chg="mod ord">
          <ac:chgData name="Nick Robinson" userId="d0c2b313-4ae0-4040-8c6a-fec7a720a7b5" providerId="ADAL" clId="{190131DE-6250-C84F-B491-721E6CF30BCB}" dt="2021-12-13T15:36:38.424" v="1200" actId="700"/>
          <ac:spMkLst>
            <pc:docMk/>
            <pc:sldMk cId="3925339652" sldId="1448943276"/>
            <ac:spMk id="2" creationId="{00000000-0000-0000-0000-000000000000}"/>
          </ac:spMkLst>
        </pc:spChg>
        <pc:spChg chg="add del mod ord">
          <ac:chgData name="Nick Robinson" userId="d0c2b313-4ae0-4040-8c6a-fec7a720a7b5" providerId="ADAL" clId="{190131DE-6250-C84F-B491-721E6CF30BCB}" dt="2021-12-13T15:36:38.424" v="1200" actId="700"/>
          <ac:spMkLst>
            <pc:docMk/>
            <pc:sldMk cId="3925339652" sldId="1448943276"/>
            <ac:spMk id="5" creationId="{C72D5A2D-34C2-FD4D-8FE0-12F253F683C9}"/>
          </ac:spMkLst>
        </pc:spChg>
        <pc:spChg chg="mod ord">
          <ac:chgData name="Nick Robinson" userId="d0c2b313-4ae0-4040-8c6a-fec7a720a7b5" providerId="ADAL" clId="{190131DE-6250-C84F-B491-721E6CF30BCB}" dt="2021-12-13T15:36:38.424" v="1200" actId="700"/>
          <ac:spMkLst>
            <pc:docMk/>
            <pc:sldMk cId="3925339652" sldId="1448943276"/>
            <ac:spMk id="6" creationId="{62E3292C-AE15-8E46-8E62-F9C713150B0B}"/>
          </ac:spMkLst>
        </pc:spChg>
        <pc:spChg chg="mod">
          <ac:chgData name="Nick Robinson" userId="d0c2b313-4ae0-4040-8c6a-fec7a720a7b5" providerId="ADAL" clId="{190131DE-6250-C84F-B491-721E6CF30BCB}" dt="2021-12-16T09:50:48.301" v="3430" actId="20577"/>
          <ac:spMkLst>
            <pc:docMk/>
            <pc:sldMk cId="3925339652" sldId="1448943276"/>
            <ac:spMk id="10" creationId="{6C0ABE6C-C405-DF44-B2EA-BBCF78C83957}"/>
          </ac:spMkLst>
        </pc:spChg>
        <pc:spChg chg="add del">
          <ac:chgData name="Nick Robinson" userId="d0c2b313-4ae0-4040-8c6a-fec7a720a7b5" providerId="ADAL" clId="{190131DE-6250-C84F-B491-721E6CF30BCB}" dt="2021-12-13T15:36:44.361" v="1203" actId="478"/>
          <ac:spMkLst>
            <pc:docMk/>
            <pc:sldMk cId="3925339652" sldId="1448943276"/>
            <ac:spMk id="17" creationId="{1FC8B20C-0936-B84A-8B59-68E610A4EB2D}"/>
          </ac:spMkLst>
        </pc:spChg>
        <pc:spChg chg="add mod">
          <ac:chgData name="Nick Robinson" userId="d0c2b313-4ae0-4040-8c6a-fec7a720a7b5" providerId="ADAL" clId="{190131DE-6250-C84F-B491-721E6CF30BCB}" dt="2021-12-14T16:58:12.146" v="2105" actId="1076"/>
          <ac:spMkLst>
            <pc:docMk/>
            <pc:sldMk cId="3925339652" sldId="1448943276"/>
            <ac:spMk id="24" creationId="{39B0B000-FB9F-7746-A164-953213452FEF}"/>
          </ac:spMkLst>
        </pc:spChg>
        <pc:graphicFrameChg chg="add del mod modGraphic">
          <ac:chgData name="Nick Robinson" userId="d0c2b313-4ae0-4040-8c6a-fec7a720a7b5" providerId="ADAL" clId="{190131DE-6250-C84F-B491-721E6CF30BCB}" dt="2021-12-13T15:39:22.311" v="1236" actId="478"/>
          <ac:graphicFrameMkLst>
            <pc:docMk/>
            <pc:sldMk cId="3925339652" sldId="1448943276"/>
            <ac:graphicFrameMk id="22" creationId="{199A5627-2496-0F4A-88C9-48CBE73FE317}"/>
          </ac:graphicFrameMkLst>
        </pc:graphicFrameChg>
        <pc:graphicFrameChg chg="add mod modGraphic">
          <ac:chgData name="Nick Robinson" userId="d0c2b313-4ae0-4040-8c6a-fec7a720a7b5" providerId="ADAL" clId="{190131DE-6250-C84F-B491-721E6CF30BCB}" dt="2021-12-15T11:55:59.823" v="3351"/>
          <ac:graphicFrameMkLst>
            <pc:docMk/>
            <pc:sldMk cId="3925339652" sldId="1448943276"/>
            <ac:graphicFrameMk id="23" creationId="{321E62CC-D509-0346-B510-C2819938D64F}"/>
          </ac:graphicFrameMkLst>
        </pc:graphicFrameChg>
      </pc:sldChg>
      <pc:sldChg chg="addSp delSp modSp add del mod modNotesTx">
        <pc:chgData name="Nick Robinson" userId="d0c2b313-4ae0-4040-8c6a-fec7a720a7b5" providerId="ADAL" clId="{190131DE-6250-C84F-B491-721E6CF30BCB}" dt="2021-12-20T11:48:31.048" v="16703" actId="2696"/>
        <pc:sldMkLst>
          <pc:docMk/>
          <pc:sldMk cId="1196644783" sldId="1448943279"/>
        </pc:sldMkLst>
        <pc:spChg chg="del">
          <ac:chgData name="Nick Robinson" userId="d0c2b313-4ae0-4040-8c6a-fec7a720a7b5" providerId="ADAL" clId="{190131DE-6250-C84F-B491-721E6CF30BCB}" dt="2021-12-13T15:37:56.261" v="1210" actId="478"/>
          <ac:spMkLst>
            <pc:docMk/>
            <pc:sldMk cId="1196644783" sldId="1448943279"/>
            <ac:spMk id="17" creationId="{1FC8B20C-0936-B84A-8B59-68E610A4EB2D}"/>
          </ac:spMkLst>
        </pc:spChg>
        <pc:graphicFrameChg chg="add del mod modGraphic">
          <ac:chgData name="Nick Robinson" userId="d0c2b313-4ae0-4040-8c6a-fec7a720a7b5" providerId="ADAL" clId="{190131DE-6250-C84F-B491-721E6CF30BCB}" dt="2021-12-13T15:39:11.547" v="1233" actId="478"/>
          <ac:graphicFrameMkLst>
            <pc:docMk/>
            <pc:sldMk cId="1196644783" sldId="1448943279"/>
            <ac:graphicFrameMk id="20" creationId="{89E026D9-09A3-6749-A973-F054CCA8B11B}"/>
          </ac:graphicFrameMkLst>
        </pc:graphicFrameChg>
        <pc:graphicFrameChg chg="add mod">
          <ac:chgData name="Nick Robinson" userId="d0c2b313-4ae0-4040-8c6a-fec7a720a7b5" providerId="ADAL" clId="{190131DE-6250-C84F-B491-721E6CF30BCB}" dt="2021-12-15T11:55:59.823" v="3351"/>
          <ac:graphicFrameMkLst>
            <pc:docMk/>
            <pc:sldMk cId="1196644783" sldId="1448943279"/>
            <ac:graphicFrameMk id="22" creationId="{286EE922-188A-B742-8D1A-F5683BCD10F7}"/>
          </ac:graphicFrameMkLst>
        </pc:graphicFrameChg>
      </pc:sldChg>
      <pc:sldChg chg="del">
        <pc:chgData name="Nick Robinson" userId="d0c2b313-4ae0-4040-8c6a-fec7a720a7b5" providerId="ADAL" clId="{190131DE-6250-C84F-B491-721E6CF30BCB}" dt="2021-12-17T13:38:25.011" v="7791" actId="2696"/>
        <pc:sldMkLst>
          <pc:docMk/>
          <pc:sldMk cId="3817828692" sldId="1448943280"/>
        </pc:sldMkLst>
      </pc:sldChg>
      <pc:sldChg chg="addSp delSp modSp del mod ord modShow modNotesTx">
        <pc:chgData name="Nick Robinson" userId="d0c2b313-4ae0-4040-8c6a-fec7a720a7b5" providerId="ADAL" clId="{190131DE-6250-C84F-B491-721E6CF30BCB}" dt="2021-12-20T14:46:12.535" v="17397" actId="2696"/>
        <pc:sldMkLst>
          <pc:docMk/>
          <pc:sldMk cId="165000666" sldId="1448943281"/>
        </pc:sldMkLst>
        <pc:spChg chg="del">
          <ac:chgData name="Nick Robinson" userId="d0c2b313-4ae0-4040-8c6a-fec7a720a7b5" providerId="ADAL" clId="{190131DE-6250-C84F-B491-721E6CF30BCB}" dt="2021-12-13T15:38:00.261" v="1212" actId="478"/>
          <ac:spMkLst>
            <pc:docMk/>
            <pc:sldMk cId="165000666" sldId="1448943281"/>
            <ac:spMk id="17" creationId="{1FC8B20C-0936-B84A-8B59-68E610A4EB2D}"/>
          </ac:spMkLst>
        </pc:spChg>
        <pc:graphicFrameChg chg="add del mod">
          <ac:chgData name="Nick Robinson" userId="d0c2b313-4ae0-4040-8c6a-fec7a720a7b5" providerId="ADAL" clId="{190131DE-6250-C84F-B491-721E6CF30BCB}" dt="2021-12-13T15:39:06.272" v="1230" actId="478"/>
          <ac:graphicFrameMkLst>
            <pc:docMk/>
            <pc:sldMk cId="165000666" sldId="1448943281"/>
            <ac:graphicFrameMk id="20" creationId="{EE05A289-E955-E047-99FB-22C97C6A3C30}"/>
          </ac:graphicFrameMkLst>
        </pc:graphicFrameChg>
        <pc:graphicFrameChg chg="add mod">
          <ac:chgData name="Nick Robinson" userId="d0c2b313-4ae0-4040-8c6a-fec7a720a7b5" providerId="ADAL" clId="{190131DE-6250-C84F-B491-721E6CF30BCB}" dt="2021-12-15T11:55:59.823" v="3351"/>
          <ac:graphicFrameMkLst>
            <pc:docMk/>
            <pc:sldMk cId="165000666" sldId="1448943281"/>
            <ac:graphicFrameMk id="22" creationId="{99320713-552A-6D4E-8F3A-2EF29D700A46}"/>
          </ac:graphicFrameMkLst>
        </pc:graphicFrameChg>
      </pc:sldChg>
      <pc:sldChg chg="addSp delSp modSp del mod ord modShow modNotesTx">
        <pc:chgData name="Nick Robinson" userId="d0c2b313-4ae0-4040-8c6a-fec7a720a7b5" providerId="ADAL" clId="{190131DE-6250-C84F-B491-721E6CF30BCB}" dt="2021-12-20T14:46:12.535" v="17397" actId="2696"/>
        <pc:sldMkLst>
          <pc:docMk/>
          <pc:sldMk cId="3773516302" sldId="1448943282"/>
        </pc:sldMkLst>
        <pc:spChg chg="del">
          <ac:chgData name="Nick Robinson" userId="d0c2b313-4ae0-4040-8c6a-fec7a720a7b5" providerId="ADAL" clId="{190131DE-6250-C84F-B491-721E6CF30BCB}" dt="2021-12-13T15:38:01.517" v="1213" actId="478"/>
          <ac:spMkLst>
            <pc:docMk/>
            <pc:sldMk cId="3773516302" sldId="1448943282"/>
            <ac:spMk id="17" creationId="{1FC8B20C-0936-B84A-8B59-68E610A4EB2D}"/>
          </ac:spMkLst>
        </pc:spChg>
        <pc:spChg chg="mod">
          <ac:chgData name="Nick Robinson" userId="d0c2b313-4ae0-4040-8c6a-fec7a720a7b5" providerId="ADAL" clId="{190131DE-6250-C84F-B491-721E6CF30BCB}" dt="2021-12-17T16:53:09.409" v="11360" actId="1036"/>
          <ac:spMkLst>
            <pc:docMk/>
            <pc:sldMk cId="3773516302" sldId="1448943282"/>
            <ac:spMk id="49" creationId="{9A666B14-0697-8F4B-9E3B-E6950375039C}"/>
          </ac:spMkLst>
        </pc:spChg>
        <pc:graphicFrameChg chg="add del mod">
          <ac:chgData name="Nick Robinson" userId="d0c2b313-4ae0-4040-8c6a-fec7a720a7b5" providerId="ADAL" clId="{190131DE-6250-C84F-B491-721E6CF30BCB}" dt="2021-12-13T15:39:04.424" v="1229" actId="478"/>
          <ac:graphicFrameMkLst>
            <pc:docMk/>
            <pc:sldMk cId="3773516302" sldId="1448943282"/>
            <ac:graphicFrameMk id="19" creationId="{5AFA8DA0-1CF7-8D46-AB0F-7667CE29C3D6}"/>
          </ac:graphicFrameMkLst>
        </pc:graphicFrameChg>
        <pc:graphicFrameChg chg="add mod">
          <ac:chgData name="Nick Robinson" userId="d0c2b313-4ae0-4040-8c6a-fec7a720a7b5" providerId="ADAL" clId="{190131DE-6250-C84F-B491-721E6CF30BCB}" dt="2021-12-15T11:55:59.823" v="3351"/>
          <ac:graphicFrameMkLst>
            <pc:docMk/>
            <pc:sldMk cId="3773516302" sldId="1448943282"/>
            <ac:graphicFrameMk id="20" creationId="{BF1DA1C7-0B6C-DF4F-A6F6-92DC11C27EA8}"/>
          </ac:graphicFrameMkLst>
        </pc:graphicFrameChg>
        <pc:cxnChg chg="mod">
          <ac:chgData name="Nick Robinson" userId="d0c2b313-4ae0-4040-8c6a-fec7a720a7b5" providerId="ADAL" clId="{190131DE-6250-C84F-B491-721E6CF30BCB}" dt="2021-12-17T16:53:06.770" v="11357" actId="1076"/>
          <ac:cxnSpMkLst>
            <pc:docMk/>
            <pc:sldMk cId="3773516302" sldId="1448943282"/>
            <ac:cxnSpMk id="48" creationId="{20F052DB-9B68-5546-9DDF-FD06514FDED4}"/>
          </ac:cxnSpMkLst>
        </pc:cxnChg>
      </pc:sldChg>
      <pc:sldChg chg="addSp delSp modSp del mod ord modShow modNotesTx">
        <pc:chgData name="Nick Robinson" userId="d0c2b313-4ae0-4040-8c6a-fec7a720a7b5" providerId="ADAL" clId="{190131DE-6250-C84F-B491-721E6CF30BCB}" dt="2021-12-20T14:46:12.535" v="17397" actId="2696"/>
        <pc:sldMkLst>
          <pc:docMk/>
          <pc:sldMk cId="2571804047" sldId="1448943283"/>
        </pc:sldMkLst>
        <pc:spChg chg="del">
          <ac:chgData name="Nick Robinson" userId="d0c2b313-4ae0-4040-8c6a-fec7a720a7b5" providerId="ADAL" clId="{190131DE-6250-C84F-B491-721E6CF30BCB}" dt="2021-12-13T15:38:02.960" v="1214" actId="478"/>
          <ac:spMkLst>
            <pc:docMk/>
            <pc:sldMk cId="2571804047" sldId="1448943283"/>
            <ac:spMk id="17" creationId="{1FC8B20C-0936-B84A-8B59-68E610A4EB2D}"/>
          </ac:spMkLst>
        </pc:spChg>
        <pc:graphicFrameChg chg="add del mod">
          <ac:chgData name="Nick Robinson" userId="d0c2b313-4ae0-4040-8c6a-fec7a720a7b5" providerId="ADAL" clId="{190131DE-6250-C84F-B491-721E6CF30BCB}" dt="2021-12-13T15:39:01.761" v="1228" actId="478"/>
          <ac:graphicFrameMkLst>
            <pc:docMk/>
            <pc:sldMk cId="2571804047" sldId="1448943283"/>
            <ac:graphicFrameMk id="23" creationId="{03CE39C4-9091-1D45-AE11-D71991741877}"/>
          </ac:graphicFrameMkLst>
        </pc:graphicFrameChg>
        <pc:graphicFrameChg chg="add mod">
          <ac:chgData name="Nick Robinson" userId="d0c2b313-4ae0-4040-8c6a-fec7a720a7b5" providerId="ADAL" clId="{190131DE-6250-C84F-B491-721E6CF30BCB}" dt="2021-12-15T11:55:59.823" v="3351"/>
          <ac:graphicFrameMkLst>
            <pc:docMk/>
            <pc:sldMk cId="2571804047" sldId="1448943283"/>
            <ac:graphicFrameMk id="24" creationId="{99542FC8-C6D2-384B-BF25-ED16C3A7D7E5}"/>
          </ac:graphicFrameMkLst>
        </pc:graphicFrameChg>
      </pc:sldChg>
      <pc:sldChg chg="addSp delSp modSp del mod ord modShow modNotesTx">
        <pc:chgData name="Nick Robinson" userId="d0c2b313-4ae0-4040-8c6a-fec7a720a7b5" providerId="ADAL" clId="{190131DE-6250-C84F-B491-721E6CF30BCB}" dt="2021-12-20T14:46:12.535" v="17397" actId="2696"/>
        <pc:sldMkLst>
          <pc:docMk/>
          <pc:sldMk cId="1907423324" sldId="1448943284"/>
        </pc:sldMkLst>
        <pc:spChg chg="del">
          <ac:chgData name="Nick Robinson" userId="d0c2b313-4ae0-4040-8c6a-fec7a720a7b5" providerId="ADAL" clId="{190131DE-6250-C84F-B491-721E6CF30BCB}" dt="2021-12-13T15:38:04.461" v="1215" actId="478"/>
          <ac:spMkLst>
            <pc:docMk/>
            <pc:sldMk cId="1907423324" sldId="1448943284"/>
            <ac:spMk id="17" creationId="{1FC8B20C-0936-B84A-8B59-68E610A4EB2D}"/>
          </ac:spMkLst>
        </pc:spChg>
        <pc:spChg chg="mod">
          <ac:chgData name="Nick Robinson" userId="d0c2b313-4ae0-4040-8c6a-fec7a720a7b5" providerId="ADAL" clId="{190131DE-6250-C84F-B491-721E6CF30BCB}" dt="2021-12-17T16:52:57.668" v="11356" actId="14100"/>
          <ac:spMkLst>
            <pc:docMk/>
            <pc:sldMk cId="1907423324" sldId="1448943284"/>
            <ac:spMk id="30" creationId="{E6B7EC03-736F-2F4E-BA56-F13F306F08A3}"/>
          </ac:spMkLst>
        </pc:spChg>
        <pc:graphicFrameChg chg="add del mod">
          <ac:chgData name="Nick Robinson" userId="d0c2b313-4ae0-4040-8c6a-fec7a720a7b5" providerId="ADAL" clId="{190131DE-6250-C84F-B491-721E6CF30BCB}" dt="2021-12-13T15:38:59.161" v="1227" actId="478"/>
          <ac:graphicFrameMkLst>
            <pc:docMk/>
            <pc:sldMk cId="1907423324" sldId="1448943284"/>
            <ac:graphicFrameMk id="23" creationId="{A4146D3B-9F53-4C43-B723-E5ACBF9D7B61}"/>
          </ac:graphicFrameMkLst>
        </pc:graphicFrameChg>
        <pc:graphicFrameChg chg="add mod">
          <ac:chgData name="Nick Robinson" userId="d0c2b313-4ae0-4040-8c6a-fec7a720a7b5" providerId="ADAL" clId="{190131DE-6250-C84F-B491-721E6CF30BCB}" dt="2021-12-15T11:55:59.823" v="3351"/>
          <ac:graphicFrameMkLst>
            <pc:docMk/>
            <pc:sldMk cId="1907423324" sldId="1448943284"/>
            <ac:graphicFrameMk id="24" creationId="{FB3B24DA-6A97-8D47-A93D-CC8D95527BD0}"/>
          </ac:graphicFrameMkLst>
        </pc:graphicFrameChg>
      </pc:sldChg>
      <pc:sldChg chg="addSp delSp modSp del mod ord modShow modNotesTx">
        <pc:chgData name="Nick Robinson" userId="d0c2b313-4ae0-4040-8c6a-fec7a720a7b5" providerId="ADAL" clId="{190131DE-6250-C84F-B491-721E6CF30BCB}" dt="2021-12-20T14:46:12.535" v="17397" actId="2696"/>
        <pc:sldMkLst>
          <pc:docMk/>
          <pc:sldMk cId="3172643328" sldId="1448943285"/>
        </pc:sldMkLst>
        <pc:spChg chg="del">
          <ac:chgData name="Nick Robinson" userId="d0c2b313-4ae0-4040-8c6a-fec7a720a7b5" providerId="ADAL" clId="{190131DE-6250-C84F-B491-721E6CF30BCB}" dt="2021-12-13T15:38:05.823" v="1216" actId="478"/>
          <ac:spMkLst>
            <pc:docMk/>
            <pc:sldMk cId="3172643328" sldId="1448943285"/>
            <ac:spMk id="17" creationId="{1FC8B20C-0936-B84A-8B59-68E610A4EB2D}"/>
          </ac:spMkLst>
        </pc:spChg>
        <pc:graphicFrameChg chg="add mod">
          <ac:chgData name="Nick Robinson" userId="d0c2b313-4ae0-4040-8c6a-fec7a720a7b5" providerId="ADAL" clId="{190131DE-6250-C84F-B491-721E6CF30BCB}" dt="2021-12-15T11:55:59.823" v="3351"/>
          <ac:graphicFrameMkLst>
            <pc:docMk/>
            <pc:sldMk cId="3172643328" sldId="1448943285"/>
            <ac:graphicFrameMk id="22" creationId="{B76F3503-B5E7-1647-91F1-5CB620483211}"/>
          </ac:graphicFrameMkLst>
        </pc:graphicFrameChg>
      </pc:sldChg>
      <pc:sldChg chg="del">
        <pc:chgData name="Nick Robinson" userId="d0c2b313-4ae0-4040-8c6a-fec7a720a7b5" providerId="ADAL" clId="{190131DE-6250-C84F-B491-721E6CF30BCB}" dt="2021-12-20T14:45:41.876" v="17394" actId="2696"/>
        <pc:sldMkLst>
          <pc:docMk/>
          <pc:sldMk cId="1411985522" sldId="1448943286"/>
        </pc:sldMkLst>
      </pc:sldChg>
      <pc:sldChg chg="del">
        <pc:chgData name="Nick Robinson" userId="d0c2b313-4ae0-4040-8c6a-fec7a720a7b5" providerId="ADAL" clId="{190131DE-6250-C84F-B491-721E6CF30BCB}" dt="2021-12-20T14:45:39.986" v="17393" actId="2696"/>
        <pc:sldMkLst>
          <pc:docMk/>
          <pc:sldMk cId="525884006" sldId="1448943287"/>
        </pc:sldMkLst>
      </pc:sldChg>
      <pc:sldChg chg="del">
        <pc:chgData name="Nick Robinson" userId="d0c2b313-4ae0-4040-8c6a-fec7a720a7b5" providerId="ADAL" clId="{190131DE-6250-C84F-B491-721E6CF30BCB}" dt="2021-12-20T14:45:38.056" v="17392" actId="2696"/>
        <pc:sldMkLst>
          <pc:docMk/>
          <pc:sldMk cId="7141138" sldId="1448943289"/>
        </pc:sldMkLst>
      </pc:sldChg>
      <pc:sldChg chg="modSp del mod">
        <pc:chgData name="Nick Robinson" userId="d0c2b313-4ae0-4040-8c6a-fec7a720a7b5" providerId="ADAL" clId="{190131DE-6250-C84F-B491-721E6CF30BCB}" dt="2021-12-20T14:45:35.786" v="17391" actId="2696"/>
        <pc:sldMkLst>
          <pc:docMk/>
          <pc:sldMk cId="2116238901" sldId="1448943290"/>
        </pc:sldMkLst>
        <pc:graphicFrameChg chg="modGraphic">
          <ac:chgData name="Nick Robinson" userId="d0c2b313-4ae0-4040-8c6a-fec7a720a7b5" providerId="ADAL" clId="{190131DE-6250-C84F-B491-721E6CF30BCB}" dt="2021-12-20T09:17:45.996" v="11429" actId="20577"/>
          <ac:graphicFrameMkLst>
            <pc:docMk/>
            <pc:sldMk cId="2116238901" sldId="1448943290"/>
            <ac:graphicFrameMk id="5" creationId="{1F73E11B-085A-AD47-B820-F62CD6BB7304}"/>
          </ac:graphicFrameMkLst>
        </pc:graphicFrameChg>
      </pc:sldChg>
      <pc:sldChg chg="del">
        <pc:chgData name="Nick Robinson" userId="d0c2b313-4ae0-4040-8c6a-fec7a720a7b5" providerId="ADAL" clId="{190131DE-6250-C84F-B491-721E6CF30BCB}" dt="2021-12-20T14:45:33.559" v="17390" actId="2696"/>
        <pc:sldMkLst>
          <pc:docMk/>
          <pc:sldMk cId="2018098688" sldId="1448943291"/>
        </pc:sldMkLst>
      </pc:sldChg>
      <pc:sldChg chg="del">
        <pc:chgData name="Nick Robinson" userId="d0c2b313-4ae0-4040-8c6a-fec7a720a7b5" providerId="ADAL" clId="{190131DE-6250-C84F-B491-721E6CF30BCB}" dt="2021-12-20T14:45:31.536" v="17389" actId="2696"/>
        <pc:sldMkLst>
          <pc:docMk/>
          <pc:sldMk cId="1206377994" sldId="1448943292"/>
        </pc:sldMkLst>
      </pc:sldChg>
      <pc:sldChg chg="del">
        <pc:chgData name="Nick Robinson" userId="d0c2b313-4ae0-4040-8c6a-fec7a720a7b5" providerId="ADAL" clId="{190131DE-6250-C84F-B491-721E6CF30BCB}" dt="2021-12-20T14:45:29.343" v="17388" actId="2696"/>
        <pc:sldMkLst>
          <pc:docMk/>
          <pc:sldMk cId="3693507080" sldId="1448943293"/>
        </pc:sldMkLst>
      </pc:sldChg>
      <pc:sldChg chg="addSp delSp modSp del mod">
        <pc:chgData name="Nick Robinson" userId="d0c2b313-4ae0-4040-8c6a-fec7a720a7b5" providerId="ADAL" clId="{190131DE-6250-C84F-B491-721E6CF30BCB}" dt="2021-12-23T14:00:47.624" v="44410"/>
        <pc:sldMkLst>
          <pc:docMk/>
          <pc:sldMk cId="3462209427" sldId="1448943294"/>
        </pc:sldMkLst>
        <pc:spChg chg="mod">
          <ac:chgData name="Nick Robinson" userId="d0c2b313-4ae0-4040-8c6a-fec7a720a7b5" providerId="ADAL" clId="{190131DE-6250-C84F-B491-721E6CF30BCB}" dt="2021-12-20T17:19:12.224" v="20029" actId="14100"/>
          <ac:spMkLst>
            <pc:docMk/>
            <pc:sldMk cId="3462209427" sldId="1448943294"/>
            <ac:spMk id="2" creationId="{00000000-0000-0000-0000-000000000000}"/>
          </ac:spMkLst>
        </pc:spChg>
        <pc:spChg chg="del mod">
          <ac:chgData name="Nick Robinson" userId="d0c2b313-4ae0-4040-8c6a-fec7a720a7b5" providerId="ADAL" clId="{190131DE-6250-C84F-B491-721E6CF30BCB}" dt="2021-12-23T13:49:13.107" v="44274" actId="478"/>
          <ac:spMkLst>
            <pc:docMk/>
            <pc:sldMk cId="3462209427" sldId="1448943294"/>
            <ac:spMk id="7" creationId="{FD420467-EF1E-C24E-B16A-0060A2106A3D}"/>
          </ac:spMkLst>
        </pc:spChg>
        <pc:spChg chg="del mod">
          <ac:chgData name="Nick Robinson" userId="d0c2b313-4ae0-4040-8c6a-fec7a720a7b5" providerId="ADAL" clId="{190131DE-6250-C84F-B491-721E6CF30BCB}" dt="2021-12-23T13:49:13.107" v="44274" actId="478"/>
          <ac:spMkLst>
            <pc:docMk/>
            <pc:sldMk cId="3462209427" sldId="1448943294"/>
            <ac:spMk id="8" creationId="{93A72959-7AA1-144A-9BA1-BBF7754400AD}"/>
          </ac:spMkLst>
        </pc:spChg>
        <pc:spChg chg="add mod">
          <ac:chgData name="Nick Robinson" userId="d0c2b313-4ae0-4040-8c6a-fec7a720a7b5" providerId="ADAL" clId="{190131DE-6250-C84F-B491-721E6CF30BCB}" dt="2021-12-23T13:49:21.347" v="44277" actId="14100"/>
          <ac:spMkLst>
            <pc:docMk/>
            <pc:sldMk cId="3462209427" sldId="1448943294"/>
            <ac:spMk id="12" creationId="{E3A982FF-B672-7743-BFC8-2803DD71D466}"/>
          </ac:spMkLst>
        </pc:spChg>
        <pc:spChg chg="add mod">
          <ac:chgData name="Nick Robinson" userId="d0c2b313-4ae0-4040-8c6a-fec7a720a7b5" providerId="ADAL" clId="{190131DE-6250-C84F-B491-721E6CF30BCB}" dt="2021-12-23T13:49:23.946" v="44278" actId="1076"/>
          <ac:spMkLst>
            <pc:docMk/>
            <pc:sldMk cId="3462209427" sldId="1448943294"/>
            <ac:spMk id="13" creationId="{32D38073-6B85-E343-8B54-4D983CF1F1D7}"/>
          </ac:spMkLst>
        </pc:spChg>
        <pc:graphicFrameChg chg="mod modGraphic">
          <ac:chgData name="Nick Robinson" userId="d0c2b313-4ae0-4040-8c6a-fec7a720a7b5" providerId="ADAL" clId="{190131DE-6250-C84F-B491-721E6CF30BCB}" dt="2021-12-23T14:00:47.624" v="44410"/>
          <ac:graphicFrameMkLst>
            <pc:docMk/>
            <pc:sldMk cId="3462209427" sldId="1448943294"/>
            <ac:graphicFrameMk id="5" creationId="{1F73E11B-085A-AD47-B820-F62CD6BB7304}"/>
          </ac:graphicFrameMkLst>
        </pc:graphicFrameChg>
        <pc:graphicFrameChg chg="add del mod">
          <ac:chgData name="Nick Robinson" userId="d0c2b313-4ae0-4040-8c6a-fec7a720a7b5" providerId="ADAL" clId="{190131DE-6250-C84F-B491-721E6CF30BCB}" dt="2021-12-20T15:27:11.175" v="17627" actId="478"/>
          <ac:graphicFrameMkLst>
            <pc:docMk/>
            <pc:sldMk cId="3462209427" sldId="1448943294"/>
            <ac:graphicFrameMk id="9" creationId="{956EE97C-F206-F447-ADCF-9C14E3F425AE}"/>
          </ac:graphicFrameMkLst>
        </pc:graphicFrameChg>
        <pc:graphicFrameChg chg="add mod">
          <ac:chgData name="Nick Robinson" userId="d0c2b313-4ae0-4040-8c6a-fec7a720a7b5" providerId="ADAL" clId="{190131DE-6250-C84F-B491-721E6CF30BCB}" dt="2021-12-20T15:27:11.440" v="17628"/>
          <ac:graphicFrameMkLst>
            <pc:docMk/>
            <pc:sldMk cId="3462209427" sldId="1448943294"/>
            <ac:graphicFrameMk id="10" creationId="{87CC6123-A617-E541-A25D-A2DC364BE962}"/>
          </ac:graphicFrameMkLst>
        </pc:graphicFrameChg>
        <pc:picChg chg="add mod">
          <ac:chgData name="Nick Robinson" userId="d0c2b313-4ae0-4040-8c6a-fec7a720a7b5" providerId="ADAL" clId="{190131DE-6250-C84F-B491-721E6CF30BCB}" dt="2021-12-20T17:19:14.344" v="20030" actId="1076"/>
          <ac:picMkLst>
            <pc:docMk/>
            <pc:sldMk cId="3462209427" sldId="1448943294"/>
            <ac:picMk id="11" creationId="{A0DD8C89-67D9-1543-B05A-53B865580A11}"/>
          </ac:picMkLst>
        </pc:picChg>
      </pc:sldChg>
      <pc:sldChg chg="addSp delSp modSp mod ord modNotesTx">
        <pc:chgData name="Nick Robinson" userId="d0c2b313-4ae0-4040-8c6a-fec7a720a7b5" providerId="ADAL" clId="{190131DE-6250-C84F-B491-721E6CF30BCB}" dt="2021-12-23T16:05:39.911" v="44700" actId="20577"/>
        <pc:sldMkLst>
          <pc:docMk/>
          <pc:sldMk cId="993447809" sldId="2144446013"/>
        </pc:sldMkLst>
        <pc:spChg chg="mod">
          <ac:chgData name="Nick Robinson" userId="d0c2b313-4ae0-4040-8c6a-fec7a720a7b5" providerId="ADAL" clId="{190131DE-6250-C84F-B491-721E6CF30BCB}" dt="2021-12-13T11:05:40.618" v="80" actId="20577"/>
          <ac:spMkLst>
            <pc:docMk/>
            <pc:sldMk cId="993447809" sldId="2144446013"/>
            <ac:spMk id="2" creationId="{992797C6-274A-4146-AECE-7E42A31DA87A}"/>
          </ac:spMkLst>
        </pc:spChg>
        <pc:spChg chg="add del">
          <ac:chgData name="Nick Robinson" userId="d0c2b313-4ae0-4040-8c6a-fec7a720a7b5" providerId="ADAL" clId="{190131DE-6250-C84F-B491-721E6CF30BCB}" dt="2021-12-13T11:05:33.768" v="78" actId="22"/>
          <ac:spMkLst>
            <pc:docMk/>
            <pc:sldMk cId="993447809" sldId="2144446013"/>
            <ac:spMk id="6" creationId="{E983BA54-69DF-7345-9A11-205EF983C981}"/>
          </ac:spMkLst>
        </pc:spChg>
        <pc:spChg chg="add del mod">
          <ac:chgData name="Nick Robinson" userId="d0c2b313-4ae0-4040-8c6a-fec7a720a7b5" providerId="ADAL" clId="{190131DE-6250-C84F-B491-721E6CF30BCB}" dt="2021-12-13T15:13:09.359" v="347" actId="478"/>
          <ac:spMkLst>
            <pc:docMk/>
            <pc:sldMk cId="993447809" sldId="2144446013"/>
            <ac:spMk id="8" creationId="{0688F054-60DB-E64E-8FA9-9E3AEF20A718}"/>
          </ac:spMkLst>
        </pc:spChg>
        <pc:graphicFrameChg chg="del modGraphic">
          <ac:chgData name="Nick Robinson" userId="d0c2b313-4ae0-4040-8c6a-fec7a720a7b5" providerId="ADAL" clId="{190131DE-6250-C84F-B491-721E6CF30BCB}" dt="2021-12-13T11:05:25.618" v="76" actId="478"/>
          <ac:graphicFrameMkLst>
            <pc:docMk/>
            <pc:sldMk cId="993447809" sldId="2144446013"/>
            <ac:graphicFrameMk id="5" creationId="{04D0C189-D5FD-CC45-88D5-3A106E304F6F}"/>
          </ac:graphicFrameMkLst>
        </pc:graphicFrameChg>
        <pc:graphicFrameChg chg="add mod modGraphic">
          <ac:chgData name="Nick Robinson" userId="d0c2b313-4ae0-4040-8c6a-fec7a720a7b5" providerId="ADAL" clId="{190131DE-6250-C84F-B491-721E6CF30BCB}" dt="2021-12-21T11:06:24.790" v="22234" actId="207"/>
          <ac:graphicFrameMkLst>
            <pc:docMk/>
            <pc:sldMk cId="993447809" sldId="2144446013"/>
            <ac:graphicFrameMk id="6" creationId="{5453C6F3-A2F7-B44B-A8C4-12340A8D0579}"/>
          </ac:graphicFrameMkLst>
        </pc:graphicFrameChg>
        <pc:graphicFrameChg chg="add mod modGraphic">
          <ac:chgData name="Nick Robinson" userId="d0c2b313-4ae0-4040-8c6a-fec7a720a7b5" providerId="ADAL" clId="{190131DE-6250-C84F-B491-721E6CF30BCB}" dt="2021-12-23T16:05:16.720" v="44699" actId="20577"/>
          <ac:graphicFrameMkLst>
            <pc:docMk/>
            <pc:sldMk cId="993447809" sldId="2144446013"/>
            <ac:graphicFrameMk id="7" creationId="{E8B55483-B852-8D4D-8F15-95D0C251E583}"/>
          </ac:graphicFrameMkLst>
        </pc:graphicFrameChg>
        <pc:graphicFrameChg chg="add del mod modGraphic">
          <ac:chgData name="Nick Robinson" userId="d0c2b313-4ae0-4040-8c6a-fec7a720a7b5" providerId="ADAL" clId="{190131DE-6250-C84F-B491-721E6CF30BCB}" dt="2021-12-21T11:06:03.090" v="22232" actId="478"/>
          <ac:graphicFrameMkLst>
            <pc:docMk/>
            <pc:sldMk cId="993447809" sldId="2144446013"/>
            <ac:graphicFrameMk id="9" creationId="{E8F38ACC-766F-6C4F-ABC2-40BFBAFFEB1D}"/>
          </ac:graphicFrameMkLst>
        </pc:graphicFrameChg>
      </pc:sldChg>
      <pc:sldChg chg="del">
        <pc:chgData name="Nick Robinson" userId="d0c2b313-4ae0-4040-8c6a-fec7a720a7b5" providerId="ADAL" clId="{190131DE-6250-C84F-B491-721E6CF30BCB}" dt="2021-12-13T15:41:28.965" v="1262" actId="2696"/>
        <pc:sldMkLst>
          <pc:docMk/>
          <pc:sldMk cId="1210744131" sldId="2144446014"/>
        </pc:sldMkLst>
      </pc:sldChg>
      <pc:sldChg chg="del">
        <pc:chgData name="Nick Robinson" userId="d0c2b313-4ae0-4040-8c6a-fec7a720a7b5" providerId="ADAL" clId="{190131DE-6250-C84F-B491-721E6CF30BCB}" dt="2021-12-13T15:41:19.278" v="1261" actId="2696"/>
        <pc:sldMkLst>
          <pc:docMk/>
          <pc:sldMk cId="2500310749" sldId="2144446021"/>
        </pc:sldMkLst>
      </pc:sldChg>
      <pc:sldChg chg="del">
        <pc:chgData name="Nick Robinson" userId="d0c2b313-4ae0-4040-8c6a-fec7a720a7b5" providerId="ADAL" clId="{190131DE-6250-C84F-B491-721E6CF30BCB}" dt="2021-12-13T15:41:19.278" v="1261" actId="2696"/>
        <pc:sldMkLst>
          <pc:docMk/>
          <pc:sldMk cId="2486923475" sldId="2144446022"/>
        </pc:sldMkLst>
      </pc:sldChg>
      <pc:sldChg chg="del">
        <pc:chgData name="Nick Robinson" userId="d0c2b313-4ae0-4040-8c6a-fec7a720a7b5" providerId="ADAL" clId="{190131DE-6250-C84F-B491-721E6CF30BCB}" dt="2021-12-13T15:41:19.278" v="1261" actId="2696"/>
        <pc:sldMkLst>
          <pc:docMk/>
          <pc:sldMk cId="1097537891" sldId="2145707132"/>
        </pc:sldMkLst>
      </pc:sldChg>
      <pc:sldChg chg="del">
        <pc:chgData name="Nick Robinson" userId="d0c2b313-4ae0-4040-8c6a-fec7a720a7b5" providerId="ADAL" clId="{190131DE-6250-C84F-B491-721E6CF30BCB}" dt="2021-12-13T15:41:19.278" v="1261" actId="2696"/>
        <pc:sldMkLst>
          <pc:docMk/>
          <pc:sldMk cId="3222015481" sldId="2145707133"/>
        </pc:sldMkLst>
      </pc:sldChg>
      <pc:sldChg chg="del">
        <pc:chgData name="Nick Robinson" userId="d0c2b313-4ae0-4040-8c6a-fec7a720a7b5" providerId="ADAL" clId="{190131DE-6250-C84F-B491-721E6CF30BCB}" dt="2021-12-13T15:41:19.278" v="1261" actId="2696"/>
        <pc:sldMkLst>
          <pc:docMk/>
          <pc:sldMk cId="3527498342" sldId="2145707134"/>
        </pc:sldMkLst>
      </pc:sldChg>
      <pc:sldChg chg="del">
        <pc:chgData name="Nick Robinson" userId="d0c2b313-4ae0-4040-8c6a-fec7a720a7b5" providerId="ADAL" clId="{190131DE-6250-C84F-B491-721E6CF30BCB}" dt="2021-12-13T15:41:19.278" v="1261" actId="2696"/>
        <pc:sldMkLst>
          <pc:docMk/>
          <pc:sldMk cId="1879835880" sldId="2145707136"/>
        </pc:sldMkLst>
      </pc:sldChg>
      <pc:sldChg chg="del">
        <pc:chgData name="Nick Robinson" userId="d0c2b313-4ae0-4040-8c6a-fec7a720a7b5" providerId="ADAL" clId="{190131DE-6250-C84F-B491-721E6CF30BCB}" dt="2021-12-13T15:41:19.278" v="1261" actId="2696"/>
        <pc:sldMkLst>
          <pc:docMk/>
          <pc:sldMk cId="3127622773" sldId="2145707137"/>
        </pc:sldMkLst>
      </pc:sldChg>
      <pc:sldChg chg="del">
        <pc:chgData name="Nick Robinson" userId="d0c2b313-4ae0-4040-8c6a-fec7a720a7b5" providerId="ADAL" clId="{190131DE-6250-C84F-B491-721E6CF30BCB}" dt="2021-12-13T15:41:19.278" v="1261" actId="2696"/>
        <pc:sldMkLst>
          <pc:docMk/>
          <pc:sldMk cId="2137434531" sldId="2145707138"/>
        </pc:sldMkLst>
      </pc:sldChg>
      <pc:sldChg chg="del">
        <pc:chgData name="Nick Robinson" userId="d0c2b313-4ae0-4040-8c6a-fec7a720a7b5" providerId="ADAL" clId="{190131DE-6250-C84F-B491-721E6CF30BCB}" dt="2021-12-13T15:41:19.278" v="1261" actId="2696"/>
        <pc:sldMkLst>
          <pc:docMk/>
          <pc:sldMk cId="3269536815" sldId="2145707141"/>
        </pc:sldMkLst>
      </pc:sldChg>
      <pc:sldChg chg="del">
        <pc:chgData name="Nick Robinson" userId="d0c2b313-4ae0-4040-8c6a-fec7a720a7b5" providerId="ADAL" clId="{190131DE-6250-C84F-B491-721E6CF30BCB}" dt="2021-12-13T15:41:19.278" v="1261" actId="2696"/>
        <pc:sldMkLst>
          <pc:docMk/>
          <pc:sldMk cId="811274468" sldId="2145707142"/>
        </pc:sldMkLst>
      </pc:sldChg>
      <pc:sldChg chg="del">
        <pc:chgData name="Nick Robinson" userId="d0c2b313-4ae0-4040-8c6a-fec7a720a7b5" providerId="ADAL" clId="{190131DE-6250-C84F-B491-721E6CF30BCB}" dt="2021-12-13T15:41:19.278" v="1261" actId="2696"/>
        <pc:sldMkLst>
          <pc:docMk/>
          <pc:sldMk cId="2049783955" sldId="2145707144"/>
        </pc:sldMkLst>
      </pc:sldChg>
      <pc:sldChg chg="del">
        <pc:chgData name="Nick Robinson" userId="d0c2b313-4ae0-4040-8c6a-fec7a720a7b5" providerId="ADAL" clId="{190131DE-6250-C84F-B491-721E6CF30BCB}" dt="2021-12-13T15:41:19.278" v="1261" actId="2696"/>
        <pc:sldMkLst>
          <pc:docMk/>
          <pc:sldMk cId="186437211" sldId="2145707145"/>
        </pc:sldMkLst>
      </pc:sldChg>
      <pc:sldChg chg="del">
        <pc:chgData name="Nick Robinson" userId="d0c2b313-4ae0-4040-8c6a-fec7a720a7b5" providerId="ADAL" clId="{190131DE-6250-C84F-B491-721E6CF30BCB}" dt="2021-12-13T15:41:19.278" v="1261" actId="2696"/>
        <pc:sldMkLst>
          <pc:docMk/>
          <pc:sldMk cId="2099246873" sldId="2145707146"/>
        </pc:sldMkLst>
      </pc:sldChg>
      <pc:sldChg chg="del">
        <pc:chgData name="Nick Robinson" userId="d0c2b313-4ae0-4040-8c6a-fec7a720a7b5" providerId="ADAL" clId="{190131DE-6250-C84F-B491-721E6CF30BCB}" dt="2021-12-13T15:41:19.278" v="1261" actId="2696"/>
        <pc:sldMkLst>
          <pc:docMk/>
          <pc:sldMk cId="2975083381" sldId="2145707148"/>
        </pc:sldMkLst>
      </pc:sldChg>
      <pc:sldChg chg="del">
        <pc:chgData name="Nick Robinson" userId="d0c2b313-4ae0-4040-8c6a-fec7a720a7b5" providerId="ADAL" clId="{190131DE-6250-C84F-B491-721E6CF30BCB}" dt="2021-12-13T15:41:19.278" v="1261" actId="2696"/>
        <pc:sldMkLst>
          <pc:docMk/>
          <pc:sldMk cId="2619527506" sldId="2145707151"/>
        </pc:sldMkLst>
      </pc:sldChg>
      <pc:sldChg chg="del">
        <pc:chgData name="Nick Robinson" userId="d0c2b313-4ae0-4040-8c6a-fec7a720a7b5" providerId="ADAL" clId="{190131DE-6250-C84F-B491-721E6CF30BCB}" dt="2021-12-13T15:41:19.278" v="1261" actId="2696"/>
        <pc:sldMkLst>
          <pc:docMk/>
          <pc:sldMk cId="2450164866" sldId="2145707152"/>
        </pc:sldMkLst>
      </pc:sldChg>
      <pc:sldChg chg="del">
        <pc:chgData name="Nick Robinson" userId="d0c2b313-4ae0-4040-8c6a-fec7a720a7b5" providerId="ADAL" clId="{190131DE-6250-C84F-B491-721E6CF30BCB}" dt="2021-12-13T15:41:19.278" v="1261" actId="2696"/>
        <pc:sldMkLst>
          <pc:docMk/>
          <pc:sldMk cId="998408239" sldId="2145707153"/>
        </pc:sldMkLst>
      </pc:sldChg>
      <pc:sldChg chg="del">
        <pc:chgData name="Nick Robinson" userId="d0c2b313-4ae0-4040-8c6a-fec7a720a7b5" providerId="ADAL" clId="{190131DE-6250-C84F-B491-721E6CF30BCB}" dt="2021-12-13T15:41:19.278" v="1261" actId="2696"/>
        <pc:sldMkLst>
          <pc:docMk/>
          <pc:sldMk cId="3000803748" sldId="2145707154"/>
        </pc:sldMkLst>
      </pc:sldChg>
      <pc:sldChg chg="del">
        <pc:chgData name="Nick Robinson" userId="d0c2b313-4ae0-4040-8c6a-fec7a720a7b5" providerId="ADAL" clId="{190131DE-6250-C84F-B491-721E6CF30BCB}" dt="2021-12-13T15:41:19.278" v="1261" actId="2696"/>
        <pc:sldMkLst>
          <pc:docMk/>
          <pc:sldMk cId="4151783051" sldId="2145707156"/>
        </pc:sldMkLst>
      </pc:sldChg>
      <pc:sldChg chg="del">
        <pc:chgData name="Nick Robinson" userId="d0c2b313-4ae0-4040-8c6a-fec7a720a7b5" providerId="ADAL" clId="{190131DE-6250-C84F-B491-721E6CF30BCB}" dt="2021-12-13T15:41:19.278" v="1261" actId="2696"/>
        <pc:sldMkLst>
          <pc:docMk/>
          <pc:sldMk cId="1351592566" sldId="2145707157"/>
        </pc:sldMkLst>
      </pc:sldChg>
      <pc:sldChg chg="del">
        <pc:chgData name="Nick Robinson" userId="d0c2b313-4ae0-4040-8c6a-fec7a720a7b5" providerId="ADAL" clId="{190131DE-6250-C84F-B491-721E6CF30BCB}" dt="2021-12-13T15:41:19.278" v="1261" actId="2696"/>
        <pc:sldMkLst>
          <pc:docMk/>
          <pc:sldMk cId="268948547" sldId="2145707158"/>
        </pc:sldMkLst>
      </pc:sldChg>
      <pc:sldChg chg="del">
        <pc:chgData name="Nick Robinson" userId="d0c2b313-4ae0-4040-8c6a-fec7a720a7b5" providerId="ADAL" clId="{190131DE-6250-C84F-B491-721E6CF30BCB}" dt="2021-12-13T15:41:19.278" v="1261" actId="2696"/>
        <pc:sldMkLst>
          <pc:docMk/>
          <pc:sldMk cId="631440114" sldId="2145707159"/>
        </pc:sldMkLst>
      </pc:sldChg>
      <pc:sldChg chg="del">
        <pc:chgData name="Nick Robinson" userId="d0c2b313-4ae0-4040-8c6a-fec7a720a7b5" providerId="ADAL" clId="{190131DE-6250-C84F-B491-721E6CF30BCB}" dt="2021-12-13T15:41:19.278" v="1261" actId="2696"/>
        <pc:sldMkLst>
          <pc:docMk/>
          <pc:sldMk cId="1909228005" sldId="2145707160"/>
        </pc:sldMkLst>
      </pc:sldChg>
      <pc:sldChg chg="del">
        <pc:chgData name="Nick Robinson" userId="d0c2b313-4ae0-4040-8c6a-fec7a720a7b5" providerId="ADAL" clId="{190131DE-6250-C84F-B491-721E6CF30BCB}" dt="2021-12-13T15:41:19.278" v="1261" actId="2696"/>
        <pc:sldMkLst>
          <pc:docMk/>
          <pc:sldMk cId="642802485" sldId="2145707161"/>
        </pc:sldMkLst>
      </pc:sldChg>
      <pc:sldChg chg="del">
        <pc:chgData name="Nick Robinson" userId="d0c2b313-4ae0-4040-8c6a-fec7a720a7b5" providerId="ADAL" clId="{190131DE-6250-C84F-B491-721E6CF30BCB}" dt="2021-12-13T15:41:19.278" v="1261" actId="2696"/>
        <pc:sldMkLst>
          <pc:docMk/>
          <pc:sldMk cId="451671605" sldId="2145707163"/>
        </pc:sldMkLst>
      </pc:sldChg>
      <pc:sldChg chg="del">
        <pc:chgData name="Nick Robinson" userId="d0c2b313-4ae0-4040-8c6a-fec7a720a7b5" providerId="ADAL" clId="{190131DE-6250-C84F-B491-721E6CF30BCB}" dt="2021-12-13T15:41:19.278" v="1261" actId="2696"/>
        <pc:sldMkLst>
          <pc:docMk/>
          <pc:sldMk cId="54800713" sldId="2145707164"/>
        </pc:sldMkLst>
      </pc:sldChg>
      <pc:sldChg chg="del">
        <pc:chgData name="Nick Robinson" userId="d0c2b313-4ae0-4040-8c6a-fec7a720a7b5" providerId="ADAL" clId="{190131DE-6250-C84F-B491-721E6CF30BCB}" dt="2021-12-13T15:41:19.278" v="1261" actId="2696"/>
        <pc:sldMkLst>
          <pc:docMk/>
          <pc:sldMk cId="3160472428" sldId="2145707165"/>
        </pc:sldMkLst>
      </pc:sldChg>
      <pc:sldChg chg="del">
        <pc:chgData name="Nick Robinson" userId="d0c2b313-4ae0-4040-8c6a-fec7a720a7b5" providerId="ADAL" clId="{190131DE-6250-C84F-B491-721E6CF30BCB}" dt="2021-12-13T15:41:28.965" v="1262" actId="2696"/>
        <pc:sldMkLst>
          <pc:docMk/>
          <pc:sldMk cId="453201455" sldId="2145707166"/>
        </pc:sldMkLst>
      </pc:sldChg>
      <pc:sldChg chg="del">
        <pc:chgData name="Nick Robinson" userId="d0c2b313-4ae0-4040-8c6a-fec7a720a7b5" providerId="ADAL" clId="{190131DE-6250-C84F-B491-721E6CF30BCB}" dt="2021-12-13T15:41:28.965" v="1262" actId="2696"/>
        <pc:sldMkLst>
          <pc:docMk/>
          <pc:sldMk cId="561540980" sldId="2145707167"/>
        </pc:sldMkLst>
      </pc:sldChg>
      <pc:sldChg chg="del">
        <pc:chgData name="Nick Robinson" userId="d0c2b313-4ae0-4040-8c6a-fec7a720a7b5" providerId="ADAL" clId="{190131DE-6250-C84F-B491-721E6CF30BCB}" dt="2021-12-13T15:41:28.965" v="1262" actId="2696"/>
        <pc:sldMkLst>
          <pc:docMk/>
          <pc:sldMk cId="365222853" sldId="2145707168"/>
        </pc:sldMkLst>
      </pc:sldChg>
      <pc:sldChg chg="del">
        <pc:chgData name="Nick Robinson" userId="d0c2b313-4ae0-4040-8c6a-fec7a720a7b5" providerId="ADAL" clId="{190131DE-6250-C84F-B491-721E6CF30BCB}" dt="2021-12-13T15:41:28.965" v="1262" actId="2696"/>
        <pc:sldMkLst>
          <pc:docMk/>
          <pc:sldMk cId="4102888677" sldId="2145707169"/>
        </pc:sldMkLst>
      </pc:sldChg>
      <pc:sldChg chg="addSp delSp modSp del mod ord delCm">
        <pc:chgData name="Nick Robinson" userId="d0c2b313-4ae0-4040-8c6a-fec7a720a7b5" providerId="ADAL" clId="{190131DE-6250-C84F-B491-721E6CF30BCB}" dt="2021-12-23T11:18:28.519" v="42307" actId="2696"/>
        <pc:sldMkLst>
          <pc:docMk/>
          <pc:sldMk cId="2552193057" sldId="2145707170"/>
        </pc:sldMkLst>
        <pc:spChg chg="add del">
          <ac:chgData name="Nick Robinson" userId="d0c2b313-4ae0-4040-8c6a-fec7a720a7b5" providerId="ADAL" clId="{190131DE-6250-C84F-B491-721E6CF30BCB}" dt="2021-12-17T14:44:05.906" v="10273" actId="21"/>
          <ac:spMkLst>
            <pc:docMk/>
            <pc:sldMk cId="2552193057" sldId="2145707170"/>
            <ac:spMk id="7" creationId="{DD2853B0-B5D9-EB41-9E8C-3015D1545F38}"/>
          </ac:spMkLst>
        </pc:spChg>
        <pc:spChg chg="mod">
          <ac:chgData name="Nick Robinson" userId="d0c2b313-4ae0-4040-8c6a-fec7a720a7b5" providerId="ADAL" clId="{190131DE-6250-C84F-B491-721E6CF30BCB}" dt="2021-12-17T13:44:25.752" v="7809" actId="14100"/>
          <ac:spMkLst>
            <pc:docMk/>
            <pc:sldMk cId="2552193057" sldId="2145707170"/>
            <ac:spMk id="16" creationId="{8C8F3348-B5D1-AB4F-9DCE-2D0D18FBF31F}"/>
          </ac:spMkLst>
        </pc:spChg>
        <pc:spChg chg="mod">
          <ac:chgData name="Nick Robinson" userId="d0c2b313-4ae0-4040-8c6a-fec7a720a7b5" providerId="ADAL" clId="{190131DE-6250-C84F-B491-721E6CF30BCB}" dt="2021-12-17T13:44:25.752" v="7809" actId="14100"/>
          <ac:spMkLst>
            <pc:docMk/>
            <pc:sldMk cId="2552193057" sldId="2145707170"/>
            <ac:spMk id="58" creationId="{ED9A64EE-AF17-A64C-B946-4E35853BE102}"/>
          </ac:spMkLst>
        </pc:spChg>
        <pc:spChg chg="mod">
          <ac:chgData name="Nick Robinson" userId="d0c2b313-4ae0-4040-8c6a-fec7a720a7b5" providerId="ADAL" clId="{190131DE-6250-C84F-B491-721E6CF30BCB}" dt="2021-12-17T13:44:25.752" v="7809" actId="14100"/>
          <ac:spMkLst>
            <pc:docMk/>
            <pc:sldMk cId="2552193057" sldId="2145707170"/>
            <ac:spMk id="81" creationId="{BEDAE4F4-70B1-8C4E-98A1-403D42B4BAE9}"/>
          </ac:spMkLst>
        </pc:spChg>
        <pc:graphicFrameChg chg="add mod modGraphic">
          <ac:chgData name="Nick Robinson" userId="d0c2b313-4ae0-4040-8c6a-fec7a720a7b5" providerId="ADAL" clId="{190131DE-6250-C84F-B491-721E6CF30BCB}" dt="2021-12-17T11:34:42.731" v="7324" actId="207"/>
          <ac:graphicFrameMkLst>
            <pc:docMk/>
            <pc:sldMk cId="2552193057" sldId="2145707170"/>
            <ac:graphicFrameMk id="19" creationId="{9520A871-D612-3443-B16B-132487BD588F}"/>
          </ac:graphicFrameMkLst>
        </pc:graphicFrameChg>
      </pc:sldChg>
      <pc:sldChg chg="del">
        <pc:chgData name="Nick Robinson" userId="d0c2b313-4ae0-4040-8c6a-fec7a720a7b5" providerId="ADAL" clId="{190131DE-6250-C84F-B491-721E6CF30BCB}" dt="2021-12-13T15:41:28.965" v="1262" actId="2696"/>
        <pc:sldMkLst>
          <pc:docMk/>
          <pc:sldMk cId="192151864" sldId="2145707171"/>
        </pc:sldMkLst>
      </pc:sldChg>
      <pc:sldChg chg="del">
        <pc:chgData name="Nick Robinson" userId="d0c2b313-4ae0-4040-8c6a-fec7a720a7b5" providerId="ADAL" clId="{190131DE-6250-C84F-B491-721E6CF30BCB}" dt="2021-12-13T15:41:19.278" v="1261" actId="2696"/>
        <pc:sldMkLst>
          <pc:docMk/>
          <pc:sldMk cId="142993496" sldId="2145707173"/>
        </pc:sldMkLst>
      </pc:sldChg>
      <pc:sldChg chg="del">
        <pc:chgData name="Nick Robinson" userId="d0c2b313-4ae0-4040-8c6a-fec7a720a7b5" providerId="ADAL" clId="{190131DE-6250-C84F-B491-721E6CF30BCB}" dt="2021-12-13T15:41:19.278" v="1261" actId="2696"/>
        <pc:sldMkLst>
          <pc:docMk/>
          <pc:sldMk cId="2534044850" sldId="2145707174"/>
        </pc:sldMkLst>
      </pc:sldChg>
      <pc:sldChg chg="del">
        <pc:chgData name="Nick Robinson" userId="d0c2b313-4ae0-4040-8c6a-fec7a720a7b5" providerId="ADAL" clId="{190131DE-6250-C84F-B491-721E6CF30BCB}" dt="2021-12-13T15:41:19.278" v="1261" actId="2696"/>
        <pc:sldMkLst>
          <pc:docMk/>
          <pc:sldMk cId="436909755" sldId="2145707175"/>
        </pc:sldMkLst>
      </pc:sldChg>
      <pc:sldChg chg="del">
        <pc:chgData name="Nick Robinson" userId="d0c2b313-4ae0-4040-8c6a-fec7a720a7b5" providerId="ADAL" clId="{190131DE-6250-C84F-B491-721E6CF30BCB}" dt="2021-12-13T15:41:19.278" v="1261" actId="2696"/>
        <pc:sldMkLst>
          <pc:docMk/>
          <pc:sldMk cId="937874512" sldId="2145707176"/>
        </pc:sldMkLst>
      </pc:sldChg>
      <pc:sldChg chg="del">
        <pc:chgData name="Nick Robinson" userId="d0c2b313-4ae0-4040-8c6a-fec7a720a7b5" providerId="ADAL" clId="{190131DE-6250-C84F-B491-721E6CF30BCB}" dt="2021-12-13T15:41:19.278" v="1261" actId="2696"/>
        <pc:sldMkLst>
          <pc:docMk/>
          <pc:sldMk cId="990398270" sldId="2145707177"/>
        </pc:sldMkLst>
      </pc:sldChg>
      <pc:sldChg chg="del">
        <pc:chgData name="Nick Robinson" userId="d0c2b313-4ae0-4040-8c6a-fec7a720a7b5" providerId="ADAL" clId="{190131DE-6250-C84F-B491-721E6CF30BCB}" dt="2021-12-13T15:41:19.278" v="1261" actId="2696"/>
        <pc:sldMkLst>
          <pc:docMk/>
          <pc:sldMk cId="3102894989" sldId="2145707178"/>
        </pc:sldMkLst>
      </pc:sldChg>
      <pc:sldChg chg="del">
        <pc:chgData name="Nick Robinson" userId="d0c2b313-4ae0-4040-8c6a-fec7a720a7b5" providerId="ADAL" clId="{190131DE-6250-C84F-B491-721E6CF30BCB}" dt="2021-12-13T15:41:19.278" v="1261" actId="2696"/>
        <pc:sldMkLst>
          <pc:docMk/>
          <pc:sldMk cId="3189410595" sldId="2145707179"/>
        </pc:sldMkLst>
      </pc:sldChg>
      <pc:sldChg chg="addSp delSp modSp mod ord">
        <pc:chgData name="Nick Robinson" userId="d0c2b313-4ae0-4040-8c6a-fec7a720a7b5" providerId="ADAL" clId="{190131DE-6250-C84F-B491-721E6CF30BCB}" dt="2021-12-21T16:53:36.793" v="24475" actId="478"/>
        <pc:sldMkLst>
          <pc:docMk/>
          <pc:sldMk cId="3817542409" sldId="2145707180"/>
        </pc:sldMkLst>
        <pc:spChg chg="mod">
          <ac:chgData name="Nick Robinson" userId="d0c2b313-4ae0-4040-8c6a-fec7a720a7b5" providerId="ADAL" clId="{190131DE-6250-C84F-B491-721E6CF30BCB}" dt="2021-12-13T11:07:10.331" v="241" actId="20577"/>
          <ac:spMkLst>
            <pc:docMk/>
            <pc:sldMk cId="3817542409" sldId="2145707180"/>
            <ac:spMk id="2" creationId="{97DF49F5-76E4-D045-9AE5-C5DFB0E4B946}"/>
          </ac:spMkLst>
        </pc:spChg>
        <pc:spChg chg="add del mod">
          <ac:chgData name="Nick Robinson" userId="d0c2b313-4ae0-4040-8c6a-fec7a720a7b5" providerId="ADAL" clId="{190131DE-6250-C84F-B491-721E6CF30BCB}" dt="2021-12-21T16:53:36.793" v="24475" actId="478"/>
          <ac:spMkLst>
            <pc:docMk/>
            <pc:sldMk cId="3817542409" sldId="2145707180"/>
            <ac:spMk id="3" creationId="{7EC74004-F909-D349-8CEB-3B490B854AEF}"/>
          </ac:spMkLst>
        </pc:spChg>
        <pc:spChg chg="add del">
          <ac:chgData name="Nick Robinson" userId="d0c2b313-4ae0-4040-8c6a-fec7a720a7b5" providerId="ADAL" clId="{190131DE-6250-C84F-B491-721E6CF30BCB}" dt="2021-12-17T11:14:08.382" v="6857" actId="478"/>
          <ac:spMkLst>
            <pc:docMk/>
            <pc:sldMk cId="3817542409" sldId="2145707180"/>
            <ac:spMk id="6" creationId="{22D65CB6-50D9-AE4A-A0C8-5E4A33AE285F}"/>
          </ac:spMkLst>
        </pc:spChg>
        <pc:graphicFrameChg chg="add del mod modGraphic">
          <ac:chgData name="Nick Robinson" userId="d0c2b313-4ae0-4040-8c6a-fec7a720a7b5" providerId="ADAL" clId="{190131DE-6250-C84F-B491-721E6CF30BCB}" dt="2021-12-17T11:13:38.140" v="6836" actId="478"/>
          <ac:graphicFrameMkLst>
            <pc:docMk/>
            <pc:sldMk cId="3817542409" sldId="2145707180"/>
            <ac:graphicFrameMk id="4" creationId="{8EAE6929-E3B6-4846-AC22-5D370C3768B7}"/>
          </ac:graphicFrameMkLst>
        </pc:graphicFrameChg>
        <pc:graphicFrameChg chg="add mod modGraphic">
          <ac:chgData name="Nick Robinson" userId="d0c2b313-4ae0-4040-8c6a-fec7a720a7b5" providerId="ADAL" clId="{190131DE-6250-C84F-B491-721E6CF30BCB}" dt="2021-12-21T11:04:11.254" v="22226" actId="207"/>
          <ac:graphicFrameMkLst>
            <pc:docMk/>
            <pc:sldMk cId="3817542409" sldId="2145707180"/>
            <ac:graphicFrameMk id="7" creationId="{55491300-71DD-9D4D-9A39-2ECB09F71D19}"/>
          </ac:graphicFrameMkLst>
        </pc:graphicFrameChg>
      </pc:sldChg>
      <pc:sldChg chg="addSp delSp modSp add del mod">
        <pc:chgData name="Nick Robinson" userId="d0c2b313-4ae0-4040-8c6a-fec7a720a7b5" providerId="ADAL" clId="{190131DE-6250-C84F-B491-721E6CF30BCB}" dt="2021-12-23T07:37:31.886" v="34384" actId="20577"/>
        <pc:sldMkLst>
          <pc:docMk/>
          <pc:sldMk cId="4278204829" sldId="2145707181"/>
        </pc:sldMkLst>
        <pc:spChg chg="mod">
          <ac:chgData name="Nick Robinson" userId="d0c2b313-4ae0-4040-8c6a-fec7a720a7b5" providerId="ADAL" clId="{190131DE-6250-C84F-B491-721E6CF30BCB}" dt="2021-12-23T07:37:31.886" v="34384" actId="20577"/>
          <ac:spMkLst>
            <pc:docMk/>
            <pc:sldMk cId="4278204829" sldId="2145707181"/>
            <ac:spMk id="3" creationId="{9727F235-D435-AC40-9012-B1AFF6D2161F}"/>
          </ac:spMkLst>
        </pc:spChg>
        <pc:spChg chg="add del mod">
          <ac:chgData name="Nick Robinson" userId="d0c2b313-4ae0-4040-8c6a-fec7a720a7b5" providerId="ADAL" clId="{190131DE-6250-C84F-B491-721E6CF30BCB}" dt="2021-12-21T16:49:32.546" v="24467" actId="478"/>
          <ac:spMkLst>
            <pc:docMk/>
            <pc:sldMk cId="4278204829" sldId="2145707181"/>
            <ac:spMk id="11" creationId="{1AE2CA93-EE0C-2B44-B87E-91409E99D9D3}"/>
          </ac:spMkLst>
        </pc:spChg>
        <pc:graphicFrameChg chg="modGraphic">
          <ac:chgData name="Nick Robinson" userId="d0c2b313-4ae0-4040-8c6a-fec7a720a7b5" providerId="ADAL" clId="{190131DE-6250-C84F-B491-721E6CF30BCB}" dt="2021-12-22T20:21:25.718" v="30215" actId="2084"/>
          <ac:graphicFrameMkLst>
            <pc:docMk/>
            <pc:sldMk cId="4278204829" sldId="2145707181"/>
            <ac:graphicFrameMk id="6" creationId="{6F702D48-9599-724C-B5B3-CF659D19C36A}"/>
          </ac:graphicFrameMkLst>
        </pc:graphicFrameChg>
        <pc:graphicFrameChg chg="add del mod">
          <ac:chgData name="Nick Robinson" userId="d0c2b313-4ae0-4040-8c6a-fec7a720a7b5" providerId="ADAL" clId="{190131DE-6250-C84F-B491-721E6CF30BCB}" dt="2021-12-17T11:33:52.547" v="7317" actId="478"/>
          <ac:graphicFrameMkLst>
            <pc:docMk/>
            <pc:sldMk cId="4278204829" sldId="2145707181"/>
            <ac:graphicFrameMk id="8" creationId="{0375393F-18F7-D641-BB59-BB8499CCD129}"/>
          </ac:graphicFrameMkLst>
        </pc:graphicFrameChg>
        <pc:graphicFrameChg chg="add del mod">
          <ac:chgData name="Nick Robinson" userId="d0c2b313-4ae0-4040-8c6a-fec7a720a7b5" providerId="ADAL" clId="{190131DE-6250-C84F-B491-721E6CF30BCB}" dt="2021-12-17T11:34:48.081" v="7325" actId="478"/>
          <ac:graphicFrameMkLst>
            <pc:docMk/>
            <pc:sldMk cId="4278204829" sldId="2145707181"/>
            <ac:graphicFrameMk id="9" creationId="{79C58D8E-7E83-FA43-81D9-204B99D9E510}"/>
          </ac:graphicFrameMkLst>
        </pc:graphicFrameChg>
        <pc:graphicFrameChg chg="add mod">
          <ac:chgData name="Nick Robinson" userId="d0c2b313-4ae0-4040-8c6a-fec7a720a7b5" providerId="ADAL" clId="{190131DE-6250-C84F-B491-721E6CF30BCB}" dt="2021-12-17T11:34:48.660" v="7326"/>
          <ac:graphicFrameMkLst>
            <pc:docMk/>
            <pc:sldMk cId="4278204829" sldId="2145707181"/>
            <ac:graphicFrameMk id="10" creationId="{D1DCE54B-E9E2-5545-872D-36D69F492A9B}"/>
          </ac:graphicFrameMkLst>
        </pc:graphicFrameChg>
      </pc:sldChg>
      <pc:sldChg chg="del">
        <pc:chgData name="Nick Robinson" userId="d0c2b313-4ae0-4040-8c6a-fec7a720a7b5" providerId="ADAL" clId="{190131DE-6250-C84F-B491-721E6CF30BCB}" dt="2021-12-13T15:41:28.965" v="1262" actId="2696"/>
        <pc:sldMkLst>
          <pc:docMk/>
          <pc:sldMk cId="203805431" sldId="2145707182"/>
        </pc:sldMkLst>
      </pc:sldChg>
      <pc:sldChg chg="del">
        <pc:chgData name="Nick Robinson" userId="d0c2b313-4ae0-4040-8c6a-fec7a720a7b5" providerId="ADAL" clId="{190131DE-6250-C84F-B491-721E6CF30BCB}" dt="2021-12-13T15:41:28.965" v="1262" actId="2696"/>
        <pc:sldMkLst>
          <pc:docMk/>
          <pc:sldMk cId="3316898016" sldId="2145707184"/>
        </pc:sldMkLst>
      </pc:sldChg>
      <pc:sldChg chg="addSp modSp del mod">
        <pc:chgData name="Nick Robinson" userId="d0c2b313-4ae0-4040-8c6a-fec7a720a7b5" providerId="ADAL" clId="{190131DE-6250-C84F-B491-721E6CF30BCB}" dt="2021-12-17T09:12:23.146" v="4437" actId="2696"/>
        <pc:sldMkLst>
          <pc:docMk/>
          <pc:sldMk cId="1279341331" sldId="2145707185"/>
        </pc:sldMkLst>
        <pc:spChg chg="mod">
          <ac:chgData name="Nick Robinson" userId="d0c2b313-4ae0-4040-8c6a-fec7a720a7b5" providerId="ADAL" clId="{190131DE-6250-C84F-B491-721E6CF30BCB}" dt="2021-12-13T15:51:11.805" v="2043" actId="20577"/>
          <ac:spMkLst>
            <pc:docMk/>
            <pc:sldMk cId="1279341331" sldId="2145707185"/>
            <ac:spMk id="2" creationId="{97DF49F5-76E4-D045-9AE5-C5DFB0E4B946}"/>
          </ac:spMkLst>
        </pc:spChg>
        <pc:graphicFrameChg chg="add mod modGraphic">
          <ac:chgData name="Nick Robinson" userId="d0c2b313-4ae0-4040-8c6a-fec7a720a7b5" providerId="ADAL" clId="{190131DE-6250-C84F-B491-721E6CF30BCB}" dt="2021-12-15T11:55:59.823" v="3351"/>
          <ac:graphicFrameMkLst>
            <pc:docMk/>
            <pc:sldMk cId="1279341331" sldId="2145707185"/>
            <ac:graphicFrameMk id="3" creationId="{88E21B5D-A227-5C42-BB67-7F9D8A030573}"/>
          </ac:graphicFrameMkLst>
        </pc:graphicFrameChg>
      </pc:sldChg>
      <pc:sldChg chg="del">
        <pc:chgData name="Nick Robinson" userId="d0c2b313-4ae0-4040-8c6a-fec7a720a7b5" providerId="ADAL" clId="{190131DE-6250-C84F-B491-721E6CF30BCB}" dt="2021-12-13T15:41:28.965" v="1262" actId="2696"/>
        <pc:sldMkLst>
          <pc:docMk/>
          <pc:sldMk cId="411085113" sldId="2145707187"/>
        </pc:sldMkLst>
      </pc:sldChg>
      <pc:sldChg chg="del">
        <pc:chgData name="Nick Robinson" userId="d0c2b313-4ae0-4040-8c6a-fec7a720a7b5" providerId="ADAL" clId="{190131DE-6250-C84F-B491-721E6CF30BCB}" dt="2021-12-13T15:44:25.009" v="1563" actId="2696"/>
        <pc:sldMkLst>
          <pc:docMk/>
          <pc:sldMk cId="120769523" sldId="2145707192"/>
        </pc:sldMkLst>
      </pc:sldChg>
      <pc:sldChg chg="addSp delSp modSp del mod ord">
        <pc:chgData name="Nick Robinson" userId="d0c2b313-4ae0-4040-8c6a-fec7a720a7b5" providerId="ADAL" clId="{190131DE-6250-C84F-B491-721E6CF30BCB}" dt="2021-12-23T13:45:12.350" v="44184" actId="2696"/>
        <pc:sldMkLst>
          <pc:docMk/>
          <pc:sldMk cId="3988442953" sldId="2145707193"/>
        </pc:sldMkLst>
        <pc:spChg chg="mod">
          <ac:chgData name="Nick Robinson" userId="d0c2b313-4ae0-4040-8c6a-fec7a720a7b5" providerId="ADAL" clId="{190131DE-6250-C84F-B491-721E6CF30BCB}" dt="2021-12-23T08:22:12.885" v="37160" actId="404"/>
          <ac:spMkLst>
            <pc:docMk/>
            <pc:sldMk cId="3988442953" sldId="2145707193"/>
            <ac:spMk id="6" creationId="{83204DAD-00AB-B349-9132-3B9BE197FECF}"/>
          </ac:spMkLst>
        </pc:spChg>
        <pc:spChg chg="add mod">
          <ac:chgData name="Nick Robinson" userId="d0c2b313-4ae0-4040-8c6a-fec7a720a7b5" providerId="ADAL" clId="{190131DE-6250-C84F-B491-721E6CF30BCB}" dt="2021-12-20T11:21:30.844" v="15370" actId="1076"/>
          <ac:spMkLst>
            <pc:docMk/>
            <pc:sldMk cId="3988442953" sldId="2145707193"/>
            <ac:spMk id="7" creationId="{5BB623E2-AC3D-4349-A345-A1F53B4FDDA5}"/>
          </ac:spMkLst>
        </pc:spChg>
        <pc:spChg chg="add del mod">
          <ac:chgData name="Nick Robinson" userId="d0c2b313-4ae0-4040-8c6a-fec7a720a7b5" providerId="ADAL" clId="{190131DE-6250-C84F-B491-721E6CF30BCB}" dt="2021-12-20T11:22:35.540" v="15380" actId="478"/>
          <ac:spMkLst>
            <pc:docMk/>
            <pc:sldMk cId="3988442953" sldId="2145707193"/>
            <ac:spMk id="10" creationId="{25ECA66A-E3AD-CE4E-B06F-DF096F4B12FD}"/>
          </ac:spMkLst>
        </pc:spChg>
        <pc:spChg chg="mod">
          <ac:chgData name="Nick Robinson" userId="d0c2b313-4ae0-4040-8c6a-fec7a720a7b5" providerId="ADAL" clId="{190131DE-6250-C84F-B491-721E6CF30BCB}" dt="2021-12-20T11:21:02.807" v="15367" actId="14100"/>
          <ac:spMkLst>
            <pc:docMk/>
            <pc:sldMk cId="3988442953" sldId="2145707193"/>
            <ac:spMk id="11" creationId="{B3612BE6-847A-C84C-AE63-9694333C9F0E}"/>
          </ac:spMkLst>
        </pc:spChg>
        <pc:spChg chg="mod">
          <ac:chgData name="Nick Robinson" userId="d0c2b313-4ae0-4040-8c6a-fec7a720a7b5" providerId="ADAL" clId="{190131DE-6250-C84F-B491-721E6CF30BCB}" dt="2021-12-23T08:28:55.339" v="37365" actId="20577"/>
          <ac:spMkLst>
            <pc:docMk/>
            <pc:sldMk cId="3988442953" sldId="2145707193"/>
            <ac:spMk id="17" creationId="{1B83EBFB-E478-4F4D-8C65-20E3FA5669B7}"/>
          </ac:spMkLst>
        </pc:spChg>
        <pc:spChg chg="add mod">
          <ac:chgData name="Nick Robinson" userId="d0c2b313-4ae0-4040-8c6a-fec7a720a7b5" providerId="ADAL" clId="{190131DE-6250-C84F-B491-721E6CF30BCB}" dt="2021-12-20T11:20:53.244" v="15363" actId="1076"/>
          <ac:spMkLst>
            <pc:docMk/>
            <pc:sldMk cId="3988442953" sldId="2145707193"/>
            <ac:spMk id="20" creationId="{A1F15CE9-0276-4C4A-AEAA-98E634F323C3}"/>
          </ac:spMkLst>
        </pc:spChg>
        <pc:graphicFrameChg chg="add del mod">
          <ac:chgData name="Nick Robinson" userId="d0c2b313-4ae0-4040-8c6a-fec7a720a7b5" providerId="ADAL" clId="{190131DE-6250-C84F-B491-721E6CF30BCB}" dt="2021-12-20T15:24:05.334" v="17617" actId="478"/>
          <ac:graphicFrameMkLst>
            <pc:docMk/>
            <pc:sldMk cId="3988442953" sldId="2145707193"/>
            <ac:graphicFrameMk id="9" creationId="{706E4181-423B-C54C-BCAA-F5A858E47167}"/>
          </ac:graphicFrameMkLst>
        </pc:graphicFrameChg>
        <pc:graphicFrameChg chg="add mod">
          <ac:chgData name="Nick Robinson" userId="d0c2b313-4ae0-4040-8c6a-fec7a720a7b5" providerId="ADAL" clId="{190131DE-6250-C84F-B491-721E6CF30BCB}" dt="2021-12-20T15:24:05.918" v="17618"/>
          <ac:graphicFrameMkLst>
            <pc:docMk/>
            <pc:sldMk cId="3988442953" sldId="2145707193"/>
            <ac:graphicFrameMk id="21" creationId="{CEF3AA05-9ECB-3447-A158-0F1748F9C2AA}"/>
          </ac:graphicFrameMkLst>
        </pc:graphicFrameChg>
        <pc:picChg chg="mod">
          <ac:chgData name="Nick Robinson" userId="d0c2b313-4ae0-4040-8c6a-fec7a720a7b5" providerId="ADAL" clId="{190131DE-6250-C84F-B491-721E6CF30BCB}" dt="2021-12-20T11:22:18.598" v="15379" actId="1076"/>
          <ac:picMkLst>
            <pc:docMk/>
            <pc:sldMk cId="3988442953" sldId="2145707193"/>
            <ac:picMk id="8" creationId="{42A67C92-8685-0D47-8D96-D84673CAC75A}"/>
          </ac:picMkLst>
        </pc:picChg>
        <pc:picChg chg="mod">
          <ac:chgData name="Nick Robinson" userId="d0c2b313-4ae0-4040-8c6a-fec7a720a7b5" providerId="ADAL" clId="{190131DE-6250-C84F-B491-721E6CF30BCB}" dt="2021-12-20T11:21:50.690" v="15373" actId="1076"/>
          <ac:picMkLst>
            <pc:docMk/>
            <pc:sldMk cId="3988442953" sldId="2145707193"/>
            <ac:picMk id="12" creationId="{0D7B83A4-C3C6-294C-9DCD-A2A58145ADBC}"/>
          </ac:picMkLst>
        </pc:picChg>
        <pc:cxnChg chg="mod">
          <ac:chgData name="Nick Robinson" userId="d0c2b313-4ae0-4040-8c6a-fec7a720a7b5" providerId="ADAL" clId="{190131DE-6250-C84F-B491-721E6CF30BCB}" dt="2021-12-20T11:17:50.485" v="15293" actId="208"/>
          <ac:cxnSpMkLst>
            <pc:docMk/>
            <pc:sldMk cId="3988442953" sldId="2145707193"/>
            <ac:cxnSpMk id="19" creationId="{E76F1EDD-710E-5E4E-A6FB-CD1503BD4064}"/>
          </ac:cxnSpMkLst>
        </pc:cxnChg>
      </pc:sldChg>
      <pc:sldChg chg="addSp delSp modSp del mod">
        <pc:chgData name="Nick Robinson" userId="d0c2b313-4ae0-4040-8c6a-fec7a720a7b5" providerId="ADAL" clId="{190131DE-6250-C84F-B491-721E6CF30BCB}" dt="2021-12-17T11:17:08.633" v="6949" actId="2696"/>
        <pc:sldMkLst>
          <pc:docMk/>
          <pc:sldMk cId="4134235827" sldId="2145707196"/>
        </pc:sldMkLst>
        <pc:spChg chg="mod">
          <ac:chgData name="Nick Robinson" userId="d0c2b313-4ae0-4040-8c6a-fec7a720a7b5" providerId="ADAL" clId="{190131DE-6250-C84F-B491-721E6CF30BCB}" dt="2021-12-15T10:32:43.055" v="2112" actId="20577"/>
          <ac:spMkLst>
            <pc:docMk/>
            <pc:sldMk cId="4134235827" sldId="2145707196"/>
            <ac:spMk id="2" creationId="{97DF49F5-76E4-D045-9AE5-C5DFB0E4B946}"/>
          </ac:spMkLst>
        </pc:spChg>
        <pc:graphicFrameChg chg="add mod modGraphic">
          <ac:chgData name="Nick Robinson" userId="d0c2b313-4ae0-4040-8c6a-fec7a720a7b5" providerId="ADAL" clId="{190131DE-6250-C84F-B491-721E6CF30BCB}" dt="2021-12-15T11:55:59.823" v="3351"/>
          <ac:graphicFrameMkLst>
            <pc:docMk/>
            <pc:sldMk cId="4134235827" sldId="2145707196"/>
            <ac:graphicFrameMk id="3" creationId="{3D84A791-EDA8-8A42-93CD-F5EC9E54A22F}"/>
          </ac:graphicFrameMkLst>
        </pc:graphicFrameChg>
        <pc:graphicFrameChg chg="add del mod">
          <ac:chgData name="Nick Robinson" userId="d0c2b313-4ae0-4040-8c6a-fec7a720a7b5" providerId="ADAL" clId="{190131DE-6250-C84F-B491-721E6CF30BCB}" dt="2021-12-13T15:41:00.752" v="1260" actId="478"/>
          <ac:graphicFrameMkLst>
            <pc:docMk/>
            <pc:sldMk cId="4134235827" sldId="2145707196"/>
            <ac:graphicFrameMk id="3" creationId="{64B0CD73-ED62-0241-A423-A0165535DF86}"/>
          </ac:graphicFrameMkLst>
        </pc:graphicFrameChg>
      </pc:sldChg>
      <pc:sldChg chg="del">
        <pc:chgData name="Nick Robinson" userId="d0c2b313-4ae0-4040-8c6a-fec7a720a7b5" providerId="ADAL" clId="{190131DE-6250-C84F-B491-721E6CF30BCB}" dt="2021-12-13T15:41:31.712" v="1263" actId="2696"/>
        <pc:sldMkLst>
          <pc:docMk/>
          <pc:sldMk cId="420552208" sldId="2145707198"/>
        </pc:sldMkLst>
      </pc:sldChg>
      <pc:sldChg chg="del">
        <pc:chgData name="Nick Robinson" userId="d0c2b313-4ae0-4040-8c6a-fec7a720a7b5" providerId="ADAL" clId="{190131DE-6250-C84F-B491-721E6CF30BCB}" dt="2021-12-13T15:41:19.278" v="1261" actId="2696"/>
        <pc:sldMkLst>
          <pc:docMk/>
          <pc:sldMk cId="2942823425" sldId="2145707199"/>
        </pc:sldMkLst>
      </pc:sldChg>
      <pc:sldChg chg="del">
        <pc:chgData name="Nick Robinson" userId="d0c2b313-4ae0-4040-8c6a-fec7a720a7b5" providerId="ADAL" clId="{190131DE-6250-C84F-B491-721E6CF30BCB}" dt="2021-12-13T15:41:28.965" v="1262" actId="2696"/>
        <pc:sldMkLst>
          <pc:docMk/>
          <pc:sldMk cId="552946183" sldId="2145707201"/>
        </pc:sldMkLst>
      </pc:sldChg>
      <pc:sldChg chg="del">
        <pc:chgData name="Nick Robinson" userId="d0c2b313-4ae0-4040-8c6a-fec7a720a7b5" providerId="ADAL" clId="{190131DE-6250-C84F-B491-721E6CF30BCB}" dt="2021-12-13T15:41:19.278" v="1261" actId="2696"/>
        <pc:sldMkLst>
          <pc:docMk/>
          <pc:sldMk cId="2787873799" sldId="2145707204"/>
        </pc:sldMkLst>
      </pc:sldChg>
      <pc:sldChg chg="del">
        <pc:chgData name="Nick Robinson" userId="d0c2b313-4ae0-4040-8c6a-fec7a720a7b5" providerId="ADAL" clId="{190131DE-6250-C84F-B491-721E6CF30BCB}" dt="2021-12-13T15:41:19.278" v="1261" actId="2696"/>
        <pc:sldMkLst>
          <pc:docMk/>
          <pc:sldMk cId="3351432992" sldId="2145707205"/>
        </pc:sldMkLst>
      </pc:sldChg>
      <pc:sldChg chg="del">
        <pc:chgData name="Nick Robinson" userId="d0c2b313-4ae0-4040-8c6a-fec7a720a7b5" providerId="ADAL" clId="{190131DE-6250-C84F-B491-721E6CF30BCB}" dt="2021-12-13T15:41:28.965" v="1262" actId="2696"/>
        <pc:sldMkLst>
          <pc:docMk/>
          <pc:sldMk cId="1352740164" sldId="2145707206"/>
        </pc:sldMkLst>
      </pc:sldChg>
      <pc:sldChg chg="del mod ord modShow">
        <pc:chgData name="Nick Robinson" userId="d0c2b313-4ae0-4040-8c6a-fec7a720a7b5" providerId="ADAL" clId="{190131DE-6250-C84F-B491-721E6CF30BCB}" dt="2021-12-23T11:18:28.519" v="42307" actId="2696"/>
        <pc:sldMkLst>
          <pc:docMk/>
          <pc:sldMk cId="1000800879" sldId="2145707207"/>
        </pc:sldMkLst>
      </pc:sldChg>
      <pc:sldChg chg="del">
        <pc:chgData name="Nick Robinson" userId="d0c2b313-4ae0-4040-8c6a-fec7a720a7b5" providerId="ADAL" clId="{190131DE-6250-C84F-B491-721E6CF30BCB}" dt="2021-12-13T15:41:28.965" v="1262" actId="2696"/>
        <pc:sldMkLst>
          <pc:docMk/>
          <pc:sldMk cId="3603620203" sldId="2145707208"/>
        </pc:sldMkLst>
      </pc:sldChg>
      <pc:sldChg chg="del">
        <pc:chgData name="Nick Robinson" userId="d0c2b313-4ae0-4040-8c6a-fec7a720a7b5" providerId="ADAL" clId="{190131DE-6250-C84F-B491-721E6CF30BCB}" dt="2021-12-13T15:41:28.965" v="1262" actId="2696"/>
        <pc:sldMkLst>
          <pc:docMk/>
          <pc:sldMk cId="2330062057" sldId="2145707209"/>
        </pc:sldMkLst>
      </pc:sldChg>
      <pc:sldChg chg="del">
        <pc:chgData name="Nick Robinson" userId="d0c2b313-4ae0-4040-8c6a-fec7a720a7b5" providerId="ADAL" clId="{190131DE-6250-C84F-B491-721E6CF30BCB}" dt="2021-12-13T15:41:28.965" v="1262" actId="2696"/>
        <pc:sldMkLst>
          <pc:docMk/>
          <pc:sldMk cId="4224498387" sldId="2145707210"/>
        </pc:sldMkLst>
      </pc:sldChg>
      <pc:sldChg chg="del">
        <pc:chgData name="Nick Robinson" userId="d0c2b313-4ae0-4040-8c6a-fec7a720a7b5" providerId="ADAL" clId="{190131DE-6250-C84F-B491-721E6CF30BCB}" dt="2021-12-13T15:41:28.965" v="1262" actId="2696"/>
        <pc:sldMkLst>
          <pc:docMk/>
          <pc:sldMk cId="1479127884" sldId="2145707211"/>
        </pc:sldMkLst>
      </pc:sldChg>
      <pc:sldChg chg="del">
        <pc:chgData name="Nick Robinson" userId="d0c2b313-4ae0-4040-8c6a-fec7a720a7b5" providerId="ADAL" clId="{190131DE-6250-C84F-B491-721E6CF30BCB}" dt="2021-12-13T15:41:28.965" v="1262" actId="2696"/>
        <pc:sldMkLst>
          <pc:docMk/>
          <pc:sldMk cId="3785697922" sldId="2145707212"/>
        </pc:sldMkLst>
      </pc:sldChg>
      <pc:sldChg chg="del">
        <pc:chgData name="Nick Robinson" userId="d0c2b313-4ae0-4040-8c6a-fec7a720a7b5" providerId="ADAL" clId="{190131DE-6250-C84F-B491-721E6CF30BCB}" dt="2021-12-13T15:41:28.965" v="1262" actId="2696"/>
        <pc:sldMkLst>
          <pc:docMk/>
          <pc:sldMk cId="1825293014" sldId="2145707213"/>
        </pc:sldMkLst>
      </pc:sldChg>
      <pc:sldChg chg="del">
        <pc:chgData name="Nick Robinson" userId="d0c2b313-4ae0-4040-8c6a-fec7a720a7b5" providerId="ADAL" clId="{190131DE-6250-C84F-B491-721E6CF30BCB}" dt="2021-12-13T15:41:28.965" v="1262" actId="2696"/>
        <pc:sldMkLst>
          <pc:docMk/>
          <pc:sldMk cId="341947764" sldId="2145707214"/>
        </pc:sldMkLst>
      </pc:sldChg>
      <pc:sldChg chg="del">
        <pc:chgData name="Nick Robinson" userId="d0c2b313-4ae0-4040-8c6a-fec7a720a7b5" providerId="ADAL" clId="{190131DE-6250-C84F-B491-721E6CF30BCB}" dt="2021-12-13T15:41:28.965" v="1262" actId="2696"/>
        <pc:sldMkLst>
          <pc:docMk/>
          <pc:sldMk cId="322981065" sldId="2145707215"/>
        </pc:sldMkLst>
      </pc:sldChg>
      <pc:sldChg chg="del">
        <pc:chgData name="Nick Robinson" userId="d0c2b313-4ae0-4040-8c6a-fec7a720a7b5" providerId="ADAL" clId="{190131DE-6250-C84F-B491-721E6CF30BCB}" dt="2021-12-13T15:41:28.965" v="1262" actId="2696"/>
        <pc:sldMkLst>
          <pc:docMk/>
          <pc:sldMk cId="1819857655" sldId="2145707216"/>
        </pc:sldMkLst>
      </pc:sldChg>
      <pc:sldChg chg="del">
        <pc:chgData name="Nick Robinson" userId="d0c2b313-4ae0-4040-8c6a-fec7a720a7b5" providerId="ADAL" clId="{190131DE-6250-C84F-B491-721E6CF30BCB}" dt="2021-12-13T15:41:28.965" v="1262" actId="2696"/>
        <pc:sldMkLst>
          <pc:docMk/>
          <pc:sldMk cId="2296764281" sldId="2145707217"/>
        </pc:sldMkLst>
      </pc:sldChg>
      <pc:sldChg chg="del">
        <pc:chgData name="Nick Robinson" userId="d0c2b313-4ae0-4040-8c6a-fec7a720a7b5" providerId="ADAL" clId="{190131DE-6250-C84F-B491-721E6CF30BCB}" dt="2021-12-13T11:07:49.527" v="300" actId="2696"/>
        <pc:sldMkLst>
          <pc:docMk/>
          <pc:sldMk cId="918896705" sldId="2145707218"/>
        </pc:sldMkLst>
      </pc:sldChg>
      <pc:sldChg chg="del mod ord modShow">
        <pc:chgData name="Nick Robinson" userId="d0c2b313-4ae0-4040-8c6a-fec7a720a7b5" providerId="ADAL" clId="{190131DE-6250-C84F-B491-721E6CF30BCB}" dt="2021-12-23T11:18:28.519" v="42307" actId="2696"/>
        <pc:sldMkLst>
          <pc:docMk/>
          <pc:sldMk cId="335313518" sldId="2145707219"/>
        </pc:sldMkLst>
      </pc:sldChg>
      <pc:sldChg chg="del">
        <pc:chgData name="Nick Robinson" userId="d0c2b313-4ae0-4040-8c6a-fec7a720a7b5" providerId="ADAL" clId="{190131DE-6250-C84F-B491-721E6CF30BCB}" dt="2021-12-13T15:41:28.965" v="1262" actId="2696"/>
        <pc:sldMkLst>
          <pc:docMk/>
          <pc:sldMk cId="3535240466" sldId="2145707220"/>
        </pc:sldMkLst>
      </pc:sldChg>
      <pc:sldChg chg="del mod ord modShow">
        <pc:chgData name="Nick Robinson" userId="d0c2b313-4ae0-4040-8c6a-fec7a720a7b5" providerId="ADAL" clId="{190131DE-6250-C84F-B491-721E6CF30BCB}" dt="2021-12-23T11:18:28.519" v="42307" actId="2696"/>
        <pc:sldMkLst>
          <pc:docMk/>
          <pc:sldMk cId="1843871537" sldId="2145707221"/>
        </pc:sldMkLst>
      </pc:sldChg>
      <pc:sldChg chg="del mod ord modShow">
        <pc:chgData name="Nick Robinson" userId="d0c2b313-4ae0-4040-8c6a-fec7a720a7b5" providerId="ADAL" clId="{190131DE-6250-C84F-B491-721E6CF30BCB}" dt="2021-12-23T11:18:28.519" v="42307" actId="2696"/>
        <pc:sldMkLst>
          <pc:docMk/>
          <pc:sldMk cId="3399233236" sldId="2145707222"/>
        </pc:sldMkLst>
      </pc:sldChg>
      <pc:sldChg chg="del mod ord modShow">
        <pc:chgData name="Nick Robinson" userId="d0c2b313-4ae0-4040-8c6a-fec7a720a7b5" providerId="ADAL" clId="{190131DE-6250-C84F-B491-721E6CF30BCB}" dt="2021-12-23T11:18:28.519" v="42307" actId="2696"/>
        <pc:sldMkLst>
          <pc:docMk/>
          <pc:sldMk cId="1583098392" sldId="2145707223"/>
        </pc:sldMkLst>
      </pc:sldChg>
      <pc:sldChg chg="del mod ord modShow">
        <pc:chgData name="Nick Robinson" userId="d0c2b313-4ae0-4040-8c6a-fec7a720a7b5" providerId="ADAL" clId="{190131DE-6250-C84F-B491-721E6CF30BCB}" dt="2021-12-23T11:18:28.519" v="42307" actId="2696"/>
        <pc:sldMkLst>
          <pc:docMk/>
          <pc:sldMk cId="2814621072" sldId="2145707225"/>
        </pc:sldMkLst>
      </pc:sldChg>
      <pc:sldChg chg="del mod ord modShow">
        <pc:chgData name="Nick Robinson" userId="d0c2b313-4ae0-4040-8c6a-fec7a720a7b5" providerId="ADAL" clId="{190131DE-6250-C84F-B491-721E6CF30BCB}" dt="2021-12-23T11:18:28.519" v="42307" actId="2696"/>
        <pc:sldMkLst>
          <pc:docMk/>
          <pc:sldMk cId="3636557473" sldId="2145707226"/>
        </pc:sldMkLst>
      </pc:sldChg>
      <pc:sldChg chg="addSp delSp modSp del mod ord modClrScheme chgLayout">
        <pc:chgData name="Nick Robinson" userId="d0c2b313-4ae0-4040-8c6a-fec7a720a7b5" providerId="ADAL" clId="{190131DE-6250-C84F-B491-721E6CF30BCB}" dt="2021-12-23T11:18:28.519" v="42307" actId="2696"/>
        <pc:sldMkLst>
          <pc:docMk/>
          <pc:sldMk cId="2537393026" sldId="2145707227"/>
        </pc:sldMkLst>
        <pc:spChg chg="mod ord">
          <ac:chgData name="Nick Robinson" userId="d0c2b313-4ae0-4040-8c6a-fec7a720a7b5" providerId="ADAL" clId="{190131DE-6250-C84F-B491-721E6CF30BCB}" dt="2021-12-15T11:17:29.457" v="2850" actId="14100"/>
          <ac:spMkLst>
            <pc:docMk/>
            <pc:sldMk cId="2537393026" sldId="2145707227"/>
            <ac:spMk id="2" creationId="{00000000-0000-0000-0000-000000000000}"/>
          </ac:spMkLst>
        </pc:spChg>
        <pc:spChg chg="add del mod">
          <ac:chgData name="Nick Robinson" userId="d0c2b313-4ae0-4040-8c6a-fec7a720a7b5" providerId="ADAL" clId="{190131DE-6250-C84F-B491-721E6CF30BCB}" dt="2021-12-15T10:48:46.375" v="2640" actId="478"/>
          <ac:spMkLst>
            <pc:docMk/>
            <pc:sldMk cId="2537393026" sldId="2145707227"/>
            <ac:spMk id="5" creationId="{C1525F7E-98BD-8743-B17F-5A690B122A30}"/>
          </ac:spMkLst>
        </pc:spChg>
        <pc:spChg chg="mod ord">
          <ac:chgData name="Nick Robinson" userId="d0c2b313-4ae0-4040-8c6a-fec7a720a7b5" providerId="ADAL" clId="{190131DE-6250-C84F-B491-721E6CF30BCB}" dt="2021-12-15T11:10:40.114" v="2721" actId="700"/>
          <ac:spMkLst>
            <pc:docMk/>
            <pc:sldMk cId="2537393026" sldId="2145707227"/>
            <ac:spMk id="6" creationId="{62E3292C-AE15-8E46-8E62-F9C713150B0B}"/>
          </ac:spMkLst>
        </pc:spChg>
        <pc:spChg chg="add del mod ord">
          <ac:chgData name="Nick Robinson" userId="d0c2b313-4ae0-4040-8c6a-fec7a720a7b5" providerId="ADAL" clId="{190131DE-6250-C84F-B491-721E6CF30BCB}" dt="2021-12-15T11:10:10.564" v="2717" actId="478"/>
          <ac:spMkLst>
            <pc:docMk/>
            <pc:sldMk cId="2537393026" sldId="2145707227"/>
            <ac:spMk id="7" creationId="{C42954ED-C508-DF49-AEF6-409FF48E8B6D}"/>
          </ac:spMkLst>
        </pc:spChg>
        <pc:spChg chg="add del mod">
          <ac:chgData name="Nick Robinson" userId="d0c2b313-4ae0-4040-8c6a-fec7a720a7b5" providerId="ADAL" clId="{190131DE-6250-C84F-B491-721E6CF30BCB}" dt="2021-12-15T11:09:44.368" v="2714" actId="478"/>
          <ac:spMkLst>
            <pc:docMk/>
            <pc:sldMk cId="2537393026" sldId="2145707227"/>
            <ac:spMk id="9" creationId="{2CA56A7A-BF44-8B48-B474-D4C2091140FA}"/>
          </ac:spMkLst>
        </pc:spChg>
        <pc:spChg chg="mod">
          <ac:chgData name="Nick Robinson" userId="d0c2b313-4ae0-4040-8c6a-fec7a720a7b5" providerId="ADAL" clId="{190131DE-6250-C84F-B491-721E6CF30BCB}" dt="2021-12-15T10:37:33.726" v="2134"/>
          <ac:spMkLst>
            <pc:docMk/>
            <pc:sldMk cId="2537393026" sldId="2145707227"/>
            <ac:spMk id="12" creationId="{363CD306-A4CF-0045-B748-E29F5A0F9D31}"/>
          </ac:spMkLst>
        </pc:spChg>
        <pc:spChg chg="mod">
          <ac:chgData name="Nick Robinson" userId="d0c2b313-4ae0-4040-8c6a-fec7a720a7b5" providerId="ADAL" clId="{190131DE-6250-C84F-B491-721E6CF30BCB}" dt="2021-12-15T10:44:14.729" v="2593" actId="14100"/>
          <ac:spMkLst>
            <pc:docMk/>
            <pc:sldMk cId="2537393026" sldId="2145707227"/>
            <ac:spMk id="13" creationId="{CB58FA81-B730-8A46-9E2B-6D4DADEAF5A0}"/>
          </ac:spMkLst>
        </pc:spChg>
        <pc:spChg chg="mod">
          <ac:chgData name="Nick Robinson" userId="d0c2b313-4ae0-4040-8c6a-fec7a720a7b5" providerId="ADAL" clId="{190131DE-6250-C84F-B491-721E6CF30BCB}" dt="2021-12-15T10:37:33.726" v="2134"/>
          <ac:spMkLst>
            <pc:docMk/>
            <pc:sldMk cId="2537393026" sldId="2145707227"/>
            <ac:spMk id="14" creationId="{F429D550-A1FA-F747-AEB3-1B00EFCA2E89}"/>
          </ac:spMkLst>
        </pc:spChg>
        <pc:spChg chg="mod">
          <ac:chgData name="Nick Robinson" userId="d0c2b313-4ae0-4040-8c6a-fec7a720a7b5" providerId="ADAL" clId="{190131DE-6250-C84F-B491-721E6CF30BCB}" dt="2021-12-15T11:03:55.497" v="2651" actId="1076"/>
          <ac:spMkLst>
            <pc:docMk/>
            <pc:sldMk cId="2537393026" sldId="2145707227"/>
            <ac:spMk id="15" creationId="{113A1493-C3F7-4D47-938D-ED28CA89D9A1}"/>
          </ac:spMkLst>
        </pc:spChg>
        <pc:spChg chg="del mod">
          <ac:chgData name="Nick Robinson" userId="d0c2b313-4ae0-4040-8c6a-fec7a720a7b5" providerId="ADAL" clId="{190131DE-6250-C84F-B491-721E6CF30BCB}" dt="2021-12-15T10:37:45.275" v="2136" actId="478"/>
          <ac:spMkLst>
            <pc:docMk/>
            <pc:sldMk cId="2537393026" sldId="2145707227"/>
            <ac:spMk id="16" creationId="{F715D659-0B3D-3441-8784-EDED0A7173C7}"/>
          </ac:spMkLst>
        </pc:spChg>
        <pc:spChg chg="mod">
          <ac:chgData name="Nick Robinson" userId="d0c2b313-4ae0-4040-8c6a-fec7a720a7b5" providerId="ADAL" clId="{190131DE-6250-C84F-B491-721E6CF30BCB}" dt="2021-12-15T11:07:00.964" v="2673" actId="20577"/>
          <ac:spMkLst>
            <pc:docMk/>
            <pc:sldMk cId="2537393026" sldId="2145707227"/>
            <ac:spMk id="17" creationId="{E8E35E51-0209-5945-B654-6D60D76F3E81}"/>
          </ac:spMkLst>
        </pc:spChg>
        <pc:spChg chg="mod">
          <ac:chgData name="Nick Robinson" userId="d0c2b313-4ae0-4040-8c6a-fec7a720a7b5" providerId="ADAL" clId="{190131DE-6250-C84F-B491-721E6CF30BCB}" dt="2021-12-15T10:37:33.726" v="2134"/>
          <ac:spMkLst>
            <pc:docMk/>
            <pc:sldMk cId="2537393026" sldId="2145707227"/>
            <ac:spMk id="18" creationId="{9207FCF8-80BA-C042-9F09-82F607D1BD45}"/>
          </ac:spMkLst>
        </pc:spChg>
        <pc:spChg chg="mod">
          <ac:chgData name="Nick Robinson" userId="d0c2b313-4ae0-4040-8c6a-fec7a720a7b5" providerId="ADAL" clId="{190131DE-6250-C84F-B491-721E6CF30BCB}" dt="2021-12-15T11:06:17.767" v="2665" actId="166"/>
          <ac:spMkLst>
            <pc:docMk/>
            <pc:sldMk cId="2537393026" sldId="2145707227"/>
            <ac:spMk id="19" creationId="{79C4484F-911B-E840-B3D4-C6028EC5299F}"/>
          </ac:spMkLst>
        </pc:spChg>
        <pc:spChg chg="mod">
          <ac:chgData name="Nick Robinson" userId="d0c2b313-4ae0-4040-8c6a-fec7a720a7b5" providerId="ADAL" clId="{190131DE-6250-C84F-B491-721E6CF30BCB}" dt="2021-12-15T11:06:25.549" v="2666" actId="166"/>
          <ac:spMkLst>
            <pc:docMk/>
            <pc:sldMk cId="2537393026" sldId="2145707227"/>
            <ac:spMk id="20" creationId="{4993CAD8-93A8-E442-9D91-DBA809B62EBE}"/>
          </ac:spMkLst>
        </pc:spChg>
        <pc:spChg chg="add del mod">
          <ac:chgData name="Nick Robinson" userId="d0c2b313-4ae0-4040-8c6a-fec7a720a7b5" providerId="ADAL" clId="{190131DE-6250-C84F-B491-721E6CF30BCB}" dt="2021-12-15T11:09:44.368" v="2714" actId="478"/>
          <ac:spMkLst>
            <pc:docMk/>
            <pc:sldMk cId="2537393026" sldId="2145707227"/>
            <ac:spMk id="21" creationId="{637AE239-D5D8-E246-B457-1416AE252799}"/>
          </ac:spMkLst>
        </pc:spChg>
        <pc:spChg chg="add del mod">
          <ac:chgData name="Nick Robinson" userId="d0c2b313-4ae0-4040-8c6a-fec7a720a7b5" providerId="ADAL" clId="{190131DE-6250-C84F-B491-721E6CF30BCB}" dt="2021-12-15T11:09:44.368" v="2714" actId="478"/>
          <ac:spMkLst>
            <pc:docMk/>
            <pc:sldMk cId="2537393026" sldId="2145707227"/>
            <ac:spMk id="22" creationId="{F695EC04-F7C2-0E42-863B-6479EBA27254}"/>
          </ac:spMkLst>
        </pc:spChg>
        <pc:spChg chg="add del mod">
          <ac:chgData name="Nick Robinson" userId="d0c2b313-4ae0-4040-8c6a-fec7a720a7b5" providerId="ADAL" clId="{190131DE-6250-C84F-B491-721E6CF30BCB}" dt="2021-12-15T11:09:44.368" v="2714" actId="478"/>
          <ac:spMkLst>
            <pc:docMk/>
            <pc:sldMk cId="2537393026" sldId="2145707227"/>
            <ac:spMk id="23" creationId="{5380CEE4-F451-4949-AD58-7CBAE0A29AD0}"/>
          </ac:spMkLst>
        </pc:spChg>
        <pc:spChg chg="add del mod">
          <ac:chgData name="Nick Robinson" userId="d0c2b313-4ae0-4040-8c6a-fec7a720a7b5" providerId="ADAL" clId="{190131DE-6250-C84F-B491-721E6CF30BCB}" dt="2021-12-15T11:09:44.368" v="2714" actId="478"/>
          <ac:spMkLst>
            <pc:docMk/>
            <pc:sldMk cId="2537393026" sldId="2145707227"/>
            <ac:spMk id="24" creationId="{AA51AAB4-B1E8-FF44-9E53-50EDDB3FD9CF}"/>
          </ac:spMkLst>
        </pc:spChg>
        <pc:spChg chg="add del mod">
          <ac:chgData name="Nick Robinson" userId="d0c2b313-4ae0-4040-8c6a-fec7a720a7b5" providerId="ADAL" clId="{190131DE-6250-C84F-B491-721E6CF30BCB}" dt="2021-12-15T10:39:13.967" v="2159" actId="478"/>
          <ac:spMkLst>
            <pc:docMk/>
            <pc:sldMk cId="2537393026" sldId="2145707227"/>
            <ac:spMk id="26" creationId="{560A3F73-0FCF-B64F-ABE3-3B07A5833041}"/>
          </ac:spMkLst>
        </pc:spChg>
        <pc:spChg chg="add del mod">
          <ac:chgData name="Nick Robinson" userId="d0c2b313-4ae0-4040-8c6a-fec7a720a7b5" providerId="ADAL" clId="{190131DE-6250-C84F-B491-721E6CF30BCB}" dt="2021-12-15T10:38:56.675" v="2149" actId="478"/>
          <ac:spMkLst>
            <pc:docMk/>
            <pc:sldMk cId="2537393026" sldId="2145707227"/>
            <ac:spMk id="27" creationId="{6F30A712-A5FB-6C4D-A27F-0DBAF8956154}"/>
          </ac:spMkLst>
        </pc:spChg>
        <pc:spChg chg="del mod topLvl">
          <ac:chgData name="Nick Robinson" userId="d0c2b313-4ae0-4040-8c6a-fec7a720a7b5" providerId="ADAL" clId="{190131DE-6250-C84F-B491-721E6CF30BCB}" dt="2021-12-15T11:09:44.368" v="2714" actId="478"/>
          <ac:spMkLst>
            <pc:docMk/>
            <pc:sldMk cId="2537393026" sldId="2145707227"/>
            <ac:spMk id="29" creationId="{97F09A8B-CE80-D54A-ADDD-99DBA9A825ED}"/>
          </ac:spMkLst>
        </pc:spChg>
        <pc:spChg chg="add del mod">
          <ac:chgData name="Nick Robinson" userId="d0c2b313-4ae0-4040-8c6a-fec7a720a7b5" providerId="ADAL" clId="{190131DE-6250-C84F-B491-721E6CF30BCB}" dt="2021-12-15T10:39:11.284" v="2156" actId="478"/>
          <ac:spMkLst>
            <pc:docMk/>
            <pc:sldMk cId="2537393026" sldId="2145707227"/>
            <ac:spMk id="31" creationId="{9D3E028D-E1C3-C748-B148-8784F086B952}"/>
          </ac:spMkLst>
        </pc:spChg>
        <pc:spChg chg="add del mod">
          <ac:chgData name="Nick Robinson" userId="d0c2b313-4ae0-4040-8c6a-fec7a720a7b5" providerId="ADAL" clId="{190131DE-6250-C84F-B491-721E6CF30BCB}" dt="2021-12-15T10:38:57.752" v="2150" actId="478"/>
          <ac:spMkLst>
            <pc:docMk/>
            <pc:sldMk cId="2537393026" sldId="2145707227"/>
            <ac:spMk id="32" creationId="{09982DD6-7C1E-CA44-99BE-F07D1B5878FB}"/>
          </ac:spMkLst>
        </pc:spChg>
        <pc:spChg chg="mod">
          <ac:chgData name="Nick Robinson" userId="d0c2b313-4ae0-4040-8c6a-fec7a720a7b5" providerId="ADAL" clId="{190131DE-6250-C84F-B491-721E6CF30BCB}" dt="2021-12-15T10:37:33.726" v="2134"/>
          <ac:spMkLst>
            <pc:docMk/>
            <pc:sldMk cId="2537393026" sldId="2145707227"/>
            <ac:spMk id="34" creationId="{348CEC78-4F97-B747-B0CB-011DB116E283}"/>
          </ac:spMkLst>
        </pc:spChg>
        <pc:spChg chg="mod">
          <ac:chgData name="Nick Robinson" userId="d0c2b313-4ae0-4040-8c6a-fec7a720a7b5" providerId="ADAL" clId="{190131DE-6250-C84F-B491-721E6CF30BCB}" dt="2021-12-15T10:37:33.726" v="2134"/>
          <ac:spMkLst>
            <pc:docMk/>
            <pc:sldMk cId="2537393026" sldId="2145707227"/>
            <ac:spMk id="37" creationId="{1431FD1C-10E2-8A45-9EEB-37BF2886A0B0}"/>
          </ac:spMkLst>
        </pc:spChg>
        <pc:spChg chg="mod">
          <ac:chgData name="Nick Robinson" userId="d0c2b313-4ae0-4040-8c6a-fec7a720a7b5" providerId="ADAL" clId="{190131DE-6250-C84F-B491-721E6CF30BCB}" dt="2021-12-15T10:37:33.726" v="2134"/>
          <ac:spMkLst>
            <pc:docMk/>
            <pc:sldMk cId="2537393026" sldId="2145707227"/>
            <ac:spMk id="40" creationId="{3DE16C3B-493E-AB43-A02F-B081EFFF319A}"/>
          </ac:spMkLst>
        </pc:spChg>
        <pc:spChg chg="mod">
          <ac:chgData name="Nick Robinson" userId="d0c2b313-4ae0-4040-8c6a-fec7a720a7b5" providerId="ADAL" clId="{190131DE-6250-C84F-B491-721E6CF30BCB}" dt="2021-12-15T10:37:33.726" v="2134"/>
          <ac:spMkLst>
            <pc:docMk/>
            <pc:sldMk cId="2537393026" sldId="2145707227"/>
            <ac:spMk id="43" creationId="{DBA7BAE7-B871-0442-8301-C8FDC7E472CF}"/>
          </ac:spMkLst>
        </pc:spChg>
        <pc:spChg chg="mod">
          <ac:chgData name="Nick Robinson" userId="d0c2b313-4ae0-4040-8c6a-fec7a720a7b5" providerId="ADAL" clId="{190131DE-6250-C84F-B491-721E6CF30BCB}" dt="2021-12-15T10:37:33.726" v="2134"/>
          <ac:spMkLst>
            <pc:docMk/>
            <pc:sldMk cId="2537393026" sldId="2145707227"/>
            <ac:spMk id="46" creationId="{76A8A55C-0E50-5C49-AA4F-5449E35A2143}"/>
          </ac:spMkLst>
        </pc:spChg>
        <pc:spChg chg="add del mod">
          <ac:chgData name="Nick Robinson" userId="d0c2b313-4ae0-4040-8c6a-fec7a720a7b5" providerId="ADAL" clId="{190131DE-6250-C84F-B491-721E6CF30BCB}" dt="2021-12-15T10:38:59.233" v="2151" actId="478"/>
          <ac:spMkLst>
            <pc:docMk/>
            <pc:sldMk cId="2537393026" sldId="2145707227"/>
            <ac:spMk id="48" creationId="{5108C4A9-F917-5C45-82A8-91F8672CCF39}"/>
          </ac:spMkLst>
        </pc:spChg>
        <pc:spChg chg="add del mod">
          <ac:chgData name="Nick Robinson" userId="d0c2b313-4ae0-4040-8c6a-fec7a720a7b5" providerId="ADAL" clId="{190131DE-6250-C84F-B491-721E6CF30BCB}" dt="2021-12-15T11:09:44.368" v="2714" actId="478"/>
          <ac:spMkLst>
            <pc:docMk/>
            <pc:sldMk cId="2537393026" sldId="2145707227"/>
            <ac:spMk id="49" creationId="{3B160B54-8135-C245-BDF0-19EEAB77FB3F}"/>
          </ac:spMkLst>
        </pc:spChg>
        <pc:spChg chg="add del mod">
          <ac:chgData name="Nick Robinson" userId="d0c2b313-4ae0-4040-8c6a-fec7a720a7b5" providerId="ADAL" clId="{190131DE-6250-C84F-B491-721E6CF30BCB}" dt="2021-12-15T11:09:44.368" v="2714" actId="478"/>
          <ac:spMkLst>
            <pc:docMk/>
            <pc:sldMk cId="2537393026" sldId="2145707227"/>
            <ac:spMk id="50" creationId="{85A7EE27-AF00-7B49-98DD-04D14B3DD6CA}"/>
          </ac:spMkLst>
        </pc:spChg>
        <pc:spChg chg="add del mod">
          <ac:chgData name="Nick Robinson" userId="d0c2b313-4ae0-4040-8c6a-fec7a720a7b5" providerId="ADAL" clId="{190131DE-6250-C84F-B491-721E6CF30BCB}" dt="2021-12-15T11:09:44.368" v="2714" actId="478"/>
          <ac:spMkLst>
            <pc:docMk/>
            <pc:sldMk cId="2537393026" sldId="2145707227"/>
            <ac:spMk id="51" creationId="{9C82F8FD-CCD3-5F4A-AC61-504B531AEAC0}"/>
          </ac:spMkLst>
        </pc:spChg>
        <pc:spChg chg="add del mod">
          <ac:chgData name="Nick Robinson" userId="d0c2b313-4ae0-4040-8c6a-fec7a720a7b5" providerId="ADAL" clId="{190131DE-6250-C84F-B491-721E6CF30BCB}" dt="2021-12-15T11:09:44.368" v="2714" actId="478"/>
          <ac:spMkLst>
            <pc:docMk/>
            <pc:sldMk cId="2537393026" sldId="2145707227"/>
            <ac:spMk id="52" creationId="{F3862548-BD1F-E848-ADF9-A8145B75B227}"/>
          </ac:spMkLst>
        </pc:spChg>
        <pc:spChg chg="add del mod">
          <ac:chgData name="Nick Robinson" userId="d0c2b313-4ae0-4040-8c6a-fec7a720a7b5" providerId="ADAL" clId="{190131DE-6250-C84F-B491-721E6CF30BCB}" dt="2021-12-15T11:09:44.368" v="2714" actId="478"/>
          <ac:spMkLst>
            <pc:docMk/>
            <pc:sldMk cId="2537393026" sldId="2145707227"/>
            <ac:spMk id="53" creationId="{D7B08926-E40A-A748-AB73-C349B904B37B}"/>
          </ac:spMkLst>
        </pc:spChg>
        <pc:spChg chg="mod">
          <ac:chgData name="Nick Robinson" userId="d0c2b313-4ae0-4040-8c6a-fec7a720a7b5" providerId="ADAL" clId="{190131DE-6250-C84F-B491-721E6CF30BCB}" dt="2021-12-15T10:37:33.726" v="2134"/>
          <ac:spMkLst>
            <pc:docMk/>
            <pc:sldMk cId="2537393026" sldId="2145707227"/>
            <ac:spMk id="55" creationId="{80197449-4896-9C41-8816-EEAF109C23FA}"/>
          </ac:spMkLst>
        </pc:spChg>
        <pc:spChg chg="mod">
          <ac:chgData name="Nick Robinson" userId="d0c2b313-4ae0-4040-8c6a-fec7a720a7b5" providerId="ADAL" clId="{190131DE-6250-C84F-B491-721E6CF30BCB}" dt="2021-12-15T10:37:33.726" v="2134"/>
          <ac:spMkLst>
            <pc:docMk/>
            <pc:sldMk cId="2537393026" sldId="2145707227"/>
            <ac:spMk id="58" creationId="{B8A4E367-EBC5-3C48-9EB2-D1A2E91E696F}"/>
          </ac:spMkLst>
        </pc:spChg>
        <pc:spChg chg="mod">
          <ac:chgData name="Nick Robinson" userId="d0c2b313-4ae0-4040-8c6a-fec7a720a7b5" providerId="ADAL" clId="{190131DE-6250-C84F-B491-721E6CF30BCB}" dt="2021-12-15T10:37:33.726" v="2134"/>
          <ac:spMkLst>
            <pc:docMk/>
            <pc:sldMk cId="2537393026" sldId="2145707227"/>
            <ac:spMk id="61" creationId="{C8FF6E3D-366D-F549-842F-8C6E53C9AC51}"/>
          </ac:spMkLst>
        </pc:spChg>
        <pc:spChg chg="mod">
          <ac:chgData name="Nick Robinson" userId="d0c2b313-4ae0-4040-8c6a-fec7a720a7b5" providerId="ADAL" clId="{190131DE-6250-C84F-B491-721E6CF30BCB}" dt="2021-12-15T10:37:33.726" v="2134"/>
          <ac:spMkLst>
            <pc:docMk/>
            <pc:sldMk cId="2537393026" sldId="2145707227"/>
            <ac:spMk id="64" creationId="{BB416ACE-5B95-8041-954B-B2C841069D5B}"/>
          </ac:spMkLst>
        </pc:spChg>
        <pc:spChg chg="mod">
          <ac:chgData name="Nick Robinson" userId="d0c2b313-4ae0-4040-8c6a-fec7a720a7b5" providerId="ADAL" clId="{190131DE-6250-C84F-B491-721E6CF30BCB}" dt="2021-12-15T10:37:33.726" v="2134"/>
          <ac:spMkLst>
            <pc:docMk/>
            <pc:sldMk cId="2537393026" sldId="2145707227"/>
            <ac:spMk id="67" creationId="{FFCB427C-E3AE-9A4A-A313-89F77E765B17}"/>
          </ac:spMkLst>
        </pc:spChg>
        <pc:spChg chg="add del mod">
          <ac:chgData name="Nick Robinson" userId="d0c2b313-4ae0-4040-8c6a-fec7a720a7b5" providerId="ADAL" clId="{190131DE-6250-C84F-B491-721E6CF30BCB}" dt="2021-12-15T11:09:44.368" v="2714" actId="478"/>
          <ac:spMkLst>
            <pc:docMk/>
            <pc:sldMk cId="2537393026" sldId="2145707227"/>
            <ac:spMk id="69" creationId="{9C61636C-C63B-0D41-A80B-249E046F2528}"/>
          </ac:spMkLst>
        </pc:spChg>
        <pc:spChg chg="mod">
          <ac:chgData name="Nick Robinson" userId="d0c2b313-4ae0-4040-8c6a-fec7a720a7b5" providerId="ADAL" clId="{190131DE-6250-C84F-B491-721E6CF30BCB}" dt="2021-12-15T10:37:33.726" v="2134"/>
          <ac:spMkLst>
            <pc:docMk/>
            <pc:sldMk cId="2537393026" sldId="2145707227"/>
            <ac:spMk id="71" creationId="{EAF250A7-47E1-814F-A46E-6D96B4C8A160}"/>
          </ac:spMkLst>
        </pc:spChg>
        <pc:spChg chg="add del mod">
          <ac:chgData name="Nick Robinson" userId="d0c2b313-4ae0-4040-8c6a-fec7a720a7b5" providerId="ADAL" clId="{190131DE-6250-C84F-B491-721E6CF30BCB}" dt="2021-12-15T11:09:44.368" v="2714" actId="478"/>
          <ac:spMkLst>
            <pc:docMk/>
            <pc:sldMk cId="2537393026" sldId="2145707227"/>
            <ac:spMk id="73" creationId="{1B693403-0D16-8D45-A4C8-3E31E89194D6}"/>
          </ac:spMkLst>
        </pc:spChg>
        <pc:spChg chg="mod">
          <ac:chgData name="Nick Robinson" userId="d0c2b313-4ae0-4040-8c6a-fec7a720a7b5" providerId="ADAL" clId="{190131DE-6250-C84F-B491-721E6CF30BCB}" dt="2021-12-15T10:37:33.726" v="2134"/>
          <ac:spMkLst>
            <pc:docMk/>
            <pc:sldMk cId="2537393026" sldId="2145707227"/>
            <ac:spMk id="75" creationId="{E525D5B6-CCAB-024F-A4C7-5E81E529C4BE}"/>
          </ac:spMkLst>
        </pc:spChg>
        <pc:spChg chg="add del mod">
          <ac:chgData name="Nick Robinson" userId="d0c2b313-4ae0-4040-8c6a-fec7a720a7b5" providerId="ADAL" clId="{190131DE-6250-C84F-B491-721E6CF30BCB}" dt="2021-12-15T11:09:44.368" v="2714" actId="478"/>
          <ac:spMkLst>
            <pc:docMk/>
            <pc:sldMk cId="2537393026" sldId="2145707227"/>
            <ac:spMk id="77" creationId="{77502422-1947-064F-A289-96343FC2F1C2}"/>
          </ac:spMkLst>
        </pc:spChg>
        <pc:spChg chg="mod">
          <ac:chgData name="Nick Robinson" userId="d0c2b313-4ae0-4040-8c6a-fec7a720a7b5" providerId="ADAL" clId="{190131DE-6250-C84F-B491-721E6CF30BCB}" dt="2021-12-15T10:37:33.726" v="2134"/>
          <ac:spMkLst>
            <pc:docMk/>
            <pc:sldMk cId="2537393026" sldId="2145707227"/>
            <ac:spMk id="79" creationId="{5BECA4CD-6369-2146-BB53-F48A08D54ABF}"/>
          </ac:spMkLst>
        </pc:spChg>
        <pc:spChg chg="add del mod">
          <ac:chgData name="Nick Robinson" userId="d0c2b313-4ae0-4040-8c6a-fec7a720a7b5" providerId="ADAL" clId="{190131DE-6250-C84F-B491-721E6CF30BCB}" dt="2021-12-15T11:09:44.368" v="2714" actId="478"/>
          <ac:spMkLst>
            <pc:docMk/>
            <pc:sldMk cId="2537393026" sldId="2145707227"/>
            <ac:spMk id="81" creationId="{AB6AF668-8FDF-9E46-B064-83830C726D89}"/>
          </ac:spMkLst>
        </pc:spChg>
        <pc:spChg chg="mod">
          <ac:chgData name="Nick Robinson" userId="d0c2b313-4ae0-4040-8c6a-fec7a720a7b5" providerId="ADAL" clId="{190131DE-6250-C84F-B491-721E6CF30BCB}" dt="2021-12-15T10:37:33.726" v="2134"/>
          <ac:spMkLst>
            <pc:docMk/>
            <pc:sldMk cId="2537393026" sldId="2145707227"/>
            <ac:spMk id="83" creationId="{7CFDB93E-EBC6-0248-9E1C-09CE8B1B07B8}"/>
          </ac:spMkLst>
        </pc:spChg>
        <pc:spChg chg="add del mod">
          <ac:chgData name="Nick Robinson" userId="d0c2b313-4ae0-4040-8c6a-fec7a720a7b5" providerId="ADAL" clId="{190131DE-6250-C84F-B491-721E6CF30BCB}" dt="2021-12-15T11:09:44.368" v="2714" actId="478"/>
          <ac:spMkLst>
            <pc:docMk/>
            <pc:sldMk cId="2537393026" sldId="2145707227"/>
            <ac:spMk id="85" creationId="{2A950C96-DB6B-DD44-85C1-45A0BD560636}"/>
          </ac:spMkLst>
        </pc:spChg>
        <pc:spChg chg="add del mod">
          <ac:chgData name="Nick Robinson" userId="d0c2b313-4ae0-4040-8c6a-fec7a720a7b5" providerId="ADAL" clId="{190131DE-6250-C84F-B491-721E6CF30BCB}" dt="2021-12-15T11:09:44.368" v="2714" actId="478"/>
          <ac:spMkLst>
            <pc:docMk/>
            <pc:sldMk cId="2537393026" sldId="2145707227"/>
            <ac:spMk id="86" creationId="{C4EDEAB4-FC7C-A840-BA07-4DB25C2212F9}"/>
          </ac:spMkLst>
        </pc:spChg>
        <pc:spChg chg="add del mod">
          <ac:chgData name="Nick Robinson" userId="d0c2b313-4ae0-4040-8c6a-fec7a720a7b5" providerId="ADAL" clId="{190131DE-6250-C84F-B491-721E6CF30BCB}" dt="2021-12-15T11:09:44.368" v="2714" actId="478"/>
          <ac:spMkLst>
            <pc:docMk/>
            <pc:sldMk cId="2537393026" sldId="2145707227"/>
            <ac:spMk id="87" creationId="{7AE20C36-C481-E545-8E69-748C8126C617}"/>
          </ac:spMkLst>
        </pc:spChg>
        <pc:spChg chg="add del mod">
          <ac:chgData name="Nick Robinson" userId="d0c2b313-4ae0-4040-8c6a-fec7a720a7b5" providerId="ADAL" clId="{190131DE-6250-C84F-B491-721E6CF30BCB}" dt="2021-12-15T11:09:44.368" v="2714" actId="478"/>
          <ac:spMkLst>
            <pc:docMk/>
            <pc:sldMk cId="2537393026" sldId="2145707227"/>
            <ac:spMk id="88" creationId="{A96C060B-BB4D-0149-B253-2601956F19E3}"/>
          </ac:spMkLst>
        </pc:spChg>
        <pc:spChg chg="mod">
          <ac:chgData name="Nick Robinson" userId="d0c2b313-4ae0-4040-8c6a-fec7a720a7b5" providerId="ADAL" clId="{190131DE-6250-C84F-B491-721E6CF30BCB}" dt="2021-12-15T10:37:33.726" v="2134"/>
          <ac:spMkLst>
            <pc:docMk/>
            <pc:sldMk cId="2537393026" sldId="2145707227"/>
            <ac:spMk id="90" creationId="{6EFDE014-5AB7-6E4F-8D86-DA71386DD4CE}"/>
          </ac:spMkLst>
        </pc:spChg>
        <pc:spChg chg="mod">
          <ac:chgData name="Nick Robinson" userId="d0c2b313-4ae0-4040-8c6a-fec7a720a7b5" providerId="ADAL" clId="{190131DE-6250-C84F-B491-721E6CF30BCB}" dt="2021-12-15T10:37:33.726" v="2134"/>
          <ac:spMkLst>
            <pc:docMk/>
            <pc:sldMk cId="2537393026" sldId="2145707227"/>
            <ac:spMk id="93" creationId="{90503043-7B49-6944-BA69-0E79C45CAC3C}"/>
          </ac:spMkLst>
        </pc:spChg>
        <pc:spChg chg="mod">
          <ac:chgData name="Nick Robinson" userId="d0c2b313-4ae0-4040-8c6a-fec7a720a7b5" providerId="ADAL" clId="{190131DE-6250-C84F-B491-721E6CF30BCB}" dt="2021-12-15T10:37:33.726" v="2134"/>
          <ac:spMkLst>
            <pc:docMk/>
            <pc:sldMk cId="2537393026" sldId="2145707227"/>
            <ac:spMk id="96" creationId="{52EA0A38-89F1-1C47-8E76-E52421DB24D0}"/>
          </ac:spMkLst>
        </pc:spChg>
        <pc:spChg chg="mod">
          <ac:chgData name="Nick Robinson" userId="d0c2b313-4ae0-4040-8c6a-fec7a720a7b5" providerId="ADAL" clId="{190131DE-6250-C84F-B491-721E6CF30BCB}" dt="2021-12-15T10:37:33.726" v="2134"/>
          <ac:spMkLst>
            <pc:docMk/>
            <pc:sldMk cId="2537393026" sldId="2145707227"/>
            <ac:spMk id="99" creationId="{E363023F-9909-4E4D-949D-3C58DE2C595F}"/>
          </ac:spMkLst>
        </pc:spChg>
        <pc:spChg chg="mod">
          <ac:chgData name="Nick Robinson" userId="d0c2b313-4ae0-4040-8c6a-fec7a720a7b5" providerId="ADAL" clId="{190131DE-6250-C84F-B491-721E6CF30BCB}" dt="2021-12-15T10:37:33.726" v="2134"/>
          <ac:spMkLst>
            <pc:docMk/>
            <pc:sldMk cId="2537393026" sldId="2145707227"/>
            <ac:spMk id="102" creationId="{B38549EA-C86E-E049-ACBE-9759E443BF08}"/>
          </ac:spMkLst>
        </pc:spChg>
        <pc:spChg chg="add del mod">
          <ac:chgData name="Nick Robinson" userId="d0c2b313-4ae0-4040-8c6a-fec7a720a7b5" providerId="ADAL" clId="{190131DE-6250-C84F-B491-721E6CF30BCB}" dt="2021-12-15T11:09:44.368" v="2714" actId="478"/>
          <ac:spMkLst>
            <pc:docMk/>
            <pc:sldMk cId="2537393026" sldId="2145707227"/>
            <ac:spMk id="104" creationId="{A3162C21-BD7B-1549-BB52-62D337F4CF6F}"/>
          </ac:spMkLst>
        </pc:spChg>
        <pc:spChg chg="add del mod">
          <ac:chgData name="Nick Robinson" userId="d0c2b313-4ae0-4040-8c6a-fec7a720a7b5" providerId="ADAL" clId="{190131DE-6250-C84F-B491-721E6CF30BCB}" dt="2021-12-15T11:09:44.368" v="2714" actId="478"/>
          <ac:spMkLst>
            <pc:docMk/>
            <pc:sldMk cId="2537393026" sldId="2145707227"/>
            <ac:spMk id="105" creationId="{524E999D-4F7C-5840-A3A5-275237DD76E8}"/>
          </ac:spMkLst>
        </pc:spChg>
        <pc:spChg chg="add del mod">
          <ac:chgData name="Nick Robinson" userId="d0c2b313-4ae0-4040-8c6a-fec7a720a7b5" providerId="ADAL" clId="{190131DE-6250-C84F-B491-721E6CF30BCB}" dt="2021-12-15T11:09:44.368" v="2714" actId="478"/>
          <ac:spMkLst>
            <pc:docMk/>
            <pc:sldMk cId="2537393026" sldId="2145707227"/>
            <ac:spMk id="106" creationId="{B833BF3F-AB43-8448-BF0B-1D5A05EDCC7C}"/>
          </ac:spMkLst>
        </pc:spChg>
        <pc:spChg chg="mod">
          <ac:chgData name="Nick Robinson" userId="d0c2b313-4ae0-4040-8c6a-fec7a720a7b5" providerId="ADAL" clId="{190131DE-6250-C84F-B491-721E6CF30BCB}" dt="2021-12-15T10:37:33.726" v="2134"/>
          <ac:spMkLst>
            <pc:docMk/>
            <pc:sldMk cId="2537393026" sldId="2145707227"/>
            <ac:spMk id="108" creationId="{9ED7C978-88CC-1A4E-B8DD-C69793C1B71C}"/>
          </ac:spMkLst>
        </pc:spChg>
        <pc:spChg chg="mod">
          <ac:chgData name="Nick Robinson" userId="d0c2b313-4ae0-4040-8c6a-fec7a720a7b5" providerId="ADAL" clId="{190131DE-6250-C84F-B491-721E6CF30BCB}" dt="2021-12-15T10:37:33.726" v="2134"/>
          <ac:spMkLst>
            <pc:docMk/>
            <pc:sldMk cId="2537393026" sldId="2145707227"/>
            <ac:spMk id="111" creationId="{6F6C912A-D1A8-B647-81A4-6DEAFF4CFD80}"/>
          </ac:spMkLst>
        </pc:spChg>
        <pc:spChg chg="mod">
          <ac:chgData name="Nick Robinson" userId="d0c2b313-4ae0-4040-8c6a-fec7a720a7b5" providerId="ADAL" clId="{190131DE-6250-C84F-B491-721E6CF30BCB}" dt="2021-12-15T10:37:33.726" v="2134"/>
          <ac:spMkLst>
            <pc:docMk/>
            <pc:sldMk cId="2537393026" sldId="2145707227"/>
            <ac:spMk id="114" creationId="{74B6B162-D8FF-4A4F-BA51-746741EC4097}"/>
          </ac:spMkLst>
        </pc:spChg>
        <pc:spChg chg="add del mod">
          <ac:chgData name="Nick Robinson" userId="d0c2b313-4ae0-4040-8c6a-fec7a720a7b5" providerId="ADAL" clId="{190131DE-6250-C84F-B491-721E6CF30BCB}" dt="2021-12-15T11:09:44.368" v="2714" actId="478"/>
          <ac:spMkLst>
            <pc:docMk/>
            <pc:sldMk cId="2537393026" sldId="2145707227"/>
            <ac:spMk id="116" creationId="{B7B0788E-F9B0-5948-A64C-A5E3DE40E2EE}"/>
          </ac:spMkLst>
        </pc:spChg>
        <pc:spChg chg="add del mod">
          <ac:chgData name="Nick Robinson" userId="d0c2b313-4ae0-4040-8c6a-fec7a720a7b5" providerId="ADAL" clId="{190131DE-6250-C84F-B491-721E6CF30BCB}" dt="2021-12-15T11:09:44.368" v="2714" actId="478"/>
          <ac:spMkLst>
            <pc:docMk/>
            <pc:sldMk cId="2537393026" sldId="2145707227"/>
            <ac:spMk id="117" creationId="{BF07D350-01C9-9948-8A7C-DCF2543E15BD}"/>
          </ac:spMkLst>
        </pc:spChg>
        <pc:spChg chg="add del mod">
          <ac:chgData name="Nick Robinson" userId="d0c2b313-4ae0-4040-8c6a-fec7a720a7b5" providerId="ADAL" clId="{190131DE-6250-C84F-B491-721E6CF30BCB}" dt="2021-12-15T11:09:44.368" v="2714" actId="478"/>
          <ac:spMkLst>
            <pc:docMk/>
            <pc:sldMk cId="2537393026" sldId="2145707227"/>
            <ac:spMk id="118" creationId="{89073BDE-A257-114B-80FC-B9A0548B948C}"/>
          </ac:spMkLst>
        </pc:spChg>
        <pc:spChg chg="mod">
          <ac:chgData name="Nick Robinson" userId="d0c2b313-4ae0-4040-8c6a-fec7a720a7b5" providerId="ADAL" clId="{190131DE-6250-C84F-B491-721E6CF30BCB}" dt="2021-12-15T10:37:33.726" v="2134"/>
          <ac:spMkLst>
            <pc:docMk/>
            <pc:sldMk cId="2537393026" sldId="2145707227"/>
            <ac:spMk id="120" creationId="{53962E60-2C46-2940-A740-A4F26BBAF085}"/>
          </ac:spMkLst>
        </pc:spChg>
        <pc:spChg chg="mod">
          <ac:chgData name="Nick Robinson" userId="d0c2b313-4ae0-4040-8c6a-fec7a720a7b5" providerId="ADAL" clId="{190131DE-6250-C84F-B491-721E6CF30BCB}" dt="2021-12-15T10:37:33.726" v="2134"/>
          <ac:spMkLst>
            <pc:docMk/>
            <pc:sldMk cId="2537393026" sldId="2145707227"/>
            <ac:spMk id="123" creationId="{79140693-F4D5-AE42-9D17-3350F95D0BF7}"/>
          </ac:spMkLst>
        </pc:spChg>
        <pc:spChg chg="mod">
          <ac:chgData name="Nick Robinson" userId="d0c2b313-4ae0-4040-8c6a-fec7a720a7b5" providerId="ADAL" clId="{190131DE-6250-C84F-B491-721E6CF30BCB}" dt="2021-12-15T10:37:33.726" v="2134"/>
          <ac:spMkLst>
            <pc:docMk/>
            <pc:sldMk cId="2537393026" sldId="2145707227"/>
            <ac:spMk id="126" creationId="{020F0AE8-41B6-9448-ADC3-AB521A1E6D22}"/>
          </ac:spMkLst>
        </pc:spChg>
        <pc:spChg chg="add del mod">
          <ac:chgData name="Nick Robinson" userId="d0c2b313-4ae0-4040-8c6a-fec7a720a7b5" providerId="ADAL" clId="{190131DE-6250-C84F-B491-721E6CF30BCB}" dt="2021-12-15T11:09:44.368" v="2714" actId="478"/>
          <ac:spMkLst>
            <pc:docMk/>
            <pc:sldMk cId="2537393026" sldId="2145707227"/>
            <ac:spMk id="128" creationId="{633C4182-9DDB-E046-B0C8-9056B8D1F9BE}"/>
          </ac:spMkLst>
        </pc:spChg>
        <pc:spChg chg="mod">
          <ac:chgData name="Nick Robinson" userId="d0c2b313-4ae0-4040-8c6a-fec7a720a7b5" providerId="ADAL" clId="{190131DE-6250-C84F-B491-721E6CF30BCB}" dt="2021-12-15T10:37:33.726" v="2134"/>
          <ac:spMkLst>
            <pc:docMk/>
            <pc:sldMk cId="2537393026" sldId="2145707227"/>
            <ac:spMk id="130" creationId="{0A65C4D8-3DDD-4E4C-876E-FC9A5BC78637}"/>
          </ac:spMkLst>
        </pc:spChg>
        <pc:spChg chg="add del mod">
          <ac:chgData name="Nick Robinson" userId="d0c2b313-4ae0-4040-8c6a-fec7a720a7b5" providerId="ADAL" clId="{190131DE-6250-C84F-B491-721E6CF30BCB}" dt="2021-12-15T11:09:44.368" v="2714" actId="478"/>
          <ac:spMkLst>
            <pc:docMk/>
            <pc:sldMk cId="2537393026" sldId="2145707227"/>
            <ac:spMk id="132" creationId="{7F501727-EEBA-0B4D-A310-7E0455EF4D31}"/>
          </ac:spMkLst>
        </pc:spChg>
        <pc:spChg chg="mod">
          <ac:chgData name="Nick Robinson" userId="d0c2b313-4ae0-4040-8c6a-fec7a720a7b5" providerId="ADAL" clId="{190131DE-6250-C84F-B491-721E6CF30BCB}" dt="2021-12-15T10:37:33.726" v="2134"/>
          <ac:spMkLst>
            <pc:docMk/>
            <pc:sldMk cId="2537393026" sldId="2145707227"/>
            <ac:spMk id="134" creationId="{48C1B4AE-A45B-2A49-9407-81CB1E0A80A6}"/>
          </ac:spMkLst>
        </pc:spChg>
        <pc:spChg chg="add del mod">
          <ac:chgData name="Nick Robinson" userId="d0c2b313-4ae0-4040-8c6a-fec7a720a7b5" providerId="ADAL" clId="{190131DE-6250-C84F-B491-721E6CF30BCB}" dt="2021-12-15T11:09:44.368" v="2714" actId="478"/>
          <ac:spMkLst>
            <pc:docMk/>
            <pc:sldMk cId="2537393026" sldId="2145707227"/>
            <ac:spMk id="136" creationId="{A1A2D1ED-BCE7-B94A-A041-45D49C4A214F}"/>
          </ac:spMkLst>
        </pc:spChg>
        <pc:spChg chg="add del mod">
          <ac:chgData name="Nick Robinson" userId="d0c2b313-4ae0-4040-8c6a-fec7a720a7b5" providerId="ADAL" clId="{190131DE-6250-C84F-B491-721E6CF30BCB}" dt="2021-12-15T11:09:44.368" v="2714" actId="478"/>
          <ac:spMkLst>
            <pc:docMk/>
            <pc:sldMk cId="2537393026" sldId="2145707227"/>
            <ac:spMk id="137" creationId="{018BFF36-3662-1B43-9B23-F84B64FB2AB7}"/>
          </ac:spMkLst>
        </pc:spChg>
        <pc:spChg chg="add del mod">
          <ac:chgData name="Nick Robinson" userId="d0c2b313-4ae0-4040-8c6a-fec7a720a7b5" providerId="ADAL" clId="{190131DE-6250-C84F-B491-721E6CF30BCB}" dt="2021-12-15T11:09:44.368" v="2714" actId="478"/>
          <ac:spMkLst>
            <pc:docMk/>
            <pc:sldMk cId="2537393026" sldId="2145707227"/>
            <ac:spMk id="138" creationId="{8413F3D5-F93C-C942-B309-E105AE447DC5}"/>
          </ac:spMkLst>
        </pc:spChg>
        <pc:spChg chg="add del mod">
          <ac:chgData name="Nick Robinson" userId="d0c2b313-4ae0-4040-8c6a-fec7a720a7b5" providerId="ADAL" clId="{190131DE-6250-C84F-B491-721E6CF30BCB}" dt="2021-12-15T11:09:44.368" v="2714" actId="478"/>
          <ac:spMkLst>
            <pc:docMk/>
            <pc:sldMk cId="2537393026" sldId="2145707227"/>
            <ac:spMk id="139" creationId="{AF3CFC7E-A9FE-594B-9ABE-5BB854D01326}"/>
          </ac:spMkLst>
        </pc:spChg>
        <pc:spChg chg="mod">
          <ac:chgData name="Nick Robinson" userId="d0c2b313-4ae0-4040-8c6a-fec7a720a7b5" providerId="ADAL" clId="{190131DE-6250-C84F-B491-721E6CF30BCB}" dt="2021-12-15T10:37:33.726" v="2134"/>
          <ac:spMkLst>
            <pc:docMk/>
            <pc:sldMk cId="2537393026" sldId="2145707227"/>
            <ac:spMk id="141" creationId="{BE842DC5-BD80-044B-A8EB-7ECA2872A0E7}"/>
          </ac:spMkLst>
        </pc:spChg>
        <pc:spChg chg="mod">
          <ac:chgData name="Nick Robinson" userId="d0c2b313-4ae0-4040-8c6a-fec7a720a7b5" providerId="ADAL" clId="{190131DE-6250-C84F-B491-721E6CF30BCB}" dt="2021-12-15T10:37:33.726" v="2134"/>
          <ac:spMkLst>
            <pc:docMk/>
            <pc:sldMk cId="2537393026" sldId="2145707227"/>
            <ac:spMk id="144" creationId="{E2B5EA8B-2A6A-8941-A9BD-78D3B0F221BE}"/>
          </ac:spMkLst>
        </pc:spChg>
        <pc:spChg chg="mod">
          <ac:chgData name="Nick Robinson" userId="d0c2b313-4ae0-4040-8c6a-fec7a720a7b5" providerId="ADAL" clId="{190131DE-6250-C84F-B491-721E6CF30BCB}" dt="2021-12-15T10:37:33.726" v="2134"/>
          <ac:spMkLst>
            <pc:docMk/>
            <pc:sldMk cId="2537393026" sldId="2145707227"/>
            <ac:spMk id="147" creationId="{78F3CCC8-76D9-1340-AB44-4DF644F76344}"/>
          </ac:spMkLst>
        </pc:spChg>
        <pc:spChg chg="mod">
          <ac:chgData name="Nick Robinson" userId="d0c2b313-4ae0-4040-8c6a-fec7a720a7b5" providerId="ADAL" clId="{190131DE-6250-C84F-B491-721E6CF30BCB}" dt="2021-12-15T10:37:33.726" v="2134"/>
          <ac:spMkLst>
            <pc:docMk/>
            <pc:sldMk cId="2537393026" sldId="2145707227"/>
            <ac:spMk id="150" creationId="{0566669E-B01A-CE41-AF1D-4910AC9D38D2}"/>
          </ac:spMkLst>
        </pc:spChg>
        <pc:spChg chg="add del mod">
          <ac:chgData name="Nick Robinson" userId="d0c2b313-4ae0-4040-8c6a-fec7a720a7b5" providerId="ADAL" clId="{190131DE-6250-C84F-B491-721E6CF30BCB}" dt="2021-12-15T11:09:44.368" v="2714" actId="478"/>
          <ac:spMkLst>
            <pc:docMk/>
            <pc:sldMk cId="2537393026" sldId="2145707227"/>
            <ac:spMk id="152" creationId="{B6E381B3-7565-6546-81FE-C9889199F2FD}"/>
          </ac:spMkLst>
        </pc:spChg>
        <pc:spChg chg="mod">
          <ac:chgData name="Nick Robinson" userId="d0c2b313-4ae0-4040-8c6a-fec7a720a7b5" providerId="ADAL" clId="{190131DE-6250-C84F-B491-721E6CF30BCB}" dt="2021-12-15T10:40:03.595" v="2179" actId="465"/>
          <ac:spMkLst>
            <pc:docMk/>
            <pc:sldMk cId="2537393026" sldId="2145707227"/>
            <ac:spMk id="154" creationId="{970F1F84-4939-1B41-BD75-252C48AF2795}"/>
          </ac:spMkLst>
        </pc:spChg>
        <pc:spChg chg="add del mod">
          <ac:chgData name="Nick Robinson" userId="d0c2b313-4ae0-4040-8c6a-fec7a720a7b5" providerId="ADAL" clId="{190131DE-6250-C84F-B491-721E6CF30BCB}" dt="2021-12-15T11:09:44.368" v="2714" actId="478"/>
          <ac:spMkLst>
            <pc:docMk/>
            <pc:sldMk cId="2537393026" sldId="2145707227"/>
            <ac:spMk id="156" creationId="{170F0B87-D6B8-174C-B9BC-9144BE7889C3}"/>
          </ac:spMkLst>
        </pc:spChg>
        <pc:spChg chg="mod">
          <ac:chgData name="Nick Robinson" userId="d0c2b313-4ae0-4040-8c6a-fec7a720a7b5" providerId="ADAL" clId="{190131DE-6250-C84F-B491-721E6CF30BCB}" dt="2021-12-15T10:40:03.595" v="2179" actId="465"/>
          <ac:spMkLst>
            <pc:docMk/>
            <pc:sldMk cId="2537393026" sldId="2145707227"/>
            <ac:spMk id="158" creationId="{2BA3B0ED-E3BA-834F-98EE-65FDF0CCE8D6}"/>
          </ac:spMkLst>
        </pc:spChg>
        <pc:spChg chg="mod">
          <ac:chgData name="Nick Robinson" userId="d0c2b313-4ae0-4040-8c6a-fec7a720a7b5" providerId="ADAL" clId="{190131DE-6250-C84F-B491-721E6CF30BCB}" dt="2021-12-15T10:40:03.595" v="2179" actId="465"/>
          <ac:spMkLst>
            <pc:docMk/>
            <pc:sldMk cId="2537393026" sldId="2145707227"/>
            <ac:spMk id="161" creationId="{E84727B2-4E52-AA4A-A8F0-A2973CB9E7B3}"/>
          </ac:spMkLst>
        </pc:spChg>
        <pc:spChg chg="mod">
          <ac:chgData name="Nick Robinson" userId="d0c2b313-4ae0-4040-8c6a-fec7a720a7b5" providerId="ADAL" clId="{190131DE-6250-C84F-B491-721E6CF30BCB}" dt="2021-12-15T10:40:03.595" v="2179" actId="465"/>
          <ac:spMkLst>
            <pc:docMk/>
            <pc:sldMk cId="2537393026" sldId="2145707227"/>
            <ac:spMk id="164" creationId="{E93E7A7C-31FD-D74A-9157-A07D71649252}"/>
          </ac:spMkLst>
        </pc:spChg>
        <pc:spChg chg="mod">
          <ac:chgData name="Nick Robinson" userId="d0c2b313-4ae0-4040-8c6a-fec7a720a7b5" providerId="ADAL" clId="{190131DE-6250-C84F-B491-721E6CF30BCB}" dt="2021-12-15T10:40:03.595" v="2179" actId="465"/>
          <ac:spMkLst>
            <pc:docMk/>
            <pc:sldMk cId="2537393026" sldId="2145707227"/>
            <ac:spMk id="167" creationId="{062EEBF8-3EBF-1F44-9311-5032E6847346}"/>
          </ac:spMkLst>
        </pc:spChg>
        <pc:spChg chg="mod">
          <ac:chgData name="Nick Robinson" userId="d0c2b313-4ae0-4040-8c6a-fec7a720a7b5" providerId="ADAL" clId="{190131DE-6250-C84F-B491-721E6CF30BCB}" dt="2021-12-15T10:40:03.595" v="2179" actId="465"/>
          <ac:spMkLst>
            <pc:docMk/>
            <pc:sldMk cId="2537393026" sldId="2145707227"/>
            <ac:spMk id="170" creationId="{B7844D8D-E562-1849-B999-BFEC3EA30733}"/>
          </ac:spMkLst>
        </pc:spChg>
        <pc:spChg chg="mod">
          <ac:chgData name="Nick Robinson" userId="d0c2b313-4ae0-4040-8c6a-fec7a720a7b5" providerId="ADAL" clId="{190131DE-6250-C84F-B491-721E6CF30BCB}" dt="2021-12-15T10:39:29.780" v="2168"/>
          <ac:spMkLst>
            <pc:docMk/>
            <pc:sldMk cId="2537393026" sldId="2145707227"/>
            <ac:spMk id="173" creationId="{770E5AEF-8856-C341-BFD1-40556C65C003}"/>
          </ac:spMkLst>
        </pc:spChg>
        <pc:spChg chg="add del mod">
          <ac:chgData name="Nick Robinson" userId="d0c2b313-4ae0-4040-8c6a-fec7a720a7b5" providerId="ADAL" clId="{190131DE-6250-C84F-B491-721E6CF30BCB}" dt="2021-12-15T11:09:44.368" v="2714" actId="478"/>
          <ac:spMkLst>
            <pc:docMk/>
            <pc:sldMk cId="2537393026" sldId="2145707227"/>
            <ac:spMk id="175" creationId="{675F741B-C534-024D-9211-4DA607DD8926}"/>
          </ac:spMkLst>
        </pc:spChg>
        <pc:spChg chg="add del mod">
          <ac:chgData name="Nick Robinson" userId="d0c2b313-4ae0-4040-8c6a-fec7a720a7b5" providerId="ADAL" clId="{190131DE-6250-C84F-B491-721E6CF30BCB}" dt="2021-12-15T11:09:44.368" v="2714" actId="478"/>
          <ac:spMkLst>
            <pc:docMk/>
            <pc:sldMk cId="2537393026" sldId="2145707227"/>
            <ac:spMk id="176" creationId="{E552FC48-226B-2D4B-93F6-3BB7B912D372}"/>
          </ac:spMkLst>
        </pc:spChg>
        <pc:spChg chg="add del mod">
          <ac:chgData name="Nick Robinson" userId="d0c2b313-4ae0-4040-8c6a-fec7a720a7b5" providerId="ADAL" clId="{190131DE-6250-C84F-B491-721E6CF30BCB}" dt="2021-12-15T11:09:44.368" v="2714" actId="478"/>
          <ac:spMkLst>
            <pc:docMk/>
            <pc:sldMk cId="2537393026" sldId="2145707227"/>
            <ac:spMk id="177" creationId="{4E5F772C-4B61-D84B-B83C-D81F6502C025}"/>
          </ac:spMkLst>
        </pc:spChg>
        <pc:spChg chg="add del mod">
          <ac:chgData name="Nick Robinson" userId="d0c2b313-4ae0-4040-8c6a-fec7a720a7b5" providerId="ADAL" clId="{190131DE-6250-C84F-B491-721E6CF30BCB}" dt="2021-12-15T11:09:44.368" v="2714" actId="478"/>
          <ac:spMkLst>
            <pc:docMk/>
            <pc:sldMk cId="2537393026" sldId="2145707227"/>
            <ac:spMk id="178" creationId="{6A815AB2-B2FC-6540-B8D4-6B79A7A5D1E8}"/>
          </ac:spMkLst>
        </pc:spChg>
        <pc:spChg chg="add del mod">
          <ac:chgData name="Nick Robinson" userId="d0c2b313-4ae0-4040-8c6a-fec7a720a7b5" providerId="ADAL" clId="{190131DE-6250-C84F-B491-721E6CF30BCB}" dt="2021-12-15T10:40:30.025" v="2189" actId="478"/>
          <ac:spMkLst>
            <pc:docMk/>
            <pc:sldMk cId="2537393026" sldId="2145707227"/>
            <ac:spMk id="179" creationId="{8DFDCE3F-A61E-A84B-A6BC-198286FF0AFB}"/>
          </ac:spMkLst>
        </pc:spChg>
        <pc:spChg chg="add del mod">
          <ac:chgData name="Nick Robinson" userId="d0c2b313-4ae0-4040-8c6a-fec7a720a7b5" providerId="ADAL" clId="{190131DE-6250-C84F-B491-721E6CF30BCB}" dt="2021-12-15T11:09:44.368" v="2714" actId="478"/>
          <ac:spMkLst>
            <pc:docMk/>
            <pc:sldMk cId="2537393026" sldId="2145707227"/>
            <ac:spMk id="180" creationId="{610E70FC-9AD2-7F44-BF0C-FA7B9996EE2B}"/>
          </ac:spMkLst>
        </pc:spChg>
        <pc:spChg chg="add del mod">
          <ac:chgData name="Nick Robinson" userId="d0c2b313-4ae0-4040-8c6a-fec7a720a7b5" providerId="ADAL" clId="{190131DE-6250-C84F-B491-721E6CF30BCB}" dt="2021-12-15T10:46:47.377" v="2620" actId="478"/>
          <ac:spMkLst>
            <pc:docMk/>
            <pc:sldMk cId="2537393026" sldId="2145707227"/>
            <ac:spMk id="181" creationId="{D7F0ADE4-CF9C-E640-8AA9-49496A0AF2D3}"/>
          </ac:spMkLst>
        </pc:spChg>
        <pc:spChg chg="mod">
          <ac:chgData name="Nick Robinson" userId="d0c2b313-4ae0-4040-8c6a-fec7a720a7b5" providerId="ADAL" clId="{190131DE-6250-C84F-B491-721E6CF30BCB}" dt="2021-12-15T10:48:48.947" v="2641"/>
          <ac:spMkLst>
            <pc:docMk/>
            <pc:sldMk cId="2537393026" sldId="2145707227"/>
            <ac:spMk id="184" creationId="{D25648F9-40B4-6447-9AB5-D1A9E8CBB019}"/>
          </ac:spMkLst>
        </pc:spChg>
        <pc:spChg chg="mod">
          <ac:chgData name="Nick Robinson" userId="d0c2b313-4ae0-4040-8c6a-fec7a720a7b5" providerId="ADAL" clId="{190131DE-6250-C84F-B491-721E6CF30BCB}" dt="2021-12-15T10:48:48.947" v="2641"/>
          <ac:spMkLst>
            <pc:docMk/>
            <pc:sldMk cId="2537393026" sldId="2145707227"/>
            <ac:spMk id="185" creationId="{37928413-C46D-294A-A126-1317F3DD301E}"/>
          </ac:spMkLst>
        </pc:spChg>
        <pc:spChg chg="mod">
          <ac:chgData name="Nick Robinson" userId="d0c2b313-4ae0-4040-8c6a-fec7a720a7b5" providerId="ADAL" clId="{190131DE-6250-C84F-B491-721E6CF30BCB}" dt="2021-12-15T10:48:48.947" v="2641"/>
          <ac:spMkLst>
            <pc:docMk/>
            <pc:sldMk cId="2537393026" sldId="2145707227"/>
            <ac:spMk id="186" creationId="{055763C5-C30D-2048-B112-BCF2CA4D4F2E}"/>
          </ac:spMkLst>
        </pc:spChg>
        <pc:spChg chg="mod">
          <ac:chgData name="Nick Robinson" userId="d0c2b313-4ae0-4040-8c6a-fec7a720a7b5" providerId="ADAL" clId="{190131DE-6250-C84F-B491-721E6CF30BCB}" dt="2021-12-15T10:49:01.125" v="2645" actId="1076"/>
          <ac:spMkLst>
            <pc:docMk/>
            <pc:sldMk cId="2537393026" sldId="2145707227"/>
            <ac:spMk id="187" creationId="{2B81BBAE-8FFF-9F44-9A1C-5CEFE56F507F}"/>
          </ac:spMkLst>
        </pc:spChg>
        <pc:spChg chg="mod">
          <ac:chgData name="Nick Robinson" userId="d0c2b313-4ae0-4040-8c6a-fec7a720a7b5" providerId="ADAL" clId="{190131DE-6250-C84F-B491-721E6CF30BCB}" dt="2021-12-15T10:48:48.947" v="2641"/>
          <ac:spMkLst>
            <pc:docMk/>
            <pc:sldMk cId="2537393026" sldId="2145707227"/>
            <ac:spMk id="188" creationId="{BB3CC70A-942D-E84B-AA6B-36FBC7EC75F7}"/>
          </ac:spMkLst>
        </pc:spChg>
        <pc:spChg chg="mod">
          <ac:chgData name="Nick Robinson" userId="d0c2b313-4ae0-4040-8c6a-fec7a720a7b5" providerId="ADAL" clId="{190131DE-6250-C84F-B491-721E6CF30BCB}" dt="2021-12-15T10:48:48.947" v="2641"/>
          <ac:spMkLst>
            <pc:docMk/>
            <pc:sldMk cId="2537393026" sldId="2145707227"/>
            <ac:spMk id="189" creationId="{BC94F58B-1DBA-BA4E-92B1-8BE1AFBAFD43}"/>
          </ac:spMkLst>
        </pc:spChg>
        <pc:spChg chg="mod">
          <ac:chgData name="Nick Robinson" userId="d0c2b313-4ae0-4040-8c6a-fec7a720a7b5" providerId="ADAL" clId="{190131DE-6250-C84F-B491-721E6CF30BCB}" dt="2021-12-15T10:48:48.947" v="2641"/>
          <ac:spMkLst>
            <pc:docMk/>
            <pc:sldMk cId="2537393026" sldId="2145707227"/>
            <ac:spMk id="190" creationId="{2887D3F7-779E-264B-9B57-3B62FC5EF311}"/>
          </ac:spMkLst>
        </pc:spChg>
        <pc:spChg chg="mod">
          <ac:chgData name="Nick Robinson" userId="d0c2b313-4ae0-4040-8c6a-fec7a720a7b5" providerId="ADAL" clId="{190131DE-6250-C84F-B491-721E6CF30BCB}" dt="2021-12-15T10:48:48.947" v="2641"/>
          <ac:spMkLst>
            <pc:docMk/>
            <pc:sldMk cId="2537393026" sldId="2145707227"/>
            <ac:spMk id="191" creationId="{8997C767-7208-5F46-928B-8BEF6A18F60F}"/>
          </ac:spMkLst>
        </pc:spChg>
        <pc:spChg chg="add del mod">
          <ac:chgData name="Nick Robinson" userId="d0c2b313-4ae0-4040-8c6a-fec7a720a7b5" providerId="ADAL" clId="{190131DE-6250-C84F-B491-721E6CF30BCB}" dt="2021-12-15T11:03:44.451" v="2649" actId="478"/>
          <ac:spMkLst>
            <pc:docMk/>
            <pc:sldMk cId="2537393026" sldId="2145707227"/>
            <ac:spMk id="192" creationId="{701E367F-DE21-F14D-8029-96296112447F}"/>
          </ac:spMkLst>
        </pc:spChg>
        <pc:spChg chg="add del mod">
          <ac:chgData name="Nick Robinson" userId="d0c2b313-4ae0-4040-8c6a-fec7a720a7b5" providerId="ADAL" clId="{190131DE-6250-C84F-B491-721E6CF30BCB}" dt="2021-12-15T11:09:44.368" v="2714" actId="478"/>
          <ac:spMkLst>
            <pc:docMk/>
            <pc:sldMk cId="2537393026" sldId="2145707227"/>
            <ac:spMk id="193" creationId="{BE66D792-D83F-4844-ADEF-A4BD1422887B}"/>
          </ac:spMkLst>
        </pc:spChg>
        <pc:spChg chg="add del mod">
          <ac:chgData name="Nick Robinson" userId="d0c2b313-4ae0-4040-8c6a-fec7a720a7b5" providerId="ADAL" clId="{190131DE-6250-C84F-B491-721E6CF30BCB}" dt="2021-12-15T11:09:44.368" v="2714" actId="478"/>
          <ac:spMkLst>
            <pc:docMk/>
            <pc:sldMk cId="2537393026" sldId="2145707227"/>
            <ac:spMk id="194" creationId="{EDB0FC32-B142-8048-A0B8-7BBA4B7C3B83}"/>
          </ac:spMkLst>
        </pc:spChg>
        <pc:spChg chg="add mod">
          <ac:chgData name="Nick Robinson" userId="d0c2b313-4ae0-4040-8c6a-fec7a720a7b5" providerId="ADAL" clId="{190131DE-6250-C84F-B491-721E6CF30BCB}" dt="2021-12-15T11:10:20.558" v="2718"/>
          <ac:spMkLst>
            <pc:docMk/>
            <pc:sldMk cId="2537393026" sldId="2145707227"/>
            <ac:spMk id="195" creationId="{AB29E3D9-B041-D54E-A633-94FA4F237868}"/>
          </ac:spMkLst>
        </pc:spChg>
        <pc:spChg chg="add mod">
          <ac:chgData name="Nick Robinson" userId="d0c2b313-4ae0-4040-8c6a-fec7a720a7b5" providerId="ADAL" clId="{190131DE-6250-C84F-B491-721E6CF30BCB}" dt="2021-12-15T11:10:20.558" v="2718"/>
          <ac:spMkLst>
            <pc:docMk/>
            <pc:sldMk cId="2537393026" sldId="2145707227"/>
            <ac:spMk id="196" creationId="{592B378D-CA19-7B4D-800A-87E761134F2A}"/>
          </ac:spMkLst>
        </pc:spChg>
        <pc:spChg chg="add mod">
          <ac:chgData name="Nick Robinson" userId="d0c2b313-4ae0-4040-8c6a-fec7a720a7b5" providerId="ADAL" clId="{190131DE-6250-C84F-B491-721E6CF30BCB}" dt="2021-12-15T11:34:56.845" v="2971" actId="14100"/>
          <ac:spMkLst>
            <pc:docMk/>
            <pc:sldMk cId="2537393026" sldId="2145707227"/>
            <ac:spMk id="198" creationId="{06D64C24-2616-404B-AE78-7B8518D6AC02}"/>
          </ac:spMkLst>
        </pc:spChg>
        <pc:spChg chg="add mod">
          <ac:chgData name="Nick Robinson" userId="d0c2b313-4ae0-4040-8c6a-fec7a720a7b5" providerId="ADAL" clId="{190131DE-6250-C84F-B491-721E6CF30BCB}" dt="2021-12-15T11:34:41.765" v="2967" actId="14100"/>
          <ac:spMkLst>
            <pc:docMk/>
            <pc:sldMk cId="2537393026" sldId="2145707227"/>
            <ac:spMk id="199" creationId="{5D53A2BE-0CEC-754D-94CC-C86694E5D89A}"/>
          </ac:spMkLst>
        </pc:spChg>
        <pc:spChg chg="add mod">
          <ac:chgData name="Nick Robinson" userId="d0c2b313-4ae0-4040-8c6a-fec7a720a7b5" providerId="ADAL" clId="{190131DE-6250-C84F-B491-721E6CF30BCB}" dt="2021-12-15T11:34:45.017" v="2968" actId="14100"/>
          <ac:spMkLst>
            <pc:docMk/>
            <pc:sldMk cId="2537393026" sldId="2145707227"/>
            <ac:spMk id="200" creationId="{69D9455B-15F1-274A-9B98-FEB683CAB164}"/>
          </ac:spMkLst>
        </pc:spChg>
        <pc:spChg chg="add mod">
          <ac:chgData name="Nick Robinson" userId="d0c2b313-4ae0-4040-8c6a-fec7a720a7b5" providerId="ADAL" clId="{190131DE-6250-C84F-B491-721E6CF30BCB}" dt="2021-12-15T11:35:00.115" v="2972" actId="14100"/>
          <ac:spMkLst>
            <pc:docMk/>
            <pc:sldMk cId="2537393026" sldId="2145707227"/>
            <ac:spMk id="201" creationId="{9588D2EF-FDB2-354A-889A-DD2FA40BE1EF}"/>
          </ac:spMkLst>
        </pc:spChg>
        <pc:spChg chg="add mod">
          <ac:chgData name="Nick Robinson" userId="d0c2b313-4ae0-4040-8c6a-fec7a720a7b5" providerId="ADAL" clId="{190131DE-6250-C84F-B491-721E6CF30BCB}" dt="2021-12-15T11:37:03.707" v="3039" actId="1035"/>
          <ac:spMkLst>
            <pc:docMk/>
            <pc:sldMk cId="2537393026" sldId="2145707227"/>
            <ac:spMk id="202" creationId="{8FD5E2C3-79D0-B348-82F3-3FDD24FE2BEF}"/>
          </ac:spMkLst>
        </pc:spChg>
        <pc:spChg chg="add mod">
          <ac:chgData name="Nick Robinson" userId="d0c2b313-4ae0-4040-8c6a-fec7a720a7b5" providerId="ADAL" clId="{190131DE-6250-C84F-B491-721E6CF30BCB}" dt="2021-12-15T11:17:41.173" v="2851" actId="208"/>
          <ac:spMkLst>
            <pc:docMk/>
            <pc:sldMk cId="2537393026" sldId="2145707227"/>
            <ac:spMk id="203" creationId="{2A87DE6C-D96D-094C-9F93-0233BDCC957E}"/>
          </ac:spMkLst>
        </pc:spChg>
        <pc:spChg chg="add mod">
          <ac:chgData name="Nick Robinson" userId="d0c2b313-4ae0-4040-8c6a-fec7a720a7b5" providerId="ADAL" clId="{190131DE-6250-C84F-B491-721E6CF30BCB}" dt="2021-12-15T11:34:47.956" v="2969" actId="14100"/>
          <ac:spMkLst>
            <pc:docMk/>
            <pc:sldMk cId="2537393026" sldId="2145707227"/>
            <ac:spMk id="204" creationId="{257D23FC-0B99-5A47-BE1A-0AACDD202516}"/>
          </ac:spMkLst>
        </pc:spChg>
        <pc:spChg chg="add mod">
          <ac:chgData name="Nick Robinson" userId="d0c2b313-4ae0-4040-8c6a-fec7a720a7b5" providerId="ADAL" clId="{190131DE-6250-C84F-B491-721E6CF30BCB}" dt="2021-12-15T11:34:52.764" v="2970" actId="14100"/>
          <ac:spMkLst>
            <pc:docMk/>
            <pc:sldMk cId="2537393026" sldId="2145707227"/>
            <ac:spMk id="205" creationId="{D1D7E867-39B1-D648-97C9-94C4B097E2DE}"/>
          </ac:spMkLst>
        </pc:spChg>
        <pc:spChg chg="add mod">
          <ac:chgData name="Nick Robinson" userId="d0c2b313-4ae0-4040-8c6a-fec7a720a7b5" providerId="ADAL" clId="{190131DE-6250-C84F-B491-721E6CF30BCB}" dt="2021-12-15T11:35:04.887" v="2973" actId="14100"/>
          <ac:spMkLst>
            <pc:docMk/>
            <pc:sldMk cId="2537393026" sldId="2145707227"/>
            <ac:spMk id="206" creationId="{722E855A-1617-4142-B4F4-69C2896EB0EF}"/>
          </ac:spMkLst>
        </pc:spChg>
        <pc:spChg chg="add mod">
          <ac:chgData name="Nick Robinson" userId="d0c2b313-4ae0-4040-8c6a-fec7a720a7b5" providerId="ADAL" clId="{190131DE-6250-C84F-B491-721E6CF30BCB}" dt="2021-12-15T11:34:35.307" v="2966" actId="1076"/>
          <ac:spMkLst>
            <pc:docMk/>
            <pc:sldMk cId="2537393026" sldId="2145707227"/>
            <ac:spMk id="207" creationId="{A7D8F57E-52B2-394B-AC2A-7CC0EC1ECA72}"/>
          </ac:spMkLst>
        </pc:spChg>
        <pc:spChg chg="add mod">
          <ac:chgData name="Nick Robinson" userId="d0c2b313-4ae0-4040-8c6a-fec7a720a7b5" providerId="ADAL" clId="{190131DE-6250-C84F-B491-721E6CF30BCB}" dt="2021-12-15T11:37:00.590" v="3038" actId="1036"/>
          <ac:spMkLst>
            <pc:docMk/>
            <pc:sldMk cId="2537393026" sldId="2145707227"/>
            <ac:spMk id="209" creationId="{0FB37849-EC4B-D445-98DF-931FD90966BB}"/>
          </ac:spMkLst>
        </pc:spChg>
        <pc:spChg chg="mod topLvl">
          <ac:chgData name="Nick Robinson" userId="d0c2b313-4ae0-4040-8c6a-fec7a720a7b5" providerId="ADAL" clId="{190131DE-6250-C84F-B491-721E6CF30BCB}" dt="2021-12-15T11:37:53.457" v="3048" actId="478"/>
          <ac:spMkLst>
            <pc:docMk/>
            <pc:sldMk cId="2537393026" sldId="2145707227"/>
            <ac:spMk id="211" creationId="{442D7AD3-CA63-7041-8C17-E8B22E82B8AC}"/>
          </ac:spMkLst>
        </pc:spChg>
        <pc:spChg chg="add mod">
          <ac:chgData name="Nick Robinson" userId="d0c2b313-4ae0-4040-8c6a-fec7a720a7b5" providerId="ADAL" clId="{190131DE-6250-C84F-B491-721E6CF30BCB}" dt="2021-12-15T11:36:58.135" v="3036" actId="1036"/>
          <ac:spMkLst>
            <pc:docMk/>
            <pc:sldMk cId="2537393026" sldId="2145707227"/>
            <ac:spMk id="213" creationId="{0387CE02-5BF6-0444-AB90-D1194B960B29}"/>
          </ac:spMkLst>
        </pc:spChg>
        <pc:spChg chg="add mod">
          <ac:chgData name="Nick Robinson" userId="d0c2b313-4ae0-4040-8c6a-fec7a720a7b5" providerId="ADAL" clId="{190131DE-6250-C84F-B491-721E6CF30BCB}" dt="2021-12-15T11:17:41.173" v="2851" actId="208"/>
          <ac:spMkLst>
            <pc:docMk/>
            <pc:sldMk cId="2537393026" sldId="2145707227"/>
            <ac:spMk id="214" creationId="{F37B83BE-7BC2-F84D-B27A-532AA11B645D}"/>
          </ac:spMkLst>
        </pc:spChg>
        <pc:spChg chg="add mod">
          <ac:chgData name="Nick Robinson" userId="d0c2b313-4ae0-4040-8c6a-fec7a720a7b5" providerId="ADAL" clId="{190131DE-6250-C84F-B491-721E6CF30BCB}" dt="2021-12-15T11:17:41.173" v="2851" actId="208"/>
          <ac:spMkLst>
            <pc:docMk/>
            <pc:sldMk cId="2537393026" sldId="2145707227"/>
            <ac:spMk id="215" creationId="{288C107D-A828-B746-B2B5-0B99F5911B00}"/>
          </ac:spMkLst>
        </pc:spChg>
        <pc:spChg chg="add mod">
          <ac:chgData name="Nick Robinson" userId="d0c2b313-4ae0-4040-8c6a-fec7a720a7b5" providerId="ADAL" clId="{190131DE-6250-C84F-B491-721E6CF30BCB}" dt="2021-12-15T11:17:41.173" v="2851" actId="208"/>
          <ac:spMkLst>
            <pc:docMk/>
            <pc:sldMk cId="2537393026" sldId="2145707227"/>
            <ac:spMk id="216" creationId="{1FF41432-C4DA-444C-A4EF-AF91BC4EA789}"/>
          </ac:spMkLst>
        </pc:spChg>
        <pc:spChg chg="add mod">
          <ac:chgData name="Nick Robinson" userId="d0c2b313-4ae0-4040-8c6a-fec7a720a7b5" providerId="ADAL" clId="{190131DE-6250-C84F-B491-721E6CF30BCB}" dt="2021-12-15T11:17:41.173" v="2851" actId="208"/>
          <ac:spMkLst>
            <pc:docMk/>
            <pc:sldMk cId="2537393026" sldId="2145707227"/>
            <ac:spMk id="217" creationId="{94D7C0F5-B505-B246-AD1A-F18EDCAA4B4E}"/>
          </ac:spMkLst>
        </pc:spChg>
        <pc:spChg chg="add mod">
          <ac:chgData name="Nick Robinson" userId="d0c2b313-4ae0-4040-8c6a-fec7a720a7b5" providerId="ADAL" clId="{190131DE-6250-C84F-B491-721E6CF30BCB}" dt="2021-12-15T11:36:55.764" v="3031" actId="1036"/>
          <ac:spMkLst>
            <pc:docMk/>
            <pc:sldMk cId="2537393026" sldId="2145707227"/>
            <ac:spMk id="218" creationId="{EC1512D6-830E-474D-BE32-574413AB9423}"/>
          </ac:spMkLst>
        </pc:spChg>
        <pc:spChg chg="add mod">
          <ac:chgData name="Nick Robinson" userId="d0c2b313-4ae0-4040-8c6a-fec7a720a7b5" providerId="ADAL" clId="{190131DE-6250-C84F-B491-721E6CF30BCB}" dt="2021-12-15T11:36:53.556" v="3026" actId="1035"/>
          <ac:spMkLst>
            <pc:docMk/>
            <pc:sldMk cId="2537393026" sldId="2145707227"/>
            <ac:spMk id="219" creationId="{A4D37F74-D6BD-AF43-AD6B-35DCD00774E9}"/>
          </ac:spMkLst>
        </pc:spChg>
        <pc:spChg chg="add mod">
          <ac:chgData name="Nick Robinson" userId="d0c2b313-4ae0-4040-8c6a-fec7a720a7b5" providerId="ADAL" clId="{190131DE-6250-C84F-B491-721E6CF30BCB}" dt="2021-12-15T11:36:49.747" v="3018" actId="1036"/>
          <ac:spMkLst>
            <pc:docMk/>
            <pc:sldMk cId="2537393026" sldId="2145707227"/>
            <ac:spMk id="220" creationId="{064EDDA0-140F-9244-B1F2-1D5DFBDDFFB3}"/>
          </ac:spMkLst>
        </pc:spChg>
        <pc:spChg chg="add mod">
          <ac:chgData name="Nick Robinson" userId="d0c2b313-4ae0-4040-8c6a-fec7a720a7b5" providerId="ADAL" clId="{190131DE-6250-C84F-B491-721E6CF30BCB}" dt="2021-12-15T11:17:41.173" v="2851" actId="208"/>
          <ac:spMkLst>
            <pc:docMk/>
            <pc:sldMk cId="2537393026" sldId="2145707227"/>
            <ac:spMk id="221" creationId="{6EA352BB-7259-9B45-9560-8782C1CAC745}"/>
          </ac:spMkLst>
        </pc:spChg>
        <pc:spChg chg="add mod">
          <ac:chgData name="Nick Robinson" userId="d0c2b313-4ae0-4040-8c6a-fec7a720a7b5" providerId="ADAL" clId="{190131DE-6250-C84F-B491-721E6CF30BCB}" dt="2021-12-15T11:36:46.616" v="3014" actId="1035"/>
          <ac:spMkLst>
            <pc:docMk/>
            <pc:sldMk cId="2537393026" sldId="2145707227"/>
            <ac:spMk id="222" creationId="{49E111C3-4A8B-5C4C-AAE8-64F55FCB5928}"/>
          </ac:spMkLst>
        </pc:spChg>
        <pc:spChg chg="add mod">
          <ac:chgData name="Nick Robinson" userId="d0c2b313-4ae0-4040-8c6a-fec7a720a7b5" providerId="ADAL" clId="{190131DE-6250-C84F-B491-721E6CF30BCB}" dt="2021-12-15T11:31:45.257" v="2867" actId="207"/>
          <ac:spMkLst>
            <pc:docMk/>
            <pc:sldMk cId="2537393026" sldId="2145707227"/>
            <ac:spMk id="228" creationId="{3A36B15B-A571-204B-818A-7A0A063E5B61}"/>
          </ac:spMkLst>
        </pc:spChg>
        <pc:spChg chg="add mod">
          <ac:chgData name="Nick Robinson" userId="d0c2b313-4ae0-4040-8c6a-fec7a720a7b5" providerId="ADAL" clId="{190131DE-6250-C84F-B491-721E6CF30BCB}" dt="2021-12-15T11:31:45.257" v="2867" actId="207"/>
          <ac:spMkLst>
            <pc:docMk/>
            <pc:sldMk cId="2537393026" sldId="2145707227"/>
            <ac:spMk id="229" creationId="{489CCCDE-FDB6-F84A-9A7A-0144D700A694}"/>
          </ac:spMkLst>
        </pc:spChg>
        <pc:spChg chg="add mod">
          <ac:chgData name="Nick Robinson" userId="d0c2b313-4ae0-4040-8c6a-fec7a720a7b5" providerId="ADAL" clId="{190131DE-6250-C84F-B491-721E6CF30BCB}" dt="2021-12-15T11:10:20.558" v="2718"/>
          <ac:spMkLst>
            <pc:docMk/>
            <pc:sldMk cId="2537393026" sldId="2145707227"/>
            <ac:spMk id="230" creationId="{91FB28B5-E548-E04C-913E-CD48046EA1D2}"/>
          </ac:spMkLst>
        </pc:spChg>
        <pc:spChg chg="add mod">
          <ac:chgData name="Nick Robinson" userId="d0c2b313-4ae0-4040-8c6a-fec7a720a7b5" providerId="ADAL" clId="{190131DE-6250-C84F-B491-721E6CF30BCB}" dt="2021-12-15T11:10:20.558" v="2718"/>
          <ac:spMkLst>
            <pc:docMk/>
            <pc:sldMk cId="2537393026" sldId="2145707227"/>
            <ac:spMk id="231" creationId="{39B333A4-8A63-DD42-B2B9-587F4678168F}"/>
          </ac:spMkLst>
        </pc:spChg>
        <pc:spChg chg="add mod">
          <ac:chgData name="Nick Robinson" userId="d0c2b313-4ae0-4040-8c6a-fec7a720a7b5" providerId="ADAL" clId="{190131DE-6250-C84F-B491-721E6CF30BCB}" dt="2021-12-15T11:31:45.257" v="2867" actId="207"/>
          <ac:spMkLst>
            <pc:docMk/>
            <pc:sldMk cId="2537393026" sldId="2145707227"/>
            <ac:spMk id="232" creationId="{93556007-71B8-A246-86C1-5019E5613673}"/>
          </ac:spMkLst>
        </pc:spChg>
        <pc:spChg chg="add mod">
          <ac:chgData name="Nick Robinson" userId="d0c2b313-4ae0-4040-8c6a-fec7a720a7b5" providerId="ADAL" clId="{190131DE-6250-C84F-B491-721E6CF30BCB}" dt="2021-12-15T11:31:45.257" v="2867" actId="207"/>
          <ac:spMkLst>
            <pc:docMk/>
            <pc:sldMk cId="2537393026" sldId="2145707227"/>
            <ac:spMk id="233" creationId="{46280CD4-3BCB-F04F-AE0E-B270827D9603}"/>
          </ac:spMkLst>
        </pc:spChg>
        <pc:spChg chg="add mod">
          <ac:chgData name="Nick Robinson" userId="d0c2b313-4ae0-4040-8c6a-fec7a720a7b5" providerId="ADAL" clId="{190131DE-6250-C84F-B491-721E6CF30BCB}" dt="2021-12-15T11:31:45.257" v="2867" actId="207"/>
          <ac:spMkLst>
            <pc:docMk/>
            <pc:sldMk cId="2537393026" sldId="2145707227"/>
            <ac:spMk id="234" creationId="{F7E93154-02DB-424E-A24C-1D42A08E8537}"/>
          </ac:spMkLst>
        </pc:spChg>
        <pc:spChg chg="add mod">
          <ac:chgData name="Nick Robinson" userId="d0c2b313-4ae0-4040-8c6a-fec7a720a7b5" providerId="ADAL" clId="{190131DE-6250-C84F-B491-721E6CF30BCB}" dt="2021-12-15T11:10:20.558" v="2718"/>
          <ac:spMkLst>
            <pc:docMk/>
            <pc:sldMk cId="2537393026" sldId="2145707227"/>
            <ac:spMk id="235" creationId="{1D1B84A8-E6BA-8943-B752-6D71A1546588}"/>
          </ac:spMkLst>
        </pc:spChg>
        <pc:spChg chg="add mod">
          <ac:chgData name="Nick Robinson" userId="d0c2b313-4ae0-4040-8c6a-fec7a720a7b5" providerId="ADAL" clId="{190131DE-6250-C84F-B491-721E6CF30BCB}" dt="2021-12-15T11:10:20.558" v="2718"/>
          <ac:spMkLst>
            <pc:docMk/>
            <pc:sldMk cId="2537393026" sldId="2145707227"/>
            <ac:spMk id="236" creationId="{91DD6907-82EB-8C48-A189-8D4671C7F4D8}"/>
          </ac:spMkLst>
        </pc:spChg>
        <pc:spChg chg="add mod">
          <ac:chgData name="Nick Robinson" userId="d0c2b313-4ae0-4040-8c6a-fec7a720a7b5" providerId="ADAL" clId="{190131DE-6250-C84F-B491-721E6CF30BCB}" dt="2021-12-15T11:10:20.558" v="2718"/>
          <ac:spMkLst>
            <pc:docMk/>
            <pc:sldMk cId="2537393026" sldId="2145707227"/>
            <ac:spMk id="237" creationId="{C70D63C5-F538-7A44-89AB-C203D4F912EB}"/>
          </ac:spMkLst>
        </pc:spChg>
        <pc:spChg chg="add mod">
          <ac:chgData name="Nick Robinson" userId="d0c2b313-4ae0-4040-8c6a-fec7a720a7b5" providerId="ADAL" clId="{190131DE-6250-C84F-B491-721E6CF30BCB}" dt="2021-12-15T11:10:20.558" v="2718"/>
          <ac:spMkLst>
            <pc:docMk/>
            <pc:sldMk cId="2537393026" sldId="2145707227"/>
            <ac:spMk id="238" creationId="{41C022A3-C171-014F-B06E-11317E90E800}"/>
          </ac:spMkLst>
        </pc:spChg>
        <pc:spChg chg="add mod">
          <ac:chgData name="Nick Robinson" userId="d0c2b313-4ae0-4040-8c6a-fec7a720a7b5" providerId="ADAL" clId="{190131DE-6250-C84F-B491-721E6CF30BCB}" dt="2021-12-15T11:10:20.558" v="2718"/>
          <ac:spMkLst>
            <pc:docMk/>
            <pc:sldMk cId="2537393026" sldId="2145707227"/>
            <ac:spMk id="239" creationId="{5E9328AD-927B-6B4D-91C4-7D45B8BACCBB}"/>
          </ac:spMkLst>
        </pc:spChg>
        <pc:spChg chg="add mod">
          <ac:chgData name="Nick Robinson" userId="d0c2b313-4ae0-4040-8c6a-fec7a720a7b5" providerId="ADAL" clId="{190131DE-6250-C84F-B491-721E6CF30BCB}" dt="2021-12-15T11:10:20.558" v="2718"/>
          <ac:spMkLst>
            <pc:docMk/>
            <pc:sldMk cId="2537393026" sldId="2145707227"/>
            <ac:spMk id="240" creationId="{E665E6C6-71F9-5F4E-B991-CE0B20F7840E}"/>
          </ac:spMkLst>
        </pc:spChg>
        <pc:spChg chg="add mod">
          <ac:chgData name="Nick Robinson" userId="d0c2b313-4ae0-4040-8c6a-fec7a720a7b5" providerId="ADAL" clId="{190131DE-6250-C84F-B491-721E6CF30BCB}" dt="2021-12-15T11:31:45.257" v="2867" actId="207"/>
          <ac:spMkLst>
            <pc:docMk/>
            <pc:sldMk cId="2537393026" sldId="2145707227"/>
            <ac:spMk id="241" creationId="{B85B756E-8933-D24D-87A2-9839F166F943}"/>
          </ac:spMkLst>
        </pc:spChg>
        <pc:spChg chg="add mod">
          <ac:chgData name="Nick Robinson" userId="d0c2b313-4ae0-4040-8c6a-fec7a720a7b5" providerId="ADAL" clId="{190131DE-6250-C84F-B491-721E6CF30BCB}" dt="2021-12-15T11:10:20.558" v="2718"/>
          <ac:spMkLst>
            <pc:docMk/>
            <pc:sldMk cId="2537393026" sldId="2145707227"/>
            <ac:spMk id="242" creationId="{38F6DF3E-C45D-A241-8BB0-4ABD269A5905}"/>
          </ac:spMkLst>
        </pc:spChg>
        <pc:spChg chg="add mod">
          <ac:chgData name="Nick Robinson" userId="d0c2b313-4ae0-4040-8c6a-fec7a720a7b5" providerId="ADAL" clId="{190131DE-6250-C84F-B491-721E6CF30BCB}" dt="2021-12-15T11:10:20.558" v="2718"/>
          <ac:spMkLst>
            <pc:docMk/>
            <pc:sldMk cId="2537393026" sldId="2145707227"/>
            <ac:spMk id="243" creationId="{63EBE2C0-D356-DC4B-96CF-2F6512FA1ECE}"/>
          </ac:spMkLst>
        </pc:spChg>
        <pc:spChg chg="add mod">
          <ac:chgData name="Nick Robinson" userId="d0c2b313-4ae0-4040-8c6a-fec7a720a7b5" providerId="ADAL" clId="{190131DE-6250-C84F-B491-721E6CF30BCB}" dt="2021-12-15T11:32:00.663" v="2868" actId="207"/>
          <ac:spMkLst>
            <pc:docMk/>
            <pc:sldMk cId="2537393026" sldId="2145707227"/>
            <ac:spMk id="244" creationId="{34130F01-71A3-D642-BA11-157E272B9990}"/>
          </ac:spMkLst>
        </pc:spChg>
        <pc:spChg chg="add mod">
          <ac:chgData name="Nick Robinson" userId="d0c2b313-4ae0-4040-8c6a-fec7a720a7b5" providerId="ADAL" clId="{190131DE-6250-C84F-B491-721E6CF30BCB}" dt="2021-12-15T11:10:20.558" v="2718"/>
          <ac:spMkLst>
            <pc:docMk/>
            <pc:sldMk cId="2537393026" sldId="2145707227"/>
            <ac:spMk id="245" creationId="{B294E965-B769-7F47-B8B5-76383D6BF5B1}"/>
          </ac:spMkLst>
        </pc:spChg>
        <pc:spChg chg="add mod">
          <ac:chgData name="Nick Robinson" userId="d0c2b313-4ae0-4040-8c6a-fec7a720a7b5" providerId="ADAL" clId="{190131DE-6250-C84F-B491-721E6CF30BCB}" dt="2021-12-15T11:10:20.558" v="2718"/>
          <ac:spMkLst>
            <pc:docMk/>
            <pc:sldMk cId="2537393026" sldId="2145707227"/>
            <ac:spMk id="246" creationId="{1C5D13B9-3064-5341-8716-5ADE7F0FCF73}"/>
          </ac:spMkLst>
        </pc:spChg>
        <pc:spChg chg="add mod">
          <ac:chgData name="Nick Robinson" userId="d0c2b313-4ae0-4040-8c6a-fec7a720a7b5" providerId="ADAL" clId="{190131DE-6250-C84F-B491-721E6CF30BCB}" dt="2021-12-15T11:10:20.558" v="2718"/>
          <ac:spMkLst>
            <pc:docMk/>
            <pc:sldMk cId="2537393026" sldId="2145707227"/>
            <ac:spMk id="247" creationId="{A18E2D35-CDE3-3D42-A599-A59CCFFFE703}"/>
          </ac:spMkLst>
        </pc:spChg>
        <pc:spChg chg="add mod">
          <ac:chgData name="Nick Robinson" userId="d0c2b313-4ae0-4040-8c6a-fec7a720a7b5" providerId="ADAL" clId="{190131DE-6250-C84F-B491-721E6CF30BCB}" dt="2021-12-15T11:10:20.558" v="2718"/>
          <ac:spMkLst>
            <pc:docMk/>
            <pc:sldMk cId="2537393026" sldId="2145707227"/>
            <ac:spMk id="248" creationId="{BE1E49E6-A33D-CF40-9B70-A47826A51744}"/>
          </ac:spMkLst>
        </pc:spChg>
        <pc:spChg chg="add mod">
          <ac:chgData name="Nick Robinson" userId="d0c2b313-4ae0-4040-8c6a-fec7a720a7b5" providerId="ADAL" clId="{190131DE-6250-C84F-B491-721E6CF30BCB}" dt="2021-12-15T11:32:00.663" v="2868" actId="207"/>
          <ac:spMkLst>
            <pc:docMk/>
            <pc:sldMk cId="2537393026" sldId="2145707227"/>
            <ac:spMk id="249" creationId="{5C77293F-E9C5-D348-A979-6DBD057DA201}"/>
          </ac:spMkLst>
        </pc:spChg>
        <pc:spChg chg="add mod">
          <ac:chgData name="Nick Robinson" userId="d0c2b313-4ae0-4040-8c6a-fec7a720a7b5" providerId="ADAL" clId="{190131DE-6250-C84F-B491-721E6CF30BCB}" dt="2021-12-15T11:10:20.558" v="2718"/>
          <ac:spMkLst>
            <pc:docMk/>
            <pc:sldMk cId="2537393026" sldId="2145707227"/>
            <ac:spMk id="250" creationId="{82E5A3E8-AAF2-3E44-A5CF-79637B425BB5}"/>
          </ac:spMkLst>
        </pc:spChg>
        <pc:spChg chg="add mod">
          <ac:chgData name="Nick Robinson" userId="d0c2b313-4ae0-4040-8c6a-fec7a720a7b5" providerId="ADAL" clId="{190131DE-6250-C84F-B491-721E6CF30BCB}" dt="2021-12-15T11:32:00.663" v="2868" actId="207"/>
          <ac:spMkLst>
            <pc:docMk/>
            <pc:sldMk cId="2537393026" sldId="2145707227"/>
            <ac:spMk id="251" creationId="{102C451C-5FA7-0546-ABAF-F4002ABCD279}"/>
          </ac:spMkLst>
        </pc:spChg>
        <pc:spChg chg="add mod">
          <ac:chgData name="Nick Robinson" userId="d0c2b313-4ae0-4040-8c6a-fec7a720a7b5" providerId="ADAL" clId="{190131DE-6250-C84F-B491-721E6CF30BCB}" dt="2021-12-15T11:31:45.257" v="2867" actId="207"/>
          <ac:spMkLst>
            <pc:docMk/>
            <pc:sldMk cId="2537393026" sldId="2145707227"/>
            <ac:spMk id="252" creationId="{9718B095-402E-AC47-B42F-FAF30258A47F}"/>
          </ac:spMkLst>
        </pc:spChg>
        <pc:spChg chg="add mod">
          <ac:chgData name="Nick Robinson" userId="d0c2b313-4ae0-4040-8c6a-fec7a720a7b5" providerId="ADAL" clId="{190131DE-6250-C84F-B491-721E6CF30BCB}" dt="2021-12-15T11:10:20.558" v="2718"/>
          <ac:spMkLst>
            <pc:docMk/>
            <pc:sldMk cId="2537393026" sldId="2145707227"/>
            <ac:spMk id="253" creationId="{426EF87C-6C1F-B44D-B295-3339BE368D1E}"/>
          </ac:spMkLst>
        </pc:spChg>
        <pc:spChg chg="add mod">
          <ac:chgData name="Nick Robinson" userId="d0c2b313-4ae0-4040-8c6a-fec7a720a7b5" providerId="ADAL" clId="{190131DE-6250-C84F-B491-721E6CF30BCB}" dt="2021-12-15T11:31:45.257" v="2867" actId="207"/>
          <ac:spMkLst>
            <pc:docMk/>
            <pc:sldMk cId="2537393026" sldId="2145707227"/>
            <ac:spMk id="254" creationId="{69CFF832-4DA7-CA4D-AB54-E91D671864A8}"/>
          </ac:spMkLst>
        </pc:spChg>
        <pc:spChg chg="add mod">
          <ac:chgData name="Nick Robinson" userId="d0c2b313-4ae0-4040-8c6a-fec7a720a7b5" providerId="ADAL" clId="{190131DE-6250-C84F-B491-721E6CF30BCB}" dt="2021-12-15T11:10:20.558" v="2718"/>
          <ac:spMkLst>
            <pc:docMk/>
            <pc:sldMk cId="2537393026" sldId="2145707227"/>
            <ac:spMk id="255" creationId="{35C3B13B-ABF0-A14D-94E3-CA8BCE8AE342}"/>
          </ac:spMkLst>
        </pc:spChg>
        <pc:spChg chg="add mod">
          <ac:chgData name="Nick Robinson" userId="d0c2b313-4ae0-4040-8c6a-fec7a720a7b5" providerId="ADAL" clId="{190131DE-6250-C84F-B491-721E6CF30BCB}" dt="2021-12-15T11:35:11.307" v="2976" actId="1076"/>
          <ac:spMkLst>
            <pc:docMk/>
            <pc:sldMk cId="2537393026" sldId="2145707227"/>
            <ac:spMk id="256" creationId="{16629C93-9920-BC40-AC52-E604E6FA9762}"/>
          </ac:spMkLst>
        </pc:spChg>
        <pc:spChg chg="add mod">
          <ac:chgData name="Nick Robinson" userId="d0c2b313-4ae0-4040-8c6a-fec7a720a7b5" providerId="ADAL" clId="{190131DE-6250-C84F-B491-721E6CF30BCB}" dt="2021-12-15T11:35:12.859" v="2977" actId="1076"/>
          <ac:spMkLst>
            <pc:docMk/>
            <pc:sldMk cId="2537393026" sldId="2145707227"/>
            <ac:spMk id="257" creationId="{102E3D9A-FC50-C040-82DB-8CAA6B9B179D}"/>
          </ac:spMkLst>
        </pc:spChg>
        <pc:spChg chg="add mod">
          <ac:chgData name="Nick Robinson" userId="d0c2b313-4ae0-4040-8c6a-fec7a720a7b5" providerId="ADAL" clId="{190131DE-6250-C84F-B491-721E6CF30BCB}" dt="2021-12-15T11:10:20.558" v="2718"/>
          <ac:spMkLst>
            <pc:docMk/>
            <pc:sldMk cId="2537393026" sldId="2145707227"/>
            <ac:spMk id="258" creationId="{E86C9A62-7720-0E4F-A52F-69662C28EBA6}"/>
          </ac:spMkLst>
        </pc:spChg>
        <pc:spChg chg="add mod">
          <ac:chgData name="Nick Robinson" userId="d0c2b313-4ae0-4040-8c6a-fec7a720a7b5" providerId="ADAL" clId="{190131DE-6250-C84F-B491-721E6CF30BCB}" dt="2021-12-15T11:32:00.663" v="2868" actId="207"/>
          <ac:spMkLst>
            <pc:docMk/>
            <pc:sldMk cId="2537393026" sldId="2145707227"/>
            <ac:spMk id="259" creationId="{B1CF7230-93C3-D546-A32B-4507FCC20526}"/>
          </ac:spMkLst>
        </pc:spChg>
        <pc:spChg chg="add mod">
          <ac:chgData name="Nick Robinson" userId="d0c2b313-4ae0-4040-8c6a-fec7a720a7b5" providerId="ADAL" clId="{190131DE-6250-C84F-B491-721E6CF30BCB}" dt="2021-12-15T11:10:20.558" v="2718"/>
          <ac:spMkLst>
            <pc:docMk/>
            <pc:sldMk cId="2537393026" sldId="2145707227"/>
            <ac:spMk id="260" creationId="{7A36BD7F-DF01-EC44-8B21-8F6AC4E45557}"/>
          </ac:spMkLst>
        </pc:spChg>
        <pc:spChg chg="add mod">
          <ac:chgData name="Nick Robinson" userId="d0c2b313-4ae0-4040-8c6a-fec7a720a7b5" providerId="ADAL" clId="{190131DE-6250-C84F-B491-721E6CF30BCB}" dt="2021-12-15T11:10:20.558" v="2718"/>
          <ac:spMkLst>
            <pc:docMk/>
            <pc:sldMk cId="2537393026" sldId="2145707227"/>
            <ac:spMk id="261" creationId="{F0721D99-118B-0145-BF09-3EBEC599DD2D}"/>
          </ac:spMkLst>
        </pc:spChg>
        <pc:spChg chg="add mod">
          <ac:chgData name="Nick Robinson" userId="d0c2b313-4ae0-4040-8c6a-fec7a720a7b5" providerId="ADAL" clId="{190131DE-6250-C84F-B491-721E6CF30BCB}" dt="2021-12-15T11:10:20.558" v="2718"/>
          <ac:spMkLst>
            <pc:docMk/>
            <pc:sldMk cId="2537393026" sldId="2145707227"/>
            <ac:spMk id="262" creationId="{BAEB225D-9775-FA45-8808-AA772C195225}"/>
          </ac:spMkLst>
        </pc:spChg>
        <pc:spChg chg="add mod">
          <ac:chgData name="Nick Robinson" userId="d0c2b313-4ae0-4040-8c6a-fec7a720a7b5" providerId="ADAL" clId="{190131DE-6250-C84F-B491-721E6CF30BCB}" dt="2021-12-15T11:10:20.558" v="2718"/>
          <ac:spMkLst>
            <pc:docMk/>
            <pc:sldMk cId="2537393026" sldId="2145707227"/>
            <ac:spMk id="263" creationId="{99F311BE-F68F-5347-8331-8AF55AE39DAF}"/>
          </ac:spMkLst>
        </pc:spChg>
        <pc:spChg chg="add mod">
          <ac:chgData name="Nick Robinson" userId="d0c2b313-4ae0-4040-8c6a-fec7a720a7b5" providerId="ADAL" clId="{190131DE-6250-C84F-B491-721E6CF30BCB}" dt="2021-12-15T11:32:00.663" v="2868" actId="207"/>
          <ac:spMkLst>
            <pc:docMk/>
            <pc:sldMk cId="2537393026" sldId="2145707227"/>
            <ac:spMk id="264" creationId="{CC57AC52-06DF-C843-95B2-8AD031D57A65}"/>
          </ac:spMkLst>
        </pc:spChg>
        <pc:spChg chg="add mod">
          <ac:chgData name="Nick Robinson" userId="d0c2b313-4ae0-4040-8c6a-fec7a720a7b5" providerId="ADAL" clId="{190131DE-6250-C84F-B491-721E6CF30BCB}" dt="2021-12-15T11:10:20.558" v="2718"/>
          <ac:spMkLst>
            <pc:docMk/>
            <pc:sldMk cId="2537393026" sldId="2145707227"/>
            <ac:spMk id="265" creationId="{65BF957B-FB9A-AC40-8940-8FC2FB1121AD}"/>
          </ac:spMkLst>
        </pc:spChg>
        <pc:spChg chg="add mod">
          <ac:chgData name="Nick Robinson" userId="d0c2b313-4ae0-4040-8c6a-fec7a720a7b5" providerId="ADAL" clId="{190131DE-6250-C84F-B491-721E6CF30BCB}" dt="2021-12-15T11:10:20.558" v="2718"/>
          <ac:spMkLst>
            <pc:docMk/>
            <pc:sldMk cId="2537393026" sldId="2145707227"/>
            <ac:spMk id="266" creationId="{F45CB240-25B2-F143-99D7-9E6282DF10FF}"/>
          </ac:spMkLst>
        </pc:spChg>
        <pc:spChg chg="add mod">
          <ac:chgData name="Nick Robinson" userId="d0c2b313-4ae0-4040-8c6a-fec7a720a7b5" providerId="ADAL" clId="{190131DE-6250-C84F-B491-721E6CF30BCB}" dt="2021-12-15T11:10:20.558" v="2718"/>
          <ac:spMkLst>
            <pc:docMk/>
            <pc:sldMk cId="2537393026" sldId="2145707227"/>
            <ac:spMk id="267" creationId="{0E015C97-B67D-8745-AEFB-926963BD3D5E}"/>
          </ac:spMkLst>
        </pc:spChg>
        <pc:spChg chg="add mod">
          <ac:chgData name="Nick Robinson" userId="d0c2b313-4ae0-4040-8c6a-fec7a720a7b5" providerId="ADAL" clId="{190131DE-6250-C84F-B491-721E6CF30BCB}" dt="2021-12-15T11:32:00.663" v="2868" actId="207"/>
          <ac:spMkLst>
            <pc:docMk/>
            <pc:sldMk cId="2537393026" sldId="2145707227"/>
            <ac:spMk id="268" creationId="{23C2FE0A-30BA-954C-937B-A4A68464826F}"/>
          </ac:spMkLst>
        </pc:spChg>
        <pc:spChg chg="add mod">
          <ac:chgData name="Nick Robinson" userId="d0c2b313-4ae0-4040-8c6a-fec7a720a7b5" providerId="ADAL" clId="{190131DE-6250-C84F-B491-721E6CF30BCB}" dt="2021-12-15T11:10:20.558" v="2718"/>
          <ac:spMkLst>
            <pc:docMk/>
            <pc:sldMk cId="2537393026" sldId="2145707227"/>
            <ac:spMk id="269" creationId="{6AA1ACA0-81B5-D74B-BD70-2577503EC956}"/>
          </ac:spMkLst>
        </pc:spChg>
        <pc:spChg chg="add mod">
          <ac:chgData name="Nick Robinson" userId="d0c2b313-4ae0-4040-8c6a-fec7a720a7b5" providerId="ADAL" clId="{190131DE-6250-C84F-B491-721E6CF30BCB}" dt="2021-12-15T11:32:00.663" v="2868" actId="207"/>
          <ac:spMkLst>
            <pc:docMk/>
            <pc:sldMk cId="2537393026" sldId="2145707227"/>
            <ac:spMk id="270" creationId="{D8DB54BA-061E-7E49-9A22-FC79F3423983}"/>
          </ac:spMkLst>
        </pc:spChg>
        <pc:spChg chg="add mod">
          <ac:chgData name="Nick Robinson" userId="d0c2b313-4ae0-4040-8c6a-fec7a720a7b5" providerId="ADAL" clId="{190131DE-6250-C84F-B491-721E6CF30BCB}" dt="2021-12-15T11:10:20.558" v="2718"/>
          <ac:spMkLst>
            <pc:docMk/>
            <pc:sldMk cId="2537393026" sldId="2145707227"/>
            <ac:spMk id="271" creationId="{D7327463-093B-4546-9898-3D8D3BE7392E}"/>
          </ac:spMkLst>
        </pc:spChg>
        <pc:spChg chg="add mod">
          <ac:chgData name="Nick Robinson" userId="d0c2b313-4ae0-4040-8c6a-fec7a720a7b5" providerId="ADAL" clId="{190131DE-6250-C84F-B491-721E6CF30BCB}" dt="2021-12-15T11:10:20.558" v="2718"/>
          <ac:spMkLst>
            <pc:docMk/>
            <pc:sldMk cId="2537393026" sldId="2145707227"/>
            <ac:spMk id="272" creationId="{85EFAC2C-6A0C-B049-B7A3-941D58EA141A}"/>
          </ac:spMkLst>
        </pc:spChg>
        <pc:spChg chg="add mod">
          <ac:chgData name="Nick Robinson" userId="d0c2b313-4ae0-4040-8c6a-fec7a720a7b5" providerId="ADAL" clId="{190131DE-6250-C84F-B491-721E6CF30BCB}" dt="2021-12-15T11:10:20.558" v="2718"/>
          <ac:spMkLst>
            <pc:docMk/>
            <pc:sldMk cId="2537393026" sldId="2145707227"/>
            <ac:spMk id="273" creationId="{1BD0F01E-9BDD-3949-B30F-6572CE70DF26}"/>
          </ac:spMkLst>
        </pc:spChg>
        <pc:spChg chg="add mod">
          <ac:chgData name="Nick Robinson" userId="d0c2b313-4ae0-4040-8c6a-fec7a720a7b5" providerId="ADAL" clId="{190131DE-6250-C84F-B491-721E6CF30BCB}" dt="2021-12-15T11:10:20.558" v="2718"/>
          <ac:spMkLst>
            <pc:docMk/>
            <pc:sldMk cId="2537393026" sldId="2145707227"/>
            <ac:spMk id="274" creationId="{045774DC-C480-DD48-8547-01E509C59B92}"/>
          </ac:spMkLst>
        </pc:spChg>
        <pc:spChg chg="add mod">
          <ac:chgData name="Nick Robinson" userId="d0c2b313-4ae0-4040-8c6a-fec7a720a7b5" providerId="ADAL" clId="{190131DE-6250-C84F-B491-721E6CF30BCB}" dt="2021-12-15T11:10:20.558" v="2718"/>
          <ac:spMkLst>
            <pc:docMk/>
            <pc:sldMk cId="2537393026" sldId="2145707227"/>
            <ac:spMk id="275" creationId="{2D706D81-2DD7-5642-BE21-11190667BE1D}"/>
          </ac:spMkLst>
        </pc:spChg>
        <pc:spChg chg="add mod">
          <ac:chgData name="Nick Robinson" userId="d0c2b313-4ae0-4040-8c6a-fec7a720a7b5" providerId="ADAL" clId="{190131DE-6250-C84F-B491-721E6CF30BCB}" dt="2021-12-15T11:35:48.907" v="2990" actId="1076"/>
          <ac:spMkLst>
            <pc:docMk/>
            <pc:sldMk cId="2537393026" sldId="2145707227"/>
            <ac:spMk id="276" creationId="{1B0E8F29-97B1-AF45-B998-D67A4CA96F6F}"/>
          </ac:spMkLst>
        </pc:spChg>
        <pc:spChg chg="add del mod">
          <ac:chgData name="Nick Robinson" userId="d0c2b313-4ae0-4040-8c6a-fec7a720a7b5" providerId="ADAL" clId="{190131DE-6250-C84F-B491-721E6CF30BCB}" dt="2021-12-15T11:13:02.115" v="2800" actId="478"/>
          <ac:spMkLst>
            <pc:docMk/>
            <pc:sldMk cId="2537393026" sldId="2145707227"/>
            <ac:spMk id="277" creationId="{689FE45E-B300-5D4A-A3A9-0B06E468C00E}"/>
          </ac:spMkLst>
        </pc:spChg>
        <pc:spChg chg="add mod">
          <ac:chgData name="Nick Robinson" userId="d0c2b313-4ae0-4040-8c6a-fec7a720a7b5" providerId="ADAL" clId="{190131DE-6250-C84F-B491-721E6CF30BCB}" dt="2021-12-15T11:35:51.209" v="2991" actId="1076"/>
          <ac:spMkLst>
            <pc:docMk/>
            <pc:sldMk cId="2537393026" sldId="2145707227"/>
            <ac:spMk id="278" creationId="{C1FD3A89-8117-874A-9CF6-23E2219DD4E4}"/>
          </ac:spMkLst>
        </pc:spChg>
        <pc:spChg chg="add mod">
          <ac:chgData name="Nick Robinson" userId="d0c2b313-4ae0-4040-8c6a-fec7a720a7b5" providerId="ADAL" clId="{190131DE-6250-C84F-B491-721E6CF30BCB}" dt="2021-12-15T11:10:20.558" v="2718"/>
          <ac:spMkLst>
            <pc:docMk/>
            <pc:sldMk cId="2537393026" sldId="2145707227"/>
            <ac:spMk id="279" creationId="{4477FDD7-C212-5946-AB7B-285630C3540C}"/>
          </ac:spMkLst>
        </pc:spChg>
        <pc:spChg chg="add mod">
          <ac:chgData name="Nick Robinson" userId="d0c2b313-4ae0-4040-8c6a-fec7a720a7b5" providerId="ADAL" clId="{190131DE-6250-C84F-B491-721E6CF30BCB}" dt="2021-12-15T11:10:20.558" v="2718"/>
          <ac:spMkLst>
            <pc:docMk/>
            <pc:sldMk cId="2537393026" sldId="2145707227"/>
            <ac:spMk id="280" creationId="{04E149CE-7B5F-B34A-B021-EA21A34935C2}"/>
          </ac:spMkLst>
        </pc:spChg>
        <pc:spChg chg="add mod">
          <ac:chgData name="Nick Robinson" userId="d0c2b313-4ae0-4040-8c6a-fec7a720a7b5" providerId="ADAL" clId="{190131DE-6250-C84F-B491-721E6CF30BCB}" dt="2021-12-15T11:10:20.558" v="2718"/>
          <ac:spMkLst>
            <pc:docMk/>
            <pc:sldMk cId="2537393026" sldId="2145707227"/>
            <ac:spMk id="281" creationId="{5986A43E-AD20-D443-A43E-019E396BFA0E}"/>
          </ac:spMkLst>
        </pc:spChg>
        <pc:spChg chg="add mod">
          <ac:chgData name="Nick Robinson" userId="d0c2b313-4ae0-4040-8c6a-fec7a720a7b5" providerId="ADAL" clId="{190131DE-6250-C84F-B491-721E6CF30BCB}" dt="2021-12-15T11:10:20.558" v="2718"/>
          <ac:spMkLst>
            <pc:docMk/>
            <pc:sldMk cId="2537393026" sldId="2145707227"/>
            <ac:spMk id="282" creationId="{F77AFC9E-7663-B64C-ADF9-1A9C7FEBDEB0}"/>
          </ac:spMkLst>
        </pc:spChg>
        <pc:spChg chg="add mod">
          <ac:chgData name="Nick Robinson" userId="d0c2b313-4ae0-4040-8c6a-fec7a720a7b5" providerId="ADAL" clId="{190131DE-6250-C84F-B491-721E6CF30BCB}" dt="2021-12-15T11:10:20.558" v="2718"/>
          <ac:spMkLst>
            <pc:docMk/>
            <pc:sldMk cId="2537393026" sldId="2145707227"/>
            <ac:spMk id="283" creationId="{DAA80D2A-D5B4-0C4C-B31F-9DF4C098CBA1}"/>
          </ac:spMkLst>
        </pc:spChg>
        <pc:spChg chg="add mod">
          <ac:chgData name="Nick Robinson" userId="d0c2b313-4ae0-4040-8c6a-fec7a720a7b5" providerId="ADAL" clId="{190131DE-6250-C84F-B491-721E6CF30BCB}" dt="2021-12-15T11:32:00.663" v="2868" actId="207"/>
          <ac:spMkLst>
            <pc:docMk/>
            <pc:sldMk cId="2537393026" sldId="2145707227"/>
            <ac:spMk id="284" creationId="{3A00C0EC-2EF6-F64B-82C0-DFA99D90592B}"/>
          </ac:spMkLst>
        </pc:spChg>
        <pc:spChg chg="add mod">
          <ac:chgData name="Nick Robinson" userId="d0c2b313-4ae0-4040-8c6a-fec7a720a7b5" providerId="ADAL" clId="{190131DE-6250-C84F-B491-721E6CF30BCB}" dt="2021-12-15T11:32:00.663" v="2868" actId="207"/>
          <ac:spMkLst>
            <pc:docMk/>
            <pc:sldMk cId="2537393026" sldId="2145707227"/>
            <ac:spMk id="285" creationId="{B9490282-5121-B84F-963B-6A041E4676A2}"/>
          </ac:spMkLst>
        </pc:spChg>
        <pc:spChg chg="add mod">
          <ac:chgData name="Nick Robinson" userId="d0c2b313-4ae0-4040-8c6a-fec7a720a7b5" providerId="ADAL" clId="{190131DE-6250-C84F-B491-721E6CF30BCB}" dt="2021-12-15T11:32:00.663" v="2868" actId="207"/>
          <ac:spMkLst>
            <pc:docMk/>
            <pc:sldMk cId="2537393026" sldId="2145707227"/>
            <ac:spMk id="286" creationId="{82C4C49D-7D78-424F-A002-D875A2B57B9D}"/>
          </ac:spMkLst>
        </pc:spChg>
        <pc:spChg chg="add mod">
          <ac:chgData name="Nick Robinson" userId="d0c2b313-4ae0-4040-8c6a-fec7a720a7b5" providerId="ADAL" clId="{190131DE-6250-C84F-B491-721E6CF30BCB}" dt="2021-12-15T11:32:00.663" v="2868" actId="207"/>
          <ac:spMkLst>
            <pc:docMk/>
            <pc:sldMk cId="2537393026" sldId="2145707227"/>
            <ac:spMk id="287" creationId="{F18389DA-74BE-1B43-824D-D1F54C7E8B70}"/>
          </ac:spMkLst>
        </pc:spChg>
        <pc:spChg chg="add mod">
          <ac:chgData name="Nick Robinson" userId="d0c2b313-4ae0-4040-8c6a-fec7a720a7b5" providerId="ADAL" clId="{190131DE-6250-C84F-B491-721E6CF30BCB}" dt="2021-12-15T11:32:00.663" v="2868" actId="207"/>
          <ac:spMkLst>
            <pc:docMk/>
            <pc:sldMk cId="2537393026" sldId="2145707227"/>
            <ac:spMk id="288" creationId="{7D5BB909-20A4-FF49-873C-187E942C6EAB}"/>
          </ac:spMkLst>
        </pc:spChg>
        <pc:spChg chg="add mod">
          <ac:chgData name="Nick Robinson" userId="d0c2b313-4ae0-4040-8c6a-fec7a720a7b5" providerId="ADAL" clId="{190131DE-6250-C84F-B491-721E6CF30BCB}" dt="2021-12-15T11:10:20.558" v="2718"/>
          <ac:spMkLst>
            <pc:docMk/>
            <pc:sldMk cId="2537393026" sldId="2145707227"/>
            <ac:spMk id="289" creationId="{1530691C-7654-724D-9257-2D4DF8F9EBE5}"/>
          </ac:spMkLst>
        </pc:spChg>
        <pc:spChg chg="add mod">
          <ac:chgData name="Nick Robinson" userId="d0c2b313-4ae0-4040-8c6a-fec7a720a7b5" providerId="ADAL" clId="{190131DE-6250-C84F-B491-721E6CF30BCB}" dt="2021-12-15T11:10:20.558" v="2718"/>
          <ac:spMkLst>
            <pc:docMk/>
            <pc:sldMk cId="2537393026" sldId="2145707227"/>
            <ac:spMk id="290" creationId="{E7F11904-2542-114A-8E6E-048C43DFD70B}"/>
          </ac:spMkLst>
        </pc:spChg>
        <pc:spChg chg="add mod">
          <ac:chgData name="Nick Robinson" userId="d0c2b313-4ae0-4040-8c6a-fec7a720a7b5" providerId="ADAL" clId="{190131DE-6250-C84F-B491-721E6CF30BCB}" dt="2021-12-15T11:35:44.829" v="2989" actId="1036"/>
          <ac:spMkLst>
            <pc:docMk/>
            <pc:sldMk cId="2537393026" sldId="2145707227"/>
            <ac:spMk id="291" creationId="{0AE67472-C784-2740-B184-BF53A0711021}"/>
          </ac:spMkLst>
        </pc:spChg>
        <pc:spChg chg="add mod">
          <ac:chgData name="Nick Robinson" userId="d0c2b313-4ae0-4040-8c6a-fec7a720a7b5" providerId="ADAL" clId="{190131DE-6250-C84F-B491-721E6CF30BCB}" dt="2021-12-15T11:32:00.663" v="2868" actId="207"/>
          <ac:spMkLst>
            <pc:docMk/>
            <pc:sldMk cId="2537393026" sldId="2145707227"/>
            <ac:spMk id="292" creationId="{5C06D7C2-F40B-334D-99C3-A3EAE18B3E74}"/>
          </ac:spMkLst>
        </pc:spChg>
        <pc:spChg chg="add mod">
          <ac:chgData name="Nick Robinson" userId="d0c2b313-4ae0-4040-8c6a-fec7a720a7b5" providerId="ADAL" clId="{190131DE-6250-C84F-B491-721E6CF30BCB}" dt="2021-12-15T11:31:45.257" v="2867" actId="207"/>
          <ac:spMkLst>
            <pc:docMk/>
            <pc:sldMk cId="2537393026" sldId="2145707227"/>
            <ac:spMk id="293" creationId="{F61F6B06-4781-3846-8D02-4C37CD5CCD60}"/>
          </ac:spMkLst>
        </pc:spChg>
        <pc:spChg chg="add del mod">
          <ac:chgData name="Nick Robinson" userId="d0c2b313-4ae0-4040-8c6a-fec7a720a7b5" providerId="ADAL" clId="{190131DE-6250-C84F-B491-721E6CF30BCB}" dt="2021-12-15T11:13:03.614" v="2801" actId="478"/>
          <ac:spMkLst>
            <pc:docMk/>
            <pc:sldMk cId="2537393026" sldId="2145707227"/>
            <ac:spMk id="294" creationId="{2D63B312-9C2C-4840-A9FF-E73DB3B51DD7}"/>
          </ac:spMkLst>
        </pc:spChg>
        <pc:spChg chg="add mod">
          <ac:chgData name="Nick Robinson" userId="d0c2b313-4ae0-4040-8c6a-fec7a720a7b5" providerId="ADAL" clId="{190131DE-6250-C84F-B491-721E6CF30BCB}" dt="2021-12-15T11:35:38.470" v="2985" actId="1076"/>
          <ac:spMkLst>
            <pc:docMk/>
            <pc:sldMk cId="2537393026" sldId="2145707227"/>
            <ac:spMk id="295" creationId="{B451B469-3830-3348-9613-0AFA9B5964B4}"/>
          </ac:spMkLst>
        </pc:spChg>
        <pc:spChg chg="add mod">
          <ac:chgData name="Nick Robinson" userId="d0c2b313-4ae0-4040-8c6a-fec7a720a7b5" providerId="ADAL" clId="{190131DE-6250-C84F-B491-721E6CF30BCB}" dt="2021-12-15T11:35:28.472" v="2981" actId="14100"/>
          <ac:spMkLst>
            <pc:docMk/>
            <pc:sldMk cId="2537393026" sldId="2145707227"/>
            <ac:spMk id="296" creationId="{BE32C7AF-FE7E-6548-B150-EF20FD5D5A91}"/>
          </ac:spMkLst>
        </pc:spChg>
        <pc:spChg chg="add mod">
          <ac:chgData name="Nick Robinson" userId="d0c2b313-4ae0-4040-8c6a-fec7a720a7b5" providerId="ADAL" clId="{190131DE-6250-C84F-B491-721E6CF30BCB}" dt="2021-12-15T11:10:20.558" v="2718"/>
          <ac:spMkLst>
            <pc:docMk/>
            <pc:sldMk cId="2537393026" sldId="2145707227"/>
            <ac:spMk id="297" creationId="{706C33EC-B7A4-C948-8515-C75D3748D6BE}"/>
          </ac:spMkLst>
        </pc:spChg>
        <pc:spChg chg="add mod">
          <ac:chgData name="Nick Robinson" userId="d0c2b313-4ae0-4040-8c6a-fec7a720a7b5" providerId="ADAL" clId="{190131DE-6250-C84F-B491-721E6CF30BCB}" dt="2021-12-15T11:31:45.257" v="2867" actId="207"/>
          <ac:spMkLst>
            <pc:docMk/>
            <pc:sldMk cId="2537393026" sldId="2145707227"/>
            <ac:spMk id="298" creationId="{4646349D-5925-D74E-9FC5-DE10B001B191}"/>
          </ac:spMkLst>
        </pc:spChg>
        <pc:spChg chg="add mod">
          <ac:chgData name="Nick Robinson" userId="d0c2b313-4ae0-4040-8c6a-fec7a720a7b5" providerId="ADAL" clId="{190131DE-6250-C84F-B491-721E6CF30BCB}" dt="2021-12-15T11:31:45.257" v="2867" actId="207"/>
          <ac:spMkLst>
            <pc:docMk/>
            <pc:sldMk cId="2537393026" sldId="2145707227"/>
            <ac:spMk id="299" creationId="{48A23F02-7E96-E540-8A24-90D0E9892E57}"/>
          </ac:spMkLst>
        </pc:spChg>
        <pc:spChg chg="add mod">
          <ac:chgData name="Nick Robinson" userId="d0c2b313-4ae0-4040-8c6a-fec7a720a7b5" providerId="ADAL" clId="{190131DE-6250-C84F-B491-721E6CF30BCB}" dt="2021-12-15T11:31:45.257" v="2867" actId="207"/>
          <ac:spMkLst>
            <pc:docMk/>
            <pc:sldMk cId="2537393026" sldId="2145707227"/>
            <ac:spMk id="300" creationId="{4E25934F-FD22-E641-B988-08B86C9330AB}"/>
          </ac:spMkLst>
        </pc:spChg>
        <pc:spChg chg="add mod">
          <ac:chgData name="Nick Robinson" userId="d0c2b313-4ae0-4040-8c6a-fec7a720a7b5" providerId="ADAL" clId="{190131DE-6250-C84F-B491-721E6CF30BCB}" dt="2021-12-15T11:31:45.257" v="2867" actId="207"/>
          <ac:spMkLst>
            <pc:docMk/>
            <pc:sldMk cId="2537393026" sldId="2145707227"/>
            <ac:spMk id="301" creationId="{5ABDCC5E-9F1F-5448-92EB-C4344DAA6BCE}"/>
          </ac:spMkLst>
        </pc:spChg>
        <pc:spChg chg="add mod">
          <ac:chgData name="Nick Robinson" userId="d0c2b313-4ae0-4040-8c6a-fec7a720a7b5" providerId="ADAL" clId="{190131DE-6250-C84F-B491-721E6CF30BCB}" dt="2021-12-15T11:31:45.257" v="2867" actId="207"/>
          <ac:spMkLst>
            <pc:docMk/>
            <pc:sldMk cId="2537393026" sldId="2145707227"/>
            <ac:spMk id="302" creationId="{E203C81B-53CD-0C45-8153-9D96CBDF1B99}"/>
          </ac:spMkLst>
        </pc:spChg>
        <pc:spChg chg="add mod">
          <ac:chgData name="Nick Robinson" userId="d0c2b313-4ae0-4040-8c6a-fec7a720a7b5" providerId="ADAL" clId="{190131DE-6250-C84F-B491-721E6CF30BCB}" dt="2021-12-15T11:32:00.663" v="2868" actId="207"/>
          <ac:spMkLst>
            <pc:docMk/>
            <pc:sldMk cId="2537393026" sldId="2145707227"/>
            <ac:spMk id="303" creationId="{790EA444-D9E0-F74F-92EF-CD214771D6BD}"/>
          </ac:spMkLst>
        </pc:spChg>
        <pc:spChg chg="add mod">
          <ac:chgData name="Nick Robinson" userId="d0c2b313-4ae0-4040-8c6a-fec7a720a7b5" providerId="ADAL" clId="{190131DE-6250-C84F-B491-721E6CF30BCB}" dt="2021-12-15T11:31:45.257" v="2867" actId="207"/>
          <ac:spMkLst>
            <pc:docMk/>
            <pc:sldMk cId="2537393026" sldId="2145707227"/>
            <ac:spMk id="304" creationId="{ACF8CB89-12E7-A443-9449-4C5A2ED1A20F}"/>
          </ac:spMkLst>
        </pc:spChg>
        <pc:spChg chg="add mod">
          <ac:chgData name="Nick Robinson" userId="d0c2b313-4ae0-4040-8c6a-fec7a720a7b5" providerId="ADAL" clId="{190131DE-6250-C84F-B491-721E6CF30BCB}" dt="2021-12-15T11:32:00.663" v="2868" actId="207"/>
          <ac:spMkLst>
            <pc:docMk/>
            <pc:sldMk cId="2537393026" sldId="2145707227"/>
            <ac:spMk id="305" creationId="{DA45BA3A-FDB7-5042-B6CF-BD636C3CA617}"/>
          </ac:spMkLst>
        </pc:spChg>
        <pc:spChg chg="add mod">
          <ac:chgData name="Nick Robinson" userId="d0c2b313-4ae0-4040-8c6a-fec7a720a7b5" providerId="ADAL" clId="{190131DE-6250-C84F-B491-721E6CF30BCB}" dt="2021-12-15T11:10:20.558" v="2718"/>
          <ac:spMkLst>
            <pc:docMk/>
            <pc:sldMk cId="2537393026" sldId="2145707227"/>
            <ac:spMk id="306" creationId="{276E253F-72DC-D146-AA71-531ADE7FD3CC}"/>
          </ac:spMkLst>
        </pc:spChg>
        <pc:spChg chg="add mod">
          <ac:chgData name="Nick Robinson" userId="d0c2b313-4ae0-4040-8c6a-fec7a720a7b5" providerId="ADAL" clId="{190131DE-6250-C84F-B491-721E6CF30BCB}" dt="2021-12-15T11:10:20.558" v="2718"/>
          <ac:spMkLst>
            <pc:docMk/>
            <pc:sldMk cId="2537393026" sldId="2145707227"/>
            <ac:spMk id="307" creationId="{AF1EC0F5-54CA-984F-8E16-45B5FB308CCE}"/>
          </ac:spMkLst>
        </pc:spChg>
        <pc:spChg chg="add mod">
          <ac:chgData name="Nick Robinson" userId="d0c2b313-4ae0-4040-8c6a-fec7a720a7b5" providerId="ADAL" clId="{190131DE-6250-C84F-B491-721E6CF30BCB}" dt="2021-12-15T11:10:20.558" v="2718"/>
          <ac:spMkLst>
            <pc:docMk/>
            <pc:sldMk cId="2537393026" sldId="2145707227"/>
            <ac:spMk id="308" creationId="{8272558A-19D7-1746-9605-C10E18447D58}"/>
          </ac:spMkLst>
        </pc:spChg>
        <pc:spChg chg="add mod">
          <ac:chgData name="Nick Robinson" userId="d0c2b313-4ae0-4040-8c6a-fec7a720a7b5" providerId="ADAL" clId="{190131DE-6250-C84F-B491-721E6CF30BCB}" dt="2021-12-15T11:10:20.558" v="2718"/>
          <ac:spMkLst>
            <pc:docMk/>
            <pc:sldMk cId="2537393026" sldId="2145707227"/>
            <ac:spMk id="309" creationId="{4CCD55B2-D7DB-554B-89FE-33D2CB19D4CB}"/>
          </ac:spMkLst>
        </pc:spChg>
        <pc:spChg chg="add mod">
          <ac:chgData name="Nick Robinson" userId="d0c2b313-4ae0-4040-8c6a-fec7a720a7b5" providerId="ADAL" clId="{190131DE-6250-C84F-B491-721E6CF30BCB}" dt="2021-12-15T11:31:45.257" v="2867" actId="207"/>
          <ac:spMkLst>
            <pc:docMk/>
            <pc:sldMk cId="2537393026" sldId="2145707227"/>
            <ac:spMk id="310" creationId="{883EF99A-DD4F-1745-9EE9-2739C1DB4D83}"/>
          </ac:spMkLst>
        </pc:spChg>
        <pc:spChg chg="add mod">
          <ac:chgData name="Nick Robinson" userId="d0c2b313-4ae0-4040-8c6a-fec7a720a7b5" providerId="ADAL" clId="{190131DE-6250-C84F-B491-721E6CF30BCB}" dt="2021-12-15T11:10:20.558" v="2718"/>
          <ac:spMkLst>
            <pc:docMk/>
            <pc:sldMk cId="2537393026" sldId="2145707227"/>
            <ac:spMk id="311" creationId="{615D048A-C715-8D48-83AE-5C6708D1630F}"/>
          </ac:spMkLst>
        </pc:spChg>
        <pc:spChg chg="add mod">
          <ac:chgData name="Nick Robinson" userId="d0c2b313-4ae0-4040-8c6a-fec7a720a7b5" providerId="ADAL" clId="{190131DE-6250-C84F-B491-721E6CF30BCB}" dt="2021-12-15T11:31:45.257" v="2867" actId="207"/>
          <ac:spMkLst>
            <pc:docMk/>
            <pc:sldMk cId="2537393026" sldId="2145707227"/>
            <ac:spMk id="312" creationId="{882CBFA2-FBB2-DC47-9A73-DC1C72CAD079}"/>
          </ac:spMkLst>
        </pc:spChg>
        <pc:spChg chg="add mod">
          <ac:chgData name="Nick Robinson" userId="d0c2b313-4ae0-4040-8c6a-fec7a720a7b5" providerId="ADAL" clId="{190131DE-6250-C84F-B491-721E6CF30BCB}" dt="2021-12-15T11:32:00.663" v="2868" actId="207"/>
          <ac:spMkLst>
            <pc:docMk/>
            <pc:sldMk cId="2537393026" sldId="2145707227"/>
            <ac:spMk id="313" creationId="{1B56E4BD-67C6-2D4F-A73F-22E855B4AD16}"/>
          </ac:spMkLst>
        </pc:spChg>
        <pc:spChg chg="add mod">
          <ac:chgData name="Nick Robinson" userId="d0c2b313-4ae0-4040-8c6a-fec7a720a7b5" providerId="ADAL" clId="{190131DE-6250-C84F-B491-721E6CF30BCB}" dt="2021-12-15T11:10:20.558" v="2718"/>
          <ac:spMkLst>
            <pc:docMk/>
            <pc:sldMk cId="2537393026" sldId="2145707227"/>
            <ac:spMk id="314" creationId="{48B3282C-6198-E24E-B6D4-5571A0C4335D}"/>
          </ac:spMkLst>
        </pc:spChg>
        <pc:spChg chg="add mod">
          <ac:chgData name="Nick Robinson" userId="d0c2b313-4ae0-4040-8c6a-fec7a720a7b5" providerId="ADAL" clId="{190131DE-6250-C84F-B491-721E6CF30BCB}" dt="2021-12-15T11:32:00.663" v="2868" actId="207"/>
          <ac:spMkLst>
            <pc:docMk/>
            <pc:sldMk cId="2537393026" sldId="2145707227"/>
            <ac:spMk id="315" creationId="{525BEBAD-6730-1C49-835A-9771ED9C86AA}"/>
          </ac:spMkLst>
        </pc:spChg>
        <pc:spChg chg="add mod">
          <ac:chgData name="Nick Robinson" userId="d0c2b313-4ae0-4040-8c6a-fec7a720a7b5" providerId="ADAL" clId="{190131DE-6250-C84F-B491-721E6CF30BCB}" dt="2021-12-15T11:10:20.558" v="2718"/>
          <ac:spMkLst>
            <pc:docMk/>
            <pc:sldMk cId="2537393026" sldId="2145707227"/>
            <ac:spMk id="316" creationId="{2E4692F6-657D-7F4F-9F38-BD054AABFA2F}"/>
          </ac:spMkLst>
        </pc:spChg>
        <pc:spChg chg="add mod">
          <ac:chgData name="Nick Robinson" userId="d0c2b313-4ae0-4040-8c6a-fec7a720a7b5" providerId="ADAL" clId="{190131DE-6250-C84F-B491-721E6CF30BCB}" dt="2021-12-15T11:10:20.558" v="2718"/>
          <ac:spMkLst>
            <pc:docMk/>
            <pc:sldMk cId="2537393026" sldId="2145707227"/>
            <ac:spMk id="317" creationId="{8115CD2B-1E6A-924D-850D-3DF086C14670}"/>
          </ac:spMkLst>
        </pc:spChg>
        <pc:spChg chg="add mod">
          <ac:chgData name="Nick Robinson" userId="d0c2b313-4ae0-4040-8c6a-fec7a720a7b5" providerId="ADAL" clId="{190131DE-6250-C84F-B491-721E6CF30BCB}" dt="2021-12-15T11:31:45.257" v="2867" actId="207"/>
          <ac:spMkLst>
            <pc:docMk/>
            <pc:sldMk cId="2537393026" sldId="2145707227"/>
            <ac:spMk id="318" creationId="{3AD69BAC-2538-B848-9C04-040D622A89DA}"/>
          </ac:spMkLst>
        </pc:spChg>
        <pc:spChg chg="add mod">
          <ac:chgData name="Nick Robinson" userId="d0c2b313-4ae0-4040-8c6a-fec7a720a7b5" providerId="ADAL" clId="{190131DE-6250-C84F-B491-721E6CF30BCB}" dt="2021-12-15T11:36:03.207" v="2995" actId="1076"/>
          <ac:spMkLst>
            <pc:docMk/>
            <pc:sldMk cId="2537393026" sldId="2145707227"/>
            <ac:spMk id="319" creationId="{40F21759-70A0-5343-9C15-A11559F5DD2E}"/>
          </ac:spMkLst>
        </pc:spChg>
        <pc:spChg chg="add mod">
          <ac:chgData name="Nick Robinson" userId="d0c2b313-4ae0-4040-8c6a-fec7a720a7b5" providerId="ADAL" clId="{190131DE-6250-C84F-B491-721E6CF30BCB}" dt="2021-12-15T11:10:20.558" v="2718"/>
          <ac:spMkLst>
            <pc:docMk/>
            <pc:sldMk cId="2537393026" sldId="2145707227"/>
            <ac:spMk id="320" creationId="{D9FDF15E-A5B4-3641-B229-0ACAF1374E7A}"/>
          </ac:spMkLst>
        </pc:spChg>
        <pc:spChg chg="add mod">
          <ac:chgData name="Nick Robinson" userId="d0c2b313-4ae0-4040-8c6a-fec7a720a7b5" providerId="ADAL" clId="{190131DE-6250-C84F-B491-721E6CF30BCB}" dt="2021-12-15T11:32:00.663" v="2868" actId="207"/>
          <ac:spMkLst>
            <pc:docMk/>
            <pc:sldMk cId="2537393026" sldId="2145707227"/>
            <ac:spMk id="321" creationId="{A3F6F17D-05F9-9346-A448-5AD56C27EAFF}"/>
          </ac:spMkLst>
        </pc:spChg>
        <pc:spChg chg="add mod">
          <ac:chgData name="Nick Robinson" userId="d0c2b313-4ae0-4040-8c6a-fec7a720a7b5" providerId="ADAL" clId="{190131DE-6250-C84F-B491-721E6CF30BCB}" dt="2021-12-15T11:31:28.507" v="2866" actId="207"/>
          <ac:spMkLst>
            <pc:docMk/>
            <pc:sldMk cId="2537393026" sldId="2145707227"/>
            <ac:spMk id="322" creationId="{F6EED703-F5C0-EE4E-A5BC-280CCB348269}"/>
          </ac:spMkLst>
        </pc:spChg>
        <pc:spChg chg="add mod">
          <ac:chgData name="Nick Robinson" userId="d0c2b313-4ae0-4040-8c6a-fec7a720a7b5" providerId="ADAL" clId="{190131DE-6250-C84F-B491-721E6CF30BCB}" dt="2021-12-15T11:10:20.558" v="2718"/>
          <ac:spMkLst>
            <pc:docMk/>
            <pc:sldMk cId="2537393026" sldId="2145707227"/>
            <ac:spMk id="323" creationId="{9FDF485C-AF47-0D44-986C-1FD774952F57}"/>
          </ac:spMkLst>
        </pc:spChg>
        <pc:spChg chg="add mod">
          <ac:chgData name="Nick Robinson" userId="d0c2b313-4ae0-4040-8c6a-fec7a720a7b5" providerId="ADAL" clId="{190131DE-6250-C84F-B491-721E6CF30BCB}" dt="2021-12-15T11:31:28.507" v="2866" actId="207"/>
          <ac:spMkLst>
            <pc:docMk/>
            <pc:sldMk cId="2537393026" sldId="2145707227"/>
            <ac:spMk id="324" creationId="{23E636C1-BD73-7D43-98C2-8ACB4894BD86}"/>
          </ac:spMkLst>
        </pc:spChg>
        <pc:spChg chg="add mod">
          <ac:chgData name="Nick Robinson" userId="d0c2b313-4ae0-4040-8c6a-fec7a720a7b5" providerId="ADAL" clId="{190131DE-6250-C84F-B491-721E6CF30BCB}" dt="2021-12-15T11:10:20.558" v="2718"/>
          <ac:spMkLst>
            <pc:docMk/>
            <pc:sldMk cId="2537393026" sldId="2145707227"/>
            <ac:spMk id="325" creationId="{C3F17905-FCC1-7142-8481-E9F0FBDAFDB2}"/>
          </ac:spMkLst>
        </pc:spChg>
        <pc:spChg chg="add mod">
          <ac:chgData name="Nick Robinson" userId="d0c2b313-4ae0-4040-8c6a-fec7a720a7b5" providerId="ADAL" clId="{190131DE-6250-C84F-B491-721E6CF30BCB}" dt="2021-12-15T11:31:28.507" v="2866" actId="207"/>
          <ac:spMkLst>
            <pc:docMk/>
            <pc:sldMk cId="2537393026" sldId="2145707227"/>
            <ac:spMk id="326" creationId="{E22ABA1B-09F2-3C4A-8918-9281D8314966}"/>
          </ac:spMkLst>
        </pc:spChg>
        <pc:spChg chg="add mod">
          <ac:chgData name="Nick Robinson" userId="d0c2b313-4ae0-4040-8c6a-fec7a720a7b5" providerId="ADAL" clId="{190131DE-6250-C84F-B491-721E6CF30BCB}" dt="2021-12-15T11:31:28.507" v="2866" actId="207"/>
          <ac:spMkLst>
            <pc:docMk/>
            <pc:sldMk cId="2537393026" sldId="2145707227"/>
            <ac:spMk id="327" creationId="{BD89A6AD-C815-9F41-90CF-228819FA05EC}"/>
          </ac:spMkLst>
        </pc:spChg>
        <pc:spChg chg="add mod">
          <ac:chgData name="Nick Robinson" userId="d0c2b313-4ae0-4040-8c6a-fec7a720a7b5" providerId="ADAL" clId="{190131DE-6250-C84F-B491-721E6CF30BCB}" dt="2021-12-15T11:10:20.558" v="2718"/>
          <ac:spMkLst>
            <pc:docMk/>
            <pc:sldMk cId="2537393026" sldId="2145707227"/>
            <ac:spMk id="328" creationId="{84943FE9-D493-024E-B4F0-0016048D1DD2}"/>
          </ac:spMkLst>
        </pc:spChg>
        <pc:spChg chg="add mod">
          <ac:chgData name="Nick Robinson" userId="d0c2b313-4ae0-4040-8c6a-fec7a720a7b5" providerId="ADAL" clId="{190131DE-6250-C84F-B491-721E6CF30BCB}" dt="2021-12-15T11:10:20.558" v="2718"/>
          <ac:spMkLst>
            <pc:docMk/>
            <pc:sldMk cId="2537393026" sldId="2145707227"/>
            <ac:spMk id="329" creationId="{84475621-CEFF-954B-BAB9-D9F436C5047C}"/>
          </ac:spMkLst>
        </pc:spChg>
        <pc:spChg chg="add mod">
          <ac:chgData name="Nick Robinson" userId="d0c2b313-4ae0-4040-8c6a-fec7a720a7b5" providerId="ADAL" clId="{190131DE-6250-C84F-B491-721E6CF30BCB}" dt="2021-12-15T11:31:28.507" v="2866" actId="207"/>
          <ac:spMkLst>
            <pc:docMk/>
            <pc:sldMk cId="2537393026" sldId="2145707227"/>
            <ac:spMk id="330" creationId="{029E7B44-DE4F-824A-A271-208F1AABF990}"/>
          </ac:spMkLst>
        </pc:spChg>
        <pc:spChg chg="add mod">
          <ac:chgData name="Nick Robinson" userId="d0c2b313-4ae0-4040-8c6a-fec7a720a7b5" providerId="ADAL" clId="{190131DE-6250-C84F-B491-721E6CF30BCB}" dt="2021-12-15T11:10:20.558" v="2718"/>
          <ac:spMkLst>
            <pc:docMk/>
            <pc:sldMk cId="2537393026" sldId="2145707227"/>
            <ac:spMk id="331" creationId="{676DED5A-8139-0741-8753-BF70BEC80382}"/>
          </ac:spMkLst>
        </pc:spChg>
        <pc:spChg chg="add mod">
          <ac:chgData name="Nick Robinson" userId="d0c2b313-4ae0-4040-8c6a-fec7a720a7b5" providerId="ADAL" clId="{190131DE-6250-C84F-B491-721E6CF30BCB}" dt="2021-12-15T11:31:28.507" v="2866" actId="207"/>
          <ac:spMkLst>
            <pc:docMk/>
            <pc:sldMk cId="2537393026" sldId="2145707227"/>
            <ac:spMk id="332" creationId="{48AD730A-D4DC-414B-B08A-64F3BCF484AD}"/>
          </ac:spMkLst>
        </pc:spChg>
        <pc:spChg chg="add mod">
          <ac:chgData name="Nick Robinson" userId="d0c2b313-4ae0-4040-8c6a-fec7a720a7b5" providerId="ADAL" clId="{190131DE-6250-C84F-B491-721E6CF30BCB}" dt="2021-12-15T11:10:20.558" v="2718"/>
          <ac:spMkLst>
            <pc:docMk/>
            <pc:sldMk cId="2537393026" sldId="2145707227"/>
            <ac:spMk id="333" creationId="{F6ECEC8B-74B3-F04D-B33E-CAF5647C0265}"/>
          </ac:spMkLst>
        </pc:spChg>
        <pc:spChg chg="add mod">
          <ac:chgData name="Nick Robinson" userId="d0c2b313-4ae0-4040-8c6a-fec7a720a7b5" providerId="ADAL" clId="{190131DE-6250-C84F-B491-721E6CF30BCB}" dt="2021-12-15T11:31:28.507" v="2866" actId="207"/>
          <ac:spMkLst>
            <pc:docMk/>
            <pc:sldMk cId="2537393026" sldId="2145707227"/>
            <ac:spMk id="334" creationId="{E54406A4-3FED-F348-B175-D510FA8C42E0}"/>
          </ac:spMkLst>
        </pc:spChg>
        <pc:spChg chg="add mod">
          <ac:chgData name="Nick Robinson" userId="d0c2b313-4ae0-4040-8c6a-fec7a720a7b5" providerId="ADAL" clId="{190131DE-6250-C84F-B491-721E6CF30BCB}" dt="2021-12-15T11:10:20.558" v="2718"/>
          <ac:spMkLst>
            <pc:docMk/>
            <pc:sldMk cId="2537393026" sldId="2145707227"/>
            <ac:spMk id="335" creationId="{B1E3A894-BE3F-D746-B34F-37CEFB001A71}"/>
          </ac:spMkLst>
        </pc:spChg>
        <pc:spChg chg="add mod">
          <ac:chgData name="Nick Robinson" userId="d0c2b313-4ae0-4040-8c6a-fec7a720a7b5" providerId="ADAL" clId="{190131DE-6250-C84F-B491-721E6CF30BCB}" dt="2021-12-15T11:10:20.558" v="2718"/>
          <ac:spMkLst>
            <pc:docMk/>
            <pc:sldMk cId="2537393026" sldId="2145707227"/>
            <ac:spMk id="336" creationId="{71265BFA-2B3E-1049-97E0-6336AC4E5D8B}"/>
          </ac:spMkLst>
        </pc:spChg>
        <pc:spChg chg="add mod">
          <ac:chgData name="Nick Robinson" userId="d0c2b313-4ae0-4040-8c6a-fec7a720a7b5" providerId="ADAL" clId="{190131DE-6250-C84F-B491-721E6CF30BCB}" dt="2021-12-15T11:31:28.507" v="2866" actId="207"/>
          <ac:spMkLst>
            <pc:docMk/>
            <pc:sldMk cId="2537393026" sldId="2145707227"/>
            <ac:spMk id="337" creationId="{8305FED4-B235-3E42-B7A4-6560F9037DEC}"/>
          </ac:spMkLst>
        </pc:spChg>
        <pc:spChg chg="add mod">
          <ac:chgData name="Nick Robinson" userId="d0c2b313-4ae0-4040-8c6a-fec7a720a7b5" providerId="ADAL" clId="{190131DE-6250-C84F-B491-721E6CF30BCB}" dt="2021-12-15T11:35:08.460" v="2974" actId="1076"/>
          <ac:spMkLst>
            <pc:docMk/>
            <pc:sldMk cId="2537393026" sldId="2145707227"/>
            <ac:spMk id="338" creationId="{09DBA4CE-0DA4-F746-A891-69035D1FA521}"/>
          </ac:spMkLst>
        </pc:spChg>
        <pc:spChg chg="add mod">
          <ac:chgData name="Nick Robinson" userId="d0c2b313-4ae0-4040-8c6a-fec7a720a7b5" providerId="ADAL" clId="{190131DE-6250-C84F-B491-721E6CF30BCB}" dt="2021-12-15T11:35:10.185" v="2975" actId="1076"/>
          <ac:spMkLst>
            <pc:docMk/>
            <pc:sldMk cId="2537393026" sldId="2145707227"/>
            <ac:spMk id="339" creationId="{7627A858-66C6-1044-90BE-CD780FC8C72E}"/>
          </ac:spMkLst>
        </pc:spChg>
        <pc:spChg chg="add del mod">
          <ac:chgData name="Nick Robinson" userId="d0c2b313-4ae0-4040-8c6a-fec7a720a7b5" providerId="ADAL" clId="{190131DE-6250-C84F-B491-721E6CF30BCB}" dt="2021-12-15T11:11:03.164" v="2725"/>
          <ac:spMkLst>
            <pc:docMk/>
            <pc:sldMk cId="2537393026" sldId="2145707227"/>
            <ac:spMk id="340" creationId="{E769A3C9-96A4-E34E-A11E-B74588E76377}"/>
          </ac:spMkLst>
        </pc:spChg>
        <pc:spChg chg="add del mod">
          <ac:chgData name="Nick Robinson" userId="d0c2b313-4ae0-4040-8c6a-fec7a720a7b5" providerId="ADAL" clId="{190131DE-6250-C84F-B491-721E6CF30BCB}" dt="2021-12-15T11:11:03.164" v="2725"/>
          <ac:spMkLst>
            <pc:docMk/>
            <pc:sldMk cId="2537393026" sldId="2145707227"/>
            <ac:spMk id="341" creationId="{105A977E-D838-7442-8C97-6E4805ED3B2D}"/>
          </ac:spMkLst>
        </pc:spChg>
        <pc:spChg chg="mod">
          <ac:chgData name="Nick Robinson" userId="d0c2b313-4ae0-4040-8c6a-fec7a720a7b5" providerId="ADAL" clId="{190131DE-6250-C84F-B491-721E6CF30BCB}" dt="2021-12-15T11:11:01.067" v="2724"/>
          <ac:spMkLst>
            <pc:docMk/>
            <pc:sldMk cId="2537393026" sldId="2145707227"/>
            <ac:spMk id="343" creationId="{AE0779AE-1D99-7C42-9DD5-828675FF2BE6}"/>
          </ac:spMkLst>
        </pc:spChg>
        <pc:spChg chg="mod">
          <ac:chgData name="Nick Robinson" userId="d0c2b313-4ae0-4040-8c6a-fec7a720a7b5" providerId="ADAL" clId="{190131DE-6250-C84F-B491-721E6CF30BCB}" dt="2021-12-15T11:11:01.067" v="2724"/>
          <ac:spMkLst>
            <pc:docMk/>
            <pc:sldMk cId="2537393026" sldId="2145707227"/>
            <ac:spMk id="346" creationId="{ED565F70-1D36-704A-8575-5B7767053780}"/>
          </ac:spMkLst>
        </pc:spChg>
        <pc:spChg chg="add del mod">
          <ac:chgData name="Nick Robinson" userId="d0c2b313-4ae0-4040-8c6a-fec7a720a7b5" providerId="ADAL" clId="{190131DE-6250-C84F-B491-721E6CF30BCB}" dt="2021-12-15T11:11:03.164" v="2725"/>
          <ac:spMkLst>
            <pc:docMk/>
            <pc:sldMk cId="2537393026" sldId="2145707227"/>
            <ac:spMk id="348" creationId="{B1E50812-5515-AE4A-A8E7-4D4D6AB860A1}"/>
          </ac:spMkLst>
        </pc:spChg>
        <pc:spChg chg="mod">
          <ac:chgData name="Nick Robinson" userId="d0c2b313-4ae0-4040-8c6a-fec7a720a7b5" providerId="ADAL" clId="{190131DE-6250-C84F-B491-721E6CF30BCB}" dt="2021-12-15T11:11:01.067" v="2724"/>
          <ac:spMkLst>
            <pc:docMk/>
            <pc:sldMk cId="2537393026" sldId="2145707227"/>
            <ac:spMk id="350" creationId="{47269156-6FC5-024C-AC2F-04F85C4D828C}"/>
          </ac:spMkLst>
        </pc:spChg>
        <pc:spChg chg="mod">
          <ac:chgData name="Nick Robinson" userId="d0c2b313-4ae0-4040-8c6a-fec7a720a7b5" providerId="ADAL" clId="{190131DE-6250-C84F-B491-721E6CF30BCB}" dt="2021-12-15T11:11:01.067" v="2724"/>
          <ac:spMkLst>
            <pc:docMk/>
            <pc:sldMk cId="2537393026" sldId="2145707227"/>
            <ac:spMk id="353" creationId="{9B52A655-B031-5541-931A-437853349F72}"/>
          </ac:spMkLst>
        </pc:spChg>
        <pc:spChg chg="mod">
          <ac:chgData name="Nick Robinson" userId="d0c2b313-4ae0-4040-8c6a-fec7a720a7b5" providerId="ADAL" clId="{190131DE-6250-C84F-B491-721E6CF30BCB}" dt="2021-12-15T11:11:01.067" v="2724"/>
          <ac:spMkLst>
            <pc:docMk/>
            <pc:sldMk cId="2537393026" sldId="2145707227"/>
            <ac:spMk id="356" creationId="{B777A9E5-5396-9A42-B1F9-B771FAE88DAA}"/>
          </ac:spMkLst>
        </pc:spChg>
        <pc:spChg chg="mod">
          <ac:chgData name="Nick Robinson" userId="d0c2b313-4ae0-4040-8c6a-fec7a720a7b5" providerId="ADAL" clId="{190131DE-6250-C84F-B491-721E6CF30BCB}" dt="2021-12-15T11:11:01.067" v="2724"/>
          <ac:spMkLst>
            <pc:docMk/>
            <pc:sldMk cId="2537393026" sldId="2145707227"/>
            <ac:spMk id="359" creationId="{5BE4B8C8-499E-9F48-83AA-9E419CD5CDEF}"/>
          </ac:spMkLst>
        </pc:spChg>
        <pc:spChg chg="mod">
          <ac:chgData name="Nick Robinson" userId="d0c2b313-4ae0-4040-8c6a-fec7a720a7b5" providerId="ADAL" clId="{190131DE-6250-C84F-B491-721E6CF30BCB}" dt="2021-12-15T11:11:01.067" v="2724"/>
          <ac:spMkLst>
            <pc:docMk/>
            <pc:sldMk cId="2537393026" sldId="2145707227"/>
            <ac:spMk id="362" creationId="{FEBF8104-B39E-DD48-B80A-A3DD4792F00B}"/>
          </ac:spMkLst>
        </pc:spChg>
        <pc:spChg chg="mod">
          <ac:chgData name="Nick Robinson" userId="d0c2b313-4ae0-4040-8c6a-fec7a720a7b5" providerId="ADAL" clId="{190131DE-6250-C84F-B491-721E6CF30BCB}" dt="2021-12-15T11:11:01.067" v="2724"/>
          <ac:spMkLst>
            <pc:docMk/>
            <pc:sldMk cId="2537393026" sldId="2145707227"/>
            <ac:spMk id="365" creationId="{01922D51-F083-514E-A85D-089B2B4D9141}"/>
          </ac:spMkLst>
        </pc:spChg>
        <pc:spChg chg="add del mod">
          <ac:chgData name="Nick Robinson" userId="d0c2b313-4ae0-4040-8c6a-fec7a720a7b5" providerId="ADAL" clId="{190131DE-6250-C84F-B491-721E6CF30BCB}" dt="2021-12-15T11:11:03.164" v="2725"/>
          <ac:spMkLst>
            <pc:docMk/>
            <pc:sldMk cId="2537393026" sldId="2145707227"/>
            <ac:spMk id="367" creationId="{86A83C4B-7788-E845-8100-A49465B1158D}"/>
          </ac:spMkLst>
        </pc:spChg>
        <pc:spChg chg="add del mod">
          <ac:chgData name="Nick Robinson" userId="d0c2b313-4ae0-4040-8c6a-fec7a720a7b5" providerId="ADAL" clId="{190131DE-6250-C84F-B491-721E6CF30BCB}" dt="2021-12-15T11:11:03.164" v="2725"/>
          <ac:spMkLst>
            <pc:docMk/>
            <pc:sldMk cId="2537393026" sldId="2145707227"/>
            <ac:spMk id="368" creationId="{F6D3D05B-2119-D54A-9BBA-B48056A7EF9D}"/>
          </ac:spMkLst>
        </pc:spChg>
        <pc:spChg chg="add del mod">
          <ac:chgData name="Nick Robinson" userId="d0c2b313-4ae0-4040-8c6a-fec7a720a7b5" providerId="ADAL" clId="{190131DE-6250-C84F-B491-721E6CF30BCB}" dt="2021-12-15T11:11:03.164" v="2725"/>
          <ac:spMkLst>
            <pc:docMk/>
            <pc:sldMk cId="2537393026" sldId="2145707227"/>
            <ac:spMk id="369" creationId="{03365742-5244-E546-8C41-0A1BBDACC4E7}"/>
          </ac:spMkLst>
        </pc:spChg>
        <pc:spChg chg="add del mod">
          <ac:chgData name="Nick Robinson" userId="d0c2b313-4ae0-4040-8c6a-fec7a720a7b5" providerId="ADAL" clId="{190131DE-6250-C84F-B491-721E6CF30BCB}" dt="2021-12-15T11:11:03.164" v="2725"/>
          <ac:spMkLst>
            <pc:docMk/>
            <pc:sldMk cId="2537393026" sldId="2145707227"/>
            <ac:spMk id="370" creationId="{DE1AAEB7-77C9-1241-879D-378B0A8EF217}"/>
          </ac:spMkLst>
        </pc:spChg>
        <pc:spChg chg="add del mod">
          <ac:chgData name="Nick Robinson" userId="d0c2b313-4ae0-4040-8c6a-fec7a720a7b5" providerId="ADAL" clId="{190131DE-6250-C84F-B491-721E6CF30BCB}" dt="2021-12-15T11:12:30.915" v="2755" actId="478"/>
          <ac:spMkLst>
            <pc:docMk/>
            <pc:sldMk cId="2537393026" sldId="2145707227"/>
            <ac:spMk id="371" creationId="{14AC3A6F-605B-7741-9CFD-0D5F64B7D179}"/>
          </ac:spMkLst>
        </pc:spChg>
        <pc:spChg chg="add del mod">
          <ac:chgData name="Nick Robinson" userId="d0c2b313-4ae0-4040-8c6a-fec7a720a7b5" providerId="ADAL" clId="{190131DE-6250-C84F-B491-721E6CF30BCB}" dt="2021-12-15T11:12:32.025" v="2756" actId="478"/>
          <ac:spMkLst>
            <pc:docMk/>
            <pc:sldMk cId="2537393026" sldId="2145707227"/>
            <ac:spMk id="372" creationId="{16AF35D9-8EF3-EE43-A31F-7FFB41146B55}"/>
          </ac:spMkLst>
        </pc:spChg>
        <pc:spChg chg="add del mod">
          <ac:chgData name="Nick Robinson" userId="d0c2b313-4ae0-4040-8c6a-fec7a720a7b5" providerId="ADAL" clId="{190131DE-6250-C84F-B491-721E6CF30BCB}" dt="2021-12-15T11:12:30.915" v="2755" actId="478"/>
          <ac:spMkLst>
            <pc:docMk/>
            <pc:sldMk cId="2537393026" sldId="2145707227"/>
            <ac:spMk id="373" creationId="{96DACF62-54FB-D04D-8FD6-F77D6074F465}"/>
          </ac:spMkLst>
        </pc:spChg>
        <pc:spChg chg="add del mod">
          <ac:chgData name="Nick Robinson" userId="d0c2b313-4ae0-4040-8c6a-fec7a720a7b5" providerId="ADAL" clId="{190131DE-6250-C84F-B491-721E6CF30BCB}" dt="2021-12-15T11:12:30.915" v="2755" actId="478"/>
          <ac:spMkLst>
            <pc:docMk/>
            <pc:sldMk cId="2537393026" sldId="2145707227"/>
            <ac:spMk id="374" creationId="{709268DE-ECFD-2C4E-B19C-18D51330F329}"/>
          </ac:spMkLst>
        </pc:spChg>
        <pc:spChg chg="add del mod">
          <ac:chgData name="Nick Robinson" userId="d0c2b313-4ae0-4040-8c6a-fec7a720a7b5" providerId="ADAL" clId="{190131DE-6250-C84F-B491-721E6CF30BCB}" dt="2021-12-15T11:12:30.915" v="2755" actId="478"/>
          <ac:spMkLst>
            <pc:docMk/>
            <pc:sldMk cId="2537393026" sldId="2145707227"/>
            <ac:spMk id="375" creationId="{F95851D3-772A-1D40-94A4-064FF1A3FCC0}"/>
          </ac:spMkLst>
        </pc:spChg>
        <pc:spChg chg="add del mod">
          <ac:chgData name="Nick Robinson" userId="d0c2b313-4ae0-4040-8c6a-fec7a720a7b5" providerId="ADAL" clId="{190131DE-6250-C84F-B491-721E6CF30BCB}" dt="2021-12-15T11:12:30.915" v="2755" actId="478"/>
          <ac:spMkLst>
            <pc:docMk/>
            <pc:sldMk cId="2537393026" sldId="2145707227"/>
            <ac:spMk id="376" creationId="{F285AADB-2C3F-8041-A6C4-70015E61D618}"/>
          </ac:spMkLst>
        </pc:spChg>
        <pc:spChg chg="add del mod">
          <ac:chgData name="Nick Robinson" userId="d0c2b313-4ae0-4040-8c6a-fec7a720a7b5" providerId="ADAL" clId="{190131DE-6250-C84F-B491-721E6CF30BCB}" dt="2021-12-15T11:12:30.915" v="2755" actId="478"/>
          <ac:spMkLst>
            <pc:docMk/>
            <pc:sldMk cId="2537393026" sldId="2145707227"/>
            <ac:spMk id="377" creationId="{38D57F77-6D2A-394A-99E2-92904E77DD7E}"/>
          </ac:spMkLst>
        </pc:spChg>
        <pc:spChg chg="add del mod">
          <ac:chgData name="Nick Robinson" userId="d0c2b313-4ae0-4040-8c6a-fec7a720a7b5" providerId="ADAL" clId="{190131DE-6250-C84F-B491-721E6CF30BCB}" dt="2021-12-15T11:12:30.915" v="2755" actId="478"/>
          <ac:spMkLst>
            <pc:docMk/>
            <pc:sldMk cId="2537393026" sldId="2145707227"/>
            <ac:spMk id="378" creationId="{EF0EB522-A0B0-A942-8FDA-92637FF66921}"/>
          </ac:spMkLst>
        </pc:spChg>
        <pc:spChg chg="add mod">
          <ac:chgData name="Nick Robinson" userId="d0c2b313-4ae0-4040-8c6a-fec7a720a7b5" providerId="ADAL" clId="{190131DE-6250-C84F-B491-721E6CF30BCB}" dt="2021-12-15T11:35:48.907" v="2990" actId="1076"/>
          <ac:spMkLst>
            <pc:docMk/>
            <pc:sldMk cId="2537393026" sldId="2145707227"/>
            <ac:spMk id="379" creationId="{C21E2688-9607-6448-9411-CBDB36EE6FB8}"/>
          </ac:spMkLst>
        </pc:spChg>
        <pc:spChg chg="add mod">
          <ac:chgData name="Nick Robinson" userId="d0c2b313-4ae0-4040-8c6a-fec7a720a7b5" providerId="ADAL" clId="{190131DE-6250-C84F-B491-721E6CF30BCB}" dt="2021-12-15T11:18:22.373" v="2855" actId="14100"/>
          <ac:spMkLst>
            <pc:docMk/>
            <pc:sldMk cId="2537393026" sldId="2145707227"/>
            <ac:spMk id="380" creationId="{35DBD1E1-D7D1-014E-A1D7-9460E863030A}"/>
          </ac:spMkLst>
        </pc:spChg>
        <pc:spChg chg="add mod">
          <ac:chgData name="Nick Robinson" userId="d0c2b313-4ae0-4040-8c6a-fec7a720a7b5" providerId="ADAL" clId="{190131DE-6250-C84F-B491-721E6CF30BCB}" dt="2021-12-15T11:18:26.878" v="2858" actId="1036"/>
          <ac:spMkLst>
            <pc:docMk/>
            <pc:sldMk cId="2537393026" sldId="2145707227"/>
            <ac:spMk id="381" creationId="{9A1075AF-D957-604E-A9A9-C417A6C32325}"/>
          </ac:spMkLst>
        </pc:spChg>
        <pc:grpChg chg="add del mod">
          <ac:chgData name="Nick Robinson" userId="d0c2b313-4ae0-4040-8c6a-fec7a720a7b5" providerId="ADAL" clId="{190131DE-6250-C84F-B491-721E6CF30BCB}" dt="2021-12-15T11:09:44.368" v="2714" actId="478"/>
          <ac:grpSpMkLst>
            <pc:docMk/>
            <pc:sldMk cId="2537393026" sldId="2145707227"/>
            <ac:grpSpMk id="10" creationId="{A5873C76-5908-8B41-8526-0CC85835EE20}"/>
          </ac:grpSpMkLst>
        </pc:grpChg>
        <pc:grpChg chg="mod">
          <ac:chgData name="Nick Robinson" userId="d0c2b313-4ae0-4040-8c6a-fec7a720a7b5" providerId="ADAL" clId="{190131DE-6250-C84F-B491-721E6CF30BCB}" dt="2021-12-15T10:37:33.726" v="2134"/>
          <ac:grpSpMkLst>
            <pc:docMk/>
            <pc:sldMk cId="2537393026" sldId="2145707227"/>
            <ac:grpSpMk id="11" creationId="{8C83A67D-F8FE-3A4F-993A-2FD9B5AA8D59}"/>
          </ac:grpSpMkLst>
        </pc:grpChg>
        <pc:grpChg chg="add del mod">
          <ac:chgData name="Nick Robinson" userId="d0c2b313-4ae0-4040-8c6a-fec7a720a7b5" providerId="ADAL" clId="{190131DE-6250-C84F-B491-721E6CF30BCB}" dt="2021-12-15T10:39:03.425" v="2153" actId="478"/>
          <ac:grpSpMkLst>
            <pc:docMk/>
            <pc:sldMk cId="2537393026" sldId="2145707227"/>
            <ac:grpSpMk id="28" creationId="{71BE360F-25EB-9A49-8591-20A6317EDC6A}"/>
          </ac:grpSpMkLst>
        </pc:grpChg>
        <pc:grpChg chg="add del mod">
          <ac:chgData name="Nick Robinson" userId="d0c2b313-4ae0-4040-8c6a-fec7a720a7b5" providerId="ADAL" clId="{190131DE-6250-C84F-B491-721E6CF30BCB}" dt="2021-12-15T10:39:10.136" v="2155" actId="478"/>
          <ac:grpSpMkLst>
            <pc:docMk/>
            <pc:sldMk cId="2537393026" sldId="2145707227"/>
            <ac:grpSpMk id="33" creationId="{258CB350-083E-7940-9C4C-352462B0D831}"/>
          </ac:grpSpMkLst>
        </pc:grpChg>
        <pc:grpChg chg="add del mod">
          <ac:chgData name="Nick Robinson" userId="d0c2b313-4ae0-4040-8c6a-fec7a720a7b5" providerId="ADAL" clId="{190131DE-6250-C84F-B491-721E6CF30BCB}" dt="2021-12-15T11:09:44.368" v="2714" actId="478"/>
          <ac:grpSpMkLst>
            <pc:docMk/>
            <pc:sldMk cId="2537393026" sldId="2145707227"/>
            <ac:grpSpMk id="36" creationId="{BEA3BD2D-51F4-4440-AF3C-B915B415B3BE}"/>
          </ac:grpSpMkLst>
        </pc:grpChg>
        <pc:grpChg chg="add del mod">
          <ac:chgData name="Nick Robinson" userId="d0c2b313-4ae0-4040-8c6a-fec7a720a7b5" providerId="ADAL" clId="{190131DE-6250-C84F-B491-721E6CF30BCB}" dt="2021-12-15T10:38:55.125" v="2147" actId="478"/>
          <ac:grpSpMkLst>
            <pc:docMk/>
            <pc:sldMk cId="2537393026" sldId="2145707227"/>
            <ac:grpSpMk id="39" creationId="{31B333F6-E8F7-D243-AC1F-DDC3335F72BB}"/>
          </ac:grpSpMkLst>
        </pc:grpChg>
        <pc:grpChg chg="add del mod">
          <ac:chgData name="Nick Robinson" userId="d0c2b313-4ae0-4040-8c6a-fec7a720a7b5" providerId="ADAL" clId="{190131DE-6250-C84F-B491-721E6CF30BCB}" dt="2021-12-15T10:38:55.125" v="2147" actId="478"/>
          <ac:grpSpMkLst>
            <pc:docMk/>
            <pc:sldMk cId="2537393026" sldId="2145707227"/>
            <ac:grpSpMk id="42" creationId="{6D3171FF-E9FC-994B-A1AE-BEF96F5FE950}"/>
          </ac:grpSpMkLst>
        </pc:grpChg>
        <pc:grpChg chg="add del mod">
          <ac:chgData name="Nick Robinson" userId="d0c2b313-4ae0-4040-8c6a-fec7a720a7b5" providerId="ADAL" clId="{190131DE-6250-C84F-B491-721E6CF30BCB}" dt="2021-12-15T10:39:11.977" v="2157" actId="478"/>
          <ac:grpSpMkLst>
            <pc:docMk/>
            <pc:sldMk cId="2537393026" sldId="2145707227"/>
            <ac:grpSpMk id="45" creationId="{5DB6FF94-C7BE-4C4C-BAA4-3C858E56BD02}"/>
          </ac:grpSpMkLst>
        </pc:grpChg>
        <pc:grpChg chg="add del mod">
          <ac:chgData name="Nick Robinson" userId="d0c2b313-4ae0-4040-8c6a-fec7a720a7b5" providerId="ADAL" clId="{190131DE-6250-C84F-B491-721E6CF30BCB}" dt="2021-12-15T11:09:44.368" v="2714" actId="478"/>
          <ac:grpSpMkLst>
            <pc:docMk/>
            <pc:sldMk cId="2537393026" sldId="2145707227"/>
            <ac:grpSpMk id="54" creationId="{345795E3-6480-484F-B465-088E91BE7C54}"/>
          </ac:grpSpMkLst>
        </pc:grpChg>
        <pc:grpChg chg="add del mod">
          <ac:chgData name="Nick Robinson" userId="d0c2b313-4ae0-4040-8c6a-fec7a720a7b5" providerId="ADAL" clId="{190131DE-6250-C84F-B491-721E6CF30BCB}" dt="2021-12-15T11:09:44.368" v="2714" actId="478"/>
          <ac:grpSpMkLst>
            <pc:docMk/>
            <pc:sldMk cId="2537393026" sldId="2145707227"/>
            <ac:grpSpMk id="57" creationId="{8ACEC777-22AB-8B46-8665-17A636C61D2B}"/>
          </ac:grpSpMkLst>
        </pc:grpChg>
        <pc:grpChg chg="add del mod">
          <ac:chgData name="Nick Robinson" userId="d0c2b313-4ae0-4040-8c6a-fec7a720a7b5" providerId="ADAL" clId="{190131DE-6250-C84F-B491-721E6CF30BCB}" dt="2021-12-15T11:09:44.368" v="2714" actId="478"/>
          <ac:grpSpMkLst>
            <pc:docMk/>
            <pc:sldMk cId="2537393026" sldId="2145707227"/>
            <ac:grpSpMk id="60" creationId="{79C95457-0877-1243-85B9-95FF041CA4C7}"/>
          </ac:grpSpMkLst>
        </pc:grpChg>
        <pc:grpChg chg="add del mod">
          <ac:chgData name="Nick Robinson" userId="d0c2b313-4ae0-4040-8c6a-fec7a720a7b5" providerId="ADAL" clId="{190131DE-6250-C84F-B491-721E6CF30BCB}" dt="2021-12-15T11:09:44.368" v="2714" actId="478"/>
          <ac:grpSpMkLst>
            <pc:docMk/>
            <pc:sldMk cId="2537393026" sldId="2145707227"/>
            <ac:grpSpMk id="63" creationId="{6BCBF9FE-D9B1-684C-BE65-951DDDCF030E}"/>
          </ac:grpSpMkLst>
        </pc:grpChg>
        <pc:grpChg chg="add del mod">
          <ac:chgData name="Nick Robinson" userId="d0c2b313-4ae0-4040-8c6a-fec7a720a7b5" providerId="ADAL" clId="{190131DE-6250-C84F-B491-721E6CF30BCB}" dt="2021-12-15T11:09:44.368" v="2714" actId="478"/>
          <ac:grpSpMkLst>
            <pc:docMk/>
            <pc:sldMk cId="2537393026" sldId="2145707227"/>
            <ac:grpSpMk id="66" creationId="{62C5A01D-6B4A-F44E-A139-81E0BC9EC580}"/>
          </ac:grpSpMkLst>
        </pc:grpChg>
        <pc:grpChg chg="add del mod">
          <ac:chgData name="Nick Robinson" userId="d0c2b313-4ae0-4040-8c6a-fec7a720a7b5" providerId="ADAL" clId="{190131DE-6250-C84F-B491-721E6CF30BCB}" dt="2021-12-15T11:09:44.368" v="2714" actId="478"/>
          <ac:grpSpMkLst>
            <pc:docMk/>
            <pc:sldMk cId="2537393026" sldId="2145707227"/>
            <ac:grpSpMk id="70" creationId="{5D49BAE0-6D5A-1045-8AE5-36B24BAF7CD6}"/>
          </ac:grpSpMkLst>
        </pc:grpChg>
        <pc:grpChg chg="add del mod">
          <ac:chgData name="Nick Robinson" userId="d0c2b313-4ae0-4040-8c6a-fec7a720a7b5" providerId="ADAL" clId="{190131DE-6250-C84F-B491-721E6CF30BCB}" dt="2021-12-15T11:09:44.368" v="2714" actId="478"/>
          <ac:grpSpMkLst>
            <pc:docMk/>
            <pc:sldMk cId="2537393026" sldId="2145707227"/>
            <ac:grpSpMk id="74" creationId="{0D282660-3D31-CC4F-803A-EBA6D8CD3483}"/>
          </ac:grpSpMkLst>
        </pc:grpChg>
        <pc:grpChg chg="add del mod">
          <ac:chgData name="Nick Robinson" userId="d0c2b313-4ae0-4040-8c6a-fec7a720a7b5" providerId="ADAL" clId="{190131DE-6250-C84F-B491-721E6CF30BCB}" dt="2021-12-15T11:09:44.368" v="2714" actId="478"/>
          <ac:grpSpMkLst>
            <pc:docMk/>
            <pc:sldMk cId="2537393026" sldId="2145707227"/>
            <ac:grpSpMk id="78" creationId="{7841ED2A-67AF-FE47-AE13-9B501DA745BA}"/>
          </ac:grpSpMkLst>
        </pc:grpChg>
        <pc:grpChg chg="add del mod">
          <ac:chgData name="Nick Robinson" userId="d0c2b313-4ae0-4040-8c6a-fec7a720a7b5" providerId="ADAL" clId="{190131DE-6250-C84F-B491-721E6CF30BCB}" dt="2021-12-15T11:09:44.368" v="2714" actId="478"/>
          <ac:grpSpMkLst>
            <pc:docMk/>
            <pc:sldMk cId="2537393026" sldId="2145707227"/>
            <ac:grpSpMk id="82" creationId="{6445DE1F-B409-6444-BFAA-F8E2682CB1A6}"/>
          </ac:grpSpMkLst>
        </pc:grpChg>
        <pc:grpChg chg="add del mod">
          <ac:chgData name="Nick Robinson" userId="d0c2b313-4ae0-4040-8c6a-fec7a720a7b5" providerId="ADAL" clId="{190131DE-6250-C84F-B491-721E6CF30BCB}" dt="2021-12-15T11:09:44.368" v="2714" actId="478"/>
          <ac:grpSpMkLst>
            <pc:docMk/>
            <pc:sldMk cId="2537393026" sldId="2145707227"/>
            <ac:grpSpMk id="89" creationId="{CD9E4D95-3146-0D40-B4BF-FFADB79D674A}"/>
          </ac:grpSpMkLst>
        </pc:grpChg>
        <pc:grpChg chg="add del mod">
          <ac:chgData name="Nick Robinson" userId="d0c2b313-4ae0-4040-8c6a-fec7a720a7b5" providerId="ADAL" clId="{190131DE-6250-C84F-B491-721E6CF30BCB}" dt="2021-12-15T10:38:59.819" v="2152" actId="478"/>
          <ac:grpSpMkLst>
            <pc:docMk/>
            <pc:sldMk cId="2537393026" sldId="2145707227"/>
            <ac:grpSpMk id="92" creationId="{CE91FB4B-AFB7-7341-9944-8DB3A3E150D5}"/>
          </ac:grpSpMkLst>
        </pc:grpChg>
        <pc:grpChg chg="add del mod">
          <ac:chgData name="Nick Robinson" userId="d0c2b313-4ae0-4040-8c6a-fec7a720a7b5" providerId="ADAL" clId="{190131DE-6250-C84F-B491-721E6CF30BCB}" dt="2021-12-15T11:09:44.368" v="2714" actId="478"/>
          <ac:grpSpMkLst>
            <pc:docMk/>
            <pc:sldMk cId="2537393026" sldId="2145707227"/>
            <ac:grpSpMk id="95" creationId="{6488BAAA-B97F-904E-B8BF-16A67D604C7B}"/>
          </ac:grpSpMkLst>
        </pc:grpChg>
        <pc:grpChg chg="add del mod">
          <ac:chgData name="Nick Robinson" userId="d0c2b313-4ae0-4040-8c6a-fec7a720a7b5" providerId="ADAL" clId="{190131DE-6250-C84F-B491-721E6CF30BCB}" dt="2021-12-15T11:09:44.368" v="2714" actId="478"/>
          <ac:grpSpMkLst>
            <pc:docMk/>
            <pc:sldMk cId="2537393026" sldId="2145707227"/>
            <ac:grpSpMk id="98" creationId="{376AF1FB-0D1C-2D47-BD1D-B05B16C3DE5E}"/>
          </ac:grpSpMkLst>
        </pc:grpChg>
        <pc:grpChg chg="add del mod">
          <ac:chgData name="Nick Robinson" userId="d0c2b313-4ae0-4040-8c6a-fec7a720a7b5" providerId="ADAL" clId="{190131DE-6250-C84F-B491-721E6CF30BCB}" dt="2021-12-15T11:09:44.368" v="2714" actId="478"/>
          <ac:grpSpMkLst>
            <pc:docMk/>
            <pc:sldMk cId="2537393026" sldId="2145707227"/>
            <ac:grpSpMk id="101" creationId="{3D7CAE10-F6C0-4D41-B353-099EEA62D0C9}"/>
          </ac:grpSpMkLst>
        </pc:grpChg>
        <pc:grpChg chg="add del mod">
          <ac:chgData name="Nick Robinson" userId="d0c2b313-4ae0-4040-8c6a-fec7a720a7b5" providerId="ADAL" clId="{190131DE-6250-C84F-B491-721E6CF30BCB}" dt="2021-12-15T11:09:44.368" v="2714" actId="478"/>
          <ac:grpSpMkLst>
            <pc:docMk/>
            <pc:sldMk cId="2537393026" sldId="2145707227"/>
            <ac:grpSpMk id="107" creationId="{4D8018A8-E1D1-5540-BF1A-C1906472DC7D}"/>
          </ac:grpSpMkLst>
        </pc:grpChg>
        <pc:grpChg chg="add del mod">
          <ac:chgData name="Nick Robinson" userId="d0c2b313-4ae0-4040-8c6a-fec7a720a7b5" providerId="ADAL" clId="{190131DE-6250-C84F-B491-721E6CF30BCB}" dt="2021-12-15T11:09:44.368" v="2714" actId="478"/>
          <ac:grpSpMkLst>
            <pc:docMk/>
            <pc:sldMk cId="2537393026" sldId="2145707227"/>
            <ac:grpSpMk id="110" creationId="{62AF3950-CD61-D145-A5B2-E71C3AD5FF08}"/>
          </ac:grpSpMkLst>
        </pc:grpChg>
        <pc:grpChg chg="add del mod">
          <ac:chgData name="Nick Robinson" userId="d0c2b313-4ae0-4040-8c6a-fec7a720a7b5" providerId="ADAL" clId="{190131DE-6250-C84F-B491-721E6CF30BCB}" dt="2021-12-15T11:09:44.368" v="2714" actId="478"/>
          <ac:grpSpMkLst>
            <pc:docMk/>
            <pc:sldMk cId="2537393026" sldId="2145707227"/>
            <ac:grpSpMk id="113" creationId="{C2E57981-2DA9-5C45-80DC-91FB29FAB59E}"/>
          </ac:grpSpMkLst>
        </pc:grpChg>
        <pc:grpChg chg="add del mod">
          <ac:chgData name="Nick Robinson" userId="d0c2b313-4ae0-4040-8c6a-fec7a720a7b5" providerId="ADAL" clId="{190131DE-6250-C84F-B491-721E6CF30BCB}" dt="2021-12-15T11:09:44.368" v="2714" actId="478"/>
          <ac:grpSpMkLst>
            <pc:docMk/>
            <pc:sldMk cId="2537393026" sldId="2145707227"/>
            <ac:grpSpMk id="119" creationId="{4306B157-3CEA-4D4F-AA06-FB7FD8DADA6F}"/>
          </ac:grpSpMkLst>
        </pc:grpChg>
        <pc:grpChg chg="add del mod">
          <ac:chgData name="Nick Robinson" userId="d0c2b313-4ae0-4040-8c6a-fec7a720a7b5" providerId="ADAL" clId="{190131DE-6250-C84F-B491-721E6CF30BCB}" dt="2021-12-15T11:09:44.368" v="2714" actId="478"/>
          <ac:grpSpMkLst>
            <pc:docMk/>
            <pc:sldMk cId="2537393026" sldId="2145707227"/>
            <ac:grpSpMk id="122" creationId="{EC9E31FD-EF00-674B-84F1-7F9F125BFBF8}"/>
          </ac:grpSpMkLst>
        </pc:grpChg>
        <pc:grpChg chg="add del mod">
          <ac:chgData name="Nick Robinson" userId="d0c2b313-4ae0-4040-8c6a-fec7a720a7b5" providerId="ADAL" clId="{190131DE-6250-C84F-B491-721E6CF30BCB}" dt="2021-12-15T11:09:44.368" v="2714" actId="478"/>
          <ac:grpSpMkLst>
            <pc:docMk/>
            <pc:sldMk cId="2537393026" sldId="2145707227"/>
            <ac:grpSpMk id="125" creationId="{D8A89E2B-B0C9-7649-801F-DBA0E43E73E7}"/>
          </ac:grpSpMkLst>
        </pc:grpChg>
        <pc:grpChg chg="add del mod">
          <ac:chgData name="Nick Robinson" userId="d0c2b313-4ae0-4040-8c6a-fec7a720a7b5" providerId="ADAL" clId="{190131DE-6250-C84F-B491-721E6CF30BCB}" dt="2021-12-15T11:09:44.368" v="2714" actId="478"/>
          <ac:grpSpMkLst>
            <pc:docMk/>
            <pc:sldMk cId="2537393026" sldId="2145707227"/>
            <ac:grpSpMk id="129" creationId="{CE3607EF-148E-2D4E-A1FB-AAFE4B96F836}"/>
          </ac:grpSpMkLst>
        </pc:grpChg>
        <pc:grpChg chg="add del mod">
          <ac:chgData name="Nick Robinson" userId="d0c2b313-4ae0-4040-8c6a-fec7a720a7b5" providerId="ADAL" clId="{190131DE-6250-C84F-B491-721E6CF30BCB}" dt="2021-12-15T11:09:44.368" v="2714" actId="478"/>
          <ac:grpSpMkLst>
            <pc:docMk/>
            <pc:sldMk cId="2537393026" sldId="2145707227"/>
            <ac:grpSpMk id="133" creationId="{14039B66-FE65-094A-9823-385EB830AA3E}"/>
          </ac:grpSpMkLst>
        </pc:grpChg>
        <pc:grpChg chg="add del mod">
          <ac:chgData name="Nick Robinson" userId="d0c2b313-4ae0-4040-8c6a-fec7a720a7b5" providerId="ADAL" clId="{190131DE-6250-C84F-B491-721E6CF30BCB}" dt="2021-12-15T11:09:44.368" v="2714" actId="478"/>
          <ac:grpSpMkLst>
            <pc:docMk/>
            <pc:sldMk cId="2537393026" sldId="2145707227"/>
            <ac:grpSpMk id="140" creationId="{02064E0E-73E0-9840-89DA-C6B1AE08B71B}"/>
          </ac:grpSpMkLst>
        </pc:grpChg>
        <pc:grpChg chg="add del mod">
          <ac:chgData name="Nick Robinson" userId="d0c2b313-4ae0-4040-8c6a-fec7a720a7b5" providerId="ADAL" clId="{190131DE-6250-C84F-B491-721E6CF30BCB}" dt="2021-12-15T11:09:44.368" v="2714" actId="478"/>
          <ac:grpSpMkLst>
            <pc:docMk/>
            <pc:sldMk cId="2537393026" sldId="2145707227"/>
            <ac:grpSpMk id="143" creationId="{5CF4B089-02A0-2B45-8252-05ABEC35E5E9}"/>
          </ac:grpSpMkLst>
        </pc:grpChg>
        <pc:grpChg chg="add del mod">
          <ac:chgData name="Nick Robinson" userId="d0c2b313-4ae0-4040-8c6a-fec7a720a7b5" providerId="ADAL" clId="{190131DE-6250-C84F-B491-721E6CF30BCB}" dt="2021-12-15T11:09:44.368" v="2714" actId="478"/>
          <ac:grpSpMkLst>
            <pc:docMk/>
            <pc:sldMk cId="2537393026" sldId="2145707227"/>
            <ac:grpSpMk id="146" creationId="{B4C340B2-43BE-514F-92EF-132AC256F2A1}"/>
          </ac:grpSpMkLst>
        </pc:grpChg>
        <pc:grpChg chg="add del mod">
          <ac:chgData name="Nick Robinson" userId="d0c2b313-4ae0-4040-8c6a-fec7a720a7b5" providerId="ADAL" clId="{190131DE-6250-C84F-B491-721E6CF30BCB}" dt="2021-12-15T11:09:44.368" v="2714" actId="478"/>
          <ac:grpSpMkLst>
            <pc:docMk/>
            <pc:sldMk cId="2537393026" sldId="2145707227"/>
            <ac:grpSpMk id="149" creationId="{FF04D684-DB87-A147-9D78-1AAEA85BB2BF}"/>
          </ac:grpSpMkLst>
        </pc:grpChg>
        <pc:grpChg chg="add del mod">
          <ac:chgData name="Nick Robinson" userId="d0c2b313-4ae0-4040-8c6a-fec7a720a7b5" providerId="ADAL" clId="{190131DE-6250-C84F-B491-721E6CF30BCB}" dt="2021-12-15T11:09:44.368" v="2714" actId="478"/>
          <ac:grpSpMkLst>
            <pc:docMk/>
            <pc:sldMk cId="2537393026" sldId="2145707227"/>
            <ac:grpSpMk id="153" creationId="{13AB137A-3171-F649-B0E6-134038B50D9E}"/>
          </ac:grpSpMkLst>
        </pc:grpChg>
        <pc:grpChg chg="add del mod">
          <ac:chgData name="Nick Robinson" userId="d0c2b313-4ae0-4040-8c6a-fec7a720a7b5" providerId="ADAL" clId="{190131DE-6250-C84F-B491-721E6CF30BCB}" dt="2021-12-15T11:09:44.368" v="2714" actId="478"/>
          <ac:grpSpMkLst>
            <pc:docMk/>
            <pc:sldMk cId="2537393026" sldId="2145707227"/>
            <ac:grpSpMk id="157" creationId="{050C9B5F-69FB-F647-9DA9-B84645F77D3D}"/>
          </ac:grpSpMkLst>
        </pc:grpChg>
        <pc:grpChg chg="add del mod">
          <ac:chgData name="Nick Robinson" userId="d0c2b313-4ae0-4040-8c6a-fec7a720a7b5" providerId="ADAL" clId="{190131DE-6250-C84F-B491-721E6CF30BCB}" dt="2021-12-15T11:09:44.368" v="2714" actId="478"/>
          <ac:grpSpMkLst>
            <pc:docMk/>
            <pc:sldMk cId="2537393026" sldId="2145707227"/>
            <ac:grpSpMk id="160" creationId="{E0819102-94B4-4246-B181-E30D877D8459}"/>
          </ac:grpSpMkLst>
        </pc:grpChg>
        <pc:grpChg chg="add del mod">
          <ac:chgData name="Nick Robinson" userId="d0c2b313-4ae0-4040-8c6a-fec7a720a7b5" providerId="ADAL" clId="{190131DE-6250-C84F-B491-721E6CF30BCB}" dt="2021-12-15T11:09:44.368" v="2714" actId="478"/>
          <ac:grpSpMkLst>
            <pc:docMk/>
            <pc:sldMk cId="2537393026" sldId="2145707227"/>
            <ac:grpSpMk id="163" creationId="{226C90E2-1548-8140-9426-8B6BAF0D3D1D}"/>
          </ac:grpSpMkLst>
        </pc:grpChg>
        <pc:grpChg chg="add del mod">
          <ac:chgData name="Nick Robinson" userId="d0c2b313-4ae0-4040-8c6a-fec7a720a7b5" providerId="ADAL" clId="{190131DE-6250-C84F-B491-721E6CF30BCB}" dt="2021-12-15T11:09:44.368" v="2714" actId="478"/>
          <ac:grpSpMkLst>
            <pc:docMk/>
            <pc:sldMk cId="2537393026" sldId="2145707227"/>
            <ac:grpSpMk id="166" creationId="{03FDBABE-91AD-4942-AEDB-8254B2A43472}"/>
          </ac:grpSpMkLst>
        </pc:grpChg>
        <pc:grpChg chg="add del mod">
          <ac:chgData name="Nick Robinson" userId="d0c2b313-4ae0-4040-8c6a-fec7a720a7b5" providerId="ADAL" clId="{190131DE-6250-C84F-B491-721E6CF30BCB}" dt="2021-12-15T11:09:44.368" v="2714" actId="478"/>
          <ac:grpSpMkLst>
            <pc:docMk/>
            <pc:sldMk cId="2537393026" sldId="2145707227"/>
            <ac:grpSpMk id="169" creationId="{B30CFACA-2215-C74C-AD5E-6EB46477171F}"/>
          </ac:grpSpMkLst>
        </pc:grpChg>
        <pc:grpChg chg="add del mod">
          <ac:chgData name="Nick Robinson" userId="d0c2b313-4ae0-4040-8c6a-fec7a720a7b5" providerId="ADAL" clId="{190131DE-6250-C84F-B491-721E6CF30BCB}" dt="2021-12-15T11:09:44.368" v="2714" actId="478"/>
          <ac:grpSpMkLst>
            <pc:docMk/>
            <pc:sldMk cId="2537393026" sldId="2145707227"/>
            <ac:grpSpMk id="172" creationId="{2B716DF9-8666-A444-97A2-0070862FD0CA}"/>
          </ac:grpSpMkLst>
        </pc:grpChg>
        <pc:grpChg chg="add del mod">
          <ac:chgData name="Nick Robinson" userId="d0c2b313-4ae0-4040-8c6a-fec7a720a7b5" providerId="ADAL" clId="{190131DE-6250-C84F-B491-721E6CF30BCB}" dt="2021-12-15T10:49:01.858" v="2646"/>
          <ac:grpSpMkLst>
            <pc:docMk/>
            <pc:sldMk cId="2537393026" sldId="2145707227"/>
            <ac:grpSpMk id="182" creationId="{E3F045B1-0F66-1249-B377-68633712C550}"/>
          </ac:grpSpMkLst>
        </pc:grpChg>
        <pc:grpChg chg="mod">
          <ac:chgData name="Nick Robinson" userId="d0c2b313-4ae0-4040-8c6a-fec7a720a7b5" providerId="ADAL" clId="{190131DE-6250-C84F-B491-721E6CF30BCB}" dt="2021-12-15T10:48:48.947" v="2641"/>
          <ac:grpSpMkLst>
            <pc:docMk/>
            <pc:sldMk cId="2537393026" sldId="2145707227"/>
            <ac:grpSpMk id="183" creationId="{303557F7-64AE-7947-AFD3-AFBAFABB0E8D}"/>
          </ac:grpSpMkLst>
        </pc:grpChg>
        <pc:grpChg chg="add del mod">
          <ac:chgData name="Nick Robinson" userId="d0c2b313-4ae0-4040-8c6a-fec7a720a7b5" providerId="ADAL" clId="{190131DE-6250-C84F-B491-721E6CF30BCB}" dt="2021-12-15T11:37:53.457" v="3048" actId="478"/>
          <ac:grpSpMkLst>
            <pc:docMk/>
            <pc:sldMk cId="2537393026" sldId="2145707227"/>
            <ac:grpSpMk id="210" creationId="{F6282556-B2F0-3747-86B4-FB0E912AC357}"/>
          </ac:grpSpMkLst>
        </pc:grpChg>
        <pc:grpChg chg="add del mod">
          <ac:chgData name="Nick Robinson" userId="d0c2b313-4ae0-4040-8c6a-fec7a720a7b5" providerId="ADAL" clId="{190131DE-6250-C84F-B491-721E6CF30BCB}" dt="2021-12-15T11:11:03.164" v="2725"/>
          <ac:grpSpMkLst>
            <pc:docMk/>
            <pc:sldMk cId="2537393026" sldId="2145707227"/>
            <ac:grpSpMk id="342" creationId="{D70A3B33-0DAE-834E-A083-51B9353470D9}"/>
          </ac:grpSpMkLst>
        </pc:grpChg>
        <pc:grpChg chg="add del mod">
          <ac:chgData name="Nick Robinson" userId="d0c2b313-4ae0-4040-8c6a-fec7a720a7b5" providerId="ADAL" clId="{190131DE-6250-C84F-B491-721E6CF30BCB}" dt="2021-12-15T11:11:03.164" v="2725"/>
          <ac:grpSpMkLst>
            <pc:docMk/>
            <pc:sldMk cId="2537393026" sldId="2145707227"/>
            <ac:grpSpMk id="345" creationId="{36F117E3-C2E6-CC44-93CB-A82842C37ECC}"/>
          </ac:grpSpMkLst>
        </pc:grpChg>
        <pc:grpChg chg="add del mod">
          <ac:chgData name="Nick Robinson" userId="d0c2b313-4ae0-4040-8c6a-fec7a720a7b5" providerId="ADAL" clId="{190131DE-6250-C84F-B491-721E6CF30BCB}" dt="2021-12-15T11:11:03.164" v="2725"/>
          <ac:grpSpMkLst>
            <pc:docMk/>
            <pc:sldMk cId="2537393026" sldId="2145707227"/>
            <ac:grpSpMk id="349" creationId="{7CB856A1-B619-5F43-B81B-85E4D9A02249}"/>
          </ac:grpSpMkLst>
        </pc:grpChg>
        <pc:grpChg chg="add del mod">
          <ac:chgData name="Nick Robinson" userId="d0c2b313-4ae0-4040-8c6a-fec7a720a7b5" providerId="ADAL" clId="{190131DE-6250-C84F-B491-721E6CF30BCB}" dt="2021-12-15T11:11:03.164" v="2725"/>
          <ac:grpSpMkLst>
            <pc:docMk/>
            <pc:sldMk cId="2537393026" sldId="2145707227"/>
            <ac:grpSpMk id="352" creationId="{C3BCFA70-2C9F-BB47-A0FF-4E10BF604AED}"/>
          </ac:grpSpMkLst>
        </pc:grpChg>
        <pc:grpChg chg="add del mod">
          <ac:chgData name="Nick Robinson" userId="d0c2b313-4ae0-4040-8c6a-fec7a720a7b5" providerId="ADAL" clId="{190131DE-6250-C84F-B491-721E6CF30BCB}" dt="2021-12-15T11:11:03.164" v="2725"/>
          <ac:grpSpMkLst>
            <pc:docMk/>
            <pc:sldMk cId="2537393026" sldId="2145707227"/>
            <ac:grpSpMk id="355" creationId="{992FF6D2-F501-D240-B8DB-DBC6D382FDC0}"/>
          </ac:grpSpMkLst>
        </pc:grpChg>
        <pc:grpChg chg="add del mod">
          <ac:chgData name="Nick Robinson" userId="d0c2b313-4ae0-4040-8c6a-fec7a720a7b5" providerId="ADAL" clId="{190131DE-6250-C84F-B491-721E6CF30BCB}" dt="2021-12-15T11:11:03.164" v="2725"/>
          <ac:grpSpMkLst>
            <pc:docMk/>
            <pc:sldMk cId="2537393026" sldId="2145707227"/>
            <ac:grpSpMk id="358" creationId="{697F66AE-F1F2-6849-8587-D095D67B8429}"/>
          </ac:grpSpMkLst>
        </pc:grpChg>
        <pc:grpChg chg="add del mod">
          <ac:chgData name="Nick Robinson" userId="d0c2b313-4ae0-4040-8c6a-fec7a720a7b5" providerId="ADAL" clId="{190131DE-6250-C84F-B491-721E6CF30BCB}" dt="2021-12-15T11:11:03.164" v="2725"/>
          <ac:grpSpMkLst>
            <pc:docMk/>
            <pc:sldMk cId="2537393026" sldId="2145707227"/>
            <ac:grpSpMk id="361" creationId="{7E77D2DF-1EC6-C144-BF38-444F1FBEE685}"/>
          </ac:grpSpMkLst>
        </pc:grpChg>
        <pc:grpChg chg="add del mod">
          <ac:chgData name="Nick Robinson" userId="d0c2b313-4ae0-4040-8c6a-fec7a720a7b5" providerId="ADAL" clId="{190131DE-6250-C84F-B491-721E6CF30BCB}" dt="2021-12-15T11:11:03.164" v="2725"/>
          <ac:grpSpMkLst>
            <pc:docMk/>
            <pc:sldMk cId="2537393026" sldId="2145707227"/>
            <ac:grpSpMk id="364" creationId="{AAF78EB4-99A1-2F4D-B0E8-BA2894DC9C0C}"/>
          </ac:grpSpMkLst>
        </pc:grpChg>
        <pc:graphicFrameChg chg="add mod modGraphic">
          <ac:chgData name="Nick Robinson" userId="d0c2b313-4ae0-4040-8c6a-fec7a720a7b5" providerId="ADAL" clId="{190131DE-6250-C84F-B491-721E6CF30BCB}" dt="2021-12-15T11:55:59.823" v="3351"/>
          <ac:graphicFrameMkLst>
            <pc:docMk/>
            <pc:sldMk cId="2537393026" sldId="2145707227"/>
            <ac:graphicFrameMk id="8" creationId="{7462BF38-39D3-B34A-9FC1-8E01C776A02F}"/>
          </ac:graphicFrameMkLst>
        </pc:graphicFrameChg>
        <pc:graphicFrameChg chg="add del mod modGraphic">
          <ac:chgData name="Nick Robinson" userId="d0c2b313-4ae0-4040-8c6a-fec7a720a7b5" providerId="ADAL" clId="{190131DE-6250-C84F-B491-721E6CF30BCB}" dt="2021-12-15T11:09:44.368" v="2714" actId="478"/>
          <ac:graphicFrameMkLst>
            <pc:docMk/>
            <pc:sldMk cId="2537393026" sldId="2145707227"/>
            <ac:graphicFrameMk id="25" creationId="{52CAA014-A474-8A4B-A55C-B9BF6DA08A8C}"/>
          </ac:graphicFrameMkLst>
        </pc:graphicFrameChg>
        <pc:graphicFrameChg chg="del">
          <ac:chgData name="Nick Robinson" userId="d0c2b313-4ae0-4040-8c6a-fec7a720a7b5" providerId="ADAL" clId="{190131DE-6250-C84F-B491-721E6CF30BCB}" dt="2021-12-13T15:47:21.010" v="1728" actId="478"/>
          <ac:graphicFrameMkLst>
            <pc:docMk/>
            <pc:sldMk cId="2537393026" sldId="2145707227"/>
            <ac:graphicFrameMk id="26" creationId="{B868C0AB-3D2C-4647-A123-6629F1806D7E}"/>
          </ac:graphicFrameMkLst>
        </pc:graphicFrameChg>
        <pc:graphicFrameChg chg="add mod modGraphic">
          <ac:chgData name="Nick Robinson" userId="d0c2b313-4ae0-4040-8c6a-fec7a720a7b5" providerId="ADAL" clId="{190131DE-6250-C84F-B491-721E6CF30BCB}" dt="2021-12-15T11:33:12.057" v="2964" actId="113"/>
          <ac:graphicFrameMkLst>
            <pc:docMk/>
            <pc:sldMk cId="2537393026" sldId="2145707227"/>
            <ac:graphicFrameMk id="197" creationId="{84F793B2-322F-F34E-897D-B88D91D90004}"/>
          </ac:graphicFrameMkLst>
        </pc:graphicFrameChg>
        <pc:picChg chg="del mod topLvl">
          <ac:chgData name="Nick Robinson" userId="d0c2b313-4ae0-4040-8c6a-fec7a720a7b5" providerId="ADAL" clId="{190131DE-6250-C84F-B491-721E6CF30BCB}" dt="2021-12-15T10:39:03.425" v="2153" actId="478"/>
          <ac:picMkLst>
            <pc:docMk/>
            <pc:sldMk cId="2537393026" sldId="2145707227"/>
            <ac:picMk id="30" creationId="{074ECEC9-DFAB-1845-9285-82D95B9E2316}"/>
          </ac:picMkLst>
        </pc:picChg>
        <pc:picChg chg="mod">
          <ac:chgData name="Nick Robinson" userId="d0c2b313-4ae0-4040-8c6a-fec7a720a7b5" providerId="ADAL" clId="{190131DE-6250-C84F-B491-721E6CF30BCB}" dt="2021-12-15T10:37:33.726" v="2134"/>
          <ac:picMkLst>
            <pc:docMk/>
            <pc:sldMk cId="2537393026" sldId="2145707227"/>
            <ac:picMk id="35" creationId="{E7E8A49F-2472-D345-B073-399CAE38AE77}"/>
          </ac:picMkLst>
        </pc:picChg>
        <pc:picChg chg="mod">
          <ac:chgData name="Nick Robinson" userId="d0c2b313-4ae0-4040-8c6a-fec7a720a7b5" providerId="ADAL" clId="{190131DE-6250-C84F-B491-721E6CF30BCB}" dt="2021-12-15T10:37:33.726" v="2134"/>
          <ac:picMkLst>
            <pc:docMk/>
            <pc:sldMk cId="2537393026" sldId="2145707227"/>
            <ac:picMk id="38" creationId="{59EB1A97-B817-2A46-8977-EC030AF68B7F}"/>
          </ac:picMkLst>
        </pc:picChg>
        <pc:picChg chg="mod">
          <ac:chgData name="Nick Robinson" userId="d0c2b313-4ae0-4040-8c6a-fec7a720a7b5" providerId="ADAL" clId="{190131DE-6250-C84F-B491-721E6CF30BCB}" dt="2021-12-15T10:37:33.726" v="2134"/>
          <ac:picMkLst>
            <pc:docMk/>
            <pc:sldMk cId="2537393026" sldId="2145707227"/>
            <ac:picMk id="41" creationId="{AD8D7CC7-4D26-544C-AE3A-A93580B93DB0}"/>
          </ac:picMkLst>
        </pc:picChg>
        <pc:picChg chg="mod">
          <ac:chgData name="Nick Robinson" userId="d0c2b313-4ae0-4040-8c6a-fec7a720a7b5" providerId="ADAL" clId="{190131DE-6250-C84F-B491-721E6CF30BCB}" dt="2021-12-15T10:37:33.726" v="2134"/>
          <ac:picMkLst>
            <pc:docMk/>
            <pc:sldMk cId="2537393026" sldId="2145707227"/>
            <ac:picMk id="44" creationId="{D6324F87-E73D-174B-8A68-588B7C3F9BE0}"/>
          </ac:picMkLst>
        </pc:picChg>
        <pc:picChg chg="mod">
          <ac:chgData name="Nick Robinson" userId="d0c2b313-4ae0-4040-8c6a-fec7a720a7b5" providerId="ADAL" clId="{190131DE-6250-C84F-B491-721E6CF30BCB}" dt="2021-12-15T10:37:33.726" v="2134"/>
          <ac:picMkLst>
            <pc:docMk/>
            <pc:sldMk cId="2537393026" sldId="2145707227"/>
            <ac:picMk id="47" creationId="{A15EF8E1-6E8D-0B44-A9C5-767885BD5A67}"/>
          </ac:picMkLst>
        </pc:picChg>
        <pc:picChg chg="mod">
          <ac:chgData name="Nick Robinson" userId="d0c2b313-4ae0-4040-8c6a-fec7a720a7b5" providerId="ADAL" clId="{190131DE-6250-C84F-B491-721E6CF30BCB}" dt="2021-12-15T10:37:33.726" v="2134"/>
          <ac:picMkLst>
            <pc:docMk/>
            <pc:sldMk cId="2537393026" sldId="2145707227"/>
            <ac:picMk id="56" creationId="{EC404DDA-FBA2-294A-AEE3-5DB7F49A7825}"/>
          </ac:picMkLst>
        </pc:picChg>
        <pc:picChg chg="mod">
          <ac:chgData name="Nick Robinson" userId="d0c2b313-4ae0-4040-8c6a-fec7a720a7b5" providerId="ADAL" clId="{190131DE-6250-C84F-B491-721E6CF30BCB}" dt="2021-12-15T10:37:33.726" v="2134"/>
          <ac:picMkLst>
            <pc:docMk/>
            <pc:sldMk cId="2537393026" sldId="2145707227"/>
            <ac:picMk id="59" creationId="{D57A7592-97B0-5A44-A6B1-552836309E13}"/>
          </ac:picMkLst>
        </pc:picChg>
        <pc:picChg chg="mod">
          <ac:chgData name="Nick Robinson" userId="d0c2b313-4ae0-4040-8c6a-fec7a720a7b5" providerId="ADAL" clId="{190131DE-6250-C84F-B491-721E6CF30BCB}" dt="2021-12-15T10:37:33.726" v="2134"/>
          <ac:picMkLst>
            <pc:docMk/>
            <pc:sldMk cId="2537393026" sldId="2145707227"/>
            <ac:picMk id="62" creationId="{1ADA6E17-7562-934F-B418-0DECCA511460}"/>
          </ac:picMkLst>
        </pc:picChg>
        <pc:picChg chg="mod">
          <ac:chgData name="Nick Robinson" userId="d0c2b313-4ae0-4040-8c6a-fec7a720a7b5" providerId="ADAL" clId="{190131DE-6250-C84F-B491-721E6CF30BCB}" dt="2021-12-15T10:37:33.726" v="2134"/>
          <ac:picMkLst>
            <pc:docMk/>
            <pc:sldMk cId="2537393026" sldId="2145707227"/>
            <ac:picMk id="65" creationId="{94481CF5-EB28-0648-91A6-616E50E893EB}"/>
          </ac:picMkLst>
        </pc:picChg>
        <pc:picChg chg="mod">
          <ac:chgData name="Nick Robinson" userId="d0c2b313-4ae0-4040-8c6a-fec7a720a7b5" providerId="ADAL" clId="{190131DE-6250-C84F-B491-721E6CF30BCB}" dt="2021-12-15T10:37:33.726" v="2134"/>
          <ac:picMkLst>
            <pc:docMk/>
            <pc:sldMk cId="2537393026" sldId="2145707227"/>
            <ac:picMk id="68" creationId="{276E8F06-4CFB-5449-9493-42E84966F302}"/>
          </ac:picMkLst>
        </pc:picChg>
        <pc:picChg chg="mod">
          <ac:chgData name="Nick Robinson" userId="d0c2b313-4ae0-4040-8c6a-fec7a720a7b5" providerId="ADAL" clId="{190131DE-6250-C84F-B491-721E6CF30BCB}" dt="2021-12-15T10:37:33.726" v="2134"/>
          <ac:picMkLst>
            <pc:docMk/>
            <pc:sldMk cId="2537393026" sldId="2145707227"/>
            <ac:picMk id="72" creationId="{C9342940-4AC9-524B-9FEB-6AE371FB142D}"/>
          </ac:picMkLst>
        </pc:picChg>
        <pc:picChg chg="mod">
          <ac:chgData name="Nick Robinson" userId="d0c2b313-4ae0-4040-8c6a-fec7a720a7b5" providerId="ADAL" clId="{190131DE-6250-C84F-B491-721E6CF30BCB}" dt="2021-12-15T10:37:33.726" v="2134"/>
          <ac:picMkLst>
            <pc:docMk/>
            <pc:sldMk cId="2537393026" sldId="2145707227"/>
            <ac:picMk id="76" creationId="{EF277453-C631-A24A-B531-14DCFE8C34E0}"/>
          </ac:picMkLst>
        </pc:picChg>
        <pc:picChg chg="mod">
          <ac:chgData name="Nick Robinson" userId="d0c2b313-4ae0-4040-8c6a-fec7a720a7b5" providerId="ADAL" clId="{190131DE-6250-C84F-B491-721E6CF30BCB}" dt="2021-12-15T10:37:33.726" v="2134"/>
          <ac:picMkLst>
            <pc:docMk/>
            <pc:sldMk cId="2537393026" sldId="2145707227"/>
            <ac:picMk id="80" creationId="{B3B0712D-BA91-1641-B5BF-D0773D37A52D}"/>
          </ac:picMkLst>
        </pc:picChg>
        <pc:picChg chg="mod">
          <ac:chgData name="Nick Robinson" userId="d0c2b313-4ae0-4040-8c6a-fec7a720a7b5" providerId="ADAL" clId="{190131DE-6250-C84F-B491-721E6CF30BCB}" dt="2021-12-15T10:37:33.726" v="2134"/>
          <ac:picMkLst>
            <pc:docMk/>
            <pc:sldMk cId="2537393026" sldId="2145707227"/>
            <ac:picMk id="84" creationId="{0390EFB4-5406-164F-A7A0-07AE19246210}"/>
          </ac:picMkLst>
        </pc:picChg>
        <pc:picChg chg="mod">
          <ac:chgData name="Nick Robinson" userId="d0c2b313-4ae0-4040-8c6a-fec7a720a7b5" providerId="ADAL" clId="{190131DE-6250-C84F-B491-721E6CF30BCB}" dt="2021-12-15T10:37:33.726" v="2134"/>
          <ac:picMkLst>
            <pc:docMk/>
            <pc:sldMk cId="2537393026" sldId="2145707227"/>
            <ac:picMk id="91" creationId="{BA1B06D1-2292-5B47-9DE8-AFF14D1CB9F4}"/>
          </ac:picMkLst>
        </pc:picChg>
        <pc:picChg chg="mod">
          <ac:chgData name="Nick Robinson" userId="d0c2b313-4ae0-4040-8c6a-fec7a720a7b5" providerId="ADAL" clId="{190131DE-6250-C84F-B491-721E6CF30BCB}" dt="2021-12-15T10:37:33.726" v="2134"/>
          <ac:picMkLst>
            <pc:docMk/>
            <pc:sldMk cId="2537393026" sldId="2145707227"/>
            <ac:picMk id="94" creationId="{70E5F5E7-7A1C-224C-8099-86A6B4014F47}"/>
          </ac:picMkLst>
        </pc:picChg>
        <pc:picChg chg="mod">
          <ac:chgData name="Nick Robinson" userId="d0c2b313-4ae0-4040-8c6a-fec7a720a7b5" providerId="ADAL" clId="{190131DE-6250-C84F-B491-721E6CF30BCB}" dt="2021-12-15T10:37:33.726" v="2134"/>
          <ac:picMkLst>
            <pc:docMk/>
            <pc:sldMk cId="2537393026" sldId="2145707227"/>
            <ac:picMk id="97" creationId="{1EBBF9E7-88F1-8F47-8FCF-317F51524E9A}"/>
          </ac:picMkLst>
        </pc:picChg>
        <pc:picChg chg="mod">
          <ac:chgData name="Nick Robinson" userId="d0c2b313-4ae0-4040-8c6a-fec7a720a7b5" providerId="ADAL" clId="{190131DE-6250-C84F-B491-721E6CF30BCB}" dt="2021-12-15T10:37:33.726" v="2134"/>
          <ac:picMkLst>
            <pc:docMk/>
            <pc:sldMk cId="2537393026" sldId="2145707227"/>
            <ac:picMk id="100" creationId="{977FC2B9-BF03-DF4D-BB38-EE072718C483}"/>
          </ac:picMkLst>
        </pc:picChg>
        <pc:picChg chg="mod">
          <ac:chgData name="Nick Robinson" userId="d0c2b313-4ae0-4040-8c6a-fec7a720a7b5" providerId="ADAL" clId="{190131DE-6250-C84F-B491-721E6CF30BCB}" dt="2021-12-15T10:37:33.726" v="2134"/>
          <ac:picMkLst>
            <pc:docMk/>
            <pc:sldMk cId="2537393026" sldId="2145707227"/>
            <ac:picMk id="103" creationId="{C2C5EE61-A6DA-894F-948A-6C9A5F2E8F7F}"/>
          </ac:picMkLst>
        </pc:picChg>
        <pc:picChg chg="mod">
          <ac:chgData name="Nick Robinson" userId="d0c2b313-4ae0-4040-8c6a-fec7a720a7b5" providerId="ADAL" clId="{190131DE-6250-C84F-B491-721E6CF30BCB}" dt="2021-12-15T10:37:33.726" v="2134"/>
          <ac:picMkLst>
            <pc:docMk/>
            <pc:sldMk cId="2537393026" sldId="2145707227"/>
            <ac:picMk id="109" creationId="{B546314B-4B05-9F44-84B5-B0F3D9EB1AAB}"/>
          </ac:picMkLst>
        </pc:picChg>
        <pc:picChg chg="mod">
          <ac:chgData name="Nick Robinson" userId="d0c2b313-4ae0-4040-8c6a-fec7a720a7b5" providerId="ADAL" clId="{190131DE-6250-C84F-B491-721E6CF30BCB}" dt="2021-12-15T10:37:33.726" v="2134"/>
          <ac:picMkLst>
            <pc:docMk/>
            <pc:sldMk cId="2537393026" sldId="2145707227"/>
            <ac:picMk id="112" creationId="{15E2ECDA-83D2-DF41-8E18-BD70168F3496}"/>
          </ac:picMkLst>
        </pc:picChg>
        <pc:picChg chg="mod">
          <ac:chgData name="Nick Robinson" userId="d0c2b313-4ae0-4040-8c6a-fec7a720a7b5" providerId="ADAL" clId="{190131DE-6250-C84F-B491-721E6CF30BCB}" dt="2021-12-15T10:37:33.726" v="2134"/>
          <ac:picMkLst>
            <pc:docMk/>
            <pc:sldMk cId="2537393026" sldId="2145707227"/>
            <ac:picMk id="115" creationId="{352EF910-44AF-BC41-9988-21AB6D11FA9D}"/>
          </ac:picMkLst>
        </pc:picChg>
        <pc:picChg chg="mod">
          <ac:chgData name="Nick Robinson" userId="d0c2b313-4ae0-4040-8c6a-fec7a720a7b5" providerId="ADAL" clId="{190131DE-6250-C84F-B491-721E6CF30BCB}" dt="2021-12-15T10:37:33.726" v="2134"/>
          <ac:picMkLst>
            <pc:docMk/>
            <pc:sldMk cId="2537393026" sldId="2145707227"/>
            <ac:picMk id="121" creationId="{0E905713-0DAD-1A45-A318-4C259429061F}"/>
          </ac:picMkLst>
        </pc:picChg>
        <pc:picChg chg="mod">
          <ac:chgData name="Nick Robinson" userId="d0c2b313-4ae0-4040-8c6a-fec7a720a7b5" providerId="ADAL" clId="{190131DE-6250-C84F-B491-721E6CF30BCB}" dt="2021-12-15T10:37:33.726" v="2134"/>
          <ac:picMkLst>
            <pc:docMk/>
            <pc:sldMk cId="2537393026" sldId="2145707227"/>
            <ac:picMk id="124" creationId="{26176B66-D3B9-B34E-8820-7C2F4C069A54}"/>
          </ac:picMkLst>
        </pc:picChg>
        <pc:picChg chg="mod">
          <ac:chgData name="Nick Robinson" userId="d0c2b313-4ae0-4040-8c6a-fec7a720a7b5" providerId="ADAL" clId="{190131DE-6250-C84F-B491-721E6CF30BCB}" dt="2021-12-15T10:37:33.726" v="2134"/>
          <ac:picMkLst>
            <pc:docMk/>
            <pc:sldMk cId="2537393026" sldId="2145707227"/>
            <ac:picMk id="127" creationId="{ED3C35AB-B349-B64D-940F-5998B18B7DCE}"/>
          </ac:picMkLst>
        </pc:picChg>
        <pc:picChg chg="mod">
          <ac:chgData name="Nick Robinson" userId="d0c2b313-4ae0-4040-8c6a-fec7a720a7b5" providerId="ADAL" clId="{190131DE-6250-C84F-B491-721E6CF30BCB}" dt="2021-12-15T10:37:33.726" v="2134"/>
          <ac:picMkLst>
            <pc:docMk/>
            <pc:sldMk cId="2537393026" sldId="2145707227"/>
            <ac:picMk id="131" creationId="{8271110E-9CAA-C04F-BDFD-08DEC3FDA77F}"/>
          </ac:picMkLst>
        </pc:picChg>
        <pc:picChg chg="mod">
          <ac:chgData name="Nick Robinson" userId="d0c2b313-4ae0-4040-8c6a-fec7a720a7b5" providerId="ADAL" clId="{190131DE-6250-C84F-B491-721E6CF30BCB}" dt="2021-12-15T10:37:33.726" v="2134"/>
          <ac:picMkLst>
            <pc:docMk/>
            <pc:sldMk cId="2537393026" sldId="2145707227"/>
            <ac:picMk id="135" creationId="{84D19296-19CA-3847-96F1-9E5B12345EC6}"/>
          </ac:picMkLst>
        </pc:picChg>
        <pc:picChg chg="mod">
          <ac:chgData name="Nick Robinson" userId="d0c2b313-4ae0-4040-8c6a-fec7a720a7b5" providerId="ADAL" clId="{190131DE-6250-C84F-B491-721E6CF30BCB}" dt="2021-12-15T10:37:33.726" v="2134"/>
          <ac:picMkLst>
            <pc:docMk/>
            <pc:sldMk cId="2537393026" sldId="2145707227"/>
            <ac:picMk id="142" creationId="{FB0DC407-5CD9-694E-A288-109A717BECB7}"/>
          </ac:picMkLst>
        </pc:picChg>
        <pc:picChg chg="mod">
          <ac:chgData name="Nick Robinson" userId="d0c2b313-4ae0-4040-8c6a-fec7a720a7b5" providerId="ADAL" clId="{190131DE-6250-C84F-B491-721E6CF30BCB}" dt="2021-12-15T10:37:33.726" v="2134"/>
          <ac:picMkLst>
            <pc:docMk/>
            <pc:sldMk cId="2537393026" sldId="2145707227"/>
            <ac:picMk id="145" creationId="{41C9A652-2E77-1748-B96D-2DB347410CD2}"/>
          </ac:picMkLst>
        </pc:picChg>
        <pc:picChg chg="mod">
          <ac:chgData name="Nick Robinson" userId="d0c2b313-4ae0-4040-8c6a-fec7a720a7b5" providerId="ADAL" clId="{190131DE-6250-C84F-B491-721E6CF30BCB}" dt="2021-12-15T10:37:33.726" v="2134"/>
          <ac:picMkLst>
            <pc:docMk/>
            <pc:sldMk cId="2537393026" sldId="2145707227"/>
            <ac:picMk id="148" creationId="{6361DE3A-ED60-7D48-B549-9772E5004023}"/>
          </ac:picMkLst>
        </pc:picChg>
        <pc:picChg chg="mod">
          <ac:chgData name="Nick Robinson" userId="d0c2b313-4ae0-4040-8c6a-fec7a720a7b5" providerId="ADAL" clId="{190131DE-6250-C84F-B491-721E6CF30BCB}" dt="2021-12-15T10:37:33.726" v="2134"/>
          <ac:picMkLst>
            <pc:docMk/>
            <pc:sldMk cId="2537393026" sldId="2145707227"/>
            <ac:picMk id="151" creationId="{F981F795-067E-9047-9853-7C727984A645}"/>
          </ac:picMkLst>
        </pc:picChg>
        <pc:picChg chg="mod">
          <ac:chgData name="Nick Robinson" userId="d0c2b313-4ae0-4040-8c6a-fec7a720a7b5" providerId="ADAL" clId="{190131DE-6250-C84F-B491-721E6CF30BCB}" dt="2021-12-15T10:40:03.595" v="2179" actId="465"/>
          <ac:picMkLst>
            <pc:docMk/>
            <pc:sldMk cId="2537393026" sldId="2145707227"/>
            <ac:picMk id="155" creationId="{2E39242C-1230-E04B-8608-ACEA2B97AE8C}"/>
          </ac:picMkLst>
        </pc:picChg>
        <pc:picChg chg="mod">
          <ac:chgData name="Nick Robinson" userId="d0c2b313-4ae0-4040-8c6a-fec7a720a7b5" providerId="ADAL" clId="{190131DE-6250-C84F-B491-721E6CF30BCB}" dt="2021-12-15T10:40:03.595" v="2179" actId="465"/>
          <ac:picMkLst>
            <pc:docMk/>
            <pc:sldMk cId="2537393026" sldId="2145707227"/>
            <ac:picMk id="159" creationId="{A74C0539-9508-5E42-8C5D-48C47AB1AA1E}"/>
          </ac:picMkLst>
        </pc:picChg>
        <pc:picChg chg="mod">
          <ac:chgData name="Nick Robinson" userId="d0c2b313-4ae0-4040-8c6a-fec7a720a7b5" providerId="ADAL" clId="{190131DE-6250-C84F-B491-721E6CF30BCB}" dt="2021-12-15T10:40:03.595" v="2179" actId="465"/>
          <ac:picMkLst>
            <pc:docMk/>
            <pc:sldMk cId="2537393026" sldId="2145707227"/>
            <ac:picMk id="162" creationId="{4FF69E24-6664-174B-946F-BCFBE1DEA3EF}"/>
          </ac:picMkLst>
        </pc:picChg>
        <pc:picChg chg="mod">
          <ac:chgData name="Nick Robinson" userId="d0c2b313-4ae0-4040-8c6a-fec7a720a7b5" providerId="ADAL" clId="{190131DE-6250-C84F-B491-721E6CF30BCB}" dt="2021-12-15T10:40:03.595" v="2179" actId="465"/>
          <ac:picMkLst>
            <pc:docMk/>
            <pc:sldMk cId="2537393026" sldId="2145707227"/>
            <ac:picMk id="165" creationId="{FD3A6674-0E7C-404F-90B5-A7ACE1519BFE}"/>
          </ac:picMkLst>
        </pc:picChg>
        <pc:picChg chg="mod">
          <ac:chgData name="Nick Robinson" userId="d0c2b313-4ae0-4040-8c6a-fec7a720a7b5" providerId="ADAL" clId="{190131DE-6250-C84F-B491-721E6CF30BCB}" dt="2021-12-15T10:40:03.595" v="2179" actId="465"/>
          <ac:picMkLst>
            <pc:docMk/>
            <pc:sldMk cId="2537393026" sldId="2145707227"/>
            <ac:picMk id="168" creationId="{810CA28C-E525-B844-9E3A-DC285D5DBF6B}"/>
          </ac:picMkLst>
        </pc:picChg>
        <pc:picChg chg="mod">
          <ac:chgData name="Nick Robinson" userId="d0c2b313-4ae0-4040-8c6a-fec7a720a7b5" providerId="ADAL" clId="{190131DE-6250-C84F-B491-721E6CF30BCB}" dt="2021-12-15T10:40:03.595" v="2179" actId="465"/>
          <ac:picMkLst>
            <pc:docMk/>
            <pc:sldMk cId="2537393026" sldId="2145707227"/>
            <ac:picMk id="171" creationId="{02CAEE1C-FC72-BB48-A9BF-A4999B884D1A}"/>
          </ac:picMkLst>
        </pc:picChg>
        <pc:picChg chg="mod">
          <ac:chgData name="Nick Robinson" userId="d0c2b313-4ae0-4040-8c6a-fec7a720a7b5" providerId="ADAL" clId="{190131DE-6250-C84F-B491-721E6CF30BCB}" dt="2021-12-15T10:39:29.780" v="2168"/>
          <ac:picMkLst>
            <pc:docMk/>
            <pc:sldMk cId="2537393026" sldId="2145707227"/>
            <ac:picMk id="174" creationId="{D569C4CF-76B8-8E4C-8632-06612B009284}"/>
          </ac:picMkLst>
        </pc:picChg>
        <pc:picChg chg="add del mod">
          <ac:chgData name="Nick Robinson" userId="d0c2b313-4ae0-4040-8c6a-fec7a720a7b5" providerId="ADAL" clId="{190131DE-6250-C84F-B491-721E6CF30BCB}" dt="2021-12-15T11:37:29.672" v="3042" actId="478"/>
          <ac:picMkLst>
            <pc:docMk/>
            <pc:sldMk cId="2537393026" sldId="2145707227"/>
            <ac:picMk id="208" creationId="{B59A2DA8-94A7-AF47-A5F2-34DA2441D1A5}"/>
          </ac:picMkLst>
        </pc:picChg>
        <pc:picChg chg="del mod topLvl">
          <ac:chgData name="Nick Robinson" userId="d0c2b313-4ae0-4040-8c6a-fec7a720a7b5" providerId="ADAL" clId="{190131DE-6250-C84F-B491-721E6CF30BCB}" dt="2021-12-15T11:37:53.457" v="3048" actId="478"/>
          <ac:picMkLst>
            <pc:docMk/>
            <pc:sldMk cId="2537393026" sldId="2145707227"/>
            <ac:picMk id="212" creationId="{07D4A8F3-EABD-9D42-ACD3-7D84E8E2E9DC}"/>
          </ac:picMkLst>
        </pc:picChg>
        <pc:picChg chg="add del mod">
          <ac:chgData name="Nick Robinson" userId="d0c2b313-4ae0-4040-8c6a-fec7a720a7b5" providerId="ADAL" clId="{190131DE-6250-C84F-B491-721E6CF30BCB}" dt="2021-12-15T11:37:55.515" v="3049" actId="478"/>
          <ac:picMkLst>
            <pc:docMk/>
            <pc:sldMk cId="2537393026" sldId="2145707227"/>
            <ac:picMk id="223" creationId="{E139CDAF-D5E6-9C4A-837B-411F18205365}"/>
          </ac:picMkLst>
        </pc:picChg>
        <pc:picChg chg="add del mod">
          <ac:chgData name="Nick Robinson" userId="d0c2b313-4ae0-4040-8c6a-fec7a720a7b5" providerId="ADAL" clId="{190131DE-6250-C84F-B491-721E6CF30BCB}" dt="2021-12-15T11:37:59.057" v="3050" actId="478"/>
          <ac:picMkLst>
            <pc:docMk/>
            <pc:sldMk cId="2537393026" sldId="2145707227"/>
            <ac:picMk id="224" creationId="{50FAB258-9107-0542-B67B-C5DE9EF95974}"/>
          </ac:picMkLst>
        </pc:picChg>
        <pc:picChg chg="add del mod">
          <ac:chgData name="Nick Robinson" userId="d0c2b313-4ae0-4040-8c6a-fec7a720a7b5" providerId="ADAL" clId="{190131DE-6250-C84F-B491-721E6CF30BCB}" dt="2021-12-15T11:38:00.807" v="3051" actId="478"/>
          <ac:picMkLst>
            <pc:docMk/>
            <pc:sldMk cId="2537393026" sldId="2145707227"/>
            <ac:picMk id="225" creationId="{3B0D91C5-3F9B-6B48-B0C0-A9113826DE6A}"/>
          </ac:picMkLst>
        </pc:picChg>
        <pc:picChg chg="add del mod">
          <ac:chgData name="Nick Robinson" userId="d0c2b313-4ae0-4040-8c6a-fec7a720a7b5" providerId="ADAL" clId="{190131DE-6250-C84F-B491-721E6CF30BCB}" dt="2021-12-15T11:38:02.557" v="3052" actId="478"/>
          <ac:picMkLst>
            <pc:docMk/>
            <pc:sldMk cId="2537393026" sldId="2145707227"/>
            <ac:picMk id="226" creationId="{41451183-200F-C24C-AF5C-B775B0234527}"/>
          </ac:picMkLst>
        </pc:picChg>
        <pc:picChg chg="add del mod">
          <ac:chgData name="Nick Robinson" userId="d0c2b313-4ae0-4040-8c6a-fec7a720a7b5" providerId="ADAL" clId="{190131DE-6250-C84F-B491-721E6CF30BCB}" dt="2021-12-15T11:38:04.210" v="3053" actId="478"/>
          <ac:picMkLst>
            <pc:docMk/>
            <pc:sldMk cId="2537393026" sldId="2145707227"/>
            <ac:picMk id="227" creationId="{80765549-FE19-F048-9133-F09EED5A5671}"/>
          </ac:picMkLst>
        </pc:picChg>
        <pc:picChg chg="mod">
          <ac:chgData name="Nick Robinson" userId="d0c2b313-4ae0-4040-8c6a-fec7a720a7b5" providerId="ADAL" clId="{190131DE-6250-C84F-B491-721E6CF30BCB}" dt="2021-12-15T11:11:01.067" v="2724"/>
          <ac:picMkLst>
            <pc:docMk/>
            <pc:sldMk cId="2537393026" sldId="2145707227"/>
            <ac:picMk id="344" creationId="{3A3C0E60-8D5A-7547-8864-C1A432971E7E}"/>
          </ac:picMkLst>
        </pc:picChg>
        <pc:picChg chg="mod">
          <ac:chgData name="Nick Robinson" userId="d0c2b313-4ae0-4040-8c6a-fec7a720a7b5" providerId="ADAL" clId="{190131DE-6250-C84F-B491-721E6CF30BCB}" dt="2021-12-15T11:11:01.067" v="2724"/>
          <ac:picMkLst>
            <pc:docMk/>
            <pc:sldMk cId="2537393026" sldId="2145707227"/>
            <ac:picMk id="347" creationId="{85E04EC4-BD4E-2E4E-979F-F86F72DBE91A}"/>
          </ac:picMkLst>
        </pc:picChg>
        <pc:picChg chg="mod">
          <ac:chgData name="Nick Robinson" userId="d0c2b313-4ae0-4040-8c6a-fec7a720a7b5" providerId="ADAL" clId="{190131DE-6250-C84F-B491-721E6CF30BCB}" dt="2021-12-15T11:11:01.067" v="2724"/>
          <ac:picMkLst>
            <pc:docMk/>
            <pc:sldMk cId="2537393026" sldId="2145707227"/>
            <ac:picMk id="351" creationId="{32CB7957-7EFC-5248-A309-905F50C59505}"/>
          </ac:picMkLst>
        </pc:picChg>
        <pc:picChg chg="mod">
          <ac:chgData name="Nick Robinson" userId="d0c2b313-4ae0-4040-8c6a-fec7a720a7b5" providerId="ADAL" clId="{190131DE-6250-C84F-B491-721E6CF30BCB}" dt="2021-12-15T11:11:01.067" v="2724"/>
          <ac:picMkLst>
            <pc:docMk/>
            <pc:sldMk cId="2537393026" sldId="2145707227"/>
            <ac:picMk id="354" creationId="{9B58EB8B-5675-BD41-82F2-258B3E19950C}"/>
          </ac:picMkLst>
        </pc:picChg>
        <pc:picChg chg="mod">
          <ac:chgData name="Nick Robinson" userId="d0c2b313-4ae0-4040-8c6a-fec7a720a7b5" providerId="ADAL" clId="{190131DE-6250-C84F-B491-721E6CF30BCB}" dt="2021-12-15T11:11:01.067" v="2724"/>
          <ac:picMkLst>
            <pc:docMk/>
            <pc:sldMk cId="2537393026" sldId="2145707227"/>
            <ac:picMk id="357" creationId="{FB0C13E7-01DB-C54F-9EB7-9D94D2E7D1C1}"/>
          </ac:picMkLst>
        </pc:picChg>
        <pc:picChg chg="mod">
          <ac:chgData name="Nick Robinson" userId="d0c2b313-4ae0-4040-8c6a-fec7a720a7b5" providerId="ADAL" clId="{190131DE-6250-C84F-B491-721E6CF30BCB}" dt="2021-12-15T11:11:01.067" v="2724"/>
          <ac:picMkLst>
            <pc:docMk/>
            <pc:sldMk cId="2537393026" sldId="2145707227"/>
            <ac:picMk id="360" creationId="{D356E787-2314-034F-8FEA-39915BD87791}"/>
          </ac:picMkLst>
        </pc:picChg>
        <pc:picChg chg="mod">
          <ac:chgData name="Nick Robinson" userId="d0c2b313-4ae0-4040-8c6a-fec7a720a7b5" providerId="ADAL" clId="{190131DE-6250-C84F-B491-721E6CF30BCB}" dt="2021-12-15T11:11:01.067" v="2724"/>
          <ac:picMkLst>
            <pc:docMk/>
            <pc:sldMk cId="2537393026" sldId="2145707227"/>
            <ac:picMk id="363" creationId="{596D8114-E395-7A49-B309-5C470C43CB14}"/>
          </ac:picMkLst>
        </pc:picChg>
        <pc:picChg chg="mod">
          <ac:chgData name="Nick Robinson" userId="d0c2b313-4ae0-4040-8c6a-fec7a720a7b5" providerId="ADAL" clId="{190131DE-6250-C84F-B491-721E6CF30BCB}" dt="2021-12-15T11:11:01.067" v="2724"/>
          <ac:picMkLst>
            <pc:docMk/>
            <pc:sldMk cId="2537393026" sldId="2145707227"/>
            <ac:picMk id="366" creationId="{43F7A307-7D30-0B42-929F-AFE2709E9AE0}"/>
          </ac:picMkLst>
        </pc:picChg>
        <pc:picChg chg="add mod">
          <ac:chgData name="Nick Robinson" userId="d0c2b313-4ae0-4040-8c6a-fec7a720a7b5" providerId="ADAL" clId="{190131DE-6250-C84F-B491-721E6CF30BCB}" dt="2021-12-15T11:37:50.507" v="3047" actId="207"/>
          <ac:picMkLst>
            <pc:docMk/>
            <pc:sldMk cId="2537393026" sldId="2145707227"/>
            <ac:picMk id="382" creationId="{7F6FA3E0-1DE1-2241-9535-F055BB61E41E}"/>
          </ac:picMkLst>
        </pc:picChg>
        <pc:picChg chg="add mod">
          <ac:chgData name="Nick Robinson" userId="d0c2b313-4ae0-4040-8c6a-fec7a720a7b5" providerId="ADAL" clId="{190131DE-6250-C84F-B491-721E6CF30BCB}" dt="2021-12-15T11:38:31.407" v="3058" actId="1035"/>
          <ac:picMkLst>
            <pc:docMk/>
            <pc:sldMk cId="2537393026" sldId="2145707227"/>
            <ac:picMk id="383" creationId="{ABB1F0E4-5F51-9647-BE3C-4319354E14EE}"/>
          </ac:picMkLst>
        </pc:picChg>
        <pc:picChg chg="add mod">
          <ac:chgData name="Nick Robinson" userId="d0c2b313-4ae0-4040-8c6a-fec7a720a7b5" providerId="ADAL" clId="{190131DE-6250-C84F-B491-721E6CF30BCB}" dt="2021-12-15T11:39:08.657" v="3064" actId="1035"/>
          <ac:picMkLst>
            <pc:docMk/>
            <pc:sldMk cId="2537393026" sldId="2145707227"/>
            <ac:picMk id="385" creationId="{76711429-5942-1F4F-AE94-C3066938952D}"/>
          </ac:picMkLst>
        </pc:picChg>
        <pc:picChg chg="add mod">
          <ac:chgData name="Nick Robinson" userId="d0c2b313-4ae0-4040-8c6a-fec7a720a7b5" providerId="ADAL" clId="{190131DE-6250-C84F-B491-721E6CF30BCB}" dt="2021-12-15T11:39:54.557" v="3073" actId="1037"/>
          <ac:picMkLst>
            <pc:docMk/>
            <pc:sldMk cId="2537393026" sldId="2145707227"/>
            <ac:picMk id="387" creationId="{FA07E8CF-2A5D-7E4C-BEEA-9484E69964D1}"/>
          </ac:picMkLst>
        </pc:picChg>
        <pc:picChg chg="add mod">
          <ac:chgData name="Nick Robinson" userId="d0c2b313-4ae0-4040-8c6a-fec7a720a7b5" providerId="ADAL" clId="{190131DE-6250-C84F-B491-721E6CF30BCB}" dt="2021-12-15T11:40:14.407" v="3078" actId="1076"/>
          <ac:picMkLst>
            <pc:docMk/>
            <pc:sldMk cId="2537393026" sldId="2145707227"/>
            <ac:picMk id="389" creationId="{68C1F20D-A6AA-9843-A0E4-F6C40845149D}"/>
          </ac:picMkLst>
        </pc:picChg>
        <pc:picChg chg="add mod">
          <ac:chgData name="Nick Robinson" userId="d0c2b313-4ae0-4040-8c6a-fec7a720a7b5" providerId="ADAL" clId="{190131DE-6250-C84F-B491-721E6CF30BCB}" dt="2021-12-15T11:40:32.107" v="3083" actId="1076"/>
          <ac:picMkLst>
            <pc:docMk/>
            <pc:sldMk cId="2537393026" sldId="2145707227"/>
            <ac:picMk id="391" creationId="{4DE495E2-423C-A94E-BA69-AB18C8189BF4}"/>
          </ac:picMkLst>
        </pc:picChg>
        <pc:picChg chg="add mod">
          <ac:chgData name="Nick Robinson" userId="d0c2b313-4ae0-4040-8c6a-fec7a720a7b5" providerId="ADAL" clId="{190131DE-6250-C84F-B491-721E6CF30BCB}" dt="2021-12-15T11:41:01.964" v="3091" actId="1036"/>
          <ac:picMkLst>
            <pc:docMk/>
            <pc:sldMk cId="2537393026" sldId="2145707227"/>
            <ac:picMk id="393" creationId="{0D83F3EA-1CE7-BE44-9E0E-AAA128960577}"/>
          </ac:picMkLst>
        </pc:picChg>
      </pc:sldChg>
      <pc:sldChg chg="del">
        <pc:chgData name="Nick Robinson" userId="d0c2b313-4ae0-4040-8c6a-fec7a720a7b5" providerId="ADAL" clId="{190131DE-6250-C84F-B491-721E6CF30BCB}" dt="2021-12-13T15:49:41.710" v="1974" actId="2696"/>
        <pc:sldMkLst>
          <pc:docMk/>
          <pc:sldMk cId="552361420" sldId="2145707228"/>
        </pc:sldMkLst>
      </pc:sldChg>
      <pc:sldChg chg="del">
        <pc:chgData name="Nick Robinson" userId="d0c2b313-4ae0-4040-8c6a-fec7a720a7b5" providerId="ADAL" clId="{190131DE-6250-C84F-B491-721E6CF30BCB}" dt="2021-12-13T15:44:23.767" v="1561" actId="2696"/>
        <pc:sldMkLst>
          <pc:docMk/>
          <pc:sldMk cId="1724109162" sldId="2145707229"/>
        </pc:sldMkLst>
      </pc:sldChg>
      <pc:sldChg chg="del mod ord modShow">
        <pc:chgData name="Nick Robinson" userId="d0c2b313-4ae0-4040-8c6a-fec7a720a7b5" providerId="ADAL" clId="{190131DE-6250-C84F-B491-721E6CF30BCB}" dt="2021-12-23T11:18:28.519" v="42307" actId="2696"/>
        <pc:sldMkLst>
          <pc:docMk/>
          <pc:sldMk cId="945185062" sldId="2145707230"/>
        </pc:sldMkLst>
      </pc:sldChg>
      <pc:sldChg chg="addSp delSp modSp del mod ord">
        <pc:chgData name="Nick Robinson" userId="d0c2b313-4ae0-4040-8c6a-fec7a720a7b5" providerId="ADAL" clId="{190131DE-6250-C84F-B491-721E6CF30BCB}" dt="2021-12-23T11:18:28.519" v="42307" actId="2696"/>
        <pc:sldMkLst>
          <pc:docMk/>
          <pc:sldMk cId="380627945" sldId="2145707231"/>
        </pc:sldMkLst>
        <pc:spChg chg="mod">
          <ac:chgData name="Nick Robinson" userId="d0c2b313-4ae0-4040-8c6a-fec7a720a7b5" providerId="ADAL" clId="{190131DE-6250-C84F-B491-721E6CF30BCB}" dt="2021-12-13T15:42:02.284" v="1277" actId="1035"/>
          <ac:spMkLst>
            <pc:docMk/>
            <pc:sldMk cId="380627945" sldId="2145707231"/>
            <ac:spMk id="18" creationId="{4916077A-60E9-5B42-9F26-5471DB11FB89}"/>
          </ac:spMkLst>
        </pc:spChg>
        <pc:spChg chg="mod">
          <ac:chgData name="Nick Robinson" userId="d0c2b313-4ae0-4040-8c6a-fec7a720a7b5" providerId="ADAL" clId="{190131DE-6250-C84F-B491-721E6CF30BCB}" dt="2021-12-13T15:42:02.284" v="1277" actId="1035"/>
          <ac:spMkLst>
            <pc:docMk/>
            <pc:sldMk cId="380627945" sldId="2145707231"/>
            <ac:spMk id="20" creationId="{4E8CE5CF-D32C-E24F-A35A-340AFB075B36}"/>
          </ac:spMkLst>
        </pc:spChg>
        <pc:spChg chg="mod">
          <ac:chgData name="Nick Robinson" userId="d0c2b313-4ae0-4040-8c6a-fec7a720a7b5" providerId="ADAL" clId="{190131DE-6250-C84F-B491-721E6CF30BCB}" dt="2021-12-13T15:42:02.284" v="1277" actId="1035"/>
          <ac:spMkLst>
            <pc:docMk/>
            <pc:sldMk cId="380627945" sldId="2145707231"/>
            <ac:spMk id="21" creationId="{57A29E00-FE77-E640-A3E7-6EF353B77C88}"/>
          </ac:spMkLst>
        </pc:spChg>
        <pc:spChg chg="mod">
          <ac:chgData name="Nick Robinson" userId="d0c2b313-4ae0-4040-8c6a-fec7a720a7b5" providerId="ADAL" clId="{190131DE-6250-C84F-B491-721E6CF30BCB}" dt="2021-12-13T15:42:02.284" v="1277" actId="1035"/>
          <ac:spMkLst>
            <pc:docMk/>
            <pc:sldMk cId="380627945" sldId="2145707231"/>
            <ac:spMk id="26" creationId="{52BC107D-7B71-F942-A59C-B017D0DE1F23}"/>
          </ac:spMkLst>
        </pc:spChg>
        <pc:spChg chg="add del mod">
          <ac:chgData name="Nick Robinson" userId="d0c2b313-4ae0-4040-8c6a-fec7a720a7b5" providerId="ADAL" clId="{190131DE-6250-C84F-B491-721E6CF30BCB}" dt="2021-12-15T11:53:52.757" v="3165" actId="478"/>
          <ac:spMkLst>
            <pc:docMk/>
            <pc:sldMk cId="380627945" sldId="2145707231"/>
            <ac:spMk id="37" creationId="{C94F6694-64BA-D44B-8D10-6D330B17CE84}"/>
          </ac:spMkLst>
        </pc:spChg>
        <pc:spChg chg="mod">
          <ac:chgData name="Nick Robinson" userId="d0c2b313-4ae0-4040-8c6a-fec7a720a7b5" providerId="ADAL" clId="{190131DE-6250-C84F-B491-721E6CF30BCB}" dt="2021-12-13T15:42:02.284" v="1277" actId="1035"/>
          <ac:spMkLst>
            <pc:docMk/>
            <pc:sldMk cId="380627945" sldId="2145707231"/>
            <ac:spMk id="48" creationId="{29532750-8842-5344-9162-3FDF372411E7}"/>
          </ac:spMkLst>
        </pc:spChg>
        <pc:spChg chg="mod">
          <ac:chgData name="Nick Robinson" userId="d0c2b313-4ae0-4040-8c6a-fec7a720a7b5" providerId="ADAL" clId="{190131DE-6250-C84F-B491-721E6CF30BCB}" dt="2021-12-13T15:42:02.284" v="1277" actId="1035"/>
          <ac:spMkLst>
            <pc:docMk/>
            <pc:sldMk cId="380627945" sldId="2145707231"/>
            <ac:spMk id="60" creationId="{1797CD6C-B388-7F4B-98E5-20CC8E3226B8}"/>
          </ac:spMkLst>
        </pc:spChg>
        <pc:spChg chg="mod">
          <ac:chgData name="Nick Robinson" userId="d0c2b313-4ae0-4040-8c6a-fec7a720a7b5" providerId="ADAL" clId="{190131DE-6250-C84F-B491-721E6CF30BCB}" dt="2021-12-13T15:42:02.284" v="1277" actId="1035"/>
          <ac:spMkLst>
            <pc:docMk/>
            <pc:sldMk cId="380627945" sldId="2145707231"/>
            <ac:spMk id="64" creationId="{7C87FF8A-9CE4-664F-83A0-2D6953F7ED9C}"/>
          </ac:spMkLst>
        </pc:spChg>
        <pc:grpChg chg="mod">
          <ac:chgData name="Nick Robinson" userId="d0c2b313-4ae0-4040-8c6a-fec7a720a7b5" providerId="ADAL" clId="{190131DE-6250-C84F-B491-721E6CF30BCB}" dt="2021-12-13T15:42:02.284" v="1277" actId="1035"/>
          <ac:grpSpMkLst>
            <pc:docMk/>
            <pc:sldMk cId="380627945" sldId="2145707231"/>
            <ac:grpSpMk id="22" creationId="{820B6BE5-6488-CF45-8C98-2D42E392B2E0}"/>
          </ac:grpSpMkLst>
        </pc:grpChg>
        <pc:grpChg chg="mod">
          <ac:chgData name="Nick Robinson" userId="d0c2b313-4ae0-4040-8c6a-fec7a720a7b5" providerId="ADAL" clId="{190131DE-6250-C84F-B491-721E6CF30BCB}" dt="2021-12-13T15:42:02.284" v="1277" actId="1035"/>
          <ac:grpSpMkLst>
            <pc:docMk/>
            <pc:sldMk cId="380627945" sldId="2145707231"/>
            <ac:grpSpMk id="28" creationId="{79D7AD2B-ADC5-7B4F-9217-95E1EFA30C09}"/>
          </ac:grpSpMkLst>
        </pc:grpChg>
        <pc:grpChg chg="mod">
          <ac:chgData name="Nick Robinson" userId="d0c2b313-4ae0-4040-8c6a-fec7a720a7b5" providerId="ADAL" clId="{190131DE-6250-C84F-B491-721E6CF30BCB}" dt="2021-12-13T15:42:02.284" v="1277" actId="1035"/>
          <ac:grpSpMkLst>
            <pc:docMk/>
            <pc:sldMk cId="380627945" sldId="2145707231"/>
            <ac:grpSpMk id="32" creationId="{A53ED8DC-0E55-4446-A7D5-4980B54DE494}"/>
          </ac:grpSpMkLst>
        </pc:grpChg>
        <pc:grpChg chg="mod">
          <ac:chgData name="Nick Robinson" userId="d0c2b313-4ae0-4040-8c6a-fec7a720a7b5" providerId="ADAL" clId="{190131DE-6250-C84F-B491-721E6CF30BCB}" dt="2021-12-13T15:42:02.284" v="1277" actId="1035"/>
          <ac:grpSpMkLst>
            <pc:docMk/>
            <pc:sldMk cId="380627945" sldId="2145707231"/>
            <ac:grpSpMk id="38" creationId="{73C291D4-03AE-A241-8A39-653A531AB698}"/>
          </ac:grpSpMkLst>
        </pc:grpChg>
        <pc:grpChg chg="mod">
          <ac:chgData name="Nick Robinson" userId="d0c2b313-4ae0-4040-8c6a-fec7a720a7b5" providerId="ADAL" clId="{190131DE-6250-C84F-B491-721E6CF30BCB}" dt="2021-12-13T15:42:02.284" v="1277" actId="1035"/>
          <ac:grpSpMkLst>
            <pc:docMk/>
            <pc:sldMk cId="380627945" sldId="2145707231"/>
            <ac:grpSpMk id="46" creationId="{7B217689-E780-B640-A2C0-82EEF081C960}"/>
          </ac:grpSpMkLst>
        </pc:grpChg>
        <pc:grpChg chg="mod">
          <ac:chgData name="Nick Robinson" userId="d0c2b313-4ae0-4040-8c6a-fec7a720a7b5" providerId="ADAL" clId="{190131DE-6250-C84F-B491-721E6CF30BCB}" dt="2021-12-13T15:42:02.284" v="1277" actId="1035"/>
          <ac:grpSpMkLst>
            <pc:docMk/>
            <pc:sldMk cId="380627945" sldId="2145707231"/>
            <ac:grpSpMk id="54" creationId="{E54161AF-E48E-E74F-AF30-C7D19EC25976}"/>
          </ac:grpSpMkLst>
        </pc:grpChg>
        <pc:graphicFrameChg chg="add mod modGraphic">
          <ac:chgData name="Nick Robinson" userId="d0c2b313-4ae0-4040-8c6a-fec7a720a7b5" providerId="ADAL" clId="{190131DE-6250-C84F-B491-721E6CF30BCB}" dt="2021-12-15T11:55:59.823" v="3351"/>
          <ac:graphicFrameMkLst>
            <pc:docMk/>
            <pc:sldMk cId="380627945" sldId="2145707231"/>
            <ac:graphicFrameMk id="39" creationId="{83028598-E515-7D43-8240-FECC7A66DC95}"/>
          </ac:graphicFrameMkLst>
        </pc:graphicFrameChg>
        <pc:picChg chg="mod">
          <ac:chgData name="Nick Robinson" userId="d0c2b313-4ae0-4040-8c6a-fec7a720a7b5" providerId="ADAL" clId="{190131DE-6250-C84F-B491-721E6CF30BCB}" dt="2021-12-13T15:42:02.284" v="1277" actId="1035"/>
          <ac:picMkLst>
            <pc:docMk/>
            <pc:sldMk cId="380627945" sldId="2145707231"/>
            <ac:picMk id="6" creationId="{471D7D99-3155-5D47-BED8-CFC89E64CD23}"/>
          </ac:picMkLst>
        </pc:picChg>
        <pc:picChg chg="mod">
          <ac:chgData name="Nick Robinson" userId="d0c2b313-4ae0-4040-8c6a-fec7a720a7b5" providerId="ADAL" clId="{190131DE-6250-C84F-B491-721E6CF30BCB}" dt="2021-12-13T15:42:02.284" v="1277" actId="1035"/>
          <ac:picMkLst>
            <pc:docMk/>
            <pc:sldMk cId="380627945" sldId="2145707231"/>
            <ac:picMk id="8" creationId="{CDB7893E-5474-7D43-A125-B0CD73E20F24}"/>
          </ac:picMkLst>
        </pc:picChg>
        <pc:picChg chg="mod">
          <ac:chgData name="Nick Robinson" userId="d0c2b313-4ae0-4040-8c6a-fec7a720a7b5" providerId="ADAL" clId="{190131DE-6250-C84F-B491-721E6CF30BCB}" dt="2021-12-13T15:42:02.284" v="1277" actId="1035"/>
          <ac:picMkLst>
            <pc:docMk/>
            <pc:sldMk cId="380627945" sldId="2145707231"/>
            <ac:picMk id="10" creationId="{80337091-4FA3-2442-B291-747DB7B69CD9}"/>
          </ac:picMkLst>
        </pc:picChg>
        <pc:picChg chg="mod">
          <ac:chgData name="Nick Robinson" userId="d0c2b313-4ae0-4040-8c6a-fec7a720a7b5" providerId="ADAL" clId="{190131DE-6250-C84F-B491-721E6CF30BCB}" dt="2021-12-13T15:42:02.284" v="1277" actId="1035"/>
          <ac:picMkLst>
            <pc:docMk/>
            <pc:sldMk cId="380627945" sldId="2145707231"/>
            <ac:picMk id="61" creationId="{EC32B241-E891-8447-8A27-0D314F3B2178}"/>
          </ac:picMkLst>
        </pc:picChg>
        <pc:picChg chg="mod">
          <ac:chgData name="Nick Robinson" userId="d0c2b313-4ae0-4040-8c6a-fec7a720a7b5" providerId="ADAL" clId="{190131DE-6250-C84F-B491-721E6CF30BCB}" dt="2021-12-13T15:42:02.284" v="1277" actId="1035"/>
          <ac:picMkLst>
            <pc:docMk/>
            <pc:sldMk cId="380627945" sldId="2145707231"/>
            <ac:picMk id="67" creationId="{44084EBF-81C1-9B4E-87F5-94AC6E3FF7CB}"/>
          </ac:picMkLst>
        </pc:picChg>
      </pc:sldChg>
      <pc:sldChg chg="del mod ord modShow">
        <pc:chgData name="Nick Robinson" userId="d0c2b313-4ae0-4040-8c6a-fec7a720a7b5" providerId="ADAL" clId="{190131DE-6250-C84F-B491-721E6CF30BCB}" dt="2021-12-23T11:18:28.519" v="42307" actId="2696"/>
        <pc:sldMkLst>
          <pc:docMk/>
          <pc:sldMk cId="2606156017" sldId="2145707233"/>
        </pc:sldMkLst>
      </pc:sldChg>
      <pc:sldChg chg="del">
        <pc:chgData name="Nick Robinson" userId="d0c2b313-4ae0-4040-8c6a-fec7a720a7b5" providerId="ADAL" clId="{190131DE-6250-C84F-B491-721E6CF30BCB}" dt="2021-12-13T15:29:35.086" v="1044" actId="2696"/>
        <pc:sldMkLst>
          <pc:docMk/>
          <pc:sldMk cId="2327813027" sldId="2145707235"/>
        </pc:sldMkLst>
      </pc:sldChg>
      <pc:sldChg chg="addSp delSp modSp add mod">
        <pc:chgData name="Nick Robinson" userId="d0c2b313-4ae0-4040-8c6a-fec7a720a7b5" providerId="ADAL" clId="{190131DE-6250-C84F-B491-721E6CF30BCB}" dt="2021-12-23T16:06:20.917" v="44703" actId="1076"/>
        <pc:sldMkLst>
          <pc:docMk/>
          <pc:sldMk cId="1198247254" sldId="2145707240"/>
        </pc:sldMkLst>
        <pc:spChg chg="mod">
          <ac:chgData name="Nick Robinson" userId="d0c2b313-4ae0-4040-8c6a-fec7a720a7b5" providerId="ADAL" clId="{190131DE-6250-C84F-B491-721E6CF30BCB}" dt="2021-12-21T13:35:29.828" v="23378" actId="1076"/>
          <ac:spMkLst>
            <pc:docMk/>
            <pc:sldMk cId="1198247254" sldId="2145707240"/>
            <ac:spMk id="104" creationId="{385C233A-93B6-8E40-842E-ED97C8620527}"/>
          </ac:spMkLst>
        </pc:spChg>
        <pc:graphicFrameChg chg="add del mod">
          <ac:chgData name="Nick Robinson" userId="d0c2b313-4ae0-4040-8c6a-fec7a720a7b5" providerId="ADAL" clId="{190131DE-6250-C84F-B491-721E6CF30BCB}" dt="2021-12-17T11:25:03.515" v="7016" actId="478"/>
          <ac:graphicFrameMkLst>
            <pc:docMk/>
            <pc:sldMk cId="1198247254" sldId="2145707240"/>
            <ac:graphicFrameMk id="85" creationId="{75531A79-F1C4-C349-8C18-1A6F88D9B317}"/>
          </ac:graphicFrameMkLst>
        </pc:graphicFrameChg>
        <pc:graphicFrameChg chg="add mod">
          <ac:chgData name="Nick Robinson" userId="d0c2b313-4ae0-4040-8c6a-fec7a720a7b5" providerId="ADAL" clId="{190131DE-6250-C84F-B491-721E6CF30BCB}" dt="2021-12-21T13:35:47.869" v="23382"/>
          <ac:graphicFrameMkLst>
            <pc:docMk/>
            <pc:sldMk cId="1198247254" sldId="2145707240"/>
            <ac:graphicFrameMk id="96" creationId="{27D7BDE4-B832-C740-B609-3A41340364BF}"/>
          </ac:graphicFrameMkLst>
        </pc:graphicFrameChg>
        <pc:graphicFrameChg chg="mod modGraphic">
          <ac:chgData name="Nick Robinson" userId="d0c2b313-4ae0-4040-8c6a-fec7a720a7b5" providerId="ADAL" clId="{190131DE-6250-C84F-B491-721E6CF30BCB}" dt="2021-12-21T13:35:38.232" v="23381" actId="14734"/>
          <ac:graphicFrameMkLst>
            <pc:docMk/>
            <pc:sldMk cId="1198247254" sldId="2145707240"/>
            <ac:graphicFrameMk id="108" creationId="{9F8761E9-CE1E-FF42-A82E-1D3212585600}"/>
          </ac:graphicFrameMkLst>
        </pc:graphicFrameChg>
        <pc:picChg chg="mod">
          <ac:chgData name="Nick Robinson" userId="d0c2b313-4ae0-4040-8c6a-fec7a720a7b5" providerId="ADAL" clId="{190131DE-6250-C84F-B491-721E6CF30BCB}" dt="2021-12-23T16:06:20.917" v="44703" actId="1076"/>
          <ac:picMkLst>
            <pc:docMk/>
            <pc:sldMk cId="1198247254" sldId="2145707240"/>
            <ac:picMk id="91" creationId="{709B5866-598F-5645-BCE4-41A0FF03CDF9}"/>
          </ac:picMkLst>
        </pc:picChg>
        <pc:picChg chg="mod">
          <ac:chgData name="Nick Robinson" userId="d0c2b313-4ae0-4040-8c6a-fec7a720a7b5" providerId="ADAL" clId="{190131DE-6250-C84F-B491-721E6CF30BCB}" dt="2021-12-21T13:35:29.828" v="23378" actId="1076"/>
          <ac:picMkLst>
            <pc:docMk/>
            <pc:sldMk cId="1198247254" sldId="2145707240"/>
            <ac:picMk id="103" creationId="{71591E18-7969-2D40-A610-4E1A71F64E53}"/>
          </ac:picMkLst>
        </pc:picChg>
        <pc:cxnChg chg="mod">
          <ac:chgData name="Nick Robinson" userId="d0c2b313-4ae0-4040-8c6a-fec7a720a7b5" providerId="ADAL" clId="{190131DE-6250-C84F-B491-721E6CF30BCB}" dt="2021-12-21T13:35:24.186" v="23377" actId="14100"/>
          <ac:cxnSpMkLst>
            <pc:docMk/>
            <pc:sldMk cId="1198247254" sldId="2145707240"/>
            <ac:cxnSpMk id="94" creationId="{38420991-A312-F34B-9247-9751F9B2266C}"/>
          </ac:cxnSpMkLst>
        </pc:cxnChg>
      </pc:sldChg>
      <pc:sldChg chg="addSp modSp add mod delCm modCm modNotesTx">
        <pc:chgData name="Nick Robinson" userId="d0c2b313-4ae0-4040-8c6a-fec7a720a7b5" providerId="ADAL" clId="{190131DE-6250-C84F-B491-721E6CF30BCB}" dt="2021-12-23T11:19:43.376" v="42311" actId="20577"/>
        <pc:sldMkLst>
          <pc:docMk/>
          <pc:sldMk cId="794360038" sldId="2145707242"/>
        </pc:sldMkLst>
        <pc:spChg chg="mod">
          <ac:chgData name="Nick Robinson" userId="d0c2b313-4ae0-4040-8c6a-fec7a720a7b5" providerId="ADAL" clId="{190131DE-6250-C84F-B491-721E6CF30BCB}" dt="2021-12-23T10:24:23.344" v="41777" actId="13926"/>
          <ac:spMkLst>
            <pc:docMk/>
            <pc:sldMk cId="794360038" sldId="2145707242"/>
            <ac:spMk id="24" creationId="{C39E927A-ADEC-654E-8961-3509EA829314}"/>
          </ac:spMkLst>
        </pc:spChg>
        <pc:spChg chg="mod">
          <ac:chgData name="Nick Robinson" userId="d0c2b313-4ae0-4040-8c6a-fec7a720a7b5" providerId="ADAL" clId="{190131DE-6250-C84F-B491-721E6CF30BCB}" dt="2021-12-23T10:24:56.067" v="41782" actId="13926"/>
          <ac:spMkLst>
            <pc:docMk/>
            <pc:sldMk cId="794360038" sldId="2145707242"/>
            <ac:spMk id="61" creationId="{9AC8F61D-C073-5F42-952D-80F54E199B50}"/>
          </ac:spMkLst>
        </pc:spChg>
        <pc:graphicFrameChg chg="add mod">
          <ac:chgData name="Nick Robinson" userId="d0c2b313-4ae0-4040-8c6a-fec7a720a7b5" providerId="ADAL" clId="{190131DE-6250-C84F-B491-721E6CF30BCB}" dt="2021-12-17T11:26:23.274" v="7124"/>
          <ac:graphicFrameMkLst>
            <pc:docMk/>
            <pc:sldMk cId="794360038" sldId="2145707242"/>
            <ac:graphicFrameMk id="63" creationId="{8E454842-A0F1-A84F-9FF7-785046FD9ABA}"/>
          </ac:graphicFrameMkLst>
        </pc:graphicFrameChg>
      </pc:sldChg>
      <pc:sldChg chg="del">
        <pc:chgData name="Nick Robinson" userId="d0c2b313-4ae0-4040-8c6a-fec7a720a7b5" providerId="ADAL" clId="{190131DE-6250-C84F-B491-721E6CF30BCB}" dt="2021-12-13T15:41:19.278" v="1261" actId="2696"/>
        <pc:sldMkLst>
          <pc:docMk/>
          <pc:sldMk cId="2074644650" sldId="2145707242"/>
        </pc:sldMkLst>
      </pc:sldChg>
      <pc:sldChg chg="addSp modSp add del mod ord">
        <pc:chgData name="Nick Robinson" userId="d0c2b313-4ae0-4040-8c6a-fec7a720a7b5" providerId="ADAL" clId="{190131DE-6250-C84F-B491-721E6CF30BCB}" dt="2021-12-17T11:15:49.882" v="6888" actId="2696"/>
        <pc:sldMkLst>
          <pc:docMk/>
          <pc:sldMk cId="989638364" sldId="2145707243"/>
        </pc:sldMkLst>
        <pc:spChg chg="mod">
          <ac:chgData name="Nick Robinson" userId="d0c2b313-4ae0-4040-8c6a-fec7a720a7b5" providerId="ADAL" clId="{190131DE-6250-C84F-B491-721E6CF30BCB}" dt="2021-12-16T10:23:58.299" v="4253" actId="20577"/>
          <ac:spMkLst>
            <pc:docMk/>
            <pc:sldMk cId="989638364" sldId="2145707243"/>
            <ac:spMk id="2" creationId="{97DF49F5-76E4-D045-9AE5-C5DFB0E4B946}"/>
          </ac:spMkLst>
        </pc:spChg>
        <pc:graphicFrameChg chg="add mod modGraphic">
          <ac:chgData name="Nick Robinson" userId="d0c2b313-4ae0-4040-8c6a-fec7a720a7b5" providerId="ADAL" clId="{190131DE-6250-C84F-B491-721E6CF30BCB}" dt="2021-12-15T11:55:59.823" v="3351"/>
          <ac:graphicFrameMkLst>
            <pc:docMk/>
            <pc:sldMk cId="989638364" sldId="2145707243"/>
            <ac:graphicFrameMk id="3" creationId="{7D66446E-75D6-5E44-BDE9-2D512E8FDCB8}"/>
          </ac:graphicFrameMkLst>
        </pc:graphicFrameChg>
      </pc:sldChg>
      <pc:sldChg chg="addSp delSp modSp del mod ord modShow modNotesTx">
        <pc:chgData name="Nick Robinson" userId="d0c2b313-4ae0-4040-8c6a-fec7a720a7b5" providerId="ADAL" clId="{190131DE-6250-C84F-B491-721E6CF30BCB}" dt="2021-12-20T14:46:12.535" v="17397" actId="2696"/>
        <pc:sldMkLst>
          <pc:docMk/>
          <pc:sldMk cId="939449615" sldId="2145707244"/>
        </pc:sldMkLst>
        <pc:spChg chg="del">
          <ac:chgData name="Nick Robinson" userId="d0c2b313-4ae0-4040-8c6a-fec7a720a7b5" providerId="ADAL" clId="{190131DE-6250-C84F-B491-721E6CF30BCB}" dt="2021-12-13T15:37:58.711" v="1211" actId="478"/>
          <ac:spMkLst>
            <pc:docMk/>
            <pc:sldMk cId="939449615" sldId="2145707244"/>
            <ac:spMk id="17" creationId="{1FC8B20C-0936-B84A-8B59-68E610A4EB2D}"/>
          </ac:spMkLst>
        </pc:spChg>
        <pc:graphicFrameChg chg="add del mod modGraphic">
          <ac:chgData name="Nick Robinson" userId="d0c2b313-4ae0-4040-8c6a-fec7a720a7b5" providerId="ADAL" clId="{190131DE-6250-C84F-B491-721E6CF30BCB}" dt="2021-12-13T15:39:14.211" v="1234" actId="478"/>
          <ac:graphicFrameMkLst>
            <pc:docMk/>
            <pc:sldMk cId="939449615" sldId="2145707244"/>
            <ac:graphicFrameMk id="23" creationId="{49CB3629-0EE6-8641-A99C-AD6C74F69AAD}"/>
          </ac:graphicFrameMkLst>
        </pc:graphicFrameChg>
        <pc:graphicFrameChg chg="add mod">
          <ac:chgData name="Nick Robinson" userId="d0c2b313-4ae0-4040-8c6a-fec7a720a7b5" providerId="ADAL" clId="{190131DE-6250-C84F-B491-721E6CF30BCB}" dt="2021-12-15T11:55:59.823" v="3351"/>
          <ac:graphicFrameMkLst>
            <pc:docMk/>
            <pc:sldMk cId="939449615" sldId="2145707244"/>
            <ac:graphicFrameMk id="24" creationId="{AA2ECE25-4888-7B4F-B058-B99DA1A75A28}"/>
          </ac:graphicFrameMkLst>
        </pc:graphicFrameChg>
      </pc:sldChg>
      <pc:sldChg chg="addSp modSp del mod">
        <pc:chgData name="Nick Robinson" userId="d0c2b313-4ae0-4040-8c6a-fec7a720a7b5" providerId="ADAL" clId="{190131DE-6250-C84F-B491-721E6CF30BCB}" dt="2021-12-17T11:16:59.971" v="6941" actId="2696"/>
        <pc:sldMkLst>
          <pc:docMk/>
          <pc:sldMk cId="4165506079" sldId="2145707245"/>
        </pc:sldMkLst>
        <pc:graphicFrameChg chg="add mod modGraphic">
          <ac:chgData name="Nick Robinson" userId="d0c2b313-4ae0-4040-8c6a-fec7a720a7b5" providerId="ADAL" clId="{190131DE-6250-C84F-B491-721E6CF30BCB}" dt="2021-12-15T11:55:59.823" v="3351"/>
          <ac:graphicFrameMkLst>
            <pc:docMk/>
            <pc:sldMk cId="4165506079" sldId="2145707245"/>
            <ac:graphicFrameMk id="3" creationId="{822BF4CA-6338-F444-96E0-9B19098E6344}"/>
          </ac:graphicFrameMkLst>
        </pc:graphicFrameChg>
      </pc:sldChg>
      <pc:sldChg chg="addSp delSp modSp add del mod ord modNotesTx">
        <pc:chgData name="Nick Robinson" userId="d0c2b313-4ae0-4040-8c6a-fec7a720a7b5" providerId="ADAL" clId="{190131DE-6250-C84F-B491-721E6CF30BCB}" dt="2021-12-23T11:18:28.519" v="42307" actId="2696"/>
        <pc:sldMkLst>
          <pc:docMk/>
          <pc:sldMk cId="1005619164" sldId="2145707246"/>
        </pc:sldMkLst>
        <pc:spChg chg="del">
          <ac:chgData name="Nick Robinson" userId="d0c2b313-4ae0-4040-8c6a-fec7a720a7b5" providerId="ADAL" clId="{190131DE-6250-C84F-B491-721E6CF30BCB}" dt="2021-12-13T15:18:31.944" v="392" actId="478"/>
          <ac:spMkLst>
            <pc:docMk/>
            <pc:sldMk cId="1005619164" sldId="2145707246"/>
            <ac:spMk id="6" creationId="{62E3292C-AE15-8E46-8E62-F9C713150B0B}"/>
          </ac:spMkLst>
        </pc:spChg>
        <pc:spChg chg="del">
          <ac:chgData name="Nick Robinson" userId="d0c2b313-4ae0-4040-8c6a-fec7a720a7b5" providerId="ADAL" clId="{190131DE-6250-C84F-B491-721E6CF30BCB}" dt="2021-12-13T15:18:31.944" v="392" actId="478"/>
          <ac:spMkLst>
            <pc:docMk/>
            <pc:sldMk cId="1005619164" sldId="2145707246"/>
            <ac:spMk id="10" creationId="{6C0ABE6C-C405-DF44-B2EA-BBCF78C83957}"/>
          </ac:spMkLst>
        </pc:spChg>
        <pc:spChg chg="del">
          <ac:chgData name="Nick Robinson" userId="d0c2b313-4ae0-4040-8c6a-fec7a720a7b5" providerId="ADAL" clId="{190131DE-6250-C84F-B491-721E6CF30BCB}" dt="2021-12-13T15:18:31.944" v="392" actId="478"/>
          <ac:spMkLst>
            <pc:docMk/>
            <pc:sldMk cId="1005619164" sldId="2145707246"/>
            <ac:spMk id="12" creationId="{F19D9738-DFA2-C84F-82CF-6F85573EA287}"/>
          </ac:spMkLst>
        </pc:spChg>
        <pc:spChg chg="del">
          <ac:chgData name="Nick Robinson" userId="d0c2b313-4ae0-4040-8c6a-fec7a720a7b5" providerId="ADAL" clId="{190131DE-6250-C84F-B491-721E6CF30BCB}" dt="2021-12-13T15:18:31.944" v="392" actId="478"/>
          <ac:spMkLst>
            <pc:docMk/>
            <pc:sldMk cId="1005619164" sldId="2145707246"/>
            <ac:spMk id="17" creationId="{1FC8B20C-0936-B84A-8B59-68E610A4EB2D}"/>
          </ac:spMkLst>
        </pc:spChg>
        <pc:spChg chg="add mod">
          <ac:chgData name="Nick Robinson" userId="d0c2b313-4ae0-4040-8c6a-fec7a720a7b5" providerId="ADAL" clId="{190131DE-6250-C84F-B491-721E6CF30BCB}" dt="2021-12-13T15:54:02.852" v="2100" actId="313"/>
          <ac:spMkLst>
            <pc:docMk/>
            <pc:sldMk cId="1005619164" sldId="2145707246"/>
            <ac:spMk id="24" creationId="{B4BA5025-0DD8-D240-9370-3C00775C2DF5}"/>
          </ac:spMkLst>
        </pc:spChg>
        <pc:spChg chg="del">
          <ac:chgData name="Nick Robinson" userId="d0c2b313-4ae0-4040-8c6a-fec7a720a7b5" providerId="ADAL" clId="{190131DE-6250-C84F-B491-721E6CF30BCB}" dt="2021-12-13T15:18:31.944" v="392" actId="478"/>
          <ac:spMkLst>
            <pc:docMk/>
            <pc:sldMk cId="1005619164" sldId="2145707246"/>
            <ac:spMk id="29" creationId="{39022F5C-1E96-1045-952F-DEA81FF7169E}"/>
          </ac:spMkLst>
        </pc:spChg>
        <pc:spChg chg="del">
          <ac:chgData name="Nick Robinson" userId="d0c2b313-4ae0-4040-8c6a-fec7a720a7b5" providerId="ADAL" clId="{190131DE-6250-C84F-B491-721E6CF30BCB}" dt="2021-12-13T15:18:31.944" v="392" actId="478"/>
          <ac:spMkLst>
            <pc:docMk/>
            <pc:sldMk cId="1005619164" sldId="2145707246"/>
            <ac:spMk id="30" creationId="{E6B7EC03-736F-2F4E-BA56-F13F306F08A3}"/>
          </ac:spMkLst>
        </pc:spChg>
        <pc:spChg chg="del">
          <ac:chgData name="Nick Robinson" userId="d0c2b313-4ae0-4040-8c6a-fec7a720a7b5" providerId="ADAL" clId="{190131DE-6250-C84F-B491-721E6CF30BCB}" dt="2021-12-13T15:18:31.944" v="392" actId="478"/>
          <ac:spMkLst>
            <pc:docMk/>
            <pc:sldMk cId="1005619164" sldId="2145707246"/>
            <ac:spMk id="47" creationId="{866B5872-593A-5E46-84E0-635D18C6279D}"/>
          </ac:spMkLst>
        </pc:spChg>
        <pc:spChg chg="del">
          <ac:chgData name="Nick Robinson" userId="d0c2b313-4ae0-4040-8c6a-fec7a720a7b5" providerId="ADAL" clId="{190131DE-6250-C84F-B491-721E6CF30BCB}" dt="2021-12-13T15:18:31.944" v="392" actId="478"/>
          <ac:spMkLst>
            <pc:docMk/>
            <pc:sldMk cId="1005619164" sldId="2145707246"/>
            <ac:spMk id="49" creationId="{9A666B14-0697-8F4B-9E3B-E6950375039C}"/>
          </ac:spMkLst>
        </pc:spChg>
        <pc:spChg chg="del">
          <ac:chgData name="Nick Robinson" userId="d0c2b313-4ae0-4040-8c6a-fec7a720a7b5" providerId="ADAL" clId="{190131DE-6250-C84F-B491-721E6CF30BCB}" dt="2021-12-13T15:18:31.944" v="392" actId="478"/>
          <ac:spMkLst>
            <pc:docMk/>
            <pc:sldMk cId="1005619164" sldId="2145707246"/>
            <ac:spMk id="50" creationId="{1AD6DDF0-FA69-A94B-8B65-32E0E86ED81D}"/>
          </ac:spMkLst>
        </pc:spChg>
        <pc:spChg chg="del">
          <ac:chgData name="Nick Robinson" userId="d0c2b313-4ae0-4040-8c6a-fec7a720a7b5" providerId="ADAL" clId="{190131DE-6250-C84F-B491-721E6CF30BCB}" dt="2021-12-13T15:18:31.944" v="392" actId="478"/>
          <ac:spMkLst>
            <pc:docMk/>
            <pc:sldMk cId="1005619164" sldId="2145707246"/>
            <ac:spMk id="51" creationId="{23228B87-D8A3-AC4B-8389-4FD6CB03BCB4}"/>
          </ac:spMkLst>
        </pc:spChg>
        <pc:graphicFrameChg chg="add mod modGraphic">
          <ac:chgData name="Nick Robinson" userId="d0c2b313-4ae0-4040-8c6a-fec7a720a7b5" providerId="ADAL" clId="{190131DE-6250-C84F-B491-721E6CF30BCB}" dt="2021-12-13T15:21:31.915" v="466" actId="242"/>
          <ac:graphicFrameMkLst>
            <pc:docMk/>
            <pc:sldMk cId="1005619164" sldId="2145707246"/>
            <ac:graphicFrameMk id="5" creationId="{AC4AB7CF-4D4A-7B44-B1A6-4717A3E53B8F}"/>
          </ac:graphicFrameMkLst>
        </pc:graphicFrameChg>
        <pc:graphicFrameChg chg="add del mod">
          <ac:chgData name="Nick Robinson" userId="d0c2b313-4ae0-4040-8c6a-fec7a720a7b5" providerId="ADAL" clId="{190131DE-6250-C84F-B491-721E6CF30BCB}" dt="2021-12-13T15:39:18.611" v="1235" actId="478"/>
          <ac:graphicFrameMkLst>
            <pc:docMk/>
            <pc:sldMk cId="1005619164" sldId="2145707246"/>
            <ac:graphicFrameMk id="22" creationId="{858D2C1D-F46A-CF45-A148-F0922DF4A85C}"/>
          </ac:graphicFrameMkLst>
        </pc:graphicFrameChg>
        <pc:graphicFrameChg chg="add mod">
          <ac:chgData name="Nick Robinson" userId="d0c2b313-4ae0-4040-8c6a-fec7a720a7b5" providerId="ADAL" clId="{190131DE-6250-C84F-B491-721E6CF30BCB}" dt="2021-12-15T11:55:59.823" v="3351"/>
          <ac:graphicFrameMkLst>
            <pc:docMk/>
            <pc:sldMk cId="1005619164" sldId="2145707246"/>
            <ac:graphicFrameMk id="23" creationId="{2477157C-7EF1-7842-9B53-68FD165E15C0}"/>
          </ac:graphicFrameMkLst>
        </pc:graphicFrameChg>
        <pc:picChg chg="del">
          <ac:chgData name="Nick Robinson" userId="d0c2b313-4ae0-4040-8c6a-fec7a720a7b5" providerId="ADAL" clId="{190131DE-6250-C84F-B491-721E6CF30BCB}" dt="2021-12-13T15:18:31.944" v="392" actId="478"/>
          <ac:picMkLst>
            <pc:docMk/>
            <pc:sldMk cId="1005619164" sldId="2145707246"/>
            <ac:picMk id="27652" creationId="{B2DCFFDA-9057-4741-B0DA-F651E99EF302}"/>
          </ac:picMkLst>
        </pc:picChg>
        <pc:picChg chg="del">
          <ac:chgData name="Nick Robinson" userId="d0c2b313-4ae0-4040-8c6a-fec7a720a7b5" providerId="ADAL" clId="{190131DE-6250-C84F-B491-721E6CF30BCB}" dt="2021-12-13T15:18:31.944" v="392" actId="478"/>
          <ac:picMkLst>
            <pc:docMk/>
            <pc:sldMk cId="1005619164" sldId="2145707246"/>
            <ac:picMk id="27654" creationId="{A23B35DF-F555-DA40-B5F2-F0255E2AA95D}"/>
          </ac:picMkLst>
        </pc:picChg>
        <pc:cxnChg chg="del">
          <ac:chgData name="Nick Robinson" userId="d0c2b313-4ae0-4040-8c6a-fec7a720a7b5" providerId="ADAL" clId="{190131DE-6250-C84F-B491-721E6CF30BCB}" dt="2021-12-13T15:18:31.944" v="392" actId="478"/>
          <ac:cxnSpMkLst>
            <pc:docMk/>
            <pc:sldMk cId="1005619164" sldId="2145707246"/>
            <ac:cxnSpMk id="7" creationId="{9C7CD68F-E26F-2245-A998-571CA36AFC05}"/>
          </ac:cxnSpMkLst>
        </pc:cxnChg>
        <pc:cxnChg chg="del">
          <ac:chgData name="Nick Robinson" userId="d0c2b313-4ae0-4040-8c6a-fec7a720a7b5" providerId="ADAL" clId="{190131DE-6250-C84F-B491-721E6CF30BCB}" dt="2021-12-13T15:18:31.944" v="392" actId="478"/>
          <ac:cxnSpMkLst>
            <pc:docMk/>
            <pc:sldMk cId="1005619164" sldId="2145707246"/>
            <ac:cxnSpMk id="48" creationId="{20F052DB-9B68-5546-9DDF-FD06514FDED4}"/>
          </ac:cxnSpMkLst>
        </pc:cxnChg>
      </pc:sldChg>
      <pc:sldChg chg="delSp modSp add del mod">
        <pc:chgData name="Nick Robinson" userId="d0c2b313-4ae0-4040-8c6a-fec7a720a7b5" providerId="ADAL" clId="{190131DE-6250-C84F-B491-721E6CF30BCB}" dt="2021-12-13T15:15:42.756" v="390" actId="2696"/>
        <pc:sldMkLst>
          <pc:docMk/>
          <pc:sldMk cId="3620359461" sldId="2145707246"/>
        </pc:sldMkLst>
        <pc:spChg chg="mod">
          <ac:chgData name="Nick Robinson" userId="d0c2b313-4ae0-4040-8c6a-fec7a720a7b5" providerId="ADAL" clId="{190131DE-6250-C84F-B491-721E6CF30BCB}" dt="2021-12-13T15:14:38.332" v="364" actId="20577"/>
          <ac:spMkLst>
            <pc:docMk/>
            <pc:sldMk cId="3620359461" sldId="2145707246"/>
            <ac:spMk id="10" creationId="{6C0ABE6C-C405-DF44-B2EA-BBCF78C83957}"/>
          </ac:spMkLst>
        </pc:spChg>
        <pc:spChg chg="del">
          <ac:chgData name="Nick Robinson" userId="d0c2b313-4ae0-4040-8c6a-fec7a720a7b5" providerId="ADAL" clId="{190131DE-6250-C84F-B491-721E6CF30BCB}" dt="2021-12-13T15:14:51.422" v="379" actId="478"/>
          <ac:spMkLst>
            <pc:docMk/>
            <pc:sldMk cId="3620359461" sldId="2145707246"/>
            <ac:spMk id="12" creationId="{F19D9738-DFA2-C84F-82CF-6F85573EA287}"/>
          </ac:spMkLst>
        </pc:spChg>
        <pc:spChg chg="mod">
          <ac:chgData name="Nick Robinson" userId="d0c2b313-4ae0-4040-8c6a-fec7a720a7b5" providerId="ADAL" clId="{190131DE-6250-C84F-B491-721E6CF30BCB}" dt="2021-12-13T15:15:02.445" v="386" actId="20577"/>
          <ac:spMkLst>
            <pc:docMk/>
            <pc:sldMk cId="3620359461" sldId="2145707246"/>
            <ac:spMk id="30" creationId="{E6B7EC03-736F-2F4E-BA56-F13F306F08A3}"/>
          </ac:spMkLst>
        </pc:spChg>
        <pc:spChg chg="mod">
          <ac:chgData name="Nick Robinson" userId="d0c2b313-4ae0-4040-8c6a-fec7a720a7b5" providerId="ADAL" clId="{190131DE-6250-C84F-B491-721E6CF30BCB}" dt="2021-12-13T15:15:05.115" v="389" actId="20577"/>
          <ac:spMkLst>
            <pc:docMk/>
            <pc:sldMk cId="3620359461" sldId="2145707246"/>
            <ac:spMk id="47" creationId="{866B5872-593A-5E46-84E0-635D18C6279D}"/>
          </ac:spMkLst>
        </pc:spChg>
        <pc:spChg chg="del">
          <ac:chgData name="Nick Robinson" userId="d0c2b313-4ae0-4040-8c6a-fec7a720a7b5" providerId="ADAL" clId="{190131DE-6250-C84F-B491-721E6CF30BCB}" dt="2021-12-13T15:14:51.422" v="379" actId="478"/>
          <ac:spMkLst>
            <pc:docMk/>
            <pc:sldMk cId="3620359461" sldId="2145707246"/>
            <ac:spMk id="49" creationId="{9A666B14-0697-8F4B-9E3B-E6950375039C}"/>
          </ac:spMkLst>
        </pc:spChg>
        <pc:spChg chg="del">
          <ac:chgData name="Nick Robinson" userId="d0c2b313-4ae0-4040-8c6a-fec7a720a7b5" providerId="ADAL" clId="{190131DE-6250-C84F-B491-721E6CF30BCB}" dt="2021-12-13T15:14:51.422" v="379" actId="478"/>
          <ac:spMkLst>
            <pc:docMk/>
            <pc:sldMk cId="3620359461" sldId="2145707246"/>
            <ac:spMk id="50" creationId="{1AD6DDF0-FA69-A94B-8B65-32E0E86ED81D}"/>
          </ac:spMkLst>
        </pc:spChg>
        <pc:spChg chg="del">
          <ac:chgData name="Nick Robinson" userId="d0c2b313-4ae0-4040-8c6a-fec7a720a7b5" providerId="ADAL" clId="{190131DE-6250-C84F-B491-721E6CF30BCB}" dt="2021-12-13T15:14:51.422" v="379" actId="478"/>
          <ac:spMkLst>
            <pc:docMk/>
            <pc:sldMk cId="3620359461" sldId="2145707246"/>
            <ac:spMk id="51" creationId="{23228B87-D8A3-AC4B-8389-4FD6CB03BCB4}"/>
          </ac:spMkLst>
        </pc:spChg>
        <pc:picChg chg="del">
          <ac:chgData name="Nick Robinson" userId="d0c2b313-4ae0-4040-8c6a-fec7a720a7b5" providerId="ADAL" clId="{190131DE-6250-C84F-B491-721E6CF30BCB}" dt="2021-12-13T15:14:51.422" v="379" actId="478"/>
          <ac:picMkLst>
            <pc:docMk/>
            <pc:sldMk cId="3620359461" sldId="2145707246"/>
            <ac:picMk id="27652" creationId="{B2DCFFDA-9057-4741-B0DA-F651E99EF302}"/>
          </ac:picMkLst>
        </pc:picChg>
        <pc:picChg chg="del">
          <ac:chgData name="Nick Robinson" userId="d0c2b313-4ae0-4040-8c6a-fec7a720a7b5" providerId="ADAL" clId="{190131DE-6250-C84F-B491-721E6CF30BCB}" dt="2021-12-13T15:14:51.422" v="379" actId="478"/>
          <ac:picMkLst>
            <pc:docMk/>
            <pc:sldMk cId="3620359461" sldId="2145707246"/>
            <ac:picMk id="27654" creationId="{A23B35DF-F555-DA40-B5F2-F0255E2AA95D}"/>
          </ac:picMkLst>
        </pc:picChg>
        <pc:cxnChg chg="del">
          <ac:chgData name="Nick Robinson" userId="d0c2b313-4ae0-4040-8c6a-fec7a720a7b5" providerId="ADAL" clId="{190131DE-6250-C84F-B491-721E6CF30BCB}" dt="2021-12-13T15:14:53.103" v="380" actId="478"/>
          <ac:cxnSpMkLst>
            <pc:docMk/>
            <pc:sldMk cId="3620359461" sldId="2145707246"/>
            <ac:cxnSpMk id="48" creationId="{20F052DB-9B68-5546-9DDF-FD06514FDED4}"/>
          </ac:cxnSpMkLst>
        </pc:cxnChg>
      </pc:sldChg>
      <pc:sldChg chg="addSp delSp modSp add del mod ord">
        <pc:chgData name="Nick Robinson" userId="d0c2b313-4ae0-4040-8c6a-fec7a720a7b5" providerId="ADAL" clId="{190131DE-6250-C84F-B491-721E6CF30BCB}" dt="2021-12-17T11:29:00.030" v="7274" actId="2696"/>
        <pc:sldMkLst>
          <pc:docMk/>
          <pc:sldMk cId="2232312932" sldId="2145707247"/>
        </pc:sldMkLst>
        <pc:spChg chg="mod">
          <ac:chgData name="Nick Robinson" userId="d0c2b313-4ae0-4040-8c6a-fec7a720a7b5" providerId="ADAL" clId="{190131DE-6250-C84F-B491-721E6CF30BCB}" dt="2021-12-13T15:51:17.941" v="2066" actId="20577"/>
          <ac:spMkLst>
            <pc:docMk/>
            <pc:sldMk cId="2232312932" sldId="2145707247"/>
            <ac:spMk id="2" creationId="{00000000-0000-0000-0000-000000000000}"/>
          </ac:spMkLst>
        </pc:spChg>
        <pc:spChg chg="del">
          <ac:chgData name="Nick Robinson" userId="d0c2b313-4ae0-4040-8c6a-fec7a720a7b5" providerId="ADAL" clId="{190131DE-6250-C84F-B491-721E6CF30BCB}" dt="2021-12-13T15:22:53.652" v="495" actId="478"/>
          <ac:spMkLst>
            <pc:docMk/>
            <pc:sldMk cId="2232312932" sldId="2145707247"/>
            <ac:spMk id="5" creationId="{B582D218-587D-214B-B2CF-AC10F263EF15}"/>
          </ac:spMkLst>
        </pc:spChg>
        <pc:spChg chg="del">
          <ac:chgData name="Nick Robinson" userId="d0c2b313-4ae0-4040-8c6a-fec7a720a7b5" providerId="ADAL" clId="{190131DE-6250-C84F-B491-721E6CF30BCB}" dt="2021-12-13T15:22:53.652" v="495" actId="478"/>
          <ac:spMkLst>
            <pc:docMk/>
            <pc:sldMk cId="2232312932" sldId="2145707247"/>
            <ac:spMk id="16" creationId="{8C8F3348-B5D1-AB4F-9DCE-2D0D18FBF31F}"/>
          </ac:spMkLst>
        </pc:spChg>
        <pc:spChg chg="del">
          <ac:chgData name="Nick Robinson" userId="d0c2b313-4ae0-4040-8c6a-fec7a720a7b5" providerId="ADAL" clId="{190131DE-6250-C84F-B491-721E6CF30BCB}" dt="2021-12-13T15:22:53.652" v="495" actId="478"/>
          <ac:spMkLst>
            <pc:docMk/>
            <pc:sldMk cId="2232312932" sldId="2145707247"/>
            <ac:spMk id="17" creationId="{A0786D38-8BB9-C14A-96BF-033146F7208D}"/>
          </ac:spMkLst>
        </pc:spChg>
        <pc:spChg chg="del">
          <ac:chgData name="Nick Robinson" userId="d0c2b313-4ae0-4040-8c6a-fec7a720a7b5" providerId="ADAL" clId="{190131DE-6250-C84F-B491-721E6CF30BCB}" dt="2021-12-13T15:22:53.652" v="495" actId="478"/>
          <ac:spMkLst>
            <pc:docMk/>
            <pc:sldMk cId="2232312932" sldId="2145707247"/>
            <ac:spMk id="40" creationId="{568B8E9D-D4C6-4744-A64C-9B4D1CC51DE0}"/>
          </ac:spMkLst>
        </pc:spChg>
        <pc:spChg chg="add del mod">
          <ac:chgData name="Nick Robinson" userId="d0c2b313-4ae0-4040-8c6a-fec7a720a7b5" providerId="ADAL" clId="{190131DE-6250-C84F-B491-721E6CF30BCB}" dt="2021-12-17T11:28:57.681" v="7272" actId="21"/>
          <ac:spMkLst>
            <pc:docMk/>
            <pc:sldMk cId="2232312932" sldId="2145707247"/>
            <ac:spMk id="54" creationId="{A7DD93EE-2A6C-2D44-8C5F-34F2D3F3960E}"/>
          </ac:spMkLst>
        </pc:spChg>
        <pc:spChg chg="del">
          <ac:chgData name="Nick Robinson" userId="d0c2b313-4ae0-4040-8c6a-fec7a720a7b5" providerId="ADAL" clId="{190131DE-6250-C84F-B491-721E6CF30BCB}" dt="2021-12-13T15:22:53.652" v="495" actId="478"/>
          <ac:spMkLst>
            <pc:docMk/>
            <pc:sldMk cId="2232312932" sldId="2145707247"/>
            <ac:spMk id="56" creationId="{DCDD9483-E305-B942-9F92-6EA4CFD5688A}"/>
          </ac:spMkLst>
        </pc:spChg>
        <pc:spChg chg="del">
          <ac:chgData name="Nick Robinson" userId="d0c2b313-4ae0-4040-8c6a-fec7a720a7b5" providerId="ADAL" clId="{190131DE-6250-C84F-B491-721E6CF30BCB}" dt="2021-12-13T15:22:53.652" v="495" actId="478"/>
          <ac:spMkLst>
            <pc:docMk/>
            <pc:sldMk cId="2232312932" sldId="2145707247"/>
            <ac:spMk id="58" creationId="{ED9A64EE-AF17-A64C-B946-4E35853BE102}"/>
          </ac:spMkLst>
        </pc:spChg>
        <pc:spChg chg="del">
          <ac:chgData name="Nick Robinson" userId="d0c2b313-4ae0-4040-8c6a-fec7a720a7b5" providerId="ADAL" clId="{190131DE-6250-C84F-B491-721E6CF30BCB}" dt="2021-12-13T15:22:55.702" v="497" actId="478"/>
          <ac:spMkLst>
            <pc:docMk/>
            <pc:sldMk cId="2232312932" sldId="2145707247"/>
            <ac:spMk id="59" creationId="{7D0375EB-3B1A-4743-8C64-6FCF13F90551}"/>
          </ac:spMkLst>
        </pc:spChg>
        <pc:spChg chg="del">
          <ac:chgData name="Nick Robinson" userId="d0c2b313-4ae0-4040-8c6a-fec7a720a7b5" providerId="ADAL" clId="{190131DE-6250-C84F-B491-721E6CF30BCB}" dt="2021-12-13T15:22:53.652" v="495" actId="478"/>
          <ac:spMkLst>
            <pc:docMk/>
            <pc:sldMk cId="2232312932" sldId="2145707247"/>
            <ac:spMk id="81" creationId="{BEDAE4F4-70B1-8C4E-98A1-403D42B4BAE9}"/>
          </ac:spMkLst>
        </pc:spChg>
        <pc:spChg chg="del">
          <ac:chgData name="Nick Robinson" userId="d0c2b313-4ae0-4040-8c6a-fec7a720a7b5" providerId="ADAL" clId="{190131DE-6250-C84F-B491-721E6CF30BCB}" dt="2021-12-13T15:22:54.096" v="496" actId="478"/>
          <ac:spMkLst>
            <pc:docMk/>
            <pc:sldMk cId="2232312932" sldId="2145707247"/>
            <ac:spMk id="87" creationId="{D83E2979-DE42-B143-8096-9C02B2C3D084}"/>
          </ac:spMkLst>
        </pc:spChg>
        <pc:spChg chg="del">
          <ac:chgData name="Nick Robinson" userId="d0c2b313-4ae0-4040-8c6a-fec7a720a7b5" providerId="ADAL" clId="{190131DE-6250-C84F-B491-721E6CF30BCB}" dt="2021-12-13T15:22:53.652" v="495" actId="478"/>
          <ac:spMkLst>
            <pc:docMk/>
            <pc:sldMk cId="2232312932" sldId="2145707247"/>
            <ac:spMk id="88" creationId="{6A05B7B1-4EF7-CD43-8D41-CC915F642A67}"/>
          </ac:spMkLst>
        </pc:spChg>
        <pc:spChg chg="del">
          <ac:chgData name="Nick Robinson" userId="d0c2b313-4ae0-4040-8c6a-fec7a720a7b5" providerId="ADAL" clId="{190131DE-6250-C84F-B491-721E6CF30BCB}" dt="2021-12-13T15:22:53.652" v="495" actId="478"/>
          <ac:spMkLst>
            <pc:docMk/>
            <pc:sldMk cId="2232312932" sldId="2145707247"/>
            <ac:spMk id="89" creationId="{D97D64F7-0C08-6C4B-A54A-0D71A9636618}"/>
          </ac:spMkLst>
        </pc:spChg>
        <pc:spChg chg="del">
          <ac:chgData name="Nick Robinson" userId="d0c2b313-4ae0-4040-8c6a-fec7a720a7b5" providerId="ADAL" clId="{190131DE-6250-C84F-B491-721E6CF30BCB}" dt="2021-12-13T15:22:53.652" v="495" actId="478"/>
          <ac:spMkLst>
            <pc:docMk/>
            <pc:sldMk cId="2232312932" sldId="2145707247"/>
            <ac:spMk id="90" creationId="{1C63EB04-22AF-B64F-B862-1AE4E85ED48A}"/>
          </ac:spMkLst>
        </pc:spChg>
        <pc:graphicFrameChg chg="add del mod">
          <ac:chgData name="Nick Robinson" userId="d0c2b313-4ae0-4040-8c6a-fec7a720a7b5" providerId="ADAL" clId="{190131DE-6250-C84F-B491-721E6CF30BCB}" dt="2021-12-13T15:40:02.019" v="1243" actId="478"/>
          <ac:graphicFrameMkLst>
            <pc:docMk/>
            <pc:sldMk cId="2232312932" sldId="2145707247"/>
            <ac:graphicFrameMk id="19" creationId="{66DBB2C5-D71E-0C4B-8955-F4DDF7C55391}"/>
          </ac:graphicFrameMkLst>
        </pc:graphicFrameChg>
        <pc:graphicFrameChg chg="add mod modGraphic">
          <ac:chgData name="Nick Robinson" userId="d0c2b313-4ae0-4040-8c6a-fec7a720a7b5" providerId="ADAL" clId="{190131DE-6250-C84F-B491-721E6CF30BCB}" dt="2021-12-15T11:55:59.823" v="3351"/>
          <ac:graphicFrameMkLst>
            <pc:docMk/>
            <pc:sldMk cId="2232312932" sldId="2145707247"/>
            <ac:graphicFrameMk id="20" creationId="{4AD0DA30-5705-994C-9E58-D579601ADDA3}"/>
          </ac:graphicFrameMkLst>
        </pc:graphicFrameChg>
      </pc:sldChg>
      <pc:sldChg chg="addSp delSp modSp add del mod ord">
        <pc:chgData name="Nick Robinson" userId="d0c2b313-4ae0-4040-8c6a-fec7a720a7b5" providerId="ADAL" clId="{190131DE-6250-C84F-B491-721E6CF30BCB}" dt="2021-12-23T11:18:28.519" v="42307" actId="2696"/>
        <pc:sldMkLst>
          <pc:docMk/>
          <pc:sldMk cId="3375605156" sldId="2145707248"/>
        </pc:sldMkLst>
        <pc:spChg chg="mod">
          <ac:chgData name="Nick Robinson" userId="d0c2b313-4ae0-4040-8c6a-fec7a720a7b5" providerId="ADAL" clId="{190131DE-6250-C84F-B491-721E6CF30BCB}" dt="2021-12-13T15:23:43.255" v="590" actId="20577"/>
          <ac:spMkLst>
            <pc:docMk/>
            <pc:sldMk cId="3375605156" sldId="2145707248"/>
            <ac:spMk id="2" creationId="{00000000-0000-0000-0000-000000000000}"/>
          </ac:spMkLst>
        </pc:spChg>
        <pc:spChg chg="del">
          <ac:chgData name="Nick Robinson" userId="d0c2b313-4ae0-4040-8c6a-fec7a720a7b5" providerId="ADAL" clId="{190131DE-6250-C84F-B491-721E6CF30BCB}" dt="2021-12-13T15:23:17.488" v="581" actId="478"/>
          <ac:spMkLst>
            <pc:docMk/>
            <pc:sldMk cId="3375605156" sldId="2145707248"/>
            <ac:spMk id="5" creationId="{B582D218-587D-214B-B2CF-AC10F263EF15}"/>
          </ac:spMkLst>
        </pc:spChg>
        <pc:spChg chg="del">
          <ac:chgData name="Nick Robinson" userId="d0c2b313-4ae0-4040-8c6a-fec7a720a7b5" providerId="ADAL" clId="{190131DE-6250-C84F-B491-721E6CF30BCB}" dt="2021-12-13T15:27:50.413" v="1041" actId="478"/>
          <ac:spMkLst>
            <pc:docMk/>
            <pc:sldMk cId="3375605156" sldId="2145707248"/>
            <ac:spMk id="6" creationId="{62E3292C-AE15-8E46-8E62-F9C713150B0B}"/>
          </ac:spMkLst>
        </pc:spChg>
        <pc:spChg chg="add mod">
          <ac:chgData name="Nick Robinson" userId="d0c2b313-4ae0-4040-8c6a-fec7a720a7b5" providerId="ADAL" clId="{190131DE-6250-C84F-B491-721E6CF30BCB}" dt="2021-12-13T15:53:53.045" v="2097" actId="20577"/>
          <ac:spMkLst>
            <pc:docMk/>
            <pc:sldMk cId="3375605156" sldId="2145707248"/>
            <ac:spMk id="11" creationId="{3DE697EA-A53A-584E-A610-4F6891864679}"/>
          </ac:spMkLst>
        </pc:spChg>
        <pc:spChg chg="del">
          <ac:chgData name="Nick Robinson" userId="d0c2b313-4ae0-4040-8c6a-fec7a720a7b5" providerId="ADAL" clId="{190131DE-6250-C84F-B491-721E6CF30BCB}" dt="2021-12-13T15:23:17.488" v="581" actId="478"/>
          <ac:spMkLst>
            <pc:docMk/>
            <pc:sldMk cId="3375605156" sldId="2145707248"/>
            <ac:spMk id="16" creationId="{8C8F3348-B5D1-AB4F-9DCE-2D0D18FBF31F}"/>
          </ac:spMkLst>
        </pc:spChg>
        <pc:spChg chg="del">
          <ac:chgData name="Nick Robinson" userId="d0c2b313-4ae0-4040-8c6a-fec7a720a7b5" providerId="ADAL" clId="{190131DE-6250-C84F-B491-721E6CF30BCB}" dt="2021-12-13T15:23:17.488" v="581" actId="478"/>
          <ac:spMkLst>
            <pc:docMk/>
            <pc:sldMk cId="3375605156" sldId="2145707248"/>
            <ac:spMk id="17" creationId="{A0786D38-8BB9-C14A-96BF-033146F7208D}"/>
          </ac:spMkLst>
        </pc:spChg>
        <pc:spChg chg="add del mod">
          <ac:chgData name="Nick Robinson" userId="d0c2b313-4ae0-4040-8c6a-fec7a720a7b5" providerId="ADAL" clId="{190131DE-6250-C84F-B491-721E6CF30BCB}" dt="2021-12-13T15:23:34.972" v="585" actId="478"/>
          <ac:spMkLst>
            <pc:docMk/>
            <pc:sldMk cId="3375605156" sldId="2145707248"/>
            <ac:spMk id="19" creationId="{2BCE021F-F754-D24C-A294-5678E6F2A1D4}"/>
          </ac:spMkLst>
        </pc:spChg>
        <pc:spChg chg="add del mod">
          <ac:chgData name="Nick Robinson" userId="d0c2b313-4ae0-4040-8c6a-fec7a720a7b5" providerId="ADAL" clId="{190131DE-6250-C84F-B491-721E6CF30BCB}" dt="2021-12-13T15:23:40.929" v="588" actId="478"/>
          <ac:spMkLst>
            <pc:docMk/>
            <pc:sldMk cId="3375605156" sldId="2145707248"/>
            <ac:spMk id="20" creationId="{1F679CD8-DB26-9F4D-A6E7-4617DA454680}"/>
          </ac:spMkLst>
        </pc:spChg>
        <pc:spChg chg="add mod">
          <ac:chgData name="Nick Robinson" userId="d0c2b313-4ae0-4040-8c6a-fec7a720a7b5" providerId="ADAL" clId="{190131DE-6250-C84F-B491-721E6CF30BCB}" dt="2021-12-13T15:27:42.013" v="1038" actId="1076"/>
          <ac:spMkLst>
            <pc:docMk/>
            <pc:sldMk cId="3375605156" sldId="2145707248"/>
            <ac:spMk id="23" creationId="{EE5358C1-0F63-4D42-BEA7-326221BEB778}"/>
          </ac:spMkLst>
        </pc:spChg>
        <pc:spChg chg="add mod">
          <ac:chgData name="Nick Robinson" userId="d0c2b313-4ae0-4040-8c6a-fec7a720a7b5" providerId="ADAL" clId="{190131DE-6250-C84F-B491-721E6CF30BCB}" dt="2021-12-13T15:27:42.013" v="1038" actId="1076"/>
          <ac:spMkLst>
            <pc:docMk/>
            <pc:sldMk cId="3375605156" sldId="2145707248"/>
            <ac:spMk id="26" creationId="{4A7F5C33-25B6-1B42-B613-76BC0B4F7FDF}"/>
          </ac:spMkLst>
        </pc:spChg>
        <pc:spChg chg="add mod">
          <ac:chgData name="Nick Robinson" userId="d0c2b313-4ae0-4040-8c6a-fec7a720a7b5" providerId="ADAL" clId="{190131DE-6250-C84F-B491-721E6CF30BCB}" dt="2021-12-13T15:27:42.013" v="1038" actId="1076"/>
          <ac:spMkLst>
            <pc:docMk/>
            <pc:sldMk cId="3375605156" sldId="2145707248"/>
            <ac:spMk id="27" creationId="{C3FFCEA0-84B7-FA47-8A45-9FC45E77358A}"/>
          </ac:spMkLst>
        </pc:spChg>
        <pc:spChg chg="add mod">
          <ac:chgData name="Nick Robinson" userId="d0c2b313-4ae0-4040-8c6a-fec7a720a7b5" providerId="ADAL" clId="{190131DE-6250-C84F-B491-721E6CF30BCB}" dt="2021-12-13T15:27:42.013" v="1038" actId="1076"/>
          <ac:spMkLst>
            <pc:docMk/>
            <pc:sldMk cId="3375605156" sldId="2145707248"/>
            <ac:spMk id="29" creationId="{07CBFA51-FFCA-6745-9B2A-82ACCF380757}"/>
          </ac:spMkLst>
        </pc:spChg>
        <pc:spChg chg="add mod">
          <ac:chgData name="Nick Robinson" userId="d0c2b313-4ae0-4040-8c6a-fec7a720a7b5" providerId="ADAL" clId="{190131DE-6250-C84F-B491-721E6CF30BCB}" dt="2021-12-13T15:27:42.013" v="1038" actId="1076"/>
          <ac:spMkLst>
            <pc:docMk/>
            <pc:sldMk cId="3375605156" sldId="2145707248"/>
            <ac:spMk id="30" creationId="{6CB37A5A-6D1A-9149-B124-E2ABD39F965D}"/>
          </ac:spMkLst>
        </pc:spChg>
        <pc:spChg chg="del">
          <ac:chgData name="Nick Robinson" userId="d0c2b313-4ae0-4040-8c6a-fec7a720a7b5" providerId="ADAL" clId="{190131DE-6250-C84F-B491-721E6CF30BCB}" dt="2021-12-13T15:23:17.488" v="581" actId="478"/>
          <ac:spMkLst>
            <pc:docMk/>
            <pc:sldMk cId="3375605156" sldId="2145707248"/>
            <ac:spMk id="40" creationId="{568B8E9D-D4C6-4744-A64C-9B4D1CC51DE0}"/>
          </ac:spMkLst>
        </pc:spChg>
        <pc:spChg chg="del">
          <ac:chgData name="Nick Robinson" userId="d0c2b313-4ae0-4040-8c6a-fec7a720a7b5" providerId="ADAL" clId="{190131DE-6250-C84F-B491-721E6CF30BCB}" dt="2021-12-13T15:23:19.185" v="583" actId="478"/>
          <ac:spMkLst>
            <pc:docMk/>
            <pc:sldMk cId="3375605156" sldId="2145707248"/>
            <ac:spMk id="54" creationId="{A7DD93EE-2A6C-2D44-8C5F-34F2D3F3960E}"/>
          </ac:spMkLst>
        </pc:spChg>
        <pc:spChg chg="del">
          <ac:chgData name="Nick Robinson" userId="d0c2b313-4ae0-4040-8c6a-fec7a720a7b5" providerId="ADAL" clId="{190131DE-6250-C84F-B491-721E6CF30BCB}" dt="2021-12-13T15:23:17.488" v="581" actId="478"/>
          <ac:spMkLst>
            <pc:docMk/>
            <pc:sldMk cId="3375605156" sldId="2145707248"/>
            <ac:spMk id="56" creationId="{DCDD9483-E305-B942-9F92-6EA4CFD5688A}"/>
          </ac:spMkLst>
        </pc:spChg>
        <pc:spChg chg="del">
          <ac:chgData name="Nick Robinson" userId="d0c2b313-4ae0-4040-8c6a-fec7a720a7b5" providerId="ADAL" clId="{190131DE-6250-C84F-B491-721E6CF30BCB}" dt="2021-12-13T15:23:17.488" v="581" actId="478"/>
          <ac:spMkLst>
            <pc:docMk/>
            <pc:sldMk cId="3375605156" sldId="2145707248"/>
            <ac:spMk id="58" creationId="{ED9A64EE-AF17-A64C-B946-4E35853BE102}"/>
          </ac:spMkLst>
        </pc:spChg>
        <pc:spChg chg="del">
          <ac:chgData name="Nick Robinson" userId="d0c2b313-4ae0-4040-8c6a-fec7a720a7b5" providerId="ADAL" clId="{190131DE-6250-C84F-B491-721E6CF30BCB}" dt="2021-12-13T15:23:17.488" v="581" actId="478"/>
          <ac:spMkLst>
            <pc:docMk/>
            <pc:sldMk cId="3375605156" sldId="2145707248"/>
            <ac:spMk id="59" creationId="{7D0375EB-3B1A-4743-8C64-6FCF13F90551}"/>
          </ac:spMkLst>
        </pc:spChg>
        <pc:spChg chg="del">
          <ac:chgData name="Nick Robinson" userId="d0c2b313-4ae0-4040-8c6a-fec7a720a7b5" providerId="ADAL" clId="{190131DE-6250-C84F-B491-721E6CF30BCB}" dt="2021-12-13T15:23:17.488" v="581" actId="478"/>
          <ac:spMkLst>
            <pc:docMk/>
            <pc:sldMk cId="3375605156" sldId="2145707248"/>
            <ac:spMk id="81" creationId="{BEDAE4F4-70B1-8C4E-98A1-403D42B4BAE9}"/>
          </ac:spMkLst>
        </pc:spChg>
        <pc:spChg chg="del">
          <ac:chgData name="Nick Robinson" userId="d0c2b313-4ae0-4040-8c6a-fec7a720a7b5" providerId="ADAL" clId="{190131DE-6250-C84F-B491-721E6CF30BCB}" dt="2021-12-13T15:23:18.052" v="582" actId="478"/>
          <ac:spMkLst>
            <pc:docMk/>
            <pc:sldMk cId="3375605156" sldId="2145707248"/>
            <ac:spMk id="87" creationId="{D83E2979-DE42-B143-8096-9C02B2C3D084}"/>
          </ac:spMkLst>
        </pc:spChg>
        <pc:spChg chg="del">
          <ac:chgData name="Nick Robinson" userId="d0c2b313-4ae0-4040-8c6a-fec7a720a7b5" providerId="ADAL" clId="{190131DE-6250-C84F-B491-721E6CF30BCB}" dt="2021-12-13T15:23:17.488" v="581" actId="478"/>
          <ac:spMkLst>
            <pc:docMk/>
            <pc:sldMk cId="3375605156" sldId="2145707248"/>
            <ac:spMk id="88" creationId="{6A05B7B1-4EF7-CD43-8D41-CC915F642A67}"/>
          </ac:spMkLst>
        </pc:spChg>
        <pc:spChg chg="del">
          <ac:chgData name="Nick Robinson" userId="d0c2b313-4ae0-4040-8c6a-fec7a720a7b5" providerId="ADAL" clId="{190131DE-6250-C84F-B491-721E6CF30BCB}" dt="2021-12-13T15:23:17.488" v="581" actId="478"/>
          <ac:spMkLst>
            <pc:docMk/>
            <pc:sldMk cId="3375605156" sldId="2145707248"/>
            <ac:spMk id="89" creationId="{D97D64F7-0C08-6C4B-A54A-0D71A9636618}"/>
          </ac:spMkLst>
        </pc:spChg>
        <pc:spChg chg="del">
          <ac:chgData name="Nick Robinson" userId="d0c2b313-4ae0-4040-8c6a-fec7a720a7b5" providerId="ADAL" clId="{190131DE-6250-C84F-B491-721E6CF30BCB}" dt="2021-12-13T15:23:17.488" v="581" actId="478"/>
          <ac:spMkLst>
            <pc:docMk/>
            <pc:sldMk cId="3375605156" sldId="2145707248"/>
            <ac:spMk id="90" creationId="{1C63EB04-22AF-B64F-B862-1AE4E85ED48A}"/>
          </ac:spMkLst>
        </pc:spChg>
        <pc:graphicFrameChg chg="add mod modGraphic">
          <ac:chgData name="Nick Robinson" userId="d0c2b313-4ae0-4040-8c6a-fec7a720a7b5" providerId="ADAL" clId="{190131DE-6250-C84F-B491-721E6CF30BCB}" dt="2021-12-13T15:30:48.492" v="1045"/>
          <ac:graphicFrameMkLst>
            <pc:docMk/>
            <pc:sldMk cId="3375605156" sldId="2145707248"/>
            <ac:graphicFrameMk id="21" creationId="{D2EFCA57-5521-F746-8723-4442BED321E9}"/>
          </ac:graphicFrameMkLst>
        </pc:graphicFrameChg>
        <pc:graphicFrameChg chg="add del mod modGraphic">
          <ac:chgData name="Nick Robinson" userId="d0c2b313-4ae0-4040-8c6a-fec7a720a7b5" providerId="ADAL" clId="{190131DE-6250-C84F-B491-721E6CF30BCB}" dt="2021-12-13T15:35:57.361" v="1193" actId="478"/>
          <ac:graphicFrameMkLst>
            <pc:docMk/>
            <pc:sldMk cId="3375605156" sldId="2145707248"/>
            <ac:graphicFrameMk id="35" creationId="{BA0703AE-0440-0246-8763-43497CF26136}"/>
          </ac:graphicFrameMkLst>
        </pc:graphicFrameChg>
        <pc:graphicFrameChg chg="add del mod modGraphic">
          <ac:chgData name="Nick Robinson" userId="d0c2b313-4ae0-4040-8c6a-fec7a720a7b5" providerId="ADAL" clId="{190131DE-6250-C84F-B491-721E6CF30BCB}" dt="2021-12-13T15:40:21.410" v="1246" actId="478"/>
          <ac:graphicFrameMkLst>
            <pc:docMk/>
            <pc:sldMk cId="3375605156" sldId="2145707248"/>
            <ac:graphicFrameMk id="36" creationId="{910BEB98-1E42-2244-B990-9F71F4EF075C}"/>
          </ac:graphicFrameMkLst>
        </pc:graphicFrameChg>
        <pc:graphicFrameChg chg="add mod">
          <ac:chgData name="Nick Robinson" userId="d0c2b313-4ae0-4040-8c6a-fec7a720a7b5" providerId="ADAL" clId="{190131DE-6250-C84F-B491-721E6CF30BCB}" dt="2021-12-15T11:55:59.823" v="3351"/>
          <ac:graphicFrameMkLst>
            <pc:docMk/>
            <pc:sldMk cId="3375605156" sldId="2145707248"/>
            <ac:graphicFrameMk id="37" creationId="{5699486E-83B9-C04A-B694-6333138A8601}"/>
          </ac:graphicFrameMkLst>
        </pc:graphicFrameChg>
        <pc:picChg chg="add mod">
          <ac:chgData name="Nick Robinson" userId="d0c2b313-4ae0-4040-8c6a-fec7a720a7b5" providerId="ADAL" clId="{190131DE-6250-C84F-B491-721E6CF30BCB}" dt="2021-12-13T15:27:42.013" v="1038" actId="1076"/>
          <ac:picMkLst>
            <pc:docMk/>
            <pc:sldMk cId="3375605156" sldId="2145707248"/>
            <ac:picMk id="8" creationId="{49C8AF9F-1103-FD4B-BB1B-A64B69C88185}"/>
          </ac:picMkLst>
        </pc:picChg>
        <pc:picChg chg="add mod">
          <ac:chgData name="Nick Robinson" userId="d0c2b313-4ae0-4040-8c6a-fec7a720a7b5" providerId="ADAL" clId="{190131DE-6250-C84F-B491-721E6CF30BCB}" dt="2021-12-13T15:31:00.662" v="1050" actId="1076"/>
          <ac:picMkLst>
            <pc:docMk/>
            <pc:sldMk cId="3375605156" sldId="2145707248"/>
            <ac:picMk id="10" creationId="{23409642-8C7A-CE49-9325-2AAF2DD66344}"/>
          </ac:picMkLst>
        </pc:picChg>
        <pc:picChg chg="add mod">
          <ac:chgData name="Nick Robinson" userId="d0c2b313-4ae0-4040-8c6a-fec7a720a7b5" providerId="ADAL" clId="{190131DE-6250-C84F-B491-721E6CF30BCB}" dt="2021-12-13T15:27:42.013" v="1038" actId="1076"/>
          <ac:picMkLst>
            <pc:docMk/>
            <pc:sldMk cId="3375605156" sldId="2145707248"/>
            <ac:picMk id="24" creationId="{7D4F232D-52B7-3141-98A4-C1564228AAB4}"/>
          </ac:picMkLst>
        </pc:picChg>
        <pc:picChg chg="add mod">
          <ac:chgData name="Nick Robinson" userId="d0c2b313-4ae0-4040-8c6a-fec7a720a7b5" providerId="ADAL" clId="{190131DE-6250-C84F-B491-721E6CF30BCB}" dt="2021-12-13T15:27:42.013" v="1038" actId="1076"/>
          <ac:picMkLst>
            <pc:docMk/>
            <pc:sldMk cId="3375605156" sldId="2145707248"/>
            <ac:picMk id="25" creationId="{BCC901C7-1D28-C44D-9745-26E77343155D}"/>
          </ac:picMkLst>
        </pc:picChg>
        <pc:picChg chg="add mod">
          <ac:chgData name="Nick Robinson" userId="d0c2b313-4ae0-4040-8c6a-fec7a720a7b5" providerId="ADAL" clId="{190131DE-6250-C84F-B491-721E6CF30BCB}" dt="2021-12-13T15:27:42.013" v="1038" actId="1076"/>
          <ac:picMkLst>
            <pc:docMk/>
            <pc:sldMk cId="3375605156" sldId="2145707248"/>
            <ac:picMk id="28" creationId="{F784BBD7-A02A-1F41-8E07-B715D8FEBCDA}"/>
          </ac:picMkLst>
        </pc:picChg>
        <pc:cxnChg chg="add mod">
          <ac:chgData name="Nick Robinson" userId="d0c2b313-4ae0-4040-8c6a-fec7a720a7b5" providerId="ADAL" clId="{190131DE-6250-C84F-B491-721E6CF30BCB}" dt="2021-12-13T15:28:52.112" v="1043" actId="208"/>
          <ac:cxnSpMkLst>
            <pc:docMk/>
            <pc:sldMk cId="3375605156" sldId="2145707248"/>
            <ac:cxnSpMk id="22" creationId="{DA1C5BD5-3782-5B4A-8A29-FFB01A507110}"/>
          </ac:cxnSpMkLst>
        </pc:cxnChg>
      </pc:sldChg>
      <pc:sldChg chg="addSp modSp add del mod">
        <pc:chgData name="Nick Robinson" userId="d0c2b313-4ae0-4040-8c6a-fec7a720a7b5" providerId="ADAL" clId="{190131DE-6250-C84F-B491-721E6CF30BCB}" dt="2021-12-16T10:21:20.234" v="4201" actId="2696"/>
        <pc:sldMkLst>
          <pc:docMk/>
          <pc:sldMk cId="870179766" sldId="2145707249"/>
        </pc:sldMkLst>
        <pc:graphicFrameChg chg="add mod modGraphic">
          <ac:chgData name="Nick Robinson" userId="d0c2b313-4ae0-4040-8c6a-fec7a720a7b5" providerId="ADAL" clId="{190131DE-6250-C84F-B491-721E6CF30BCB}" dt="2021-12-15T11:55:59.823" v="3351"/>
          <ac:graphicFrameMkLst>
            <pc:docMk/>
            <pc:sldMk cId="870179766" sldId="2145707249"/>
            <ac:graphicFrameMk id="3" creationId="{BD97EBC7-C99E-DB45-BE4F-095CB18BC11C}"/>
          </ac:graphicFrameMkLst>
        </pc:graphicFrameChg>
      </pc:sldChg>
      <pc:sldChg chg="modSp add del">
        <pc:chgData name="Nick Robinson" userId="d0c2b313-4ae0-4040-8c6a-fec7a720a7b5" providerId="ADAL" clId="{190131DE-6250-C84F-B491-721E6CF30BCB}" dt="2021-12-16T10:21:21.055" v="4202" actId="2696"/>
        <pc:sldMkLst>
          <pc:docMk/>
          <pc:sldMk cId="1353303496" sldId="2145707250"/>
        </pc:sldMkLst>
        <pc:graphicFrameChg chg="mod">
          <ac:chgData name="Nick Robinson" userId="d0c2b313-4ae0-4040-8c6a-fec7a720a7b5" providerId="ADAL" clId="{190131DE-6250-C84F-B491-721E6CF30BCB}" dt="2021-12-15T11:55:59.823" v="3351"/>
          <ac:graphicFrameMkLst>
            <pc:docMk/>
            <pc:sldMk cId="1353303496" sldId="2145707250"/>
            <ac:graphicFrameMk id="20" creationId="{4AD0DA30-5705-994C-9E58-D579601ADDA3}"/>
          </ac:graphicFrameMkLst>
        </pc:graphicFrameChg>
      </pc:sldChg>
      <pc:sldChg chg="addSp modSp add del mod">
        <pc:chgData name="Nick Robinson" userId="d0c2b313-4ae0-4040-8c6a-fec7a720a7b5" providerId="ADAL" clId="{190131DE-6250-C84F-B491-721E6CF30BCB}" dt="2021-12-20T16:48:47.920" v="18773" actId="2696"/>
        <pc:sldMkLst>
          <pc:docMk/>
          <pc:sldMk cId="682386526" sldId="2145707251"/>
        </pc:sldMkLst>
        <pc:spChg chg="add mod">
          <ac:chgData name="Nick Robinson" userId="d0c2b313-4ae0-4040-8c6a-fec7a720a7b5" providerId="ADAL" clId="{190131DE-6250-C84F-B491-721E6CF30BCB}" dt="2021-12-13T15:48:25.833" v="1952" actId="404"/>
          <ac:spMkLst>
            <pc:docMk/>
            <pc:sldMk cId="682386526" sldId="2145707251"/>
            <ac:spMk id="5" creationId="{46E9979E-1F37-D74B-B2AD-0C4512024DF3}"/>
          </ac:spMkLst>
        </pc:spChg>
        <pc:graphicFrameChg chg="add mod">
          <ac:chgData name="Nick Robinson" userId="d0c2b313-4ae0-4040-8c6a-fec7a720a7b5" providerId="ADAL" clId="{190131DE-6250-C84F-B491-721E6CF30BCB}" dt="2021-12-15T11:55:59.823" v="3351"/>
          <ac:graphicFrameMkLst>
            <pc:docMk/>
            <pc:sldMk cId="682386526" sldId="2145707251"/>
            <ac:graphicFrameMk id="9" creationId="{35C4F292-1219-B844-A465-8218518AC8A2}"/>
          </ac:graphicFrameMkLst>
        </pc:graphicFrameChg>
        <pc:graphicFrameChg chg="modGraphic">
          <ac:chgData name="Nick Robinson" userId="d0c2b313-4ae0-4040-8c6a-fec7a720a7b5" providerId="ADAL" clId="{190131DE-6250-C84F-B491-721E6CF30BCB}" dt="2021-12-13T15:50:09.209" v="1979" actId="14100"/>
          <ac:graphicFrameMkLst>
            <pc:docMk/>
            <pc:sldMk cId="682386526" sldId="2145707251"/>
            <ac:graphicFrameMk id="26" creationId="{B868C0AB-3D2C-4647-A123-6629F1806D7E}"/>
          </ac:graphicFrameMkLst>
        </pc:graphicFrameChg>
      </pc:sldChg>
      <pc:sldChg chg="modSp modNotesTx">
        <pc:chgData name="Nick Robinson" userId="d0c2b313-4ae0-4040-8c6a-fec7a720a7b5" providerId="ADAL" clId="{190131DE-6250-C84F-B491-721E6CF30BCB}" dt="2021-12-17T09:26:00.635" v="5002" actId="6549"/>
        <pc:sldMkLst>
          <pc:docMk/>
          <pc:sldMk cId="302297991" sldId="2145707252"/>
        </pc:sldMkLst>
        <pc:graphicFrameChg chg="mod">
          <ac:chgData name="Nick Robinson" userId="d0c2b313-4ae0-4040-8c6a-fec7a720a7b5" providerId="ADAL" clId="{190131DE-6250-C84F-B491-721E6CF30BCB}" dt="2021-12-15T11:55:59.823" v="3351"/>
          <ac:graphicFrameMkLst>
            <pc:docMk/>
            <pc:sldMk cId="302297991" sldId="2145707252"/>
            <ac:graphicFrameMk id="23" creationId="{2477157C-7EF1-7842-9B53-68FD165E15C0}"/>
          </ac:graphicFrameMkLst>
        </pc:graphicFrameChg>
      </pc:sldChg>
      <pc:sldChg chg="addSp delSp modSp del mod ord">
        <pc:chgData name="Nick Robinson" userId="d0c2b313-4ae0-4040-8c6a-fec7a720a7b5" providerId="ADAL" clId="{190131DE-6250-C84F-B491-721E6CF30BCB}" dt="2021-12-23T11:18:28.519" v="42307" actId="2696"/>
        <pc:sldMkLst>
          <pc:docMk/>
          <pc:sldMk cId="1932935611" sldId="2145707253"/>
        </pc:sldMkLst>
        <pc:graphicFrameChg chg="mod">
          <ac:chgData name="Nick Robinson" userId="d0c2b313-4ae0-4040-8c6a-fec7a720a7b5" providerId="ADAL" clId="{190131DE-6250-C84F-B491-721E6CF30BCB}" dt="2021-12-15T11:55:59.823" v="3351"/>
          <ac:graphicFrameMkLst>
            <pc:docMk/>
            <pc:sldMk cId="1932935611" sldId="2145707253"/>
            <ac:graphicFrameMk id="37" creationId="{5699486E-83B9-C04A-B694-6333138A8601}"/>
          </ac:graphicFrameMkLst>
        </pc:graphicFrameChg>
        <pc:picChg chg="add del mod">
          <ac:chgData name="Nick Robinson" userId="d0c2b313-4ae0-4040-8c6a-fec7a720a7b5" providerId="ADAL" clId="{190131DE-6250-C84F-B491-721E6CF30BCB}" dt="2021-12-20T10:34:01.590" v="14675" actId="478"/>
          <ac:picMkLst>
            <pc:docMk/>
            <pc:sldMk cId="1932935611" sldId="2145707253"/>
            <ac:picMk id="28" creationId="{99789FB0-E63F-F445-942F-8ADD25EBB131}"/>
          </ac:picMkLst>
        </pc:picChg>
      </pc:sldChg>
      <pc:sldChg chg="modSp add del mod ord">
        <pc:chgData name="Nick Robinson" userId="d0c2b313-4ae0-4040-8c6a-fec7a720a7b5" providerId="ADAL" clId="{190131DE-6250-C84F-B491-721E6CF30BCB}" dt="2021-12-17T09:26:31.107" v="5010" actId="2696"/>
        <pc:sldMkLst>
          <pc:docMk/>
          <pc:sldMk cId="2828462293" sldId="2145707254"/>
        </pc:sldMkLst>
        <pc:spChg chg="mod">
          <ac:chgData name="Nick Robinson" userId="d0c2b313-4ae0-4040-8c6a-fec7a720a7b5" providerId="ADAL" clId="{190131DE-6250-C84F-B491-721E6CF30BCB}" dt="2021-12-15T10:32:58.793" v="2121" actId="20577"/>
          <ac:spMkLst>
            <pc:docMk/>
            <pc:sldMk cId="2828462293" sldId="2145707254"/>
            <ac:spMk id="2" creationId="{00000000-0000-0000-0000-000000000000}"/>
          </ac:spMkLst>
        </pc:spChg>
        <pc:spChg chg="mod">
          <ac:chgData name="Nick Robinson" userId="d0c2b313-4ae0-4040-8c6a-fec7a720a7b5" providerId="ADAL" clId="{190131DE-6250-C84F-B491-721E6CF30BCB}" dt="2021-12-15T10:33:05.274" v="2127" actId="20577"/>
          <ac:spMkLst>
            <pc:docMk/>
            <pc:sldMk cId="2828462293" sldId="2145707254"/>
            <ac:spMk id="16" creationId="{F715D659-0B3D-3441-8784-EDED0A7173C7}"/>
          </ac:spMkLst>
        </pc:spChg>
        <pc:graphicFrameChg chg="mod">
          <ac:chgData name="Nick Robinson" userId="d0c2b313-4ae0-4040-8c6a-fec7a720a7b5" providerId="ADAL" clId="{190131DE-6250-C84F-B491-721E6CF30BCB}" dt="2021-12-15T11:55:59.823" v="3351"/>
          <ac:graphicFrameMkLst>
            <pc:docMk/>
            <pc:sldMk cId="2828462293" sldId="2145707254"/>
            <ac:graphicFrameMk id="8" creationId="{7462BF38-39D3-B34A-9FC1-8E01C776A02F}"/>
          </ac:graphicFrameMkLst>
        </pc:graphicFrameChg>
      </pc:sldChg>
      <pc:sldChg chg="addSp delSp modSp add del mod">
        <pc:chgData name="Nick Robinson" userId="d0c2b313-4ae0-4040-8c6a-fec7a720a7b5" providerId="ADAL" clId="{190131DE-6250-C84F-B491-721E6CF30BCB}" dt="2021-12-20T15:30:37.675" v="17660" actId="2696"/>
        <pc:sldMkLst>
          <pc:docMk/>
          <pc:sldMk cId="2226362542" sldId="2145707255"/>
        </pc:sldMkLst>
        <pc:spChg chg="mod">
          <ac:chgData name="Nick Robinson" userId="d0c2b313-4ae0-4040-8c6a-fec7a720a7b5" providerId="ADAL" clId="{190131DE-6250-C84F-B491-721E6CF30BCB}" dt="2021-12-16T09:38:49.818" v="3387" actId="14100"/>
          <ac:spMkLst>
            <pc:docMk/>
            <pc:sldMk cId="2226362542" sldId="2145707255"/>
            <ac:spMk id="9" creationId="{2CA56A7A-BF44-8B48-B474-D4C2091140FA}"/>
          </ac:spMkLst>
        </pc:spChg>
        <pc:spChg chg="mod">
          <ac:chgData name="Nick Robinson" userId="d0c2b313-4ae0-4040-8c6a-fec7a720a7b5" providerId="ADAL" clId="{190131DE-6250-C84F-B491-721E6CF30BCB}" dt="2021-12-17T09:42:20.914" v="5080" actId="14100"/>
          <ac:spMkLst>
            <pc:docMk/>
            <pc:sldMk cId="2226362542" sldId="2145707255"/>
            <ac:spMk id="12" creationId="{363CD306-A4CF-0045-B748-E29F5A0F9D31}"/>
          </ac:spMkLst>
        </pc:spChg>
        <pc:spChg chg="mod">
          <ac:chgData name="Nick Robinson" userId="d0c2b313-4ae0-4040-8c6a-fec7a720a7b5" providerId="ADAL" clId="{190131DE-6250-C84F-B491-721E6CF30BCB}" dt="2021-12-17T09:42:20.914" v="5080" actId="14100"/>
          <ac:spMkLst>
            <pc:docMk/>
            <pc:sldMk cId="2226362542" sldId="2145707255"/>
            <ac:spMk id="13" creationId="{CB58FA81-B730-8A46-9E2B-6D4DADEAF5A0}"/>
          </ac:spMkLst>
        </pc:spChg>
        <pc:spChg chg="mod">
          <ac:chgData name="Nick Robinson" userId="d0c2b313-4ae0-4040-8c6a-fec7a720a7b5" providerId="ADAL" clId="{190131DE-6250-C84F-B491-721E6CF30BCB}" dt="2021-12-17T09:42:20.914" v="5080" actId="14100"/>
          <ac:spMkLst>
            <pc:docMk/>
            <pc:sldMk cId="2226362542" sldId="2145707255"/>
            <ac:spMk id="14" creationId="{F429D550-A1FA-F747-AEB3-1B00EFCA2E89}"/>
          </ac:spMkLst>
        </pc:spChg>
        <pc:spChg chg="mod">
          <ac:chgData name="Nick Robinson" userId="d0c2b313-4ae0-4040-8c6a-fec7a720a7b5" providerId="ADAL" clId="{190131DE-6250-C84F-B491-721E6CF30BCB}" dt="2021-12-17T09:42:20.914" v="5080" actId="14100"/>
          <ac:spMkLst>
            <pc:docMk/>
            <pc:sldMk cId="2226362542" sldId="2145707255"/>
            <ac:spMk id="15" creationId="{113A1493-C3F7-4D47-938D-ED28CA89D9A1}"/>
          </ac:spMkLst>
        </pc:spChg>
        <pc:spChg chg="mod">
          <ac:chgData name="Nick Robinson" userId="d0c2b313-4ae0-4040-8c6a-fec7a720a7b5" providerId="ADAL" clId="{190131DE-6250-C84F-B491-721E6CF30BCB}" dt="2021-12-17T09:42:20.914" v="5080" actId="14100"/>
          <ac:spMkLst>
            <pc:docMk/>
            <pc:sldMk cId="2226362542" sldId="2145707255"/>
            <ac:spMk id="17" creationId="{E8E35E51-0209-5945-B654-6D60D76F3E81}"/>
          </ac:spMkLst>
        </pc:spChg>
        <pc:spChg chg="mod">
          <ac:chgData name="Nick Robinson" userId="d0c2b313-4ae0-4040-8c6a-fec7a720a7b5" providerId="ADAL" clId="{190131DE-6250-C84F-B491-721E6CF30BCB}" dt="2021-12-17T09:42:20.914" v="5080" actId="14100"/>
          <ac:spMkLst>
            <pc:docMk/>
            <pc:sldMk cId="2226362542" sldId="2145707255"/>
            <ac:spMk id="18" creationId="{9207FCF8-80BA-C042-9F09-82F607D1BD45}"/>
          </ac:spMkLst>
        </pc:spChg>
        <pc:spChg chg="mod">
          <ac:chgData name="Nick Robinson" userId="d0c2b313-4ae0-4040-8c6a-fec7a720a7b5" providerId="ADAL" clId="{190131DE-6250-C84F-B491-721E6CF30BCB}" dt="2021-12-17T09:42:20.914" v="5080" actId="14100"/>
          <ac:spMkLst>
            <pc:docMk/>
            <pc:sldMk cId="2226362542" sldId="2145707255"/>
            <ac:spMk id="19" creationId="{79C4484F-911B-E840-B3D4-C6028EC5299F}"/>
          </ac:spMkLst>
        </pc:spChg>
        <pc:spChg chg="mod">
          <ac:chgData name="Nick Robinson" userId="d0c2b313-4ae0-4040-8c6a-fec7a720a7b5" providerId="ADAL" clId="{190131DE-6250-C84F-B491-721E6CF30BCB}" dt="2021-12-17T09:42:20.914" v="5080" actId="14100"/>
          <ac:spMkLst>
            <pc:docMk/>
            <pc:sldMk cId="2226362542" sldId="2145707255"/>
            <ac:spMk id="20" creationId="{4993CAD8-93A8-E442-9D91-DBA809B62EBE}"/>
          </ac:spMkLst>
        </pc:spChg>
        <pc:spChg chg="add del mod">
          <ac:chgData name="Nick Robinson" userId="d0c2b313-4ae0-4040-8c6a-fec7a720a7b5" providerId="ADAL" clId="{190131DE-6250-C84F-B491-721E6CF30BCB}" dt="2021-12-17T09:32:06.029" v="5041"/>
          <ac:spMkLst>
            <pc:docMk/>
            <pc:sldMk cId="2226362542" sldId="2145707255"/>
            <ac:spMk id="179" creationId="{F38658A7-7C37-D745-B579-0C155109B739}"/>
          </ac:spMkLst>
        </pc:spChg>
        <pc:spChg chg="add del mod">
          <ac:chgData name="Nick Robinson" userId="d0c2b313-4ae0-4040-8c6a-fec7a720a7b5" providerId="ADAL" clId="{190131DE-6250-C84F-B491-721E6CF30BCB}" dt="2021-12-17T09:32:04.299" v="5037"/>
          <ac:spMkLst>
            <pc:docMk/>
            <pc:sldMk cId="2226362542" sldId="2145707255"/>
            <ac:spMk id="181" creationId="{999DAFAB-AE8D-3C45-AA9C-C25554DF18BD}"/>
          </ac:spMkLst>
        </pc:spChg>
        <pc:spChg chg="add del mod">
          <ac:chgData name="Nick Robinson" userId="d0c2b313-4ae0-4040-8c6a-fec7a720a7b5" providerId="ADAL" clId="{190131DE-6250-C84F-B491-721E6CF30BCB}" dt="2021-12-17T09:32:03.282" v="5034"/>
          <ac:spMkLst>
            <pc:docMk/>
            <pc:sldMk cId="2226362542" sldId="2145707255"/>
            <ac:spMk id="182" creationId="{D43E74AC-E84E-2442-A4A8-43DB25189A49}"/>
          </ac:spMkLst>
        </pc:spChg>
        <pc:grpChg chg="mod">
          <ac:chgData name="Nick Robinson" userId="d0c2b313-4ae0-4040-8c6a-fec7a720a7b5" providerId="ADAL" clId="{190131DE-6250-C84F-B491-721E6CF30BCB}" dt="2021-12-17T09:42:20.914" v="5080" actId="14100"/>
          <ac:grpSpMkLst>
            <pc:docMk/>
            <pc:sldMk cId="2226362542" sldId="2145707255"/>
            <ac:grpSpMk id="10" creationId="{A5873C76-5908-8B41-8526-0CC85835EE20}"/>
          </ac:grpSpMkLst>
        </pc:grpChg>
        <pc:grpChg chg="mod">
          <ac:chgData name="Nick Robinson" userId="d0c2b313-4ae0-4040-8c6a-fec7a720a7b5" providerId="ADAL" clId="{190131DE-6250-C84F-B491-721E6CF30BCB}" dt="2021-12-17T09:42:20.914" v="5080" actId="14100"/>
          <ac:grpSpMkLst>
            <pc:docMk/>
            <pc:sldMk cId="2226362542" sldId="2145707255"/>
            <ac:grpSpMk id="11" creationId="{8C83A67D-F8FE-3A4F-993A-2FD9B5AA8D59}"/>
          </ac:grpSpMkLst>
        </pc:grpChg>
        <pc:graphicFrameChg chg="mod">
          <ac:chgData name="Nick Robinson" userId="d0c2b313-4ae0-4040-8c6a-fec7a720a7b5" providerId="ADAL" clId="{190131DE-6250-C84F-B491-721E6CF30BCB}" dt="2021-12-15T11:55:59.823" v="3351"/>
          <ac:graphicFrameMkLst>
            <pc:docMk/>
            <pc:sldMk cId="2226362542" sldId="2145707255"/>
            <ac:graphicFrameMk id="8" creationId="{7462BF38-39D3-B34A-9FC1-8E01C776A02F}"/>
          </ac:graphicFrameMkLst>
        </pc:graphicFrameChg>
      </pc:sldChg>
      <pc:sldChg chg="delSp modSp add del mod ord">
        <pc:chgData name="Nick Robinson" userId="d0c2b313-4ae0-4040-8c6a-fec7a720a7b5" providerId="ADAL" clId="{190131DE-6250-C84F-B491-721E6CF30BCB}" dt="2021-12-20T14:46:12.535" v="17397" actId="2696"/>
        <pc:sldMkLst>
          <pc:docMk/>
          <pc:sldMk cId="45231905" sldId="2145707256"/>
        </pc:sldMkLst>
        <pc:spChg chg="mod">
          <ac:chgData name="Nick Robinson" userId="d0c2b313-4ae0-4040-8c6a-fec7a720a7b5" providerId="ADAL" clId="{190131DE-6250-C84F-B491-721E6CF30BCB}" dt="2021-12-15T11:53:34.999" v="3162" actId="20577"/>
          <ac:spMkLst>
            <pc:docMk/>
            <pc:sldMk cId="45231905" sldId="2145707256"/>
            <ac:spMk id="2" creationId="{97DF49F5-76E4-D045-9AE5-C5DFB0E4B946}"/>
          </ac:spMkLst>
        </pc:spChg>
        <pc:graphicFrameChg chg="del">
          <ac:chgData name="Nick Robinson" userId="d0c2b313-4ae0-4040-8c6a-fec7a720a7b5" providerId="ADAL" clId="{190131DE-6250-C84F-B491-721E6CF30BCB}" dt="2021-12-15T11:53:37.154" v="3163" actId="478"/>
          <ac:graphicFrameMkLst>
            <pc:docMk/>
            <pc:sldMk cId="45231905" sldId="2145707256"/>
            <ac:graphicFrameMk id="3" creationId="{3D84A791-EDA8-8A42-93CD-F5EC9E54A22F}"/>
          </ac:graphicFrameMkLst>
        </pc:graphicFrameChg>
      </pc:sldChg>
      <pc:sldChg chg="addSp delSp modSp new del mod modShow">
        <pc:chgData name="Nick Robinson" userId="d0c2b313-4ae0-4040-8c6a-fec7a720a7b5" providerId="ADAL" clId="{190131DE-6250-C84F-B491-721E6CF30BCB}" dt="2021-12-17T11:36:27.786" v="7344" actId="2696"/>
        <pc:sldMkLst>
          <pc:docMk/>
          <pc:sldMk cId="1099352032" sldId="2145707257"/>
        </pc:sldMkLst>
        <pc:spChg chg="del">
          <ac:chgData name="Nick Robinson" userId="d0c2b313-4ae0-4040-8c6a-fec7a720a7b5" providerId="ADAL" clId="{190131DE-6250-C84F-B491-721E6CF30BCB}" dt="2021-12-16T10:27:28.521" v="4276" actId="478"/>
          <ac:spMkLst>
            <pc:docMk/>
            <pc:sldMk cId="1099352032" sldId="2145707257"/>
            <ac:spMk id="2" creationId="{880F6CB8-57A4-0F47-88FF-0448FFAE8D23}"/>
          </ac:spMkLst>
        </pc:spChg>
        <pc:spChg chg="mod">
          <ac:chgData name="Nick Robinson" userId="d0c2b313-4ae0-4040-8c6a-fec7a720a7b5" providerId="ADAL" clId="{190131DE-6250-C84F-B491-721E6CF30BCB}" dt="2021-12-15T11:54:19.560" v="3191" actId="20577"/>
          <ac:spMkLst>
            <pc:docMk/>
            <pc:sldMk cId="1099352032" sldId="2145707257"/>
            <ac:spMk id="3" creationId="{48F9D52A-8F64-384C-971E-97B7A8F11849}"/>
          </ac:spMkLst>
        </pc:spChg>
        <pc:spChg chg="mod">
          <ac:chgData name="Nick Robinson" userId="d0c2b313-4ae0-4040-8c6a-fec7a720a7b5" providerId="ADAL" clId="{190131DE-6250-C84F-B491-721E6CF30BCB}" dt="2021-12-15T11:54:27.246" v="3221" actId="20577"/>
          <ac:spMkLst>
            <pc:docMk/>
            <pc:sldMk cId="1099352032" sldId="2145707257"/>
            <ac:spMk id="4" creationId="{3C05F61A-2BF2-5F4D-9FC0-69AB3FD890C1}"/>
          </ac:spMkLst>
        </pc:spChg>
        <pc:spChg chg="mod">
          <ac:chgData name="Nick Robinson" userId="d0c2b313-4ae0-4040-8c6a-fec7a720a7b5" providerId="ADAL" clId="{190131DE-6250-C84F-B491-721E6CF30BCB}" dt="2021-12-16T10:27:41.108" v="4278" actId="1076"/>
          <ac:spMkLst>
            <pc:docMk/>
            <pc:sldMk cId="1099352032" sldId="2145707257"/>
            <ac:spMk id="5" creationId="{0E761A9B-DEAF-6747-9F1D-26A90F6079B9}"/>
          </ac:spMkLst>
        </pc:spChg>
        <pc:spChg chg="add del mod">
          <ac:chgData name="Nick Robinson" userId="d0c2b313-4ae0-4040-8c6a-fec7a720a7b5" providerId="ADAL" clId="{190131DE-6250-C84F-B491-721E6CF30BCB}" dt="2021-12-16T10:27:18.485" v="4274" actId="478"/>
          <ac:spMkLst>
            <pc:docMk/>
            <pc:sldMk cId="1099352032" sldId="2145707257"/>
            <ac:spMk id="6" creationId="{1806C0E8-4BBB-E24D-AB34-91C67E5046F8}"/>
          </ac:spMkLst>
        </pc:spChg>
        <pc:spChg chg="add mod">
          <ac:chgData name="Nick Robinson" userId="d0c2b313-4ae0-4040-8c6a-fec7a720a7b5" providerId="ADAL" clId="{190131DE-6250-C84F-B491-721E6CF30BCB}" dt="2021-12-16T10:27:36.474" v="4277" actId="1076"/>
          <ac:spMkLst>
            <pc:docMk/>
            <pc:sldMk cId="1099352032" sldId="2145707257"/>
            <ac:spMk id="27" creationId="{F368F9CC-8C70-9342-B041-DC5FC2F087FD}"/>
          </ac:spMkLst>
        </pc:spChg>
        <pc:spChg chg="add mod">
          <ac:chgData name="Nick Robinson" userId="d0c2b313-4ae0-4040-8c6a-fec7a720a7b5" providerId="ADAL" clId="{190131DE-6250-C84F-B491-721E6CF30BCB}" dt="2021-12-16T10:28:09.187" v="4282" actId="14100"/>
          <ac:spMkLst>
            <pc:docMk/>
            <pc:sldMk cId="1099352032" sldId="2145707257"/>
            <ac:spMk id="28" creationId="{CD910CC1-BECC-0B4B-B564-E62BD3177F8D}"/>
          </ac:spMkLst>
        </pc:spChg>
        <pc:spChg chg="add mod">
          <ac:chgData name="Nick Robinson" userId="d0c2b313-4ae0-4040-8c6a-fec7a720a7b5" providerId="ADAL" clId="{190131DE-6250-C84F-B491-721E6CF30BCB}" dt="2021-12-16T10:27:36.474" v="4277" actId="1076"/>
          <ac:spMkLst>
            <pc:docMk/>
            <pc:sldMk cId="1099352032" sldId="2145707257"/>
            <ac:spMk id="29" creationId="{D410D669-F8B4-B443-9708-9DF012B0C53D}"/>
          </ac:spMkLst>
        </pc:spChg>
        <pc:spChg chg="add mod">
          <ac:chgData name="Nick Robinson" userId="d0c2b313-4ae0-4040-8c6a-fec7a720a7b5" providerId="ADAL" clId="{190131DE-6250-C84F-B491-721E6CF30BCB}" dt="2021-12-16T10:27:36.474" v="4277" actId="1076"/>
          <ac:spMkLst>
            <pc:docMk/>
            <pc:sldMk cId="1099352032" sldId="2145707257"/>
            <ac:spMk id="30" creationId="{905B92CA-4D1B-D74C-9884-BF43D77EBD89}"/>
          </ac:spMkLst>
        </pc:spChg>
        <pc:spChg chg="add mod">
          <ac:chgData name="Nick Robinson" userId="d0c2b313-4ae0-4040-8c6a-fec7a720a7b5" providerId="ADAL" clId="{190131DE-6250-C84F-B491-721E6CF30BCB}" dt="2021-12-16T10:27:36.474" v="4277" actId="1076"/>
          <ac:spMkLst>
            <pc:docMk/>
            <pc:sldMk cId="1099352032" sldId="2145707257"/>
            <ac:spMk id="31" creationId="{2A62A231-6EB1-3E45-A8ED-A4849DB07D2C}"/>
          </ac:spMkLst>
        </pc:spChg>
        <pc:spChg chg="add mod">
          <ac:chgData name="Nick Robinson" userId="d0c2b313-4ae0-4040-8c6a-fec7a720a7b5" providerId="ADAL" clId="{190131DE-6250-C84F-B491-721E6CF30BCB}" dt="2021-12-16T10:27:36.474" v="4277" actId="1076"/>
          <ac:spMkLst>
            <pc:docMk/>
            <pc:sldMk cId="1099352032" sldId="2145707257"/>
            <ac:spMk id="32" creationId="{E78F2E28-22DB-C343-81AE-6D3297160EC1}"/>
          </ac:spMkLst>
        </pc:spChg>
        <pc:spChg chg="add mod">
          <ac:chgData name="Nick Robinson" userId="d0c2b313-4ae0-4040-8c6a-fec7a720a7b5" providerId="ADAL" clId="{190131DE-6250-C84F-B491-721E6CF30BCB}" dt="2021-12-16T10:27:36.474" v="4277" actId="1076"/>
          <ac:spMkLst>
            <pc:docMk/>
            <pc:sldMk cId="1099352032" sldId="2145707257"/>
            <ac:spMk id="33" creationId="{64D531EB-549E-4441-A0E1-D6E325ED45A7}"/>
          </ac:spMkLst>
        </pc:spChg>
        <pc:spChg chg="add mod">
          <ac:chgData name="Nick Robinson" userId="d0c2b313-4ae0-4040-8c6a-fec7a720a7b5" providerId="ADAL" clId="{190131DE-6250-C84F-B491-721E6CF30BCB}" dt="2021-12-16T10:27:36.474" v="4277" actId="1076"/>
          <ac:spMkLst>
            <pc:docMk/>
            <pc:sldMk cId="1099352032" sldId="2145707257"/>
            <ac:spMk id="34" creationId="{9ECB4595-D937-C649-9EED-CE66FE73C283}"/>
          </ac:spMkLst>
        </pc:spChg>
        <pc:spChg chg="add mod">
          <ac:chgData name="Nick Robinson" userId="d0c2b313-4ae0-4040-8c6a-fec7a720a7b5" providerId="ADAL" clId="{190131DE-6250-C84F-B491-721E6CF30BCB}" dt="2021-12-16T10:27:36.474" v="4277" actId="1076"/>
          <ac:spMkLst>
            <pc:docMk/>
            <pc:sldMk cId="1099352032" sldId="2145707257"/>
            <ac:spMk id="35" creationId="{00761A2B-FC57-D24A-B791-F5D7C60726C2}"/>
          </ac:spMkLst>
        </pc:spChg>
        <pc:spChg chg="add mod">
          <ac:chgData name="Nick Robinson" userId="d0c2b313-4ae0-4040-8c6a-fec7a720a7b5" providerId="ADAL" clId="{190131DE-6250-C84F-B491-721E6CF30BCB}" dt="2021-12-16T10:27:36.474" v="4277" actId="1076"/>
          <ac:spMkLst>
            <pc:docMk/>
            <pc:sldMk cId="1099352032" sldId="2145707257"/>
            <ac:spMk id="36" creationId="{3F578F71-404B-2741-8A04-68B0AE1AAEF9}"/>
          </ac:spMkLst>
        </pc:spChg>
        <pc:spChg chg="add mod">
          <ac:chgData name="Nick Robinson" userId="d0c2b313-4ae0-4040-8c6a-fec7a720a7b5" providerId="ADAL" clId="{190131DE-6250-C84F-B491-721E6CF30BCB}" dt="2021-12-17T10:00:48.032" v="5439" actId="14100"/>
          <ac:spMkLst>
            <pc:docMk/>
            <pc:sldMk cId="1099352032" sldId="2145707257"/>
            <ac:spMk id="37" creationId="{4DF3BFC2-B4F6-3A45-8DA6-0FA3B16C76D7}"/>
          </ac:spMkLst>
        </pc:spChg>
        <pc:spChg chg="add mod">
          <ac:chgData name="Nick Robinson" userId="d0c2b313-4ae0-4040-8c6a-fec7a720a7b5" providerId="ADAL" clId="{190131DE-6250-C84F-B491-721E6CF30BCB}" dt="2021-12-17T10:00:54.682" v="5441" actId="14100"/>
          <ac:spMkLst>
            <pc:docMk/>
            <pc:sldMk cId="1099352032" sldId="2145707257"/>
            <ac:spMk id="38" creationId="{194C8724-2C03-7249-8B9C-1A97E8BF77A4}"/>
          </ac:spMkLst>
        </pc:spChg>
        <pc:spChg chg="add mod">
          <ac:chgData name="Nick Robinson" userId="d0c2b313-4ae0-4040-8c6a-fec7a720a7b5" providerId="ADAL" clId="{190131DE-6250-C84F-B491-721E6CF30BCB}" dt="2021-12-17T10:00:50.282" v="5440" actId="14100"/>
          <ac:spMkLst>
            <pc:docMk/>
            <pc:sldMk cId="1099352032" sldId="2145707257"/>
            <ac:spMk id="39" creationId="{2DB49F00-D89D-8040-8B00-4F776E688C86}"/>
          </ac:spMkLst>
        </pc:spChg>
        <pc:spChg chg="add mod">
          <ac:chgData name="Nick Robinson" userId="d0c2b313-4ae0-4040-8c6a-fec7a720a7b5" providerId="ADAL" clId="{190131DE-6250-C84F-B491-721E6CF30BCB}" dt="2021-12-17T10:00:44.634" v="5437" actId="14100"/>
          <ac:spMkLst>
            <pc:docMk/>
            <pc:sldMk cId="1099352032" sldId="2145707257"/>
            <ac:spMk id="40" creationId="{D58356F1-6BE4-034F-8656-6D9C1C1BE867}"/>
          </ac:spMkLst>
        </pc:spChg>
        <pc:spChg chg="add mod">
          <ac:chgData name="Nick Robinson" userId="d0c2b313-4ae0-4040-8c6a-fec7a720a7b5" providerId="ADAL" clId="{190131DE-6250-C84F-B491-721E6CF30BCB}" dt="2021-12-17T10:00:59.482" v="5442" actId="14100"/>
          <ac:spMkLst>
            <pc:docMk/>
            <pc:sldMk cId="1099352032" sldId="2145707257"/>
            <ac:spMk id="41" creationId="{8B062E0A-6918-6D41-93AD-6EC436F0BB94}"/>
          </ac:spMkLst>
        </pc:spChg>
        <pc:spChg chg="add mod">
          <ac:chgData name="Nick Robinson" userId="d0c2b313-4ae0-4040-8c6a-fec7a720a7b5" providerId="ADAL" clId="{190131DE-6250-C84F-B491-721E6CF30BCB}" dt="2021-12-16T10:27:36.474" v="4277" actId="1076"/>
          <ac:spMkLst>
            <pc:docMk/>
            <pc:sldMk cId="1099352032" sldId="2145707257"/>
            <ac:spMk id="42" creationId="{D575B78B-BAF4-1141-BA1E-C26DA2A73B74}"/>
          </ac:spMkLst>
        </pc:spChg>
        <pc:spChg chg="add mod">
          <ac:chgData name="Nick Robinson" userId="d0c2b313-4ae0-4040-8c6a-fec7a720a7b5" providerId="ADAL" clId="{190131DE-6250-C84F-B491-721E6CF30BCB}" dt="2021-12-16T10:27:36.474" v="4277" actId="1076"/>
          <ac:spMkLst>
            <pc:docMk/>
            <pc:sldMk cId="1099352032" sldId="2145707257"/>
            <ac:spMk id="43" creationId="{7A048730-6EAA-4B43-B6DF-164D8CDFB4EF}"/>
          </ac:spMkLst>
        </pc:spChg>
        <pc:spChg chg="add mod">
          <ac:chgData name="Nick Robinson" userId="d0c2b313-4ae0-4040-8c6a-fec7a720a7b5" providerId="ADAL" clId="{190131DE-6250-C84F-B491-721E6CF30BCB}" dt="2021-12-16T10:27:36.474" v="4277" actId="1076"/>
          <ac:spMkLst>
            <pc:docMk/>
            <pc:sldMk cId="1099352032" sldId="2145707257"/>
            <ac:spMk id="44" creationId="{738C64BB-1130-764B-B0B6-FEDECC231F5A}"/>
          </ac:spMkLst>
        </pc:spChg>
        <pc:spChg chg="add mod">
          <ac:chgData name="Nick Robinson" userId="d0c2b313-4ae0-4040-8c6a-fec7a720a7b5" providerId="ADAL" clId="{190131DE-6250-C84F-B491-721E6CF30BCB}" dt="2021-12-16T10:27:36.474" v="4277" actId="1076"/>
          <ac:spMkLst>
            <pc:docMk/>
            <pc:sldMk cId="1099352032" sldId="2145707257"/>
            <ac:spMk id="45" creationId="{519AF8AA-8FA3-474A-8D84-84F33FE549CC}"/>
          </ac:spMkLst>
        </pc:spChg>
        <pc:spChg chg="add mod">
          <ac:chgData name="Nick Robinson" userId="d0c2b313-4ae0-4040-8c6a-fec7a720a7b5" providerId="ADAL" clId="{190131DE-6250-C84F-B491-721E6CF30BCB}" dt="2021-12-16T10:27:36.474" v="4277" actId="1076"/>
          <ac:spMkLst>
            <pc:docMk/>
            <pc:sldMk cId="1099352032" sldId="2145707257"/>
            <ac:spMk id="46" creationId="{85143729-EA4C-A948-9005-B82D3E18F73C}"/>
          </ac:spMkLst>
        </pc:spChg>
        <pc:spChg chg="add mod">
          <ac:chgData name="Nick Robinson" userId="d0c2b313-4ae0-4040-8c6a-fec7a720a7b5" providerId="ADAL" clId="{190131DE-6250-C84F-B491-721E6CF30BCB}" dt="2021-12-16T10:27:36.474" v="4277" actId="1076"/>
          <ac:spMkLst>
            <pc:docMk/>
            <pc:sldMk cId="1099352032" sldId="2145707257"/>
            <ac:spMk id="47" creationId="{5A8FE7C0-0EA1-764B-97C3-14B3F2107F96}"/>
          </ac:spMkLst>
        </pc:spChg>
        <pc:spChg chg="add mod">
          <ac:chgData name="Nick Robinson" userId="d0c2b313-4ae0-4040-8c6a-fec7a720a7b5" providerId="ADAL" clId="{190131DE-6250-C84F-B491-721E6CF30BCB}" dt="2021-12-16T10:27:36.474" v="4277" actId="1076"/>
          <ac:spMkLst>
            <pc:docMk/>
            <pc:sldMk cId="1099352032" sldId="2145707257"/>
            <ac:spMk id="48" creationId="{FC6C28D0-1F67-9745-B64B-C3E9969FF49B}"/>
          </ac:spMkLst>
        </pc:spChg>
        <pc:spChg chg="add del mod">
          <ac:chgData name="Nick Robinson" userId="d0c2b313-4ae0-4040-8c6a-fec7a720a7b5" providerId="ADAL" clId="{190131DE-6250-C84F-B491-721E6CF30BCB}" dt="2021-12-16T10:27:22.944" v="4275" actId="478"/>
          <ac:spMkLst>
            <pc:docMk/>
            <pc:sldMk cId="1099352032" sldId="2145707257"/>
            <ac:spMk id="49" creationId="{D0E764CA-9653-E842-B635-224BF7404697}"/>
          </ac:spMkLst>
        </pc:spChg>
        <pc:graphicFrameChg chg="add mod">
          <ac:chgData name="Nick Robinson" userId="d0c2b313-4ae0-4040-8c6a-fec7a720a7b5" providerId="ADAL" clId="{190131DE-6250-C84F-B491-721E6CF30BCB}" dt="2021-12-16T10:27:51.977" v="4279"/>
          <ac:graphicFrameMkLst>
            <pc:docMk/>
            <pc:sldMk cId="1099352032" sldId="2145707257"/>
            <ac:graphicFrameMk id="50" creationId="{6A98BC98-AE62-DD43-95EB-90F321646632}"/>
          </ac:graphicFrameMkLst>
        </pc:graphicFrameChg>
        <pc:picChg chg="add mod">
          <ac:chgData name="Nick Robinson" userId="d0c2b313-4ae0-4040-8c6a-fec7a720a7b5" providerId="ADAL" clId="{190131DE-6250-C84F-B491-721E6CF30BCB}" dt="2021-12-16T10:27:36.474" v="4277" actId="1076"/>
          <ac:picMkLst>
            <pc:docMk/>
            <pc:sldMk cId="1099352032" sldId="2145707257"/>
            <ac:picMk id="7" creationId="{FD45CBFD-15FB-2448-9657-E8F69B49A8E9}"/>
          </ac:picMkLst>
        </pc:picChg>
        <pc:picChg chg="add mod">
          <ac:chgData name="Nick Robinson" userId="d0c2b313-4ae0-4040-8c6a-fec7a720a7b5" providerId="ADAL" clId="{190131DE-6250-C84F-B491-721E6CF30BCB}" dt="2021-12-16T10:27:36.474" v="4277" actId="1076"/>
          <ac:picMkLst>
            <pc:docMk/>
            <pc:sldMk cId="1099352032" sldId="2145707257"/>
            <ac:picMk id="8" creationId="{31E310A4-7E98-B04B-BA79-B3182C7104FB}"/>
          </ac:picMkLst>
        </pc:picChg>
        <pc:picChg chg="add mod">
          <ac:chgData name="Nick Robinson" userId="d0c2b313-4ae0-4040-8c6a-fec7a720a7b5" providerId="ADAL" clId="{190131DE-6250-C84F-B491-721E6CF30BCB}" dt="2021-12-16T10:27:36.474" v="4277" actId="1076"/>
          <ac:picMkLst>
            <pc:docMk/>
            <pc:sldMk cId="1099352032" sldId="2145707257"/>
            <ac:picMk id="9" creationId="{442BA308-44FE-1D4D-A48A-885EEE0435BD}"/>
          </ac:picMkLst>
        </pc:picChg>
        <pc:picChg chg="add mod">
          <ac:chgData name="Nick Robinson" userId="d0c2b313-4ae0-4040-8c6a-fec7a720a7b5" providerId="ADAL" clId="{190131DE-6250-C84F-B491-721E6CF30BCB}" dt="2021-12-16T10:27:36.474" v="4277" actId="1076"/>
          <ac:picMkLst>
            <pc:docMk/>
            <pc:sldMk cId="1099352032" sldId="2145707257"/>
            <ac:picMk id="10" creationId="{8F25E843-7522-5B40-A02A-D5BD9E2B27B8}"/>
          </ac:picMkLst>
        </pc:picChg>
        <pc:picChg chg="add mod">
          <ac:chgData name="Nick Robinson" userId="d0c2b313-4ae0-4040-8c6a-fec7a720a7b5" providerId="ADAL" clId="{190131DE-6250-C84F-B491-721E6CF30BCB}" dt="2021-12-16T10:27:36.474" v="4277" actId="1076"/>
          <ac:picMkLst>
            <pc:docMk/>
            <pc:sldMk cId="1099352032" sldId="2145707257"/>
            <ac:picMk id="11" creationId="{5FCDCDB2-2957-7949-8D62-CA85D94AEE58}"/>
          </ac:picMkLst>
        </pc:picChg>
        <pc:picChg chg="add mod">
          <ac:chgData name="Nick Robinson" userId="d0c2b313-4ae0-4040-8c6a-fec7a720a7b5" providerId="ADAL" clId="{190131DE-6250-C84F-B491-721E6CF30BCB}" dt="2021-12-16T10:27:36.474" v="4277" actId="1076"/>
          <ac:picMkLst>
            <pc:docMk/>
            <pc:sldMk cId="1099352032" sldId="2145707257"/>
            <ac:picMk id="12" creationId="{94222C17-C380-F645-931F-B329A5B9A96D}"/>
          </ac:picMkLst>
        </pc:picChg>
        <pc:picChg chg="add mod">
          <ac:chgData name="Nick Robinson" userId="d0c2b313-4ae0-4040-8c6a-fec7a720a7b5" providerId="ADAL" clId="{190131DE-6250-C84F-B491-721E6CF30BCB}" dt="2021-12-16T10:27:36.474" v="4277" actId="1076"/>
          <ac:picMkLst>
            <pc:docMk/>
            <pc:sldMk cId="1099352032" sldId="2145707257"/>
            <ac:picMk id="13" creationId="{324167B9-AE49-D041-84E5-A1C7F4CBCAA5}"/>
          </ac:picMkLst>
        </pc:picChg>
        <pc:picChg chg="add mod">
          <ac:chgData name="Nick Robinson" userId="d0c2b313-4ae0-4040-8c6a-fec7a720a7b5" providerId="ADAL" clId="{190131DE-6250-C84F-B491-721E6CF30BCB}" dt="2021-12-16T10:27:36.474" v="4277" actId="1076"/>
          <ac:picMkLst>
            <pc:docMk/>
            <pc:sldMk cId="1099352032" sldId="2145707257"/>
            <ac:picMk id="14" creationId="{3BD0AC9A-B138-9540-B7FA-88B062E9C101}"/>
          </ac:picMkLst>
        </pc:picChg>
        <pc:picChg chg="add mod">
          <ac:chgData name="Nick Robinson" userId="d0c2b313-4ae0-4040-8c6a-fec7a720a7b5" providerId="ADAL" clId="{190131DE-6250-C84F-B491-721E6CF30BCB}" dt="2021-12-16T10:27:36.474" v="4277" actId="1076"/>
          <ac:picMkLst>
            <pc:docMk/>
            <pc:sldMk cId="1099352032" sldId="2145707257"/>
            <ac:picMk id="15" creationId="{9A4860B0-EDBB-1040-AA24-44E38DD9F86D}"/>
          </ac:picMkLst>
        </pc:picChg>
        <pc:picChg chg="add mod">
          <ac:chgData name="Nick Robinson" userId="d0c2b313-4ae0-4040-8c6a-fec7a720a7b5" providerId="ADAL" clId="{190131DE-6250-C84F-B491-721E6CF30BCB}" dt="2021-12-16T10:27:36.474" v="4277" actId="1076"/>
          <ac:picMkLst>
            <pc:docMk/>
            <pc:sldMk cId="1099352032" sldId="2145707257"/>
            <ac:picMk id="16" creationId="{7BC2843F-7090-3F4B-8573-5155825320BF}"/>
          </ac:picMkLst>
        </pc:picChg>
        <pc:picChg chg="add mod">
          <ac:chgData name="Nick Robinson" userId="d0c2b313-4ae0-4040-8c6a-fec7a720a7b5" providerId="ADAL" clId="{190131DE-6250-C84F-B491-721E6CF30BCB}" dt="2021-12-16T10:27:36.474" v="4277" actId="1076"/>
          <ac:picMkLst>
            <pc:docMk/>
            <pc:sldMk cId="1099352032" sldId="2145707257"/>
            <ac:picMk id="17" creationId="{EAA47E36-ED85-7F4E-A5CF-C4A280AFAF24}"/>
          </ac:picMkLst>
        </pc:picChg>
        <pc:picChg chg="add mod">
          <ac:chgData name="Nick Robinson" userId="d0c2b313-4ae0-4040-8c6a-fec7a720a7b5" providerId="ADAL" clId="{190131DE-6250-C84F-B491-721E6CF30BCB}" dt="2021-12-16T10:27:36.474" v="4277" actId="1076"/>
          <ac:picMkLst>
            <pc:docMk/>
            <pc:sldMk cId="1099352032" sldId="2145707257"/>
            <ac:picMk id="18" creationId="{B930A075-972A-C94A-88CF-B7453C91DADF}"/>
          </ac:picMkLst>
        </pc:picChg>
        <pc:picChg chg="add mod">
          <ac:chgData name="Nick Robinson" userId="d0c2b313-4ae0-4040-8c6a-fec7a720a7b5" providerId="ADAL" clId="{190131DE-6250-C84F-B491-721E6CF30BCB}" dt="2021-12-16T10:27:36.474" v="4277" actId="1076"/>
          <ac:picMkLst>
            <pc:docMk/>
            <pc:sldMk cId="1099352032" sldId="2145707257"/>
            <ac:picMk id="20" creationId="{DACE93CD-2A03-0B44-8220-A75C64684289}"/>
          </ac:picMkLst>
        </pc:picChg>
        <pc:cxnChg chg="add mod">
          <ac:chgData name="Nick Robinson" userId="d0c2b313-4ae0-4040-8c6a-fec7a720a7b5" providerId="ADAL" clId="{190131DE-6250-C84F-B491-721E6CF30BCB}" dt="2021-12-16T10:27:36.474" v="4277" actId="1076"/>
          <ac:cxnSpMkLst>
            <pc:docMk/>
            <pc:sldMk cId="1099352032" sldId="2145707257"/>
            <ac:cxnSpMk id="19" creationId="{3DA13A8D-FDCC-E449-9E85-5F9D7B9E17F9}"/>
          </ac:cxnSpMkLst>
        </pc:cxnChg>
        <pc:cxnChg chg="add mod">
          <ac:chgData name="Nick Robinson" userId="d0c2b313-4ae0-4040-8c6a-fec7a720a7b5" providerId="ADAL" clId="{190131DE-6250-C84F-B491-721E6CF30BCB}" dt="2021-12-16T10:27:36.474" v="4277" actId="1076"/>
          <ac:cxnSpMkLst>
            <pc:docMk/>
            <pc:sldMk cId="1099352032" sldId="2145707257"/>
            <ac:cxnSpMk id="21" creationId="{5C940FF2-96D2-0140-8155-EC58BD506A1B}"/>
          </ac:cxnSpMkLst>
        </pc:cxnChg>
        <pc:cxnChg chg="add mod">
          <ac:chgData name="Nick Robinson" userId="d0c2b313-4ae0-4040-8c6a-fec7a720a7b5" providerId="ADAL" clId="{190131DE-6250-C84F-B491-721E6CF30BCB}" dt="2021-12-16T10:27:36.474" v="4277" actId="1076"/>
          <ac:cxnSpMkLst>
            <pc:docMk/>
            <pc:sldMk cId="1099352032" sldId="2145707257"/>
            <ac:cxnSpMk id="22" creationId="{F068D014-1207-CB48-870A-C78548493C0A}"/>
          </ac:cxnSpMkLst>
        </pc:cxnChg>
        <pc:cxnChg chg="add mod">
          <ac:chgData name="Nick Robinson" userId="d0c2b313-4ae0-4040-8c6a-fec7a720a7b5" providerId="ADAL" clId="{190131DE-6250-C84F-B491-721E6CF30BCB}" dt="2021-12-16T10:27:36.474" v="4277" actId="1076"/>
          <ac:cxnSpMkLst>
            <pc:docMk/>
            <pc:sldMk cId="1099352032" sldId="2145707257"/>
            <ac:cxnSpMk id="23" creationId="{ABE6D71A-BB50-E34E-883C-95E27EF9A3A2}"/>
          </ac:cxnSpMkLst>
        </pc:cxnChg>
        <pc:cxnChg chg="add mod">
          <ac:chgData name="Nick Robinson" userId="d0c2b313-4ae0-4040-8c6a-fec7a720a7b5" providerId="ADAL" clId="{190131DE-6250-C84F-B491-721E6CF30BCB}" dt="2021-12-16T10:27:36.474" v="4277" actId="1076"/>
          <ac:cxnSpMkLst>
            <pc:docMk/>
            <pc:sldMk cId="1099352032" sldId="2145707257"/>
            <ac:cxnSpMk id="24" creationId="{F8EE6E76-78AA-5E42-A4AF-E62E39F4CF75}"/>
          </ac:cxnSpMkLst>
        </pc:cxnChg>
        <pc:cxnChg chg="add mod">
          <ac:chgData name="Nick Robinson" userId="d0c2b313-4ae0-4040-8c6a-fec7a720a7b5" providerId="ADAL" clId="{190131DE-6250-C84F-B491-721E6CF30BCB}" dt="2021-12-16T10:27:36.474" v="4277" actId="1076"/>
          <ac:cxnSpMkLst>
            <pc:docMk/>
            <pc:sldMk cId="1099352032" sldId="2145707257"/>
            <ac:cxnSpMk id="25" creationId="{48D0C07C-194D-1146-ABB6-F2FD275AE9A0}"/>
          </ac:cxnSpMkLst>
        </pc:cxnChg>
        <pc:cxnChg chg="add mod">
          <ac:chgData name="Nick Robinson" userId="d0c2b313-4ae0-4040-8c6a-fec7a720a7b5" providerId="ADAL" clId="{190131DE-6250-C84F-B491-721E6CF30BCB}" dt="2021-12-16T10:27:36.474" v="4277" actId="1076"/>
          <ac:cxnSpMkLst>
            <pc:docMk/>
            <pc:sldMk cId="1099352032" sldId="2145707257"/>
            <ac:cxnSpMk id="26" creationId="{B13715BB-9895-CF49-A71F-B9150DFDDFD8}"/>
          </ac:cxnSpMkLst>
        </pc:cxnChg>
      </pc:sldChg>
      <pc:sldChg chg="modSp add del mod ord">
        <pc:chgData name="Nick Robinson" userId="d0c2b313-4ae0-4040-8c6a-fec7a720a7b5" providerId="ADAL" clId="{190131DE-6250-C84F-B491-721E6CF30BCB}" dt="2021-12-17T09:07:22.948" v="4296" actId="2696"/>
        <pc:sldMkLst>
          <pc:docMk/>
          <pc:sldMk cId="3153645298" sldId="2145707258"/>
        </pc:sldMkLst>
        <pc:spChg chg="mod">
          <ac:chgData name="Nick Robinson" userId="d0c2b313-4ae0-4040-8c6a-fec7a720a7b5" providerId="ADAL" clId="{190131DE-6250-C84F-B491-721E6CF30BCB}" dt="2021-12-15T11:56:25.776" v="3385" actId="20577"/>
          <ac:spMkLst>
            <pc:docMk/>
            <pc:sldMk cId="3153645298" sldId="2145707258"/>
            <ac:spMk id="3" creationId="{48F9D52A-8F64-384C-971E-97B7A8F11849}"/>
          </ac:spMkLst>
        </pc:spChg>
        <pc:spChg chg="mod">
          <ac:chgData name="Nick Robinson" userId="d0c2b313-4ae0-4040-8c6a-fec7a720a7b5" providerId="ADAL" clId="{190131DE-6250-C84F-B491-721E6CF30BCB}" dt="2021-12-15T11:55:09.200" v="3328" actId="20577"/>
          <ac:spMkLst>
            <pc:docMk/>
            <pc:sldMk cId="3153645298" sldId="2145707258"/>
            <ac:spMk id="4" creationId="{3C05F61A-2BF2-5F4D-9FC0-69AB3FD890C1}"/>
          </ac:spMkLst>
        </pc:spChg>
      </pc:sldChg>
      <pc:sldChg chg="add del ord">
        <pc:chgData name="Nick Robinson" userId="d0c2b313-4ae0-4040-8c6a-fec7a720a7b5" providerId="ADAL" clId="{190131DE-6250-C84F-B491-721E6CF30BCB}" dt="2021-12-17T09:08:52.278" v="4299" actId="2696"/>
        <pc:sldMkLst>
          <pc:docMk/>
          <pc:sldMk cId="2678017742" sldId="2145707259"/>
        </pc:sldMkLst>
      </pc:sldChg>
      <pc:sldChg chg="delSp modSp add del mod ord">
        <pc:chgData name="Nick Robinson" userId="d0c2b313-4ae0-4040-8c6a-fec7a720a7b5" providerId="ADAL" clId="{190131DE-6250-C84F-B491-721E6CF30BCB}" dt="2021-12-16T09:57:49.241" v="3437" actId="2696"/>
        <pc:sldMkLst>
          <pc:docMk/>
          <pc:sldMk cId="626826066" sldId="2145707260"/>
        </pc:sldMkLst>
        <pc:spChg chg="del">
          <ac:chgData name="Nick Robinson" userId="d0c2b313-4ae0-4040-8c6a-fec7a720a7b5" providerId="ADAL" clId="{190131DE-6250-C84F-B491-721E6CF30BCB}" dt="2021-12-16T09:50:25.696" v="3389" actId="478"/>
          <ac:spMkLst>
            <pc:docMk/>
            <pc:sldMk cId="626826066" sldId="2145707260"/>
            <ac:spMk id="12" creationId="{F19D9738-DFA2-C84F-82CF-6F85573EA287}"/>
          </ac:spMkLst>
        </pc:spChg>
        <pc:spChg chg="mod">
          <ac:chgData name="Nick Robinson" userId="d0c2b313-4ae0-4040-8c6a-fec7a720a7b5" providerId="ADAL" clId="{190131DE-6250-C84F-B491-721E6CF30BCB}" dt="2021-12-16T09:52:58.085" v="3436" actId="20577"/>
          <ac:spMkLst>
            <pc:docMk/>
            <pc:sldMk cId="626826066" sldId="2145707260"/>
            <ac:spMk id="29" creationId="{39022F5C-1E96-1045-952F-DEA81FF7169E}"/>
          </ac:spMkLst>
        </pc:spChg>
        <pc:spChg chg="del">
          <ac:chgData name="Nick Robinson" userId="d0c2b313-4ae0-4040-8c6a-fec7a720a7b5" providerId="ADAL" clId="{190131DE-6250-C84F-B491-721E6CF30BCB}" dt="2021-12-16T09:50:25.696" v="3389" actId="478"/>
          <ac:spMkLst>
            <pc:docMk/>
            <pc:sldMk cId="626826066" sldId="2145707260"/>
            <ac:spMk id="30" creationId="{E6B7EC03-736F-2F4E-BA56-F13F306F08A3}"/>
          </ac:spMkLst>
        </pc:spChg>
        <pc:spChg chg="mod">
          <ac:chgData name="Nick Robinson" userId="d0c2b313-4ae0-4040-8c6a-fec7a720a7b5" providerId="ADAL" clId="{190131DE-6250-C84F-B491-721E6CF30BCB}" dt="2021-12-16T09:50:29.019" v="3395" actId="20577"/>
          <ac:spMkLst>
            <pc:docMk/>
            <pc:sldMk cId="626826066" sldId="2145707260"/>
            <ac:spMk id="47" creationId="{866B5872-593A-5E46-84E0-635D18C6279D}"/>
          </ac:spMkLst>
        </pc:spChg>
        <pc:spChg chg="del">
          <ac:chgData name="Nick Robinson" userId="d0c2b313-4ae0-4040-8c6a-fec7a720a7b5" providerId="ADAL" clId="{190131DE-6250-C84F-B491-721E6CF30BCB}" dt="2021-12-16T09:50:25.696" v="3389" actId="478"/>
          <ac:spMkLst>
            <pc:docMk/>
            <pc:sldMk cId="626826066" sldId="2145707260"/>
            <ac:spMk id="49" creationId="{9A666B14-0697-8F4B-9E3B-E6950375039C}"/>
          </ac:spMkLst>
        </pc:spChg>
        <pc:spChg chg="del">
          <ac:chgData name="Nick Robinson" userId="d0c2b313-4ae0-4040-8c6a-fec7a720a7b5" providerId="ADAL" clId="{190131DE-6250-C84F-B491-721E6CF30BCB}" dt="2021-12-16T09:50:25.696" v="3389" actId="478"/>
          <ac:spMkLst>
            <pc:docMk/>
            <pc:sldMk cId="626826066" sldId="2145707260"/>
            <ac:spMk id="50" creationId="{1AD6DDF0-FA69-A94B-8B65-32E0E86ED81D}"/>
          </ac:spMkLst>
        </pc:spChg>
        <pc:spChg chg="del">
          <ac:chgData name="Nick Robinson" userId="d0c2b313-4ae0-4040-8c6a-fec7a720a7b5" providerId="ADAL" clId="{190131DE-6250-C84F-B491-721E6CF30BCB}" dt="2021-12-16T09:50:25.696" v="3389" actId="478"/>
          <ac:spMkLst>
            <pc:docMk/>
            <pc:sldMk cId="626826066" sldId="2145707260"/>
            <ac:spMk id="51" creationId="{23228B87-D8A3-AC4B-8389-4FD6CB03BCB4}"/>
          </ac:spMkLst>
        </pc:spChg>
        <pc:picChg chg="del">
          <ac:chgData name="Nick Robinson" userId="d0c2b313-4ae0-4040-8c6a-fec7a720a7b5" providerId="ADAL" clId="{190131DE-6250-C84F-B491-721E6CF30BCB}" dt="2021-12-16T09:50:25.696" v="3389" actId="478"/>
          <ac:picMkLst>
            <pc:docMk/>
            <pc:sldMk cId="626826066" sldId="2145707260"/>
            <ac:picMk id="27652" creationId="{B2DCFFDA-9057-4741-B0DA-F651E99EF302}"/>
          </ac:picMkLst>
        </pc:picChg>
        <pc:picChg chg="del">
          <ac:chgData name="Nick Robinson" userId="d0c2b313-4ae0-4040-8c6a-fec7a720a7b5" providerId="ADAL" clId="{190131DE-6250-C84F-B491-721E6CF30BCB}" dt="2021-12-16T09:50:25.696" v="3389" actId="478"/>
          <ac:picMkLst>
            <pc:docMk/>
            <pc:sldMk cId="626826066" sldId="2145707260"/>
            <ac:picMk id="27654" creationId="{A23B35DF-F555-DA40-B5F2-F0255E2AA95D}"/>
          </ac:picMkLst>
        </pc:picChg>
        <pc:cxnChg chg="del">
          <ac:chgData name="Nick Robinson" userId="d0c2b313-4ae0-4040-8c6a-fec7a720a7b5" providerId="ADAL" clId="{190131DE-6250-C84F-B491-721E6CF30BCB}" dt="2021-12-16T09:50:25.696" v="3389" actId="478"/>
          <ac:cxnSpMkLst>
            <pc:docMk/>
            <pc:sldMk cId="626826066" sldId="2145707260"/>
            <ac:cxnSpMk id="48" creationId="{20F052DB-9B68-5546-9DDF-FD06514FDED4}"/>
          </ac:cxnSpMkLst>
        </pc:cxnChg>
      </pc:sldChg>
      <pc:sldChg chg="modSp add del mod ord modShow modNotesTx">
        <pc:chgData name="Nick Robinson" userId="d0c2b313-4ae0-4040-8c6a-fec7a720a7b5" providerId="ADAL" clId="{190131DE-6250-C84F-B491-721E6CF30BCB}" dt="2021-12-20T14:46:12.535" v="17397" actId="2696"/>
        <pc:sldMkLst>
          <pc:docMk/>
          <pc:sldMk cId="4156687832" sldId="2145707261"/>
        </pc:sldMkLst>
        <pc:spChg chg="mod">
          <ac:chgData name="Nick Robinson" userId="d0c2b313-4ae0-4040-8c6a-fec7a720a7b5" providerId="ADAL" clId="{190131DE-6250-C84F-B491-721E6CF30BCB}" dt="2021-12-17T09:15:48.425" v="4808" actId="14100"/>
          <ac:spMkLst>
            <pc:docMk/>
            <pc:sldMk cId="4156687832" sldId="2145707261"/>
            <ac:spMk id="24" creationId="{39B0B000-FB9F-7746-A164-953213452FEF}"/>
          </ac:spMkLst>
        </pc:spChg>
      </pc:sldChg>
      <pc:sldChg chg="add del">
        <pc:chgData name="Nick Robinson" userId="d0c2b313-4ae0-4040-8c6a-fec7a720a7b5" providerId="ADAL" clId="{190131DE-6250-C84F-B491-721E6CF30BCB}" dt="2021-12-16T09:51:43.018" v="3432"/>
        <pc:sldMkLst>
          <pc:docMk/>
          <pc:sldMk cId="2467826354" sldId="2145707262"/>
        </pc:sldMkLst>
      </pc:sldChg>
      <pc:sldChg chg="addSp delSp modSp add mod modNotesTx">
        <pc:chgData name="Nick Robinson" userId="d0c2b313-4ae0-4040-8c6a-fec7a720a7b5" providerId="ADAL" clId="{190131DE-6250-C84F-B491-721E6CF30BCB}" dt="2021-12-17T09:25:52.385" v="4999" actId="6549"/>
        <pc:sldMkLst>
          <pc:docMk/>
          <pc:sldMk cId="3977969123" sldId="2145707262"/>
        </pc:sldMkLst>
        <pc:spChg chg="add mod">
          <ac:chgData name="Nick Robinson" userId="d0c2b313-4ae0-4040-8c6a-fec7a720a7b5" providerId="ADAL" clId="{190131DE-6250-C84F-B491-721E6CF30BCB}" dt="2021-12-17T09:16:11.925" v="4827" actId="14100"/>
          <ac:spMkLst>
            <pc:docMk/>
            <pc:sldMk cId="3977969123" sldId="2145707262"/>
            <ac:spMk id="10" creationId="{0D0B75DF-7E28-1D43-82A9-943F71C357B7}"/>
          </ac:spMkLst>
        </pc:spChg>
        <pc:spChg chg="del">
          <ac:chgData name="Nick Robinson" userId="d0c2b313-4ae0-4040-8c6a-fec7a720a7b5" providerId="ADAL" clId="{190131DE-6250-C84F-B491-721E6CF30BCB}" dt="2021-12-16T09:51:46.670" v="3434" actId="478"/>
          <ac:spMkLst>
            <pc:docMk/>
            <pc:sldMk cId="3977969123" sldId="2145707262"/>
            <ac:spMk id="11" creationId="{E887B2F6-0DEF-6D4A-AAD5-FE572B701DD1}"/>
          </ac:spMkLst>
        </pc:spChg>
      </pc:sldChg>
      <pc:sldChg chg="addSp delSp modSp add mod modNotesTx">
        <pc:chgData name="Nick Robinson" userId="d0c2b313-4ae0-4040-8c6a-fec7a720a7b5" providerId="ADAL" clId="{190131DE-6250-C84F-B491-721E6CF30BCB}" dt="2021-12-23T13:44:31.148" v="44181" actId="20577"/>
        <pc:sldMkLst>
          <pc:docMk/>
          <pc:sldMk cId="658714767" sldId="2145707263"/>
        </pc:sldMkLst>
        <pc:spChg chg="mod">
          <ac:chgData name="Nick Robinson" userId="d0c2b313-4ae0-4040-8c6a-fec7a720a7b5" providerId="ADAL" clId="{190131DE-6250-C84F-B491-721E6CF30BCB}" dt="2021-12-17T10:01:37.256" v="5452" actId="20577"/>
          <ac:spMkLst>
            <pc:docMk/>
            <pc:sldMk cId="658714767" sldId="2145707263"/>
            <ac:spMk id="2" creationId="{992797C6-274A-4146-AECE-7E42A31DA87A}"/>
          </ac:spMkLst>
        </pc:spChg>
        <pc:spChg chg="add del mod">
          <ac:chgData name="Nick Robinson" userId="d0c2b313-4ae0-4040-8c6a-fec7a720a7b5" providerId="ADAL" clId="{190131DE-6250-C84F-B491-721E6CF30BCB}" dt="2021-12-17T09:56:51.182" v="5214" actId="478"/>
          <ac:spMkLst>
            <pc:docMk/>
            <pc:sldMk cId="658714767" sldId="2145707263"/>
            <ac:spMk id="4" creationId="{F3450B43-6354-B042-B5A6-481A6BAD1E04}"/>
          </ac:spMkLst>
        </pc:spChg>
        <pc:graphicFrameChg chg="add mod modGraphic">
          <ac:chgData name="Nick Robinson" userId="d0c2b313-4ae0-4040-8c6a-fec7a720a7b5" providerId="ADAL" clId="{190131DE-6250-C84F-B491-721E6CF30BCB}" dt="2021-12-21T13:42:56.925" v="23429" actId="20577"/>
          <ac:graphicFrameMkLst>
            <pc:docMk/>
            <pc:sldMk cId="658714767" sldId="2145707263"/>
            <ac:graphicFrameMk id="6" creationId="{76FBE19B-E058-4349-806E-D69250DE22FD}"/>
          </ac:graphicFrameMkLst>
        </pc:graphicFrameChg>
        <pc:graphicFrameChg chg="mod modGraphic">
          <ac:chgData name="Nick Robinson" userId="d0c2b313-4ae0-4040-8c6a-fec7a720a7b5" providerId="ADAL" clId="{190131DE-6250-C84F-B491-721E6CF30BCB}" dt="2021-12-23T13:44:31.148" v="44181" actId="20577"/>
          <ac:graphicFrameMkLst>
            <pc:docMk/>
            <pc:sldMk cId="658714767" sldId="2145707263"/>
            <ac:graphicFrameMk id="7" creationId="{E8B55483-B852-8D4D-8F15-95D0C251E583}"/>
          </ac:graphicFrameMkLst>
        </pc:graphicFrameChg>
        <pc:graphicFrameChg chg="del mod modGraphic">
          <ac:chgData name="Nick Robinson" userId="d0c2b313-4ae0-4040-8c6a-fec7a720a7b5" providerId="ADAL" clId="{190131DE-6250-C84F-B491-721E6CF30BCB}" dt="2021-12-21T11:05:40.890" v="22228" actId="478"/>
          <ac:graphicFrameMkLst>
            <pc:docMk/>
            <pc:sldMk cId="658714767" sldId="2145707263"/>
            <ac:graphicFrameMk id="9" creationId="{E8F38ACC-766F-6C4F-ABC2-40BFBAFFEB1D}"/>
          </ac:graphicFrameMkLst>
        </pc:graphicFrameChg>
      </pc:sldChg>
      <pc:sldChg chg="modSp add del mod ord">
        <pc:chgData name="Nick Robinson" userId="d0c2b313-4ae0-4040-8c6a-fec7a720a7b5" providerId="ADAL" clId="{190131DE-6250-C84F-B491-721E6CF30BCB}" dt="2021-12-17T11:14:28.820" v="6861" actId="2696"/>
        <pc:sldMkLst>
          <pc:docMk/>
          <pc:sldMk cId="2006165968" sldId="2145707264"/>
        </pc:sldMkLst>
        <pc:spChg chg="mod">
          <ac:chgData name="Nick Robinson" userId="d0c2b313-4ae0-4040-8c6a-fec7a720a7b5" providerId="ADAL" clId="{190131DE-6250-C84F-B491-721E6CF30BCB}" dt="2021-12-16T10:23:32.263" v="4205" actId="20577"/>
          <ac:spMkLst>
            <pc:docMk/>
            <pc:sldMk cId="2006165968" sldId="2145707264"/>
            <ac:spMk id="2" creationId="{97DF49F5-76E4-D045-9AE5-C5DFB0E4B946}"/>
          </ac:spMkLst>
        </pc:spChg>
      </pc:sldChg>
      <pc:sldChg chg="addSp delSp modSp add del mod ord modShow">
        <pc:chgData name="Nick Robinson" userId="d0c2b313-4ae0-4040-8c6a-fec7a720a7b5" providerId="ADAL" clId="{190131DE-6250-C84F-B491-721E6CF30BCB}" dt="2021-12-17T14:47:17.251" v="10367" actId="2696"/>
        <pc:sldMkLst>
          <pc:docMk/>
          <pc:sldMk cId="202459340" sldId="2145707265"/>
        </pc:sldMkLst>
        <pc:spChg chg="del">
          <ac:chgData name="Nick Robinson" userId="d0c2b313-4ae0-4040-8c6a-fec7a720a7b5" providerId="ADAL" clId="{190131DE-6250-C84F-B491-721E6CF30BCB}" dt="2021-12-16T10:40:36.908" v="4287" actId="478"/>
          <ac:spMkLst>
            <pc:docMk/>
            <pc:sldMk cId="202459340" sldId="2145707265"/>
            <ac:spMk id="27" creationId="{F368F9CC-8C70-9342-B041-DC5FC2F087FD}"/>
          </ac:spMkLst>
        </pc:spChg>
        <pc:spChg chg="del">
          <ac:chgData name="Nick Robinson" userId="d0c2b313-4ae0-4040-8c6a-fec7a720a7b5" providerId="ADAL" clId="{190131DE-6250-C84F-B491-721E6CF30BCB}" dt="2021-12-16T10:40:36.908" v="4287" actId="478"/>
          <ac:spMkLst>
            <pc:docMk/>
            <pc:sldMk cId="202459340" sldId="2145707265"/>
            <ac:spMk id="28" creationId="{CD910CC1-BECC-0B4B-B564-E62BD3177F8D}"/>
          </ac:spMkLst>
        </pc:spChg>
        <pc:spChg chg="del">
          <ac:chgData name="Nick Robinson" userId="d0c2b313-4ae0-4040-8c6a-fec7a720a7b5" providerId="ADAL" clId="{190131DE-6250-C84F-B491-721E6CF30BCB}" dt="2021-12-16T10:40:36.908" v="4287" actId="478"/>
          <ac:spMkLst>
            <pc:docMk/>
            <pc:sldMk cId="202459340" sldId="2145707265"/>
            <ac:spMk id="29" creationId="{D410D669-F8B4-B443-9708-9DF012B0C53D}"/>
          </ac:spMkLst>
        </pc:spChg>
        <pc:spChg chg="del">
          <ac:chgData name="Nick Robinson" userId="d0c2b313-4ae0-4040-8c6a-fec7a720a7b5" providerId="ADAL" clId="{190131DE-6250-C84F-B491-721E6CF30BCB}" dt="2021-12-16T10:40:36.908" v="4287" actId="478"/>
          <ac:spMkLst>
            <pc:docMk/>
            <pc:sldMk cId="202459340" sldId="2145707265"/>
            <ac:spMk id="30" creationId="{905B92CA-4D1B-D74C-9884-BF43D77EBD89}"/>
          </ac:spMkLst>
        </pc:spChg>
        <pc:spChg chg="del">
          <ac:chgData name="Nick Robinson" userId="d0c2b313-4ae0-4040-8c6a-fec7a720a7b5" providerId="ADAL" clId="{190131DE-6250-C84F-B491-721E6CF30BCB}" dt="2021-12-16T10:40:36.908" v="4287" actId="478"/>
          <ac:spMkLst>
            <pc:docMk/>
            <pc:sldMk cId="202459340" sldId="2145707265"/>
            <ac:spMk id="31" creationId="{2A62A231-6EB1-3E45-A8ED-A4849DB07D2C}"/>
          </ac:spMkLst>
        </pc:spChg>
        <pc:spChg chg="del">
          <ac:chgData name="Nick Robinson" userId="d0c2b313-4ae0-4040-8c6a-fec7a720a7b5" providerId="ADAL" clId="{190131DE-6250-C84F-B491-721E6CF30BCB}" dt="2021-12-16T10:40:36.908" v="4287" actId="478"/>
          <ac:spMkLst>
            <pc:docMk/>
            <pc:sldMk cId="202459340" sldId="2145707265"/>
            <ac:spMk id="32" creationId="{E78F2E28-22DB-C343-81AE-6D3297160EC1}"/>
          </ac:spMkLst>
        </pc:spChg>
        <pc:spChg chg="del">
          <ac:chgData name="Nick Robinson" userId="d0c2b313-4ae0-4040-8c6a-fec7a720a7b5" providerId="ADAL" clId="{190131DE-6250-C84F-B491-721E6CF30BCB}" dt="2021-12-16T10:40:36.908" v="4287" actId="478"/>
          <ac:spMkLst>
            <pc:docMk/>
            <pc:sldMk cId="202459340" sldId="2145707265"/>
            <ac:spMk id="33" creationId="{64D531EB-549E-4441-A0E1-D6E325ED45A7}"/>
          </ac:spMkLst>
        </pc:spChg>
        <pc:spChg chg="del">
          <ac:chgData name="Nick Robinson" userId="d0c2b313-4ae0-4040-8c6a-fec7a720a7b5" providerId="ADAL" clId="{190131DE-6250-C84F-B491-721E6CF30BCB}" dt="2021-12-16T10:40:36.908" v="4287" actId="478"/>
          <ac:spMkLst>
            <pc:docMk/>
            <pc:sldMk cId="202459340" sldId="2145707265"/>
            <ac:spMk id="34" creationId="{9ECB4595-D937-C649-9EED-CE66FE73C283}"/>
          </ac:spMkLst>
        </pc:spChg>
        <pc:spChg chg="del">
          <ac:chgData name="Nick Robinson" userId="d0c2b313-4ae0-4040-8c6a-fec7a720a7b5" providerId="ADAL" clId="{190131DE-6250-C84F-B491-721E6CF30BCB}" dt="2021-12-16T10:40:36.908" v="4287" actId="478"/>
          <ac:spMkLst>
            <pc:docMk/>
            <pc:sldMk cId="202459340" sldId="2145707265"/>
            <ac:spMk id="35" creationId="{00761A2B-FC57-D24A-B791-F5D7C60726C2}"/>
          </ac:spMkLst>
        </pc:spChg>
        <pc:spChg chg="del">
          <ac:chgData name="Nick Robinson" userId="d0c2b313-4ae0-4040-8c6a-fec7a720a7b5" providerId="ADAL" clId="{190131DE-6250-C84F-B491-721E6CF30BCB}" dt="2021-12-16T10:40:36.908" v="4287" actId="478"/>
          <ac:spMkLst>
            <pc:docMk/>
            <pc:sldMk cId="202459340" sldId="2145707265"/>
            <ac:spMk id="36" creationId="{3F578F71-404B-2741-8A04-68B0AE1AAEF9}"/>
          </ac:spMkLst>
        </pc:spChg>
        <pc:spChg chg="del">
          <ac:chgData name="Nick Robinson" userId="d0c2b313-4ae0-4040-8c6a-fec7a720a7b5" providerId="ADAL" clId="{190131DE-6250-C84F-B491-721E6CF30BCB}" dt="2021-12-16T10:40:36.908" v="4287" actId="478"/>
          <ac:spMkLst>
            <pc:docMk/>
            <pc:sldMk cId="202459340" sldId="2145707265"/>
            <ac:spMk id="37" creationId="{4DF3BFC2-B4F6-3A45-8DA6-0FA3B16C76D7}"/>
          </ac:spMkLst>
        </pc:spChg>
        <pc:spChg chg="del">
          <ac:chgData name="Nick Robinson" userId="d0c2b313-4ae0-4040-8c6a-fec7a720a7b5" providerId="ADAL" clId="{190131DE-6250-C84F-B491-721E6CF30BCB}" dt="2021-12-16T10:40:36.908" v="4287" actId="478"/>
          <ac:spMkLst>
            <pc:docMk/>
            <pc:sldMk cId="202459340" sldId="2145707265"/>
            <ac:spMk id="38" creationId="{194C8724-2C03-7249-8B9C-1A97E8BF77A4}"/>
          </ac:spMkLst>
        </pc:spChg>
        <pc:spChg chg="del">
          <ac:chgData name="Nick Robinson" userId="d0c2b313-4ae0-4040-8c6a-fec7a720a7b5" providerId="ADAL" clId="{190131DE-6250-C84F-B491-721E6CF30BCB}" dt="2021-12-16T10:40:36.908" v="4287" actId="478"/>
          <ac:spMkLst>
            <pc:docMk/>
            <pc:sldMk cId="202459340" sldId="2145707265"/>
            <ac:spMk id="39" creationId="{2DB49F00-D89D-8040-8B00-4F776E688C86}"/>
          </ac:spMkLst>
        </pc:spChg>
        <pc:spChg chg="del">
          <ac:chgData name="Nick Robinson" userId="d0c2b313-4ae0-4040-8c6a-fec7a720a7b5" providerId="ADAL" clId="{190131DE-6250-C84F-B491-721E6CF30BCB}" dt="2021-12-16T10:40:36.908" v="4287" actId="478"/>
          <ac:spMkLst>
            <pc:docMk/>
            <pc:sldMk cId="202459340" sldId="2145707265"/>
            <ac:spMk id="40" creationId="{D58356F1-6BE4-034F-8656-6D9C1C1BE867}"/>
          </ac:spMkLst>
        </pc:spChg>
        <pc:spChg chg="del">
          <ac:chgData name="Nick Robinson" userId="d0c2b313-4ae0-4040-8c6a-fec7a720a7b5" providerId="ADAL" clId="{190131DE-6250-C84F-B491-721E6CF30BCB}" dt="2021-12-16T10:40:36.908" v="4287" actId="478"/>
          <ac:spMkLst>
            <pc:docMk/>
            <pc:sldMk cId="202459340" sldId="2145707265"/>
            <ac:spMk id="41" creationId="{8B062E0A-6918-6D41-93AD-6EC436F0BB94}"/>
          </ac:spMkLst>
        </pc:spChg>
        <pc:spChg chg="del">
          <ac:chgData name="Nick Robinson" userId="d0c2b313-4ae0-4040-8c6a-fec7a720a7b5" providerId="ADAL" clId="{190131DE-6250-C84F-B491-721E6CF30BCB}" dt="2021-12-16T10:40:36.908" v="4287" actId="478"/>
          <ac:spMkLst>
            <pc:docMk/>
            <pc:sldMk cId="202459340" sldId="2145707265"/>
            <ac:spMk id="42" creationId="{D575B78B-BAF4-1141-BA1E-C26DA2A73B74}"/>
          </ac:spMkLst>
        </pc:spChg>
        <pc:spChg chg="del">
          <ac:chgData name="Nick Robinson" userId="d0c2b313-4ae0-4040-8c6a-fec7a720a7b5" providerId="ADAL" clId="{190131DE-6250-C84F-B491-721E6CF30BCB}" dt="2021-12-16T10:40:36.908" v="4287" actId="478"/>
          <ac:spMkLst>
            <pc:docMk/>
            <pc:sldMk cId="202459340" sldId="2145707265"/>
            <ac:spMk id="43" creationId="{7A048730-6EAA-4B43-B6DF-164D8CDFB4EF}"/>
          </ac:spMkLst>
        </pc:spChg>
        <pc:spChg chg="del">
          <ac:chgData name="Nick Robinson" userId="d0c2b313-4ae0-4040-8c6a-fec7a720a7b5" providerId="ADAL" clId="{190131DE-6250-C84F-B491-721E6CF30BCB}" dt="2021-12-16T10:40:36.908" v="4287" actId="478"/>
          <ac:spMkLst>
            <pc:docMk/>
            <pc:sldMk cId="202459340" sldId="2145707265"/>
            <ac:spMk id="44" creationId="{738C64BB-1130-764B-B0B6-FEDECC231F5A}"/>
          </ac:spMkLst>
        </pc:spChg>
        <pc:spChg chg="del">
          <ac:chgData name="Nick Robinson" userId="d0c2b313-4ae0-4040-8c6a-fec7a720a7b5" providerId="ADAL" clId="{190131DE-6250-C84F-B491-721E6CF30BCB}" dt="2021-12-16T10:40:36.908" v="4287" actId="478"/>
          <ac:spMkLst>
            <pc:docMk/>
            <pc:sldMk cId="202459340" sldId="2145707265"/>
            <ac:spMk id="45" creationId="{519AF8AA-8FA3-474A-8D84-84F33FE549CC}"/>
          </ac:spMkLst>
        </pc:spChg>
        <pc:spChg chg="del">
          <ac:chgData name="Nick Robinson" userId="d0c2b313-4ae0-4040-8c6a-fec7a720a7b5" providerId="ADAL" clId="{190131DE-6250-C84F-B491-721E6CF30BCB}" dt="2021-12-16T10:40:36.908" v="4287" actId="478"/>
          <ac:spMkLst>
            <pc:docMk/>
            <pc:sldMk cId="202459340" sldId="2145707265"/>
            <ac:spMk id="46" creationId="{85143729-EA4C-A948-9005-B82D3E18F73C}"/>
          </ac:spMkLst>
        </pc:spChg>
        <pc:spChg chg="del">
          <ac:chgData name="Nick Robinson" userId="d0c2b313-4ae0-4040-8c6a-fec7a720a7b5" providerId="ADAL" clId="{190131DE-6250-C84F-B491-721E6CF30BCB}" dt="2021-12-16T10:40:36.908" v="4287" actId="478"/>
          <ac:spMkLst>
            <pc:docMk/>
            <pc:sldMk cId="202459340" sldId="2145707265"/>
            <ac:spMk id="47" creationId="{5A8FE7C0-0EA1-764B-97C3-14B3F2107F96}"/>
          </ac:spMkLst>
        </pc:spChg>
        <pc:spChg chg="del">
          <ac:chgData name="Nick Robinson" userId="d0c2b313-4ae0-4040-8c6a-fec7a720a7b5" providerId="ADAL" clId="{190131DE-6250-C84F-B491-721E6CF30BCB}" dt="2021-12-16T10:40:36.908" v="4287" actId="478"/>
          <ac:spMkLst>
            <pc:docMk/>
            <pc:sldMk cId="202459340" sldId="2145707265"/>
            <ac:spMk id="48" creationId="{FC6C28D0-1F67-9745-B64B-C3E9969FF49B}"/>
          </ac:spMkLst>
        </pc:spChg>
        <pc:spChg chg="add mod">
          <ac:chgData name="Nick Robinson" userId="d0c2b313-4ae0-4040-8c6a-fec7a720a7b5" providerId="ADAL" clId="{190131DE-6250-C84F-B491-721E6CF30BCB}" dt="2021-12-16T10:40:44.129" v="4288"/>
          <ac:spMkLst>
            <pc:docMk/>
            <pc:sldMk cId="202459340" sldId="2145707265"/>
            <ac:spMk id="49" creationId="{7BF92799-D7FB-0444-92FA-D449483B245E}"/>
          </ac:spMkLst>
        </pc:spChg>
        <pc:spChg chg="add mod">
          <ac:chgData name="Nick Robinson" userId="d0c2b313-4ae0-4040-8c6a-fec7a720a7b5" providerId="ADAL" clId="{190131DE-6250-C84F-B491-721E6CF30BCB}" dt="2021-12-16T10:40:44.129" v="4288"/>
          <ac:spMkLst>
            <pc:docMk/>
            <pc:sldMk cId="202459340" sldId="2145707265"/>
            <ac:spMk id="51" creationId="{521F5408-1640-1F4C-AAD3-10AF190DD10B}"/>
          </ac:spMkLst>
        </pc:spChg>
        <pc:spChg chg="add mod">
          <ac:chgData name="Nick Robinson" userId="d0c2b313-4ae0-4040-8c6a-fec7a720a7b5" providerId="ADAL" clId="{190131DE-6250-C84F-B491-721E6CF30BCB}" dt="2021-12-16T10:40:44.129" v="4288"/>
          <ac:spMkLst>
            <pc:docMk/>
            <pc:sldMk cId="202459340" sldId="2145707265"/>
            <ac:spMk id="52" creationId="{7A2C3F5E-892A-D143-BA54-3E5FF70F3E71}"/>
          </ac:spMkLst>
        </pc:spChg>
        <pc:spChg chg="add mod">
          <ac:chgData name="Nick Robinson" userId="d0c2b313-4ae0-4040-8c6a-fec7a720a7b5" providerId="ADAL" clId="{190131DE-6250-C84F-B491-721E6CF30BCB}" dt="2021-12-16T10:40:44.129" v="4288"/>
          <ac:spMkLst>
            <pc:docMk/>
            <pc:sldMk cId="202459340" sldId="2145707265"/>
            <ac:spMk id="53" creationId="{62DA5361-5CE2-F542-9203-212EA9FC7E0A}"/>
          </ac:spMkLst>
        </pc:spChg>
        <pc:spChg chg="add mod">
          <ac:chgData name="Nick Robinson" userId="d0c2b313-4ae0-4040-8c6a-fec7a720a7b5" providerId="ADAL" clId="{190131DE-6250-C84F-B491-721E6CF30BCB}" dt="2021-12-16T10:40:44.129" v="4288"/>
          <ac:spMkLst>
            <pc:docMk/>
            <pc:sldMk cId="202459340" sldId="2145707265"/>
            <ac:spMk id="54" creationId="{2886909D-E329-5D40-AD55-FF78F95811A0}"/>
          </ac:spMkLst>
        </pc:spChg>
        <pc:spChg chg="add mod">
          <ac:chgData name="Nick Robinson" userId="d0c2b313-4ae0-4040-8c6a-fec7a720a7b5" providerId="ADAL" clId="{190131DE-6250-C84F-B491-721E6CF30BCB}" dt="2021-12-16T10:40:44.129" v="4288"/>
          <ac:spMkLst>
            <pc:docMk/>
            <pc:sldMk cId="202459340" sldId="2145707265"/>
            <ac:spMk id="55" creationId="{85D145EB-2E8A-DD41-91F0-CF9EDA9B7583}"/>
          </ac:spMkLst>
        </pc:spChg>
        <pc:spChg chg="add mod">
          <ac:chgData name="Nick Robinson" userId="d0c2b313-4ae0-4040-8c6a-fec7a720a7b5" providerId="ADAL" clId="{190131DE-6250-C84F-B491-721E6CF30BCB}" dt="2021-12-16T10:40:44.129" v="4288"/>
          <ac:spMkLst>
            <pc:docMk/>
            <pc:sldMk cId="202459340" sldId="2145707265"/>
            <ac:spMk id="56" creationId="{F268D68C-A0D0-4D43-A77E-3B89360D6787}"/>
          </ac:spMkLst>
        </pc:spChg>
        <pc:spChg chg="add mod">
          <ac:chgData name="Nick Robinson" userId="d0c2b313-4ae0-4040-8c6a-fec7a720a7b5" providerId="ADAL" clId="{190131DE-6250-C84F-B491-721E6CF30BCB}" dt="2021-12-16T10:40:44.129" v="4288"/>
          <ac:spMkLst>
            <pc:docMk/>
            <pc:sldMk cId="202459340" sldId="2145707265"/>
            <ac:spMk id="57" creationId="{96622890-85A6-8746-ACC8-103112B24A20}"/>
          </ac:spMkLst>
        </pc:spChg>
        <pc:spChg chg="add mod">
          <ac:chgData name="Nick Robinson" userId="d0c2b313-4ae0-4040-8c6a-fec7a720a7b5" providerId="ADAL" clId="{190131DE-6250-C84F-B491-721E6CF30BCB}" dt="2021-12-16T10:40:44.129" v="4288"/>
          <ac:spMkLst>
            <pc:docMk/>
            <pc:sldMk cId="202459340" sldId="2145707265"/>
            <ac:spMk id="58" creationId="{F557DE3B-25FA-5B44-9874-1E4E3C98B4BF}"/>
          </ac:spMkLst>
        </pc:spChg>
        <pc:spChg chg="add mod">
          <ac:chgData name="Nick Robinson" userId="d0c2b313-4ae0-4040-8c6a-fec7a720a7b5" providerId="ADAL" clId="{190131DE-6250-C84F-B491-721E6CF30BCB}" dt="2021-12-16T10:40:44.129" v="4288"/>
          <ac:spMkLst>
            <pc:docMk/>
            <pc:sldMk cId="202459340" sldId="2145707265"/>
            <ac:spMk id="59" creationId="{48D1AFBF-EF6C-3544-A880-D38C8F7883F4}"/>
          </ac:spMkLst>
        </pc:spChg>
        <pc:spChg chg="add mod">
          <ac:chgData name="Nick Robinson" userId="d0c2b313-4ae0-4040-8c6a-fec7a720a7b5" providerId="ADAL" clId="{190131DE-6250-C84F-B491-721E6CF30BCB}" dt="2021-12-16T10:40:44.129" v="4288"/>
          <ac:spMkLst>
            <pc:docMk/>
            <pc:sldMk cId="202459340" sldId="2145707265"/>
            <ac:spMk id="60" creationId="{2DAA617B-2F18-7541-9A3F-7A48768D9B3D}"/>
          </ac:spMkLst>
        </pc:spChg>
        <pc:spChg chg="add mod">
          <ac:chgData name="Nick Robinson" userId="d0c2b313-4ae0-4040-8c6a-fec7a720a7b5" providerId="ADAL" clId="{190131DE-6250-C84F-B491-721E6CF30BCB}" dt="2021-12-16T10:40:44.129" v="4288"/>
          <ac:spMkLst>
            <pc:docMk/>
            <pc:sldMk cId="202459340" sldId="2145707265"/>
            <ac:spMk id="61" creationId="{B3EF5A83-9D30-C946-9193-3455226C7304}"/>
          </ac:spMkLst>
        </pc:spChg>
        <pc:spChg chg="add mod">
          <ac:chgData name="Nick Robinson" userId="d0c2b313-4ae0-4040-8c6a-fec7a720a7b5" providerId="ADAL" clId="{190131DE-6250-C84F-B491-721E6CF30BCB}" dt="2021-12-16T10:40:44.129" v="4288"/>
          <ac:spMkLst>
            <pc:docMk/>
            <pc:sldMk cId="202459340" sldId="2145707265"/>
            <ac:spMk id="62" creationId="{19E559F4-FEF4-0B44-8396-D4697074B2FC}"/>
          </ac:spMkLst>
        </pc:spChg>
        <pc:spChg chg="add mod">
          <ac:chgData name="Nick Robinson" userId="d0c2b313-4ae0-4040-8c6a-fec7a720a7b5" providerId="ADAL" clId="{190131DE-6250-C84F-B491-721E6CF30BCB}" dt="2021-12-16T10:40:44.129" v="4288"/>
          <ac:spMkLst>
            <pc:docMk/>
            <pc:sldMk cId="202459340" sldId="2145707265"/>
            <ac:spMk id="63" creationId="{E4B46113-AC8E-B54B-918A-5AC13FB724B5}"/>
          </ac:spMkLst>
        </pc:spChg>
        <pc:spChg chg="add mod">
          <ac:chgData name="Nick Robinson" userId="d0c2b313-4ae0-4040-8c6a-fec7a720a7b5" providerId="ADAL" clId="{190131DE-6250-C84F-B491-721E6CF30BCB}" dt="2021-12-16T10:40:44.129" v="4288"/>
          <ac:spMkLst>
            <pc:docMk/>
            <pc:sldMk cId="202459340" sldId="2145707265"/>
            <ac:spMk id="64" creationId="{4B7E6ADF-EE1D-F242-8361-236427136B5C}"/>
          </ac:spMkLst>
        </pc:spChg>
        <pc:spChg chg="add mod">
          <ac:chgData name="Nick Robinson" userId="d0c2b313-4ae0-4040-8c6a-fec7a720a7b5" providerId="ADAL" clId="{190131DE-6250-C84F-B491-721E6CF30BCB}" dt="2021-12-16T10:40:44.129" v="4288"/>
          <ac:spMkLst>
            <pc:docMk/>
            <pc:sldMk cId="202459340" sldId="2145707265"/>
            <ac:spMk id="65" creationId="{E3145C24-E42C-D142-98A4-A577FA5AE6A5}"/>
          </ac:spMkLst>
        </pc:spChg>
        <pc:spChg chg="add mod">
          <ac:chgData name="Nick Robinson" userId="d0c2b313-4ae0-4040-8c6a-fec7a720a7b5" providerId="ADAL" clId="{190131DE-6250-C84F-B491-721E6CF30BCB}" dt="2021-12-16T10:40:44.129" v="4288"/>
          <ac:spMkLst>
            <pc:docMk/>
            <pc:sldMk cId="202459340" sldId="2145707265"/>
            <ac:spMk id="66" creationId="{E5DAB462-D8A5-B845-9BE9-9DB5D22BCF7F}"/>
          </ac:spMkLst>
        </pc:spChg>
        <pc:spChg chg="add mod">
          <ac:chgData name="Nick Robinson" userId="d0c2b313-4ae0-4040-8c6a-fec7a720a7b5" providerId="ADAL" clId="{190131DE-6250-C84F-B491-721E6CF30BCB}" dt="2021-12-16T10:40:44.129" v="4288"/>
          <ac:spMkLst>
            <pc:docMk/>
            <pc:sldMk cId="202459340" sldId="2145707265"/>
            <ac:spMk id="67" creationId="{012E7091-659F-9A44-8A0C-2CB5EE0ED9C4}"/>
          </ac:spMkLst>
        </pc:spChg>
        <pc:spChg chg="add mod">
          <ac:chgData name="Nick Robinson" userId="d0c2b313-4ae0-4040-8c6a-fec7a720a7b5" providerId="ADAL" clId="{190131DE-6250-C84F-B491-721E6CF30BCB}" dt="2021-12-16T10:40:44.129" v="4288"/>
          <ac:spMkLst>
            <pc:docMk/>
            <pc:sldMk cId="202459340" sldId="2145707265"/>
            <ac:spMk id="68" creationId="{2B755421-F238-E147-8B87-09EB6049B6E3}"/>
          </ac:spMkLst>
        </pc:spChg>
        <pc:spChg chg="add mod">
          <ac:chgData name="Nick Robinson" userId="d0c2b313-4ae0-4040-8c6a-fec7a720a7b5" providerId="ADAL" clId="{190131DE-6250-C84F-B491-721E6CF30BCB}" dt="2021-12-16T10:40:44.129" v="4288"/>
          <ac:spMkLst>
            <pc:docMk/>
            <pc:sldMk cId="202459340" sldId="2145707265"/>
            <ac:spMk id="69" creationId="{4A7F053F-1299-1643-AD14-D61D401B0FFE}"/>
          </ac:spMkLst>
        </pc:spChg>
        <pc:spChg chg="add mod">
          <ac:chgData name="Nick Robinson" userId="d0c2b313-4ae0-4040-8c6a-fec7a720a7b5" providerId="ADAL" clId="{190131DE-6250-C84F-B491-721E6CF30BCB}" dt="2021-12-16T10:40:44.129" v="4288"/>
          <ac:spMkLst>
            <pc:docMk/>
            <pc:sldMk cId="202459340" sldId="2145707265"/>
            <ac:spMk id="70" creationId="{2BC30B1B-A7D7-424B-94D9-F07F23328204}"/>
          </ac:spMkLst>
        </pc:spChg>
        <pc:spChg chg="add mod">
          <ac:chgData name="Nick Robinson" userId="d0c2b313-4ae0-4040-8c6a-fec7a720a7b5" providerId="ADAL" clId="{190131DE-6250-C84F-B491-721E6CF30BCB}" dt="2021-12-16T10:40:44.129" v="4288"/>
          <ac:spMkLst>
            <pc:docMk/>
            <pc:sldMk cId="202459340" sldId="2145707265"/>
            <ac:spMk id="71" creationId="{52C38B96-80C6-8D45-892D-321401E1D411}"/>
          </ac:spMkLst>
        </pc:spChg>
        <pc:spChg chg="add mod">
          <ac:chgData name="Nick Robinson" userId="d0c2b313-4ae0-4040-8c6a-fec7a720a7b5" providerId="ADAL" clId="{190131DE-6250-C84F-B491-721E6CF30BCB}" dt="2021-12-16T10:40:44.129" v="4288"/>
          <ac:spMkLst>
            <pc:docMk/>
            <pc:sldMk cId="202459340" sldId="2145707265"/>
            <ac:spMk id="72" creationId="{FE404624-3590-2B48-8CEE-89C4BEDFA9B6}"/>
          </ac:spMkLst>
        </pc:spChg>
        <pc:spChg chg="add mod">
          <ac:chgData name="Nick Robinson" userId="d0c2b313-4ae0-4040-8c6a-fec7a720a7b5" providerId="ADAL" clId="{190131DE-6250-C84F-B491-721E6CF30BCB}" dt="2021-12-16T10:40:44.129" v="4288"/>
          <ac:spMkLst>
            <pc:docMk/>
            <pc:sldMk cId="202459340" sldId="2145707265"/>
            <ac:spMk id="73" creationId="{D4C4DC5C-273C-324F-A004-012733BCD566}"/>
          </ac:spMkLst>
        </pc:spChg>
        <pc:spChg chg="add mod">
          <ac:chgData name="Nick Robinson" userId="d0c2b313-4ae0-4040-8c6a-fec7a720a7b5" providerId="ADAL" clId="{190131DE-6250-C84F-B491-721E6CF30BCB}" dt="2021-12-16T10:40:44.129" v="4288"/>
          <ac:spMkLst>
            <pc:docMk/>
            <pc:sldMk cId="202459340" sldId="2145707265"/>
            <ac:spMk id="74" creationId="{B33ADFEE-C67C-AD4B-8AE5-3827752C3054}"/>
          </ac:spMkLst>
        </pc:spChg>
        <pc:spChg chg="add mod">
          <ac:chgData name="Nick Robinson" userId="d0c2b313-4ae0-4040-8c6a-fec7a720a7b5" providerId="ADAL" clId="{190131DE-6250-C84F-B491-721E6CF30BCB}" dt="2021-12-16T10:40:44.129" v="4288"/>
          <ac:spMkLst>
            <pc:docMk/>
            <pc:sldMk cId="202459340" sldId="2145707265"/>
            <ac:spMk id="75" creationId="{18F82D2E-5A60-4B45-8EDC-B062310212EA}"/>
          </ac:spMkLst>
        </pc:spChg>
        <pc:spChg chg="add mod">
          <ac:chgData name="Nick Robinson" userId="d0c2b313-4ae0-4040-8c6a-fec7a720a7b5" providerId="ADAL" clId="{190131DE-6250-C84F-B491-721E6CF30BCB}" dt="2021-12-16T10:40:44.129" v="4288"/>
          <ac:spMkLst>
            <pc:docMk/>
            <pc:sldMk cId="202459340" sldId="2145707265"/>
            <ac:spMk id="76" creationId="{469EE471-0437-6949-ACFA-761FF8283761}"/>
          </ac:spMkLst>
        </pc:spChg>
        <pc:spChg chg="add mod">
          <ac:chgData name="Nick Robinson" userId="d0c2b313-4ae0-4040-8c6a-fec7a720a7b5" providerId="ADAL" clId="{190131DE-6250-C84F-B491-721E6CF30BCB}" dt="2021-12-16T10:40:44.129" v="4288"/>
          <ac:spMkLst>
            <pc:docMk/>
            <pc:sldMk cId="202459340" sldId="2145707265"/>
            <ac:spMk id="77" creationId="{09692B2C-4013-964D-88B7-F2139640C539}"/>
          </ac:spMkLst>
        </pc:spChg>
        <pc:spChg chg="add mod">
          <ac:chgData name="Nick Robinson" userId="d0c2b313-4ae0-4040-8c6a-fec7a720a7b5" providerId="ADAL" clId="{190131DE-6250-C84F-B491-721E6CF30BCB}" dt="2021-12-16T10:40:44.129" v="4288"/>
          <ac:spMkLst>
            <pc:docMk/>
            <pc:sldMk cId="202459340" sldId="2145707265"/>
            <ac:spMk id="78" creationId="{124F04F1-7030-CA49-9BFF-63E081FEAE6D}"/>
          </ac:spMkLst>
        </pc:spChg>
        <pc:spChg chg="add mod">
          <ac:chgData name="Nick Robinson" userId="d0c2b313-4ae0-4040-8c6a-fec7a720a7b5" providerId="ADAL" clId="{190131DE-6250-C84F-B491-721E6CF30BCB}" dt="2021-12-16T10:40:44.129" v="4288"/>
          <ac:spMkLst>
            <pc:docMk/>
            <pc:sldMk cId="202459340" sldId="2145707265"/>
            <ac:spMk id="79" creationId="{2FD162A9-79D5-6A4C-AE7A-6914CDA1FBC5}"/>
          </ac:spMkLst>
        </pc:spChg>
        <pc:spChg chg="add mod">
          <ac:chgData name="Nick Robinson" userId="d0c2b313-4ae0-4040-8c6a-fec7a720a7b5" providerId="ADAL" clId="{190131DE-6250-C84F-B491-721E6CF30BCB}" dt="2021-12-16T10:40:44.129" v="4288"/>
          <ac:spMkLst>
            <pc:docMk/>
            <pc:sldMk cId="202459340" sldId="2145707265"/>
            <ac:spMk id="80" creationId="{807483CA-2A26-AF41-A16B-654CE9B7749F}"/>
          </ac:spMkLst>
        </pc:spChg>
        <pc:spChg chg="add mod">
          <ac:chgData name="Nick Robinson" userId="d0c2b313-4ae0-4040-8c6a-fec7a720a7b5" providerId="ADAL" clId="{190131DE-6250-C84F-B491-721E6CF30BCB}" dt="2021-12-16T10:40:44.129" v="4288"/>
          <ac:spMkLst>
            <pc:docMk/>
            <pc:sldMk cId="202459340" sldId="2145707265"/>
            <ac:spMk id="81" creationId="{18C67AA4-DD1C-4F44-B244-8F3474F2452A}"/>
          </ac:spMkLst>
        </pc:spChg>
        <pc:spChg chg="add mod">
          <ac:chgData name="Nick Robinson" userId="d0c2b313-4ae0-4040-8c6a-fec7a720a7b5" providerId="ADAL" clId="{190131DE-6250-C84F-B491-721E6CF30BCB}" dt="2021-12-16T10:40:44.129" v="4288"/>
          <ac:spMkLst>
            <pc:docMk/>
            <pc:sldMk cId="202459340" sldId="2145707265"/>
            <ac:spMk id="82" creationId="{83061C56-9BCA-E746-85FD-B2959F284BC0}"/>
          </ac:spMkLst>
        </pc:spChg>
        <pc:spChg chg="add mod">
          <ac:chgData name="Nick Robinson" userId="d0c2b313-4ae0-4040-8c6a-fec7a720a7b5" providerId="ADAL" clId="{190131DE-6250-C84F-B491-721E6CF30BCB}" dt="2021-12-16T10:40:44.129" v="4288"/>
          <ac:spMkLst>
            <pc:docMk/>
            <pc:sldMk cId="202459340" sldId="2145707265"/>
            <ac:spMk id="83" creationId="{17C8C682-899B-1848-9A4E-A9F23862B373}"/>
          </ac:spMkLst>
        </pc:spChg>
        <pc:spChg chg="add mod">
          <ac:chgData name="Nick Robinson" userId="d0c2b313-4ae0-4040-8c6a-fec7a720a7b5" providerId="ADAL" clId="{190131DE-6250-C84F-B491-721E6CF30BCB}" dt="2021-12-16T10:40:44.129" v="4288"/>
          <ac:spMkLst>
            <pc:docMk/>
            <pc:sldMk cId="202459340" sldId="2145707265"/>
            <ac:spMk id="84" creationId="{C9AAF34E-5F39-BB41-BEC1-122D7D3C3043}"/>
          </ac:spMkLst>
        </pc:spChg>
        <pc:spChg chg="add mod">
          <ac:chgData name="Nick Robinson" userId="d0c2b313-4ae0-4040-8c6a-fec7a720a7b5" providerId="ADAL" clId="{190131DE-6250-C84F-B491-721E6CF30BCB}" dt="2021-12-16T10:40:44.129" v="4288"/>
          <ac:spMkLst>
            <pc:docMk/>
            <pc:sldMk cId="202459340" sldId="2145707265"/>
            <ac:spMk id="85" creationId="{C33A7913-60B9-6A45-A37E-9E26778DCA74}"/>
          </ac:spMkLst>
        </pc:spChg>
        <pc:spChg chg="add mod">
          <ac:chgData name="Nick Robinson" userId="d0c2b313-4ae0-4040-8c6a-fec7a720a7b5" providerId="ADAL" clId="{190131DE-6250-C84F-B491-721E6CF30BCB}" dt="2021-12-16T10:40:44.129" v="4288"/>
          <ac:spMkLst>
            <pc:docMk/>
            <pc:sldMk cId="202459340" sldId="2145707265"/>
            <ac:spMk id="86" creationId="{130040FB-7C96-5D4D-9E08-01993CA5B6B4}"/>
          </ac:spMkLst>
        </pc:spChg>
        <pc:spChg chg="add mod">
          <ac:chgData name="Nick Robinson" userId="d0c2b313-4ae0-4040-8c6a-fec7a720a7b5" providerId="ADAL" clId="{190131DE-6250-C84F-B491-721E6CF30BCB}" dt="2021-12-16T10:40:44.129" v="4288"/>
          <ac:spMkLst>
            <pc:docMk/>
            <pc:sldMk cId="202459340" sldId="2145707265"/>
            <ac:spMk id="87" creationId="{A1230698-259B-044A-8B30-5EC3F740BB8C}"/>
          </ac:spMkLst>
        </pc:spChg>
        <pc:spChg chg="add mod">
          <ac:chgData name="Nick Robinson" userId="d0c2b313-4ae0-4040-8c6a-fec7a720a7b5" providerId="ADAL" clId="{190131DE-6250-C84F-B491-721E6CF30BCB}" dt="2021-12-16T10:40:44.129" v="4288"/>
          <ac:spMkLst>
            <pc:docMk/>
            <pc:sldMk cId="202459340" sldId="2145707265"/>
            <ac:spMk id="88" creationId="{4109FB06-6FB8-144D-90E8-3982801BE1BC}"/>
          </ac:spMkLst>
        </pc:spChg>
        <pc:spChg chg="add mod">
          <ac:chgData name="Nick Robinson" userId="d0c2b313-4ae0-4040-8c6a-fec7a720a7b5" providerId="ADAL" clId="{190131DE-6250-C84F-B491-721E6CF30BCB}" dt="2021-12-16T10:40:44.129" v="4288"/>
          <ac:spMkLst>
            <pc:docMk/>
            <pc:sldMk cId="202459340" sldId="2145707265"/>
            <ac:spMk id="89" creationId="{396E8DE1-0F48-AE47-9225-8892BE006026}"/>
          </ac:spMkLst>
        </pc:spChg>
        <pc:spChg chg="add mod">
          <ac:chgData name="Nick Robinson" userId="d0c2b313-4ae0-4040-8c6a-fec7a720a7b5" providerId="ADAL" clId="{190131DE-6250-C84F-B491-721E6CF30BCB}" dt="2021-12-16T10:40:44.129" v="4288"/>
          <ac:spMkLst>
            <pc:docMk/>
            <pc:sldMk cId="202459340" sldId="2145707265"/>
            <ac:spMk id="90" creationId="{E8AEB6BE-DEC4-024A-A8B3-0CC5DD19669F}"/>
          </ac:spMkLst>
        </pc:spChg>
        <pc:spChg chg="add mod">
          <ac:chgData name="Nick Robinson" userId="d0c2b313-4ae0-4040-8c6a-fec7a720a7b5" providerId="ADAL" clId="{190131DE-6250-C84F-B491-721E6CF30BCB}" dt="2021-12-16T10:40:44.129" v="4288"/>
          <ac:spMkLst>
            <pc:docMk/>
            <pc:sldMk cId="202459340" sldId="2145707265"/>
            <ac:spMk id="91" creationId="{782085FF-1EB5-A249-A11C-E1AFDD3AAF9E}"/>
          </ac:spMkLst>
        </pc:spChg>
        <pc:graphicFrameChg chg="del">
          <ac:chgData name="Nick Robinson" userId="d0c2b313-4ae0-4040-8c6a-fec7a720a7b5" providerId="ADAL" clId="{190131DE-6250-C84F-B491-721E6CF30BCB}" dt="2021-12-17T11:36:38.582" v="7346" actId="478"/>
          <ac:graphicFrameMkLst>
            <pc:docMk/>
            <pc:sldMk cId="202459340" sldId="2145707265"/>
            <ac:graphicFrameMk id="50" creationId="{6A98BC98-AE62-DD43-95EB-90F321646632}"/>
          </ac:graphicFrameMkLst>
        </pc:graphicFrameChg>
        <pc:graphicFrameChg chg="add mod">
          <ac:chgData name="Nick Robinson" userId="d0c2b313-4ae0-4040-8c6a-fec7a720a7b5" providerId="ADAL" clId="{190131DE-6250-C84F-B491-721E6CF30BCB}" dt="2021-12-17T11:36:39.686" v="7347"/>
          <ac:graphicFrameMkLst>
            <pc:docMk/>
            <pc:sldMk cId="202459340" sldId="2145707265"/>
            <ac:graphicFrameMk id="98" creationId="{A37104C5-A7AF-3E4B-8224-7FA05FC4D995}"/>
          </ac:graphicFrameMkLst>
        </pc:graphicFrameChg>
        <pc:picChg chg="del">
          <ac:chgData name="Nick Robinson" userId="d0c2b313-4ae0-4040-8c6a-fec7a720a7b5" providerId="ADAL" clId="{190131DE-6250-C84F-B491-721E6CF30BCB}" dt="2021-12-16T10:40:36.908" v="4287" actId="478"/>
          <ac:picMkLst>
            <pc:docMk/>
            <pc:sldMk cId="202459340" sldId="2145707265"/>
            <ac:picMk id="7" creationId="{FD45CBFD-15FB-2448-9657-E8F69B49A8E9}"/>
          </ac:picMkLst>
        </pc:picChg>
        <pc:picChg chg="del">
          <ac:chgData name="Nick Robinson" userId="d0c2b313-4ae0-4040-8c6a-fec7a720a7b5" providerId="ADAL" clId="{190131DE-6250-C84F-B491-721E6CF30BCB}" dt="2021-12-16T10:40:36.908" v="4287" actId="478"/>
          <ac:picMkLst>
            <pc:docMk/>
            <pc:sldMk cId="202459340" sldId="2145707265"/>
            <ac:picMk id="8" creationId="{31E310A4-7E98-B04B-BA79-B3182C7104FB}"/>
          </ac:picMkLst>
        </pc:picChg>
        <pc:picChg chg="del">
          <ac:chgData name="Nick Robinson" userId="d0c2b313-4ae0-4040-8c6a-fec7a720a7b5" providerId="ADAL" clId="{190131DE-6250-C84F-B491-721E6CF30BCB}" dt="2021-12-16T10:40:36.908" v="4287" actId="478"/>
          <ac:picMkLst>
            <pc:docMk/>
            <pc:sldMk cId="202459340" sldId="2145707265"/>
            <ac:picMk id="9" creationId="{442BA308-44FE-1D4D-A48A-885EEE0435BD}"/>
          </ac:picMkLst>
        </pc:picChg>
        <pc:picChg chg="del">
          <ac:chgData name="Nick Robinson" userId="d0c2b313-4ae0-4040-8c6a-fec7a720a7b5" providerId="ADAL" clId="{190131DE-6250-C84F-B491-721E6CF30BCB}" dt="2021-12-16T10:40:36.908" v="4287" actId="478"/>
          <ac:picMkLst>
            <pc:docMk/>
            <pc:sldMk cId="202459340" sldId="2145707265"/>
            <ac:picMk id="10" creationId="{8F25E843-7522-5B40-A02A-D5BD9E2B27B8}"/>
          </ac:picMkLst>
        </pc:picChg>
        <pc:picChg chg="del">
          <ac:chgData name="Nick Robinson" userId="d0c2b313-4ae0-4040-8c6a-fec7a720a7b5" providerId="ADAL" clId="{190131DE-6250-C84F-B491-721E6CF30BCB}" dt="2021-12-16T10:40:36.908" v="4287" actId="478"/>
          <ac:picMkLst>
            <pc:docMk/>
            <pc:sldMk cId="202459340" sldId="2145707265"/>
            <ac:picMk id="11" creationId="{5FCDCDB2-2957-7949-8D62-CA85D94AEE58}"/>
          </ac:picMkLst>
        </pc:picChg>
        <pc:picChg chg="del">
          <ac:chgData name="Nick Robinson" userId="d0c2b313-4ae0-4040-8c6a-fec7a720a7b5" providerId="ADAL" clId="{190131DE-6250-C84F-B491-721E6CF30BCB}" dt="2021-12-16T10:40:36.908" v="4287" actId="478"/>
          <ac:picMkLst>
            <pc:docMk/>
            <pc:sldMk cId="202459340" sldId="2145707265"/>
            <ac:picMk id="12" creationId="{94222C17-C380-F645-931F-B329A5B9A96D}"/>
          </ac:picMkLst>
        </pc:picChg>
        <pc:picChg chg="del">
          <ac:chgData name="Nick Robinson" userId="d0c2b313-4ae0-4040-8c6a-fec7a720a7b5" providerId="ADAL" clId="{190131DE-6250-C84F-B491-721E6CF30BCB}" dt="2021-12-16T10:40:36.908" v="4287" actId="478"/>
          <ac:picMkLst>
            <pc:docMk/>
            <pc:sldMk cId="202459340" sldId="2145707265"/>
            <ac:picMk id="13" creationId="{324167B9-AE49-D041-84E5-A1C7F4CBCAA5}"/>
          </ac:picMkLst>
        </pc:picChg>
        <pc:picChg chg="del">
          <ac:chgData name="Nick Robinson" userId="d0c2b313-4ae0-4040-8c6a-fec7a720a7b5" providerId="ADAL" clId="{190131DE-6250-C84F-B491-721E6CF30BCB}" dt="2021-12-16T10:40:36.908" v="4287" actId="478"/>
          <ac:picMkLst>
            <pc:docMk/>
            <pc:sldMk cId="202459340" sldId="2145707265"/>
            <ac:picMk id="14" creationId="{3BD0AC9A-B138-9540-B7FA-88B062E9C101}"/>
          </ac:picMkLst>
        </pc:picChg>
        <pc:picChg chg="del">
          <ac:chgData name="Nick Robinson" userId="d0c2b313-4ae0-4040-8c6a-fec7a720a7b5" providerId="ADAL" clId="{190131DE-6250-C84F-B491-721E6CF30BCB}" dt="2021-12-16T10:40:36.908" v="4287" actId="478"/>
          <ac:picMkLst>
            <pc:docMk/>
            <pc:sldMk cId="202459340" sldId="2145707265"/>
            <ac:picMk id="15" creationId="{9A4860B0-EDBB-1040-AA24-44E38DD9F86D}"/>
          </ac:picMkLst>
        </pc:picChg>
        <pc:picChg chg="del">
          <ac:chgData name="Nick Robinson" userId="d0c2b313-4ae0-4040-8c6a-fec7a720a7b5" providerId="ADAL" clId="{190131DE-6250-C84F-B491-721E6CF30BCB}" dt="2021-12-16T10:40:36.908" v="4287" actId="478"/>
          <ac:picMkLst>
            <pc:docMk/>
            <pc:sldMk cId="202459340" sldId="2145707265"/>
            <ac:picMk id="16" creationId="{7BC2843F-7090-3F4B-8573-5155825320BF}"/>
          </ac:picMkLst>
        </pc:picChg>
        <pc:picChg chg="del">
          <ac:chgData name="Nick Robinson" userId="d0c2b313-4ae0-4040-8c6a-fec7a720a7b5" providerId="ADAL" clId="{190131DE-6250-C84F-B491-721E6CF30BCB}" dt="2021-12-16T10:40:36.908" v="4287" actId="478"/>
          <ac:picMkLst>
            <pc:docMk/>
            <pc:sldMk cId="202459340" sldId="2145707265"/>
            <ac:picMk id="17" creationId="{EAA47E36-ED85-7F4E-A5CF-C4A280AFAF24}"/>
          </ac:picMkLst>
        </pc:picChg>
        <pc:picChg chg="del">
          <ac:chgData name="Nick Robinson" userId="d0c2b313-4ae0-4040-8c6a-fec7a720a7b5" providerId="ADAL" clId="{190131DE-6250-C84F-B491-721E6CF30BCB}" dt="2021-12-16T10:40:36.908" v="4287" actId="478"/>
          <ac:picMkLst>
            <pc:docMk/>
            <pc:sldMk cId="202459340" sldId="2145707265"/>
            <ac:picMk id="18" creationId="{B930A075-972A-C94A-88CF-B7453C91DADF}"/>
          </ac:picMkLst>
        </pc:picChg>
        <pc:picChg chg="del">
          <ac:chgData name="Nick Robinson" userId="d0c2b313-4ae0-4040-8c6a-fec7a720a7b5" providerId="ADAL" clId="{190131DE-6250-C84F-B491-721E6CF30BCB}" dt="2021-12-16T10:40:36.908" v="4287" actId="478"/>
          <ac:picMkLst>
            <pc:docMk/>
            <pc:sldMk cId="202459340" sldId="2145707265"/>
            <ac:picMk id="20" creationId="{DACE93CD-2A03-0B44-8220-A75C64684289}"/>
          </ac:picMkLst>
        </pc:picChg>
        <pc:picChg chg="add mod">
          <ac:chgData name="Nick Robinson" userId="d0c2b313-4ae0-4040-8c6a-fec7a720a7b5" providerId="ADAL" clId="{190131DE-6250-C84F-B491-721E6CF30BCB}" dt="2021-12-16T10:40:44.129" v="4288"/>
          <ac:picMkLst>
            <pc:docMk/>
            <pc:sldMk cId="202459340" sldId="2145707265"/>
            <ac:picMk id="92" creationId="{C084D81A-1089-D243-BB94-F6575F2E96B1}"/>
          </ac:picMkLst>
        </pc:picChg>
        <pc:picChg chg="add mod">
          <ac:chgData name="Nick Robinson" userId="d0c2b313-4ae0-4040-8c6a-fec7a720a7b5" providerId="ADAL" clId="{190131DE-6250-C84F-B491-721E6CF30BCB}" dt="2021-12-16T10:40:44.129" v="4288"/>
          <ac:picMkLst>
            <pc:docMk/>
            <pc:sldMk cId="202459340" sldId="2145707265"/>
            <ac:picMk id="93" creationId="{E17D121E-A860-1348-A459-A00B1465533E}"/>
          </ac:picMkLst>
        </pc:picChg>
        <pc:picChg chg="add mod">
          <ac:chgData name="Nick Robinson" userId="d0c2b313-4ae0-4040-8c6a-fec7a720a7b5" providerId="ADAL" clId="{190131DE-6250-C84F-B491-721E6CF30BCB}" dt="2021-12-16T10:40:44.129" v="4288"/>
          <ac:picMkLst>
            <pc:docMk/>
            <pc:sldMk cId="202459340" sldId="2145707265"/>
            <ac:picMk id="94" creationId="{D4B74861-EE58-534E-A494-351BB0B04BF7}"/>
          </ac:picMkLst>
        </pc:picChg>
        <pc:picChg chg="add mod">
          <ac:chgData name="Nick Robinson" userId="d0c2b313-4ae0-4040-8c6a-fec7a720a7b5" providerId="ADAL" clId="{190131DE-6250-C84F-B491-721E6CF30BCB}" dt="2021-12-16T10:40:44.129" v="4288"/>
          <ac:picMkLst>
            <pc:docMk/>
            <pc:sldMk cId="202459340" sldId="2145707265"/>
            <ac:picMk id="95" creationId="{0B439F8A-5097-7C4A-8673-FCE3B986263C}"/>
          </ac:picMkLst>
        </pc:picChg>
        <pc:picChg chg="add mod">
          <ac:chgData name="Nick Robinson" userId="d0c2b313-4ae0-4040-8c6a-fec7a720a7b5" providerId="ADAL" clId="{190131DE-6250-C84F-B491-721E6CF30BCB}" dt="2021-12-16T10:40:44.129" v="4288"/>
          <ac:picMkLst>
            <pc:docMk/>
            <pc:sldMk cId="202459340" sldId="2145707265"/>
            <ac:picMk id="96" creationId="{E23545C1-A4A5-F04A-B456-AEE977AA4E5B}"/>
          </ac:picMkLst>
        </pc:picChg>
        <pc:picChg chg="add mod">
          <ac:chgData name="Nick Robinson" userId="d0c2b313-4ae0-4040-8c6a-fec7a720a7b5" providerId="ADAL" clId="{190131DE-6250-C84F-B491-721E6CF30BCB}" dt="2021-12-16T10:40:44.129" v="4288"/>
          <ac:picMkLst>
            <pc:docMk/>
            <pc:sldMk cId="202459340" sldId="2145707265"/>
            <ac:picMk id="97" creationId="{E50CFD0F-318B-8344-B1DA-1604232913E1}"/>
          </ac:picMkLst>
        </pc:picChg>
        <pc:cxnChg chg="del">
          <ac:chgData name="Nick Robinson" userId="d0c2b313-4ae0-4040-8c6a-fec7a720a7b5" providerId="ADAL" clId="{190131DE-6250-C84F-B491-721E6CF30BCB}" dt="2021-12-16T10:40:36.908" v="4287" actId="478"/>
          <ac:cxnSpMkLst>
            <pc:docMk/>
            <pc:sldMk cId="202459340" sldId="2145707265"/>
            <ac:cxnSpMk id="19" creationId="{3DA13A8D-FDCC-E449-9E85-5F9D7B9E17F9}"/>
          </ac:cxnSpMkLst>
        </pc:cxnChg>
        <pc:cxnChg chg="del">
          <ac:chgData name="Nick Robinson" userId="d0c2b313-4ae0-4040-8c6a-fec7a720a7b5" providerId="ADAL" clId="{190131DE-6250-C84F-B491-721E6CF30BCB}" dt="2021-12-16T10:40:36.908" v="4287" actId="478"/>
          <ac:cxnSpMkLst>
            <pc:docMk/>
            <pc:sldMk cId="202459340" sldId="2145707265"/>
            <ac:cxnSpMk id="21" creationId="{5C940FF2-96D2-0140-8155-EC58BD506A1B}"/>
          </ac:cxnSpMkLst>
        </pc:cxnChg>
        <pc:cxnChg chg="del">
          <ac:chgData name="Nick Robinson" userId="d0c2b313-4ae0-4040-8c6a-fec7a720a7b5" providerId="ADAL" clId="{190131DE-6250-C84F-B491-721E6CF30BCB}" dt="2021-12-16T10:40:36.908" v="4287" actId="478"/>
          <ac:cxnSpMkLst>
            <pc:docMk/>
            <pc:sldMk cId="202459340" sldId="2145707265"/>
            <ac:cxnSpMk id="22" creationId="{F068D014-1207-CB48-870A-C78548493C0A}"/>
          </ac:cxnSpMkLst>
        </pc:cxnChg>
        <pc:cxnChg chg="del">
          <ac:chgData name="Nick Robinson" userId="d0c2b313-4ae0-4040-8c6a-fec7a720a7b5" providerId="ADAL" clId="{190131DE-6250-C84F-B491-721E6CF30BCB}" dt="2021-12-16T10:40:36.908" v="4287" actId="478"/>
          <ac:cxnSpMkLst>
            <pc:docMk/>
            <pc:sldMk cId="202459340" sldId="2145707265"/>
            <ac:cxnSpMk id="23" creationId="{ABE6D71A-BB50-E34E-883C-95E27EF9A3A2}"/>
          </ac:cxnSpMkLst>
        </pc:cxnChg>
        <pc:cxnChg chg="del">
          <ac:chgData name="Nick Robinson" userId="d0c2b313-4ae0-4040-8c6a-fec7a720a7b5" providerId="ADAL" clId="{190131DE-6250-C84F-B491-721E6CF30BCB}" dt="2021-12-16T10:40:36.908" v="4287" actId="478"/>
          <ac:cxnSpMkLst>
            <pc:docMk/>
            <pc:sldMk cId="202459340" sldId="2145707265"/>
            <ac:cxnSpMk id="24" creationId="{F8EE6E76-78AA-5E42-A4AF-E62E39F4CF75}"/>
          </ac:cxnSpMkLst>
        </pc:cxnChg>
        <pc:cxnChg chg="del">
          <ac:chgData name="Nick Robinson" userId="d0c2b313-4ae0-4040-8c6a-fec7a720a7b5" providerId="ADAL" clId="{190131DE-6250-C84F-B491-721E6CF30BCB}" dt="2021-12-16T10:40:36.908" v="4287" actId="478"/>
          <ac:cxnSpMkLst>
            <pc:docMk/>
            <pc:sldMk cId="202459340" sldId="2145707265"/>
            <ac:cxnSpMk id="25" creationId="{48D0C07C-194D-1146-ABB6-F2FD275AE9A0}"/>
          </ac:cxnSpMkLst>
        </pc:cxnChg>
        <pc:cxnChg chg="del">
          <ac:chgData name="Nick Robinson" userId="d0c2b313-4ae0-4040-8c6a-fec7a720a7b5" providerId="ADAL" clId="{190131DE-6250-C84F-B491-721E6CF30BCB}" dt="2021-12-16T10:40:36.908" v="4287" actId="478"/>
          <ac:cxnSpMkLst>
            <pc:docMk/>
            <pc:sldMk cId="202459340" sldId="2145707265"/>
            <ac:cxnSpMk id="26" creationId="{B13715BB-9895-CF49-A71F-B9150DFDDFD8}"/>
          </ac:cxnSpMkLst>
        </pc:cxnChg>
      </pc:sldChg>
      <pc:sldChg chg="addSp delSp modSp add del mod ord">
        <pc:chgData name="Nick Robinson" userId="d0c2b313-4ae0-4040-8c6a-fec7a720a7b5" providerId="ADAL" clId="{190131DE-6250-C84F-B491-721E6CF30BCB}" dt="2021-12-17T11:33:50.037" v="7316" actId="2696"/>
        <pc:sldMkLst>
          <pc:docMk/>
          <pc:sldMk cId="849718868" sldId="2145707266"/>
        </pc:sldMkLst>
        <pc:spChg chg="del">
          <ac:chgData name="Nick Robinson" userId="d0c2b313-4ae0-4040-8c6a-fec7a720a7b5" providerId="ADAL" clId="{190131DE-6250-C84F-B491-721E6CF30BCB}" dt="2021-12-17T09:09:15.735" v="4303" actId="478"/>
          <ac:spMkLst>
            <pc:docMk/>
            <pc:sldMk cId="849718868" sldId="2145707266"/>
            <ac:spMk id="2" creationId="{880F6CB8-57A4-0F47-88FF-0448FFAE8D23}"/>
          </ac:spMkLst>
        </pc:spChg>
        <pc:spChg chg="add mod">
          <ac:chgData name="Nick Robinson" userId="d0c2b313-4ae0-4040-8c6a-fec7a720a7b5" providerId="ADAL" clId="{190131DE-6250-C84F-B491-721E6CF30BCB}" dt="2021-12-17T11:19:07.181" v="6964" actId="207"/>
          <ac:spMkLst>
            <pc:docMk/>
            <pc:sldMk cId="849718868" sldId="2145707266"/>
            <ac:spMk id="6" creationId="{188FD837-A494-DF4A-8231-E9B56B0CC8E8}"/>
          </ac:spMkLst>
        </pc:spChg>
        <pc:spChg chg="add mod">
          <ac:chgData name="Nick Robinson" userId="d0c2b313-4ae0-4040-8c6a-fec7a720a7b5" providerId="ADAL" clId="{190131DE-6250-C84F-B491-721E6CF30BCB}" dt="2021-12-17T09:10:03.016" v="4323" actId="20577"/>
          <ac:spMkLst>
            <pc:docMk/>
            <pc:sldMk cId="849718868" sldId="2145707266"/>
            <ac:spMk id="7" creationId="{87B4AEA1-72F7-FE49-A780-FEC599F22CAA}"/>
          </ac:spMkLst>
        </pc:spChg>
        <pc:spChg chg="add del mod">
          <ac:chgData name="Nick Robinson" userId="d0c2b313-4ae0-4040-8c6a-fec7a720a7b5" providerId="ADAL" clId="{190131DE-6250-C84F-B491-721E6CF30BCB}" dt="2021-12-17T09:09:14.133" v="4302" actId="478"/>
          <ac:spMkLst>
            <pc:docMk/>
            <pc:sldMk cId="849718868" sldId="2145707266"/>
            <ac:spMk id="8" creationId="{2A59CB90-BAAC-F444-8774-9773DB8DDABA}"/>
          </ac:spMkLst>
        </pc:spChg>
        <pc:spChg chg="add mod">
          <ac:chgData name="Nick Robinson" userId="d0c2b313-4ae0-4040-8c6a-fec7a720a7b5" providerId="ADAL" clId="{190131DE-6250-C84F-B491-721E6CF30BCB}" dt="2021-12-17T09:10:08.721" v="4332" actId="20577"/>
          <ac:spMkLst>
            <pc:docMk/>
            <pc:sldMk cId="849718868" sldId="2145707266"/>
            <ac:spMk id="9" creationId="{88238D99-3228-E74C-8347-7E94756A526B}"/>
          </ac:spMkLst>
        </pc:spChg>
        <pc:spChg chg="add mod">
          <ac:chgData name="Nick Robinson" userId="d0c2b313-4ae0-4040-8c6a-fec7a720a7b5" providerId="ADAL" clId="{190131DE-6250-C84F-B491-721E6CF30BCB}" dt="2021-12-17T09:10:17.693" v="4352" actId="20577"/>
          <ac:spMkLst>
            <pc:docMk/>
            <pc:sldMk cId="849718868" sldId="2145707266"/>
            <ac:spMk id="10" creationId="{B541B9AD-AB30-554D-B8F8-1828C1452C44}"/>
          </ac:spMkLst>
        </pc:spChg>
        <pc:spChg chg="add mod">
          <ac:chgData name="Nick Robinson" userId="d0c2b313-4ae0-4040-8c6a-fec7a720a7b5" providerId="ADAL" clId="{190131DE-6250-C84F-B491-721E6CF30BCB}" dt="2021-12-17T09:09:54.585" v="4313" actId="207"/>
          <ac:spMkLst>
            <pc:docMk/>
            <pc:sldMk cId="849718868" sldId="2145707266"/>
            <ac:spMk id="11" creationId="{5305DFC8-8B6A-AD4B-AFC2-2358E0B56986}"/>
          </ac:spMkLst>
        </pc:spChg>
        <pc:spChg chg="mod">
          <ac:chgData name="Nick Robinson" userId="d0c2b313-4ae0-4040-8c6a-fec7a720a7b5" providerId="ADAL" clId="{190131DE-6250-C84F-B491-721E6CF30BCB}" dt="2021-12-17T09:09:10.839" v="4301"/>
          <ac:spMkLst>
            <pc:docMk/>
            <pc:sldMk cId="849718868" sldId="2145707266"/>
            <ac:spMk id="14" creationId="{04B2BDD9-F7F0-C546-9C18-872C29318D55}"/>
          </ac:spMkLst>
        </pc:spChg>
        <pc:spChg chg="mod">
          <ac:chgData name="Nick Robinson" userId="d0c2b313-4ae0-4040-8c6a-fec7a720a7b5" providerId="ADAL" clId="{190131DE-6250-C84F-B491-721E6CF30BCB}" dt="2021-12-17T11:19:02.691" v="6963" actId="207"/>
          <ac:spMkLst>
            <pc:docMk/>
            <pc:sldMk cId="849718868" sldId="2145707266"/>
            <ac:spMk id="15" creationId="{0FDB94E2-6B31-4C4A-9EDC-448C8703F91D}"/>
          </ac:spMkLst>
        </pc:spChg>
        <pc:spChg chg="mod">
          <ac:chgData name="Nick Robinson" userId="d0c2b313-4ae0-4040-8c6a-fec7a720a7b5" providerId="ADAL" clId="{190131DE-6250-C84F-B491-721E6CF30BCB}" dt="2021-12-17T09:09:10.839" v="4301"/>
          <ac:spMkLst>
            <pc:docMk/>
            <pc:sldMk cId="849718868" sldId="2145707266"/>
            <ac:spMk id="18" creationId="{6DE5AA62-A957-EA48-B5D4-72EB96CC6429}"/>
          </ac:spMkLst>
        </pc:spChg>
        <pc:spChg chg="mod">
          <ac:chgData name="Nick Robinson" userId="d0c2b313-4ae0-4040-8c6a-fec7a720a7b5" providerId="ADAL" clId="{190131DE-6250-C84F-B491-721E6CF30BCB}" dt="2021-12-17T09:09:10.839" v="4301"/>
          <ac:spMkLst>
            <pc:docMk/>
            <pc:sldMk cId="849718868" sldId="2145707266"/>
            <ac:spMk id="19" creationId="{206E589A-4E58-9840-99FE-51F9B4C0A863}"/>
          </ac:spMkLst>
        </pc:spChg>
        <pc:spChg chg="mod">
          <ac:chgData name="Nick Robinson" userId="d0c2b313-4ae0-4040-8c6a-fec7a720a7b5" providerId="ADAL" clId="{190131DE-6250-C84F-B491-721E6CF30BCB}" dt="2021-12-17T09:09:10.839" v="4301"/>
          <ac:spMkLst>
            <pc:docMk/>
            <pc:sldMk cId="849718868" sldId="2145707266"/>
            <ac:spMk id="22" creationId="{01601723-3335-2643-A8F5-8F4974182224}"/>
          </ac:spMkLst>
        </pc:spChg>
        <pc:spChg chg="mod">
          <ac:chgData name="Nick Robinson" userId="d0c2b313-4ae0-4040-8c6a-fec7a720a7b5" providerId="ADAL" clId="{190131DE-6250-C84F-B491-721E6CF30BCB}" dt="2021-12-17T09:09:10.839" v="4301"/>
          <ac:spMkLst>
            <pc:docMk/>
            <pc:sldMk cId="849718868" sldId="2145707266"/>
            <ac:spMk id="23" creationId="{67F541DB-5350-3D47-B09D-97E1B2A85ACF}"/>
          </ac:spMkLst>
        </pc:spChg>
        <pc:spChg chg="mod">
          <ac:chgData name="Nick Robinson" userId="d0c2b313-4ae0-4040-8c6a-fec7a720a7b5" providerId="ADAL" clId="{190131DE-6250-C84F-B491-721E6CF30BCB}" dt="2021-12-17T09:09:10.839" v="4301"/>
          <ac:spMkLst>
            <pc:docMk/>
            <pc:sldMk cId="849718868" sldId="2145707266"/>
            <ac:spMk id="26" creationId="{85DB5248-3142-E649-A663-4F4FC53A96F3}"/>
          </ac:spMkLst>
        </pc:spChg>
        <pc:spChg chg="mod">
          <ac:chgData name="Nick Robinson" userId="d0c2b313-4ae0-4040-8c6a-fec7a720a7b5" providerId="ADAL" clId="{190131DE-6250-C84F-B491-721E6CF30BCB}" dt="2021-12-17T09:09:10.839" v="4301"/>
          <ac:spMkLst>
            <pc:docMk/>
            <pc:sldMk cId="849718868" sldId="2145707266"/>
            <ac:spMk id="27" creationId="{AED6F17F-C4C5-1E47-9997-95830E797FFA}"/>
          </ac:spMkLst>
        </pc:spChg>
        <pc:spChg chg="mod">
          <ac:chgData name="Nick Robinson" userId="d0c2b313-4ae0-4040-8c6a-fec7a720a7b5" providerId="ADAL" clId="{190131DE-6250-C84F-B491-721E6CF30BCB}" dt="2021-12-17T09:09:10.839" v="4301"/>
          <ac:spMkLst>
            <pc:docMk/>
            <pc:sldMk cId="849718868" sldId="2145707266"/>
            <ac:spMk id="30" creationId="{6E2F013C-6803-F14B-8695-EF14C7E25ADB}"/>
          </ac:spMkLst>
        </pc:spChg>
        <pc:spChg chg="mod">
          <ac:chgData name="Nick Robinson" userId="d0c2b313-4ae0-4040-8c6a-fec7a720a7b5" providerId="ADAL" clId="{190131DE-6250-C84F-B491-721E6CF30BCB}" dt="2021-12-17T09:09:10.839" v="4301"/>
          <ac:spMkLst>
            <pc:docMk/>
            <pc:sldMk cId="849718868" sldId="2145707266"/>
            <ac:spMk id="31" creationId="{4CC4A93A-BE16-8443-99C8-BF541DFCF241}"/>
          </ac:spMkLst>
        </pc:spChg>
        <pc:spChg chg="add mod">
          <ac:chgData name="Nick Robinson" userId="d0c2b313-4ae0-4040-8c6a-fec7a720a7b5" providerId="ADAL" clId="{190131DE-6250-C84F-B491-721E6CF30BCB}" dt="2021-12-17T09:09:10.839" v="4301"/>
          <ac:spMkLst>
            <pc:docMk/>
            <pc:sldMk cId="849718868" sldId="2145707266"/>
            <ac:spMk id="33" creationId="{84750307-E399-C645-B8DC-66558BC63D8B}"/>
          </ac:spMkLst>
        </pc:spChg>
        <pc:spChg chg="mod">
          <ac:chgData name="Nick Robinson" userId="d0c2b313-4ae0-4040-8c6a-fec7a720a7b5" providerId="ADAL" clId="{190131DE-6250-C84F-B491-721E6CF30BCB}" dt="2021-12-17T09:09:10.839" v="4301"/>
          <ac:spMkLst>
            <pc:docMk/>
            <pc:sldMk cId="849718868" sldId="2145707266"/>
            <ac:spMk id="35" creationId="{787BEEEE-913E-6D48-A53C-0057F5B3CE1E}"/>
          </ac:spMkLst>
        </pc:spChg>
        <pc:spChg chg="mod">
          <ac:chgData name="Nick Robinson" userId="d0c2b313-4ae0-4040-8c6a-fec7a720a7b5" providerId="ADAL" clId="{190131DE-6250-C84F-B491-721E6CF30BCB}" dt="2021-12-17T09:09:10.839" v="4301"/>
          <ac:spMkLst>
            <pc:docMk/>
            <pc:sldMk cId="849718868" sldId="2145707266"/>
            <ac:spMk id="36" creationId="{ADE7E7F1-A961-F746-9E14-C8A4350D781C}"/>
          </ac:spMkLst>
        </pc:spChg>
        <pc:spChg chg="mod">
          <ac:chgData name="Nick Robinson" userId="d0c2b313-4ae0-4040-8c6a-fec7a720a7b5" providerId="ADAL" clId="{190131DE-6250-C84F-B491-721E6CF30BCB}" dt="2021-12-17T09:09:10.839" v="4301"/>
          <ac:spMkLst>
            <pc:docMk/>
            <pc:sldMk cId="849718868" sldId="2145707266"/>
            <ac:spMk id="39" creationId="{301723AB-A966-174F-8381-7333D04ABE01}"/>
          </ac:spMkLst>
        </pc:spChg>
        <pc:spChg chg="mod">
          <ac:chgData name="Nick Robinson" userId="d0c2b313-4ae0-4040-8c6a-fec7a720a7b5" providerId="ADAL" clId="{190131DE-6250-C84F-B491-721E6CF30BCB}" dt="2021-12-17T09:09:10.839" v="4301"/>
          <ac:spMkLst>
            <pc:docMk/>
            <pc:sldMk cId="849718868" sldId="2145707266"/>
            <ac:spMk id="40" creationId="{BC2C979D-54C7-2B44-B397-F08525055961}"/>
          </ac:spMkLst>
        </pc:spChg>
        <pc:spChg chg="mod">
          <ac:chgData name="Nick Robinson" userId="d0c2b313-4ae0-4040-8c6a-fec7a720a7b5" providerId="ADAL" clId="{190131DE-6250-C84F-B491-721E6CF30BCB}" dt="2021-12-17T09:09:10.839" v="4301"/>
          <ac:spMkLst>
            <pc:docMk/>
            <pc:sldMk cId="849718868" sldId="2145707266"/>
            <ac:spMk id="43" creationId="{A7EC3E35-2ABC-6A4F-A12D-AB765B241EB1}"/>
          </ac:spMkLst>
        </pc:spChg>
        <pc:spChg chg="mod">
          <ac:chgData name="Nick Robinson" userId="d0c2b313-4ae0-4040-8c6a-fec7a720a7b5" providerId="ADAL" clId="{190131DE-6250-C84F-B491-721E6CF30BCB}" dt="2021-12-17T09:09:10.839" v="4301"/>
          <ac:spMkLst>
            <pc:docMk/>
            <pc:sldMk cId="849718868" sldId="2145707266"/>
            <ac:spMk id="44" creationId="{A9A0E3D6-C4E0-2347-A00B-EB9C88370869}"/>
          </ac:spMkLst>
        </pc:spChg>
        <pc:spChg chg="add mod">
          <ac:chgData name="Nick Robinson" userId="d0c2b313-4ae0-4040-8c6a-fec7a720a7b5" providerId="ADAL" clId="{190131DE-6250-C84F-B491-721E6CF30BCB}" dt="2021-12-17T09:09:50.793" v="4312" actId="207"/>
          <ac:spMkLst>
            <pc:docMk/>
            <pc:sldMk cId="849718868" sldId="2145707266"/>
            <ac:spMk id="46" creationId="{C057FF51-6F23-5149-845C-32FF156A51E4}"/>
          </ac:spMkLst>
        </pc:spChg>
        <pc:spChg chg="add mod">
          <ac:chgData name="Nick Robinson" userId="d0c2b313-4ae0-4040-8c6a-fec7a720a7b5" providerId="ADAL" clId="{190131DE-6250-C84F-B491-721E6CF30BCB}" dt="2021-12-17T09:09:50.793" v="4312" actId="207"/>
          <ac:spMkLst>
            <pc:docMk/>
            <pc:sldMk cId="849718868" sldId="2145707266"/>
            <ac:spMk id="47" creationId="{778DAFE5-F120-B846-8DE7-499A13E843CA}"/>
          </ac:spMkLst>
        </pc:spChg>
        <pc:spChg chg="add mod">
          <ac:chgData name="Nick Robinson" userId="d0c2b313-4ae0-4040-8c6a-fec7a720a7b5" providerId="ADAL" clId="{190131DE-6250-C84F-B491-721E6CF30BCB}" dt="2021-12-17T09:09:10.839" v="4301"/>
          <ac:spMkLst>
            <pc:docMk/>
            <pc:sldMk cId="849718868" sldId="2145707266"/>
            <ac:spMk id="48" creationId="{A0EEB29A-D90A-B349-856E-18A2F36FEC88}"/>
          </ac:spMkLst>
        </pc:spChg>
        <pc:spChg chg="add mod">
          <ac:chgData name="Nick Robinson" userId="d0c2b313-4ae0-4040-8c6a-fec7a720a7b5" providerId="ADAL" clId="{190131DE-6250-C84F-B491-721E6CF30BCB}" dt="2021-12-17T09:09:10.839" v="4301"/>
          <ac:spMkLst>
            <pc:docMk/>
            <pc:sldMk cId="849718868" sldId="2145707266"/>
            <ac:spMk id="49" creationId="{9763A6B4-80D3-EC48-A4D9-C8E87D0E6A96}"/>
          </ac:spMkLst>
        </pc:spChg>
        <pc:spChg chg="add mod">
          <ac:chgData name="Nick Robinson" userId="d0c2b313-4ae0-4040-8c6a-fec7a720a7b5" providerId="ADAL" clId="{190131DE-6250-C84F-B491-721E6CF30BCB}" dt="2021-12-17T09:09:10.839" v="4301"/>
          <ac:spMkLst>
            <pc:docMk/>
            <pc:sldMk cId="849718868" sldId="2145707266"/>
            <ac:spMk id="50" creationId="{0B678721-4DC6-B546-830A-C685F15178D4}"/>
          </ac:spMkLst>
        </pc:spChg>
        <pc:grpChg chg="add mod">
          <ac:chgData name="Nick Robinson" userId="d0c2b313-4ae0-4040-8c6a-fec7a720a7b5" providerId="ADAL" clId="{190131DE-6250-C84F-B491-721E6CF30BCB}" dt="2021-12-17T09:09:10.839" v="4301"/>
          <ac:grpSpMkLst>
            <pc:docMk/>
            <pc:sldMk cId="849718868" sldId="2145707266"/>
            <ac:grpSpMk id="12" creationId="{F171AF28-F7BF-4242-9660-D2E329F0119B}"/>
          </ac:grpSpMkLst>
        </pc:grpChg>
        <pc:grpChg chg="mod">
          <ac:chgData name="Nick Robinson" userId="d0c2b313-4ae0-4040-8c6a-fec7a720a7b5" providerId="ADAL" clId="{190131DE-6250-C84F-B491-721E6CF30BCB}" dt="2021-12-17T09:09:10.839" v="4301"/>
          <ac:grpSpMkLst>
            <pc:docMk/>
            <pc:sldMk cId="849718868" sldId="2145707266"/>
            <ac:grpSpMk id="13" creationId="{966208DC-5FE1-9F41-A2DE-B6F1139AF392}"/>
          </ac:grpSpMkLst>
        </pc:grpChg>
        <pc:grpChg chg="add mod">
          <ac:chgData name="Nick Robinson" userId="d0c2b313-4ae0-4040-8c6a-fec7a720a7b5" providerId="ADAL" clId="{190131DE-6250-C84F-B491-721E6CF30BCB}" dt="2021-12-17T09:09:10.839" v="4301"/>
          <ac:grpSpMkLst>
            <pc:docMk/>
            <pc:sldMk cId="849718868" sldId="2145707266"/>
            <ac:grpSpMk id="17" creationId="{08FFA16A-28B0-2D4C-B63C-095F0A561EF3}"/>
          </ac:grpSpMkLst>
        </pc:grpChg>
        <pc:grpChg chg="add mod">
          <ac:chgData name="Nick Robinson" userId="d0c2b313-4ae0-4040-8c6a-fec7a720a7b5" providerId="ADAL" clId="{190131DE-6250-C84F-B491-721E6CF30BCB}" dt="2021-12-17T09:09:10.839" v="4301"/>
          <ac:grpSpMkLst>
            <pc:docMk/>
            <pc:sldMk cId="849718868" sldId="2145707266"/>
            <ac:grpSpMk id="21" creationId="{BA3C5525-3507-8244-961E-0FE7D5FA0B56}"/>
          </ac:grpSpMkLst>
        </pc:grpChg>
        <pc:grpChg chg="add mod">
          <ac:chgData name="Nick Robinson" userId="d0c2b313-4ae0-4040-8c6a-fec7a720a7b5" providerId="ADAL" clId="{190131DE-6250-C84F-B491-721E6CF30BCB}" dt="2021-12-17T09:09:10.839" v="4301"/>
          <ac:grpSpMkLst>
            <pc:docMk/>
            <pc:sldMk cId="849718868" sldId="2145707266"/>
            <ac:grpSpMk id="25" creationId="{A07C3A00-B45E-8A4C-8B5D-EDEBB7708871}"/>
          </ac:grpSpMkLst>
        </pc:grpChg>
        <pc:grpChg chg="add mod">
          <ac:chgData name="Nick Robinson" userId="d0c2b313-4ae0-4040-8c6a-fec7a720a7b5" providerId="ADAL" clId="{190131DE-6250-C84F-B491-721E6CF30BCB}" dt="2021-12-17T09:09:10.839" v="4301"/>
          <ac:grpSpMkLst>
            <pc:docMk/>
            <pc:sldMk cId="849718868" sldId="2145707266"/>
            <ac:grpSpMk id="29" creationId="{39D4B0C5-55A0-A041-995E-B851255EE23D}"/>
          </ac:grpSpMkLst>
        </pc:grpChg>
        <pc:grpChg chg="add mod">
          <ac:chgData name="Nick Robinson" userId="d0c2b313-4ae0-4040-8c6a-fec7a720a7b5" providerId="ADAL" clId="{190131DE-6250-C84F-B491-721E6CF30BCB}" dt="2021-12-17T09:09:10.839" v="4301"/>
          <ac:grpSpMkLst>
            <pc:docMk/>
            <pc:sldMk cId="849718868" sldId="2145707266"/>
            <ac:grpSpMk id="34" creationId="{021D1318-44A5-7C4A-8D2E-1A02F85F2F8E}"/>
          </ac:grpSpMkLst>
        </pc:grpChg>
        <pc:grpChg chg="add mod">
          <ac:chgData name="Nick Robinson" userId="d0c2b313-4ae0-4040-8c6a-fec7a720a7b5" providerId="ADAL" clId="{190131DE-6250-C84F-B491-721E6CF30BCB}" dt="2021-12-17T09:09:10.839" v="4301"/>
          <ac:grpSpMkLst>
            <pc:docMk/>
            <pc:sldMk cId="849718868" sldId="2145707266"/>
            <ac:grpSpMk id="38" creationId="{906087C0-872E-B24D-9E10-B1A320FEC839}"/>
          </ac:grpSpMkLst>
        </pc:grpChg>
        <pc:grpChg chg="add mod">
          <ac:chgData name="Nick Robinson" userId="d0c2b313-4ae0-4040-8c6a-fec7a720a7b5" providerId="ADAL" clId="{190131DE-6250-C84F-B491-721E6CF30BCB}" dt="2021-12-17T09:09:10.839" v="4301"/>
          <ac:grpSpMkLst>
            <pc:docMk/>
            <pc:sldMk cId="849718868" sldId="2145707266"/>
            <ac:grpSpMk id="42" creationId="{5F796EC4-181F-F749-ACF8-B635C8B3EAC2}"/>
          </ac:grpSpMkLst>
        </pc:grpChg>
        <pc:graphicFrameChg chg="add mod">
          <ac:chgData name="Nick Robinson" userId="d0c2b313-4ae0-4040-8c6a-fec7a720a7b5" providerId="ADAL" clId="{190131DE-6250-C84F-B491-721E6CF30BCB}" dt="2021-12-17T09:10:28.786" v="4354"/>
          <ac:graphicFrameMkLst>
            <pc:docMk/>
            <pc:sldMk cId="849718868" sldId="2145707266"/>
            <ac:graphicFrameMk id="51" creationId="{357BB3F2-317D-D84D-AD5C-EB4B4A3955C1}"/>
          </ac:graphicFrameMkLst>
        </pc:graphicFrameChg>
        <pc:picChg chg="mod">
          <ac:chgData name="Nick Robinson" userId="d0c2b313-4ae0-4040-8c6a-fec7a720a7b5" providerId="ADAL" clId="{190131DE-6250-C84F-B491-721E6CF30BCB}" dt="2021-12-17T09:09:10.839" v="4301"/>
          <ac:picMkLst>
            <pc:docMk/>
            <pc:sldMk cId="849718868" sldId="2145707266"/>
            <ac:picMk id="16" creationId="{BF2EDEAD-9DC4-C148-91E5-CB03B1A5B48B}"/>
          </ac:picMkLst>
        </pc:picChg>
        <pc:picChg chg="mod">
          <ac:chgData name="Nick Robinson" userId="d0c2b313-4ae0-4040-8c6a-fec7a720a7b5" providerId="ADAL" clId="{190131DE-6250-C84F-B491-721E6CF30BCB}" dt="2021-12-17T09:09:10.839" v="4301"/>
          <ac:picMkLst>
            <pc:docMk/>
            <pc:sldMk cId="849718868" sldId="2145707266"/>
            <ac:picMk id="20" creationId="{38A9C8C9-DCB5-AF47-AD00-B76D46809340}"/>
          </ac:picMkLst>
        </pc:picChg>
        <pc:picChg chg="mod">
          <ac:chgData name="Nick Robinson" userId="d0c2b313-4ae0-4040-8c6a-fec7a720a7b5" providerId="ADAL" clId="{190131DE-6250-C84F-B491-721E6CF30BCB}" dt="2021-12-17T09:09:10.839" v="4301"/>
          <ac:picMkLst>
            <pc:docMk/>
            <pc:sldMk cId="849718868" sldId="2145707266"/>
            <ac:picMk id="24" creationId="{9EEDFC2F-82A4-3148-B3C8-DC5A258C2AB5}"/>
          </ac:picMkLst>
        </pc:picChg>
        <pc:picChg chg="mod">
          <ac:chgData name="Nick Robinson" userId="d0c2b313-4ae0-4040-8c6a-fec7a720a7b5" providerId="ADAL" clId="{190131DE-6250-C84F-B491-721E6CF30BCB}" dt="2021-12-17T09:09:10.839" v="4301"/>
          <ac:picMkLst>
            <pc:docMk/>
            <pc:sldMk cId="849718868" sldId="2145707266"/>
            <ac:picMk id="28" creationId="{EF406D08-BA2E-3D4C-AF52-F758D386BC53}"/>
          </ac:picMkLst>
        </pc:picChg>
        <pc:picChg chg="mod">
          <ac:chgData name="Nick Robinson" userId="d0c2b313-4ae0-4040-8c6a-fec7a720a7b5" providerId="ADAL" clId="{190131DE-6250-C84F-B491-721E6CF30BCB}" dt="2021-12-17T09:09:10.839" v="4301"/>
          <ac:picMkLst>
            <pc:docMk/>
            <pc:sldMk cId="849718868" sldId="2145707266"/>
            <ac:picMk id="32" creationId="{BDF0E308-DD80-1645-BCD1-B85117ED9B6A}"/>
          </ac:picMkLst>
        </pc:picChg>
        <pc:picChg chg="mod">
          <ac:chgData name="Nick Robinson" userId="d0c2b313-4ae0-4040-8c6a-fec7a720a7b5" providerId="ADAL" clId="{190131DE-6250-C84F-B491-721E6CF30BCB}" dt="2021-12-17T09:09:10.839" v="4301"/>
          <ac:picMkLst>
            <pc:docMk/>
            <pc:sldMk cId="849718868" sldId="2145707266"/>
            <ac:picMk id="37" creationId="{4AABFCE2-5531-8345-B112-86DA1E5F14E7}"/>
          </ac:picMkLst>
        </pc:picChg>
        <pc:picChg chg="mod">
          <ac:chgData name="Nick Robinson" userId="d0c2b313-4ae0-4040-8c6a-fec7a720a7b5" providerId="ADAL" clId="{190131DE-6250-C84F-B491-721E6CF30BCB}" dt="2021-12-17T09:09:10.839" v="4301"/>
          <ac:picMkLst>
            <pc:docMk/>
            <pc:sldMk cId="849718868" sldId="2145707266"/>
            <ac:picMk id="41" creationId="{368C63D2-D3DE-404D-BC08-02FA537C6487}"/>
          </ac:picMkLst>
        </pc:picChg>
        <pc:picChg chg="mod">
          <ac:chgData name="Nick Robinson" userId="d0c2b313-4ae0-4040-8c6a-fec7a720a7b5" providerId="ADAL" clId="{190131DE-6250-C84F-B491-721E6CF30BCB}" dt="2021-12-17T09:09:10.839" v="4301"/>
          <ac:picMkLst>
            <pc:docMk/>
            <pc:sldMk cId="849718868" sldId="2145707266"/>
            <ac:picMk id="45" creationId="{F878FB5A-700B-3244-89F1-9DC2ACF46FE2}"/>
          </ac:picMkLst>
        </pc:picChg>
      </pc:sldChg>
      <pc:sldChg chg="modSp add del mod">
        <pc:chgData name="Nick Robinson" userId="d0c2b313-4ae0-4040-8c6a-fec7a720a7b5" providerId="ADAL" clId="{190131DE-6250-C84F-B491-721E6CF30BCB}" dt="2021-12-23T11:18:53.399" v="42308" actId="2696"/>
        <pc:sldMkLst>
          <pc:docMk/>
          <pc:sldMk cId="1556245472" sldId="2145707267"/>
        </pc:sldMkLst>
        <pc:spChg chg="mod">
          <ac:chgData name="Nick Robinson" userId="d0c2b313-4ae0-4040-8c6a-fec7a720a7b5" providerId="ADAL" clId="{190131DE-6250-C84F-B491-721E6CF30BCB}" dt="2021-12-22T20:20:20.113" v="30210" actId="207"/>
          <ac:spMkLst>
            <pc:docMk/>
            <pc:sldMk cId="1556245472" sldId="2145707267"/>
            <ac:spMk id="31" creationId="{E4D90DAF-1445-3540-9BF7-751D7147172A}"/>
          </ac:spMkLst>
        </pc:spChg>
        <pc:spChg chg="mod">
          <ac:chgData name="Nick Robinson" userId="d0c2b313-4ae0-4040-8c6a-fec7a720a7b5" providerId="ADAL" clId="{190131DE-6250-C84F-B491-721E6CF30BCB}" dt="2021-12-22T20:20:20.113" v="30210" actId="207"/>
          <ac:spMkLst>
            <pc:docMk/>
            <pc:sldMk cId="1556245472" sldId="2145707267"/>
            <ac:spMk id="32" creationId="{DCA2AF9B-2F13-0A47-8335-9A9507521FEC}"/>
          </ac:spMkLst>
        </pc:spChg>
        <pc:spChg chg="mod">
          <ac:chgData name="Nick Robinson" userId="d0c2b313-4ae0-4040-8c6a-fec7a720a7b5" providerId="ADAL" clId="{190131DE-6250-C84F-B491-721E6CF30BCB}" dt="2021-12-22T20:18:56.669" v="30209" actId="207"/>
          <ac:spMkLst>
            <pc:docMk/>
            <pc:sldMk cId="1556245472" sldId="2145707267"/>
            <ac:spMk id="34" creationId="{C7B4C74E-B074-E44F-8C83-59DA5CD2D3FA}"/>
          </ac:spMkLst>
        </pc:spChg>
        <pc:spChg chg="mod">
          <ac:chgData name="Nick Robinson" userId="d0c2b313-4ae0-4040-8c6a-fec7a720a7b5" providerId="ADAL" clId="{190131DE-6250-C84F-B491-721E6CF30BCB}" dt="2021-12-22T20:20:20.113" v="30210" actId="207"/>
          <ac:spMkLst>
            <pc:docMk/>
            <pc:sldMk cId="1556245472" sldId="2145707267"/>
            <ac:spMk id="35" creationId="{19C6468E-F4CB-4B47-95DB-368B01CD4FA6}"/>
          </ac:spMkLst>
        </pc:spChg>
        <pc:spChg chg="mod">
          <ac:chgData name="Nick Robinson" userId="d0c2b313-4ae0-4040-8c6a-fec7a720a7b5" providerId="ADAL" clId="{190131DE-6250-C84F-B491-721E6CF30BCB}" dt="2021-12-22T20:18:56.669" v="30209" actId="207"/>
          <ac:spMkLst>
            <pc:docMk/>
            <pc:sldMk cId="1556245472" sldId="2145707267"/>
            <ac:spMk id="39" creationId="{C28C593A-B50A-0E4A-88B3-22558DF03A33}"/>
          </ac:spMkLst>
        </pc:spChg>
        <pc:spChg chg="mod">
          <ac:chgData name="Nick Robinson" userId="d0c2b313-4ae0-4040-8c6a-fec7a720a7b5" providerId="ADAL" clId="{190131DE-6250-C84F-B491-721E6CF30BCB}" dt="2021-12-22T20:18:56.669" v="30209" actId="207"/>
          <ac:spMkLst>
            <pc:docMk/>
            <pc:sldMk cId="1556245472" sldId="2145707267"/>
            <ac:spMk id="40" creationId="{551DA18D-B257-704C-9B01-981ED0BFCCE0}"/>
          </ac:spMkLst>
        </pc:spChg>
        <pc:spChg chg="mod">
          <ac:chgData name="Nick Robinson" userId="d0c2b313-4ae0-4040-8c6a-fec7a720a7b5" providerId="ADAL" clId="{190131DE-6250-C84F-B491-721E6CF30BCB}" dt="2021-12-22T20:18:56.669" v="30209" actId="207"/>
          <ac:spMkLst>
            <pc:docMk/>
            <pc:sldMk cId="1556245472" sldId="2145707267"/>
            <ac:spMk id="42" creationId="{08601101-FA62-104A-A08A-5797E34F9ED6}"/>
          </ac:spMkLst>
        </pc:spChg>
      </pc:sldChg>
      <pc:sldChg chg="addSp delSp modSp add del mod">
        <pc:chgData name="Nick Robinson" userId="d0c2b313-4ae0-4040-8c6a-fec7a720a7b5" providerId="ADAL" clId="{190131DE-6250-C84F-B491-721E6CF30BCB}" dt="2021-12-21T08:39:25.596" v="20176" actId="2696"/>
        <pc:sldMkLst>
          <pc:docMk/>
          <pc:sldMk cId="257716761" sldId="2145707268"/>
        </pc:sldMkLst>
        <pc:spChg chg="mod">
          <ac:chgData name="Nick Robinson" userId="d0c2b313-4ae0-4040-8c6a-fec7a720a7b5" providerId="ADAL" clId="{190131DE-6250-C84F-B491-721E6CF30BCB}" dt="2021-12-17T10:46:14.077" v="6759" actId="1076"/>
          <ac:spMkLst>
            <pc:docMk/>
            <pc:sldMk cId="257716761" sldId="2145707268"/>
            <ac:spMk id="12" creationId="{363CD306-A4CF-0045-B748-E29F5A0F9D31}"/>
          </ac:spMkLst>
        </pc:spChg>
        <pc:spChg chg="mod">
          <ac:chgData name="Nick Robinson" userId="d0c2b313-4ae0-4040-8c6a-fec7a720a7b5" providerId="ADAL" clId="{190131DE-6250-C84F-B491-721E6CF30BCB}" dt="2021-12-17T10:50:31.829" v="6823" actId="14100"/>
          <ac:spMkLst>
            <pc:docMk/>
            <pc:sldMk cId="257716761" sldId="2145707268"/>
            <ac:spMk id="13" creationId="{CB58FA81-B730-8A46-9E2B-6D4DADEAF5A0}"/>
          </ac:spMkLst>
        </pc:spChg>
        <pc:spChg chg="mod">
          <ac:chgData name="Nick Robinson" userId="d0c2b313-4ae0-4040-8c6a-fec7a720a7b5" providerId="ADAL" clId="{190131DE-6250-C84F-B491-721E6CF30BCB}" dt="2021-12-17T10:49:29.557" v="6808" actId="1076"/>
          <ac:spMkLst>
            <pc:docMk/>
            <pc:sldMk cId="257716761" sldId="2145707268"/>
            <ac:spMk id="14" creationId="{F429D550-A1FA-F747-AEB3-1B00EFCA2E89}"/>
          </ac:spMkLst>
        </pc:spChg>
        <pc:spChg chg="mod">
          <ac:chgData name="Nick Robinson" userId="d0c2b313-4ae0-4040-8c6a-fec7a720a7b5" providerId="ADAL" clId="{190131DE-6250-C84F-B491-721E6CF30BCB}" dt="2021-12-17T10:49:33.527" v="6809" actId="14100"/>
          <ac:spMkLst>
            <pc:docMk/>
            <pc:sldMk cId="257716761" sldId="2145707268"/>
            <ac:spMk id="15" creationId="{113A1493-C3F7-4D47-938D-ED28CA89D9A1}"/>
          </ac:spMkLst>
        </pc:spChg>
        <pc:spChg chg="mod">
          <ac:chgData name="Nick Robinson" userId="d0c2b313-4ae0-4040-8c6a-fec7a720a7b5" providerId="ADAL" clId="{190131DE-6250-C84F-B491-721E6CF30BCB}" dt="2021-12-17T10:50:34.827" v="6824" actId="14100"/>
          <ac:spMkLst>
            <pc:docMk/>
            <pc:sldMk cId="257716761" sldId="2145707268"/>
            <ac:spMk id="17" creationId="{E8E35E51-0209-5945-B654-6D60D76F3E81}"/>
          </ac:spMkLst>
        </pc:spChg>
        <pc:spChg chg="del">
          <ac:chgData name="Nick Robinson" userId="d0c2b313-4ae0-4040-8c6a-fec7a720a7b5" providerId="ADAL" clId="{190131DE-6250-C84F-B491-721E6CF30BCB}" dt="2021-12-17T10:43:37.729" v="6712" actId="478"/>
          <ac:spMkLst>
            <pc:docMk/>
            <pc:sldMk cId="257716761" sldId="2145707268"/>
            <ac:spMk id="21" creationId="{637AE239-D5D8-E246-B457-1416AE252799}"/>
          </ac:spMkLst>
        </pc:spChg>
        <pc:spChg chg="del">
          <ac:chgData name="Nick Robinson" userId="d0c2b313-4ae0-4040-8c6a-fec7a720a7b5" providerId="ADAL" clId="{190131DE-6250-C84F-B491-721E6CF30BCB}" dt="2021-12-17T10:43:35.478" v="6711" actId="478"/>
          <ac:spMkLst>
            <pc:docMk/>
            <pc:sldMk cId="257716761" sldId="2145707268"/>
            <ac:spMk id="22" creationId="{F695EC04-F7C2-0E42-863B-6479EBA27254}"/>
          </ac:spMkLst>
        </pc:spChg>
        <pc:spChg chg="del">
          <ac:chgData name="Nick Robinson" userId="d0c2b313-4ae0-4040-8c6a-fec7a720a7b5" providerId="ADAL" clId="{190131DE-6250-C84F-B491-721E6CF30BCB}" dt="2021-12-17T10:43:40.427" v="6713" actId="478"/>
          <ac:spMkLst>
            <pc:docMk/>
            <pc:sldMk cId="257716761" sldId="2145707268"/>
            <ac:spMk id="23" creationId="{5380CEE4-F451-4949-AD58-7CBAE0A29AD0}"/>
          </ac:spMkLst>
        </pc:spChg>
        <pc:spChg chg="mod">
          <ac:chgData name="Nick Robinson" userId="d0c2b313-4ae0-4040-8c6a-fec7a720a7b5" providerId="ADAL" clId="{190131DE-6250-C84F-B491-721E6CF30BCB}" dt="2021-12-17T10:43:45.128" v="6714" actId="207"/>
          <ac:spMkLst>
            <pc:docMk/>
            <pc:sldMk cId="257716761" sldId="2145707268"/>
            <ac:spMk id="24" creationId="{AA51AAB4-B1E8-FF44-9E53-50EDDB3FD9CF}"/>
          </ac:spMkLst>
        </pc:spChg>
        <pc:spChg chg="mod">
          <ac:chgData name="Nick Robinson" userId="d0c2b313-4ae0-4040-8c6a-fec7a720a7b5" providerId="ADAL" clId="{190131DE-6250-C84F-B491-721E6CF30BCB}" dt="2021-12-17T10:43:51.577" v="6715" actId="207"/>
          <ac:spMkLst>
            <pc:docMk/>
            <pc:sldMk cId="257716761" sldId="2145707268"/>
            <ac:spMk id="37" creationId="{1431FD1C-10E2-8A45-9EEB-37BF2886A0B0}"/>
          </ac:spMkLst>
        </pc:spChg>
        <pc:spChg chg="del">
          <ac:chgData name="Nick Robinson" userId="d0c2b313-4ae0-4040-8c6a-fec7a720a7b5" providerId="ADAL" clId="{190131DE-6250-C84F-B491-721E6CF30BCB}" dt="2021-12-17T10:44:24.243" v="6717" actId="478"/>
          <ac:spMkLst>
            <pc:docMk/>
            <pc:sldMk cId="257716761" sldId="2145707268"/>
            <ac:spMk id="49" creationId="{3B160B54-8135-C245-BDF0-19EEAB77FB3F}"/>
          </ac:spMkLst>
        </pc:spChg>
        <pc:spChg chg="del">
          <ac:chgData name="Nick Robinson" userId="d0c2b313-4ae0-4040-8c6a-fec7a720a7b5" providerId="ADAL" clId="{190131DE-6250-C84F-B491-721E6CF30BCB}" dt="2021-12-17T10:44:24.243" v="6717" actId="478"/>
          <ac:spMkLst>
            <pc:docMk/>
            <pc:sldMk cId="257716761" sldId="2145707268"/>
            <ac:spMk id="50" creationId="{85A7EE27-AF00-7B49-98DD-04D14B3DD6CA}"/>
          </ac:spMkLst>
        </pc:spChg>
        <pc:spChg chg="del">
          <ac:chgData name="Nick Robinson" userId="d0c2b313-4ae0-4040-8c6a-fec7a720a7b5" providerId="ADAL" clId="{190131DE-6250-C84F-B491-721E6CF30BCB}" dt="2021-12-17T10:44:24.243" v="6717" actId="478"/>
          <ac:spMkLst>
            <pc:docMk/>
            <pc:sldMk cId="257716761" sldId="2145707268"/>
            <ac:spMk id="51" creationId="{9C82F8FD-CCD3-5F4A-AC61-504B531AEAC0}"/>
          </ac:spMkLst>
        </pc:spChg>
        <pc:spChg chg="del">
          <ac:chgData name="Nick Robinson" userId="d0c2b313-4ae0-4040-8c6a-fec7a720a7b5" providerId="ADAL" clId="{190131DE-6250-C84F-B491-721E6CF30BCB}" dt="2021-12-17T10:44:24.243" v="6717" actId="478"/>
          <ac:spMkLst>
            <pc:docMk/>
            <pc:sldMk cId="257716761" sldId="2145707268"/>
            <ac:spMk id="52" creationId="{F3862548-BD1F-E848-ADF9-A8145B75B227}"/>
          </ac:spMkLst>
        </pc:spChg>
        <pc:spChg chg="del">
          <ac:chgData name="Nick Robinson" userId="d0c2b313-4ae0-4040-8c6a-fec7a720a7b5" providerId="ADAL" clId="{190131DE-6250-C84F-B491-721E6CF30BCB}" dt="2021-12-17T10:44:24.243" v="6717" actId="478"/>
          <ac:spMkLst>
            <pc:docMk/>
            <pc:sldMk cId="257716761" sldId="2145707268"/>
            <ac:spMk id="53" creationId="{D7B08926-E40A-A748-AB73-C349B904B37B}"/>
          </ac:spMkLst>
        </pc:spChg>
        <pc:spChg chg="del">
          <ac:chgData name="Nick Robinson" userId="d0c2b313-4ae0-4040-8c6a-fec7a720a7b5" providerId="ADAL" clId="{190131DE-6250-C84F-B491-721E6CF30BCB}" dt="2021-12-17T10:44:24.243" v="6717" actId="478"/>
          <ac:spMkLst>
            <pc:docMk/>
            <pc:sldMk cId="257716761" sldId="2145707268"/>
            <ac:spMk id="69" creationId="{9C61636C-C63B-0D41-A80B-249E046F2528}"/>
          </ac:spMkLst>
        </pc:spChg>
        <pc:spChg chg="del">
          <ac:chgData name="Nick Robinson" userId="d0c2b313-4ae0-4040-8c6a-fec7a720a7b5" providerId="ADAL" clId="{190131DE-6250-C84F-B491-721E6CF30BCB}" dt="2021-12-17T10:44:24.243" v="6717" actId="478"/>
          <ac:spMkLst>
            <pc:docMk/>
            <pc:sldMk cId="257716761" sldId="2145707268"/>
            <ac:spMk id="73" creationId="{1B693403-0D16-8D45-A4C8-3E31E89194D6}"/>
          </ac:spMkLst>
        </pc:spChg>
        <pc:spChg chg="del">
          <ac:chgData name="Nick Robinson" userId="d0c2b313-4ae0-4040-8c6a-fec7a720a7b5" providerId="ADAL" clId="{190131DE-6250-C84F-B491-721E6CF30BCB}" dt="2021-12-17T10:44:24.243" v="6717" actId="478"/>
          <ac:spMkLst>
            <pc:docMk/>
            <pc:sldMk cId="257716761" sldId="2145707268"/>
            <ac:spMk id="77" creationId="{77502422-1947-064F-A289-96343FC2F1C2}"/>
          </ac:spMkLst>
        </pc:spChg>
        <pc:spChg chg="del">
          <ac:chgData name="Nick Robinson" userId="d0c2b313-4ae0-4040-8c6a-fec7a720a7b5" providerId="ADAL" clId="{190131DE-6250-C84F-B491-721E6CF30BCB}" dt="2021-12-17T10:44:24.243" v="6717" actId="478"/>
          <ac:spMkLst>
            <pc:docMk/>
            <pc:sldMk cId="257716761" sldId="2145707268"/>
            <ac:spMk id="81" creationId="{AB6AF668-8FDF-9E46-B064-83830C726D89}"/>
          </ac:spMkLst>
        </pc:spChg>
        <pc:spChg chg="del">
          <ac:chgData name="Nick Robinson" userId="d0c2b313-4ae0-4040-8c6a-fec7a720a7b5" providerId="ADAL" clId="{190131DE-6250-C84F-B491-721E6CF30BCB}" dt="2021-12-17T10:44:24.243" v="6717" actId="478"/>
          <ac:spMkLst>
            <pc:docMk/>
            <pc:sldMk cId="257716761" sldId="2145707268"/>
            <ac:spMk id="85" creationId="{2A950C96-DB6B-DD44-85C1-45A0BD560636}"/>
          </ac:spMkLst>
        </pc:spChg>
        <pc:spChg chg="del">
          <ac:chgData name="Nick Robinson" userId="d0c2b313-4ae0-4040-8c6a-fec7a720a7b5" providerId="ADAL" clId="{190131DE-6250-C84F-B491-721E6CF30BCB}" dt="2021-12-17T10:44:24.243" v="6717" actId="478"/>
          <ac:spMkLst>
            <pc:docMk/>
            <pc:sldMk cId="257716761" sldId="2145707268"/>
            <ac:spMk id="86" creationId="{C4EDEAB4-FC7C-A840-BA07-4DB25C2212F9}"/>
          </ac:spMkLst>
        </pc:spChg>
        <pc:spChg chg="del">
          <ac:chgData name="Nick Robinson" userId="d0c2b313-4ae0-4040-8c6a-fec7a720a7b5" providerId="ADAL" clId="{190131DE-6250-C84F-B491-721E6CF30BCB}" dt="2021-12-17T10:44:24.243" v="6717" actId="478"/>
          <ac:spMkLst>
            <pc:docMk/>
            <pc:sldMk cId="257716761" sldId="2145707268"/>
            <ac:spMk id="87" creationId="{7AE20C36-C481-E545-8E69-748C8126C617}"/>
          </ac:spMkLst>
        </pc:spChg>
        <pc:spChg chg="del">
          <ac:chgData name="Nick Robinson" userId="d0c2b313-4ae0-4040-8c6a-fec7a720a7b5" providerId="ADAL" clId="{190131DE-6250-C84F-B491-721E6CF30BCB}" dt="2021-12-17T10:44:24.243" v="6717" actId="478"/>
          <ac:spMkLst>
            <pc:docMk/>
            <pc:sldMk cId="257716761" sldId="2145707268"/>
            <ac:spMk id="88" creationId="{A96C060B-BB4D-0149-B253-2601956F19E3}"/>
          </ac:spMkLst>
        </pc:spChg>
        <pc:spChg chg="del">
          <ac:chgData name="Nick Robinson" userId="d0c2b313-4ae0-4040-8c6a-fec7a720a7b5" providerId="ADAL" clId="{190131DE-6250-C84F-B491-721E6CF30BCB}" dt="2021-12-17T10:44:24.243" v="6717" actId="478"/>
          <ac:spMkLst>
            <pc:docMk/>
            <pc:sldMk cId="257716761" sldId="2145707268"/>
            <ac:spMk id="104" creationId="{A3162C21-BD7B-1549-BB52-62D337F4CF6F}"/>
          </ac:spMkLst>
        </pc:spChg>
        <pc:spChg chg="del">
          <ac:chgData name="Nick Robinson" userId="d0c2b313-4ae0-4040-8c6a-fec7a720a7b5" providerId="ADAL" clId="{190131DE-6250-C84F-B491-721E6CF30BCB}" dt="2021-12-17T10:44:24.243" v="6717" actId="478"/>
          <ac:spMkLst>
            <pc:docMk/>
            <pc:sldMk cId="257716761" sldId="2145707268"/>
            <ac:spMk id="105" creationId="{524E999D-4F7C-5840-A3A5-275237DD76E8}"/>
          </ac:spMkLst>
        </pc:spChg>
        <pc:spChg chg="del">
          <ac:chgData name="Nick Robinson" userId="d0c2b313-4ae0-4040-8c6a-fec7a720a7b5" providerId="ADAL" clId="{190131DE-6250-C84F-B491-721E6CF30BCB}" dt="2021-12-17T10:44:24.243" v="6717" actId="478"/>
          <ac:spMkLst>
            <pc:docMk/>
            <pc:sldMk cId="257716761" sldId="2145707268"/>
            <ac:spMk id="106" creationId="{B833BF3F-AB43-8448-BF0B-1D5A05EDCC7C}"/>
          </ac:spMkLst>
        </pc:spChg>
        <pc:spChg chg="del">
          <ac:chgData name="Nick Robinson" userId="d0c2b313-4ae0-4040-8c6a-fec7a720a7b5" providerId="ADAL" clId="{190131DE-6250-C84F-B491-721E6CF30BCB}" dt="2021-12-17T10:44:24.243" v="6717" actId="478"/>
          <ac:spMkLst>
            <pc:docMk/>
            <pc:sldMk cId="257716761" sldId="2145707268"/>
            <ac:spMk id="116" creationId="{B7B0788E-F9B0-5948-A64C-A5E3DE40E2EE}"/>
          </ac:spMkLst>
        </pc:spChg>
        <pc:spChg chg="del">
          <ac:chgData name="Nick Robinson" userId="d0c2b313-4ae0-4040-8c6a-fec7a720a7b5" providerId="ADAL" clId="{190131DE-6250-C84F-B491-721E6CF30BCB}" dt="2021-12-17T10:44:24.243" v="6717" actId="478"/>
          <ac:spMkLst>
            <pc:docMk/>
            <pc:sldMk cId="257716761" sldId="2145707268"/>
            <ac:spMk id="117" creationId="{BF07D350-01C9-9948-8A7C-DCF2543E15BD}"/>
          </ac:spMkLst>
        </pc:spChg>
        <pc:spChg chg="del">
          <ac:chgData name="Nick Robinson" userId="d0c2b313-4ae0-4040-8c6a-fec7a720a7b5" providerId="ADAL" clId="{190131DE-6250-C84F-B491-721E6CF30BCB}" dt="2021-12-17T10:44:24.243" v="6717" actId="478"/>
          <ac:spMkLst>
            <pc:docMk/>
            <pc:sldMk cId="257716761" sldId="2145707268"/>
            <ac:spMk id="118" creationId="{89073BDE-A257-114B-80FC-B9A0548B948C}"/>
          </ac:spMkLst>
        </pc:spChg>
        <pc:spChg chg="del">
          <ac:chgData name="Nick Robinson" userId="d0c2b313-4ae0-4040-8c6a-fec7a720a7b5" providerId="ADAL" clId="{190131DE-6250-C84F-B491-721E6CF30BCB}" dt="2021-12-17T10:44:24.243" v="6717" actId="478"/>
          <ac:spMkLst>
            <pc:docMk/>
            <pc:sldMk cId="257716761" sldId="2145707268"/>
            <ac:spMk id="128" creationId="{633C4182-9DDB-E046-B0C8-9056B8D1F9BE}"/>
          </ac:spMkLst>
        </pc:spChg>
        <pc:spChg chg="del">
          <ac:chgData name="Nick Robinson" userId="d0c2b313-4ae0-4040-8c6a-fec7a720a7b5" providerId="ADAL" clId="{190131DE-6250-C84F-B491-721E6CF30BCB}" dt="2021-12-17T10:44:24.243" v="6717" actId="478"/>
          <ac:spMkLst>
            <pc:docMk/>
            <pc:sldMk cId="257716761" sldId="2145707268"/>
            <ac:spMk id="132" creationId="{7F501727-EEBA-0B4D-A310-7E0455EF4D31}"/>
          </ac:spMkLst>
        </pc:spChg>
        <pc:spChg chg="del">
          <ac:chgData name="Nick Robinson" userId="d0c2b313-4ae0-4040-8c6a-fec7a720a7b5" providerId="ADAL" clId="{190131DE-6250-C84F-B491-721E6CF30BCB}" dt="2021-12-17T10:44:24.243" v="6717" actId="478"/>
          <ac:spMkLst>
            <pc:docMk/>
            <pc:sldMk cId="257716761" sldId="2145707268"/>
            <ac:spMk id="136" creationId="{A1A2D1ED-BCE7-B94A-A041-45D49C4A214F}"/>
          </ac:spMkLst>
        </pc:spChg>
        <pc:spChg chg="del">
          <ac:chgData name="Nick Robinson" userId="d0c2b313-4ae0-4040-8c6a-fec7a720a7b5" providerId="ADAL" clId="{190131DE-6250-C84F-B491-721E6CF30BCB}" dt="2021-12-17T10:44:24.243" v="6717" actId="478"/>
          <ac:spMkLst>
            <pc:docMk/>
            <pc:sldMk cId="257716761" sldId="2145707268"/>
            <ac:spMk id="137" creationId="{018BFF36-3662-1B43-9B23-F84B64FB2AB7}"/>
          </ac:spMkLst>
        </pc:spChg>
        <pc:spChg chg="del">
          <ac:chgData name="Nick Robinson" userId="d0c2b313-4ae0-4040-8c6a-fec7a720a7b5" providerId="ADAL" clId="{190131DE-6250-C84F-B491-721E6CF30BCB}" dt="2021-12-17T10:44:24.243" v="6717" actId="478"/>
          <ac:spMkLst>
            <pc:docMk/>
            <pc:sldMk cId="257716761" sldId="2145707268"/>
            <ac:spMk id="138" creationId="{8413F3D5-F93C-C942-B309-E105AE447DC5}"/>
          </ac:spMkLst>
        </pc:spChg>
        <pc:spChg chg="del">
          <ac:chgData name="Nick Robinson" userId="d0c2b313-4ae0-4040-8c6a-fec7a720a7b5" providerId="ADAL" clId="{190131DE-6250-C84F-B491-721E6CF30BCB}" dt="2021-12-17T10:44:24.243" v="6717" actId="478"/>
          <ac:spMkLst>
            <pc:docMk/>
            <pc:sldMk cId="257716761" sldId="2145707268"/>
            <ac:spMk id="139" creationId="{AF3CFC7E-A9FE-594B-9ABE-5BB854D01326}"/>
          </ac:spMkLst>
        </pc:spChg>
        <pc:spChg chg="mod">
          <ac:chgData name="Nick Robinson" userId="d0c2b313-4ae0-4040-8c6a-fec7a720a7b5" providerId="ADAL" clId="{190131DE-6250-C84F-B491-721E6CF30BCB}" dt="2021-12-17T10:43:51.577" v="6715" actId="207"/>
          <ac:spMkLst>
            <pc:docMk/>
            <pc:sldMk cId="257716761" sldId="2145707268"/>
            <ac:spMk id="154" creationId="{970F1F84-4939-1B41-BD75-252C48AF2795}"/>
          </ac:spMkLst>
        </pc:spChg>
        <pc:spChg chg="mod">
          <ac:chgData name="Nick Robinson" userId="d0c2b313-4ae0-4040-8c6a-fec7a720a7b5" providerId="ADAL" clId="{190131DE-6250-C84F-B491-721E6CF30BCB}" dt="2021-12-17T10:43:51.577" v="6715" actId="207"/>
          <ac:spMkLst>
            <pc:docMk/>
            <pc:sldMk cId="257716761" sldId="2145707268"/>
            <ac:spMk id="158" creationId="{2BA3B0ED-E3BA-834F-98EE-65FDF0CCE8D6}"/>
          </ac:spMkLst>
        </pc:spChg>
        <pc:spChg chg="mod">
          <ac:chgData name="Nick Robinson" userId="d0c2b313-4ae0-4040-8c6a-fec7a720a7b5" providerId="ADAL" clId="{190131DE-6250-C84F-B491-721E6CF30BCB}" dt="2021-12-17T10:43:51.577" v="6715" actId="207"/>
          <ac:spMkLst>
            <pc:docMk/>
            <pc:sldMk cId="257716761" sldId="2145707268"/>
            <ac:spMk id="161" creationId="{E84727B2-4E52-AA4A-A8F0-A2973CB9E7B3}"/>
          </ac:spMkLst>
        </pc:spChg>
        <pc:spChg chg="mod">
          <ac:chgData name="Nick Robinson" userId="d0c2b313-4ae0-4040-8c6a-fec7a720a7b5" providerId="ADAL" clId="{190131DE-6250-C84F-B491-721E6CF30BCB}" dt="2021-12-17T10:43:51.577" v="6715" actId="207"/>
          <ac:spMkLst>
            <pc:docMk/>
            <pc:sldMk cId="257716761" sldId="2145707268"/>
            <ac:spMk id="164" creationId="{E93E7A7C-31FD-D74A-9157-A07D71649252}"/>
          </ac:spMkLst>
        </pc:spChg>
        <pc:spChg chg="mod">
          <ac:chgData name="Nick Robinson" userId="d0c2b313-4ae0-4040-8c6a-fec7a720a7b5" providerId="ADAL" clId="{190131DE-6250-C84F-B491-721E6CF30BCB}" dt="2021-12-17T10:43:51.577" v="6715" actId="207"/>
          <ac:spMkLst>
            <pc:docMk/>
            <pc:sldMk cId="257716761" sldId="2145707268"/>
            <ac:spMk id="167" creationId="{062EEBF8-3EBF-1F44-9311-5032E6847346}"/>
          </ac:spMkLst>
        </pc:spChg>
        <pc:spChg chg="mod">
          <ac:chgData name="Nick Robinson" userId="d0c2b313-4ae0-4040-8c6a-fec7a720a7b5" providerId="ADAL" clId="{190131DE-6250-C84F-B491-721E6CF30BCB}" dt="2021-12-17T10:43:51.577" v="6715" actId="207"/>
          <ac:spMkLst>
            <pc:docMk/>
            <pc:sldMk cId="257716761" sldId="2145707268"/>
            <ac:spMk id="170" creationId="{B7844D8D-E562-1849-B999-BFEC3EA30733}"/>
          </ac:spMkLst>
        </pc:spChg>
        <pc:spChg chg="mod">
          <ac:chgData name="Nick Robinson" userId="d0c2b313-4ae0-4040-8c6a-fec7a720a7b5" providerId="ADAL" clId="{190131DE-6250-C84F-B491-721E6CF30BCB}" dt="2021-12-17T10:43:51.577" v="6715" actId="207"/>
          <ac:spMkLst>
            <pc:docMk/>
            <pc:sldMk cId="257716761" sldId="2145707268"/>
            <ac:spMk id="173" creationId="{770E5AEF-8856-C341-BFD1-40556C65C003}"/>
          </ac:spMkLst>
        </pc:spChg>
        <pc:spChg chg="mod">
          <ac:chgData name="Nick Robinson" userId="d0c2b313-4ae0-4040-8c6a-fec7a720a7b5" providerId="ADAL" clId="{190131DE-6250-C84F-B491-721E6CF30BCB}" dt="2021-12-17T10:44:39.262" v="6723"/>
          <ac:spMkLst>
            <pc:docMk/>
            <pc:sldMk cId="257716761" sldId="2145707268"/>
            <ac:spMk id="181" creationId="{E6A9C9EC-4C5E-AD49-AEB2-178CD20D5B93}"/>
          </ac:spMkLst>
        </pc:spChg>
        <pc:spChg chg="mod">
          <ac:chgData name="Nick Robinson" userId="d0c2b313-4ae0-4040-8c6a-fec7a720a7b5" providerId="ADAL" clId="{190131DE-6250-C84F-B491-721E6CF30BCB}" dt="2021-12-17T10:44:39.262" v="6723"/>
          <ac:spMkLst>
            <pc:docMk/>
            <pc:sldMk cId="257716761" sldId="2145707268"/>
            <ac:spMk id="184" creationId="{879EACD9-E040-C243-9313-9BED0B0961C9}"/>
          </ac:spMkLst>
        </pc:spChg>
        <pc:spChg chg="mod">
          <ac:chgData name="Nick Robinson" userId="d0c2b313-4ae0-4040-8c6a-fec7a720a7b5" providerId="ADAL" clId="{190131DE-6250-C84F-B491-721E6CF30BCB}" dt="2021-12-17T10:44:39.262" v="6723"/>
          <ac:spMkLst>
            <pc:docMk/>
            <pc:sldMk cId="257716761" sldId="2145707268"/>
            <ac:spMk id="187" creationId="{9ADB35F5-5846-5F47-82D2-E1CED0AC77CD}"/>
          </ac:spMkLst>
        </pc:spChg>
        <pc:spChg chg="mod">
          <ac:chgData name="Nick Robinson" userId="d0c2b313-4ae0-4040-8c6a-fec7a720a7b5" providerId="ADAL" clId="{190131DE-6250-C84F-B491-721E6CF30BCB}" dt="2021-12-17T10:44:39.262" v="6723"/>
          <ac:spMkLst>
            <pc:docMk/>
            <pc:sldMk cId="257716761" sldId="2145707268"/>
            <ac:spMk id="190" creationId="{4FAAF3BE-4E68-494C-8713-7DB7A84063A3}"/>
          </ac:spMkLst>
        </pc:spChg>
        <pc:spChg chg="mod">
          <ac:chgData name="Nick Robinson" userId="d0c2b313-4ae0-4040-8c6a-fec7a720a7b5" providerId="ADAL" clId="{190131DE-6250-C84F-B491-721E6CF30BCB}" dt="2021-12-17T10:50:19.477" v="6820" actId="14100"/>
          <ac:spMkLst>
            <pc:docMk/>
            <pc:sldMk cId="257716761" sldId="2145707268"/>
            <ac:spMk id="193" creationId="{BE66D792-D83F-4844-ADEF-A4BD1422887B}"/>
          </ac:spMkLst>
        </pc:spChg>
        <pc:spChg chg="mod">
          <ac:chgData name="Nick Robinson" userId="d0c2b313-4ae0-4040-8c6a-fec7a720a7b5" providerId="ADAL" clId="{190131DE-6250-C84F-B491-721E6CF30BCB}" dt="2021-12-17T10:50:25.027" v="6821" actId="14100"/>
          <ac:spMkLst>
            <pc:docMk/>
            <pc:sldMk cId="257716761" sldId="2145707268"/>
            <ac:spMk id="194" creationId="{EDB0FC32-B142-8048-A0B8-7BBA4B7C3B83}"/>
          </ac:spMkLst>
        </pc:spChg>
        <pc:spChg chg="mod">
          <ac:chgData name="Nick Robinson" userId="d0c2b313-4ae0-4040-8c6a-fec7a720a7b5" providerId="ADAL" clId="{190131DE-6250-C84F-B491-721E6CF30BCB}" dt="2021-12-17T10:44:39.262" v="6723"/>
          <ac:spMkLst>
            <pc:docMk/>
            <pc:sldMk cId="257716761" sldId="2145707268"/>
            <ac:spMk id="195" creationId="{DA257F02-EF81-3C4E-9708-A2E104A60CEE}"/>
          </ac:spMkLst>
        </pc:spChg>
        <pc:spChg chg="mod">
          <ac:chgData name="Nick Robinson" userId="d0c2b313-4ae0-4040-8c6a-fec7a720a7b5" providerId="ADAL" clId="{190131DE-6250-C84F-B491-721E6CF30BCB}" dt="2021-12-17T10:44:50.090" v="6726"/>
          <ac:spMkLst>
            <pc:docMk/>
            <pc:sldMk cId="257716761" sldId="2145707268"/>
            <ac:spMk id="198" creationId="{67167765-B65F-1945-BA46-C8072858A50F}"/>
          </ac:spMkLst>
        </pc:spChg>
        <pc:spChg chg="mod">
          <ac:chgData name="Nick Robinson" userId="d0c2b313-4ae0-4040-8c6a-fec7a720a7b5" providerId="ADAL" clId="{190131DE-6250-C84F-B491-721E6CF30BCB}" dt="2021-12-17T10:44:50.090" v="6726"/>
          <ac:spMkLst>
            <pc:docMk/>
            <pc:sldMk cId="257716761" sldId="2145707268"/>
            <ac:spMk id="201" creationId="{B0E79D7F-801A-324D-B2B9-B033D5890A14}"/>
          </ac:spMkLst>
        </pc:spChg>
        <pc:spChg chg="mod">
          <ac:chgData name="Nick Robinson" userId="d0c2b313-4ae0-4040-8c6a-fec7a720a7b5" providerId="ADAL" clId="{190131DE-6250-C84F-B491-721E6CF30BCB}" dt="2021-12-17T10:44:50.090" v="6726"/>
          <ac:spMkLst>
            <pc:docMk/>
            <pc:sldMk cId="257716761" sldId="2145707268"/>
            <ac:spMk id="204" creationId="{CC55983A-33A4-5E45-AA7C-BF59B05F278B}"/>
          </ac:spMkLst>
        </pc:spChg>
        <pc:spChg chg="mod">
          <ac:chgData name="Nick Robinson" userId="d0c2b313-4ae0-4040-8c6a-fec7a720a7b5" providerId="ADAL" clId="{190131DE-6250-C84F-B491-721E6CF30BCB}" dt="2021-12-17T10:44:50.090" v="6726"/>
          <ac:spMkLst>
            <pc:docMk/>
            <pc:sldMk cId="257716761" sldId="2145707268"/>
            <ac:spMk id="207" creationId="{FFBC6BF6-0F50-774E-BB53-A88E13506D47}"/>
          </ac:spMkLst>
        </pc:spChg>
        <pc:spChg chg="mod">
          <ac:chgData name="Nick Robinson" userId="d0c2b313-4ae0-4040-8c6a-fec7a720a7b5" providerId="ADAL" clId="{190131DE-6250-C84F-B491-721E6CF30BCB}" dt="2021-12-17T10:44:50.090" v="6726"/>
          <ac:spMkLst>
            <pc:docMk/>
            <pc:sldMk cId="257716761" sldId="2145707268"/>
            <ac:spMk id="210" creationId="{7C50CF56-9717-1F41-B36E-04C3E9C2F889}"/>
          </ac:spMkLst>
        </pc:spChg>
        <pc:spChg chg="mod">
          <ac:chgData name="Nick Robinson" userId="d0c2b313-4ae0-4040-8c6a-fec7a720a7b5" providerId="ADAL" clId="{190131DE-6250-C84F-B491-721E6CF30BCB}" dt="2021-12-17T10:44:55.613" v="6728"/>
          <ac:spMkLst>
            <pc:docMk/>
            <pc:sldMk cId="257716761" sldId="2145707268"/>
            <ac:spMk id="213" creationId="{0E2F76CA-3449-E441-B257-A063B2076877}"/>
          </ac:spMkLst>
        </pc:spChg>
        <pc:spChg chg="mod">
          <ac:chgData name="Nick Robinson" userId="d0c2b313-4ae0-4040-8c6a-fec7a720a7b5" providerId="ADAL" clId="{190131DE-6250-C84F-B491-721E6CF30BCB}" dt="2021-12-17T10:44:55.613" v="6728"/>
          <ac:spMkLst>
            <pc:docMk/>
            <pc:sldMk cId="257716761" sldId="2145707268"/>
            <ac:spMk id="216" creationId="{5B87BD89-3501-8E4B-B67A-016E5D4683E3}"/>
          </ac:spMkLst>
        </pc:spChg>
        <pc:spChg chg="mod">
          <ac:chgData name="Nick Robinson" userId="d0c2b313-4ae0-4040-8c6a-fec7a720a7b5" providerId="ADAL" clId="{190131DE-6250-C84F-B491-721E6CF30BCB}" dt="2021-12-17T10:44:55.613" v="6728"/>
          <ac:spMkLst>
            <pc:docMk/>
            <pc:sldMk cId="257716761" sldId="2145707268"/>
            <ac:spMk id="219" creationId="{0B612EE8-C55D-924D-9E37-C1A38F6B99D1}"/>
          </ac:spMkLst>
        </pc:spChg>
        <pc:spChg chg="mod">
          <ac:chgData name="Nick Robinson" userId="d0c2b313-4ae0-4040-8c6a-fec7a720a7b5" providerId="ADAL" clId="{190131DE-6250-C84F-B491-721E6CF30BCB}" dt="2021-12-17T10:44:55.613" v="6728"/>
          <ac:spMkLst>
            <pc:docMk/>
            <pc:sldMk cId="257716761" sldId="2145707268"/>
            <ac:spMk id="222" creationId="{3F8DEDD9-4525-4648-86EC-D426C8BF4287}"/>
          </ac:spMkLst>
        </pc:spChg>
        <pc:spChg chg="mod">
          <ac:chgData name="Nick Robinson" userId="d0c2b313-4ae0-4040-8c6a-fec7a720a7b5" providerId="ADAL" clId="{190131DE-6250-C84F-B491-721E6CF30BCB}" dt="2021-12-17T10:44:55.613" v="6728"/>
          <ac:spMkLst>
            <pc:docMk/>
            <pc:sldMk cId="257716761" sldId="2145707268"/>
            <ac:spMk id="225" creationId="{C3773BA3-D987-3942-B46D-A549FB8DAFB8}"/>
          </ac:spMkLst>
        </pc:spChg>
        <pc:spChg chg="mod">
          <ac:chgData name="Nick Robinson" userId="d0c2b313-4ae0-4040-8c6a-fec7a720a7b5" providerId="ADAL" clId="{190131DE-6250-C84F-B491-721E6CF30BCB}" dt="2021-12-17T10:44:57.866" v="6730"/>
          <ac:spMkLst>
            <pc:docMk/>
            <pc:sldMk cId="257716761" sldId="2145707268"/>
            <ac:spMk id="228" creationId="{41B22C31-53AA-634A-BE69-827A01B2D21A}"/>
          </ac:spMkLst>
        </pc:spChg>
        <pc:spChg chg="mod">
          <ac:chgData name="Nick Robinson" userId="d0c2b313-4ae0-4040-8c6a-fec7a720a7b5" providerId="ADAL" clId="{190131DE-6250-C84F-B491-721E6CF30BCB}" dt="2021-12-17T10:44:57.866" v="6730"/>
          <ac:spMkLst>
            <pc:docMk/>
            <pc:sldMk cId="257716761" sldId="2145707268"/>
            <ac:spMk id="231" creationId="{C9B40423-6E6D-7A48-A258-2D0F7AB8C42C}"/>
          </ac:spMkLst>
        </pc:spChg>
        <pc:spChg chg="mod">
          <ac:chgData name="Nick Robinson" userId="d0c2b313-4ae0-4040-8c6a-fec7a720a7b5" providerId="ADAL" clId="{190131DE-6250-C84F-B491-721E6CF30BCB}" dt="2021-12-17T10:44:57.866" v="6730"/>
          <ac:spMkLst>
            <pc:docMk/>
            <pc:sldMk cId="257716761" sldId="2145707268"/>
            <ac:spMk id="234" creationId="{5398AEC2-0CBD-3044-B0FC-E7DA2EAC314A}"/>
          </ac:spMkLst>
        </pc:spChg>
        <pc:spChg chg="mod">
          <ac:chgData name="Nick Robinson" userId="d0c2b313-4ae0-4040-8c6a-fec7a720a7b5" providerId="ADAL" clId="{190131DE-6250-C84F-B491-721E6CF30BCB}" dt="2021-12-17T10:44:57.866" v="6730"/>
          <ac:spMkLst>
            <pc:docMk/>
            <pc:sldMk cId="257716761" sldId="2145707268"/>
            <ac:spMk id="237" creationId="{C6685DD3-CA75-1A41-92F4-8BB470C848FE}"/>
          </ac:spMkLst>
        </pc:spChg>
        <pc:spChg chg="mod">
          <ac:chgData name="Nick Robinson" userId="d0c2b313-4ae0-4040-8c6a-fec7a720a7b5" providerId="ADAL" clId="{190131DE-6250-C84F-B491-721E6CF30BCB}" dt="2021-12-17T10:44:57.866" v="6730"/>
          <ac:spMkLst>
            <pc:docMk/>
            <pc:sldMk cId="257716761" sldId="2145707268"/>
            <ac:spMk id="240" creationId="{A3D47C47-ED83-DC4E-BF00-D262FA8B6CDF}"/>
          </ac:spMkLst>
        </pc:spChg>
        <pc:spChg chg="mod">
          <ac:chgData name="Nick Robinson" userId="d0c2b313-4ae0-4040-8c6a-fec7a720a7b5" providerId="ADAL" clId="{190131DE-6250-C84F-B491-721E6CF30BCB}" dt="2021-12-17T10:48:18.494" v="6788" actId="207"/>
          <ac:spMkLst>
            <pc:docMk/>
            <pc:sldMk cId="257716761" sldId="2145707268"/>
            <ac:spMk id="243" creationId="{339F75D4-9D6E-6B4C-AB1F-87BC7E289FA9}"/>
          </ac:spMkLst>
        </pc:spChg>
        <pc:spChg chg="mod">
          <ac:chgData name="Nick Robinson" userId="d0c2b313-4ae0-4040-8c6a-fec7a720a7b5" providerId="ADAL" clId="{190131DE-6250-C84F-B491-721E6CF30BCB}" dt="2021-12-17T10:48:18.494" v="6788" actId="207"/>
          <ac:spMkLst>
            <pc:docMk/>
            <pc:sldMk cId="257716761" sldId="2145707268"/>
            <ac:spMk id="246" creationId="{52BA11BE-88A2-8243-9483-55D57985884C}"/>
          </ac:spMkLst>
        </pc:spChg>
        <pc:spChg chg="mod">
          <ac:chgData name="Nick Robinson" userId="d0c2b313-4ae0-4040-8c6a-fec7a720a7b5" providerId="ADAL" clId="{190131DE-6250-C84F-B491-721E6CF30BCB}" dt="2021-12-17T10:48:18.494" v="6788" actId="207"/>
          <ac:spMkLst>
            <pc:docMk/>
            <pc:sldMk cId="257716761" sldId="2145707268"/>
            <ac:spMk id="249" creationId="{9324912B-F24A-C84D-B38E-0BFB6D468C0B}"/>
          </ac:spMkLst>
        </pc:spChg>
        <pc:spChg chg="mod">
          <ac:chgData name="Nick Robinson" userId="d0c2b313-4ae0-4040-8c6a-fec7a720a7b5" providerId="ADAL" clId="{190131DE-6250-C84F-B491-721E6CF30BCB}" dt="2021-12-17T10:48:18.494" v="6788" actId="207"/>
          <ac:spMkLst>
            <pc:docMk/>
            <pc:sldMk cId="257716761" sldId="2145707268"/>
            <ac:spMk id="252" creationId="{3EA35967-A4AE-9B4A-919C-3B2C5F8F6045}"/>
          </ac:spMkLst>
        </pc:spChg>
        <pc:spChg chg="mod">
          <ac:chgData name="Nick Robinson" userId="d0c2b313-4ae0-4040-8c6a-fec7a720a7b5" providerId="ADAL" clId="{190131DE-6250-C84F-B491-721E6CF30BCB}" dt="2021-12-17T10:48:18.494" v="6788" actId="207"/>
          <ac:spMkLst>
            <pc:docMk/>
            <pc:sldMk cId="257716761" sldId="2145707268"/>
            <ac:spMk id="255" creationId="{19D8D1A7-8121-6D4C-9FBE-A3A7379908AE}"/>
          </ac:spMkLst>
        </pc:spChg>
        <pc:spChg chg="mod">
          <ac:chgData name="Nick Robinson" userId="d0c2b313-4ae0-4040-8c6a-fec7a720a7b5" providerId="ADAL" clId="{190131DE-6250-C84F-B491-721E6CF30BCB}" dt="2021-12-17T10:48:18.494" v="6788" actId="207"/>
          <ac:spMkLst>
            <pc:docMk/>
            <pc:sldMk cId="257716761" sldId="2145707268"/>
            <ac:spMk id="258" creationId="{A70FF721-97BE-4B47-A5B3-F2B5CA780C52}"/>
          </ac:spMkLst>
        </pc:spChg>
        <pc:spChg chg="mod">
          <ac:chgData name="Nick Robinson" userId="d0c2b313-4ae0-4040-8c6a-fec7a720a7b5" providerId="ADAL" clId="{190131DE-6250-C84F-B491-721E6CF30BCB}" dt="2021-12-17T10:48:18.494" v="6788" actId="207"/>
          <ac:spMkLst>
            <pc:docMk/>
            <pc:sldMk cId="257716761" sldId="2145707268"/>
            <ac:spMk id="261" creationId="{7D6FB48F-C716-E342-B53D-C57E1243C54B}"/>
          </ac:spMkLst>
        </pc:spChg>
        <pc:spChg chg="mod">
          <ac:chgData name="Nick Robinson" userId="d0c2b313-4ae0-4040-8c6a-fec7a720a7b5" providerId="ADAL" clId="{190131DE-6250-C84F-B491-721E6CF30BCB}" dt="2021-12-17T10:48:18.494" v="6788" actId="207"/>
          <ac:spMkLst>
            <pc:docMk/>
            <pc:sldMk cId="257716761" sldId="2145707268"/>
            <ac:spMk id="264" creationId="{940C6933-EB68-6648-8A2E-49A2DE70FCBE}"/>
          </ac:spMkLst>
        </pc:spChg>
        <pc:spChg chg="mod">
          <ac:chgData name="Nick Robinson" userId="d0c2b313-4ae0-4040-8c6a-fec7a720a7b5" providerId="ADAL" clId="{190131DE-6250-C84F-B491-721E6CF30BCB}" dt="2021-12-17T10:48:18.494" v="6788" actId="207"/>
          <ac:spMkLst>
            <pc:docMk/>
            <pc:sldMk cId="257716761" sldId="2145707268"/>
            <ac:spMk id="267" creationId="{6AC754D9-49DB-7B46-8BE3-5575A24041CE}"/>
          </ac:spMkLst>
        </pc:spChg>
        <pc:spChg chg="mod">
          <ac:chgData name="Nick Robinson" userId="d0c2b313-4ae0-4040-8c6a-fec7a720a7b5" providerId="ADAL" clId="{190131DE-6250-C84F-B491-721E6CF30BCB}" dt="2021-12-17T10:48:18.494" v="6788" actId="207"/>
          <ac:spMkLst>
            <pc:docMk/>
            <pc:sldMk cId="257716761" sldId="2145707268"/>
            <ac:spMk id="270" creationId="{62247177-828D-B94D-A863-779EE0376E06}"/>
          </ac:spMkLst>
        </pc:spChg>
        <pc:spChg chg="mod">
          <ac:chgData name="Nick Robinson" userId="d0c2b313-4ae0-4040-8c6a-fec7a720a7b5" providerId="ADAL" clId="{190131DE-6250-C84F-B491-721E6CF30BCB}" dt="2021-12-17T10:48:18.494" v="6788" actId="207"/>
          <ac:spMkLst>
            <pc:docMk/>
            <pc:sldMk cId="257716761" sldId="2145707268"/>
            <ac:spMk id="273" creationId="{923DEA53-D5DE-2341-8D2E-5D7942DFE500}"/>
          </ac:spMkLst>
        </pc:spChg>
        <pc:spChg chg="mod">
          <ac:chgData name="Nick Robinson" userId="d0c2b313-4ae0-4040-8c6a-fec7a720a7b5" providerId="ADAL" clId="{190131DE-6250-C84F-B491-721E6CF30BCB}" dt="2021-12-17T10:48:18.494" v="6788" actId="207"/>
          <ac:spMkLst>
            <pc:docMk/>
            <pc:sldMk cId="257716761" sldId="2145707268"/>
            <ac:spMk id="276" creationId="{9255E5E7-0E61-654D-B325-DAC5C5863EEA}"/>
          </ac:spMkLst>
        </pc:spChg>
        <pc:spChg chg="mod">
          <ac:chgData name="Nick Robinson" userId="d0c2b313-4ae0-4040-8c6a-fec7a720a7b5" providerId="ADAL" clId="{190131DE-6250-C84F-B491-721E6CF30BCB}" dt="2021-12-17T10:48:18.494" v="6788" actId="207"/>
          <ac:spMkLst>
            <pc:docMk/>
            <pc:sldMk cId="257716761" sldId="2145707268"/>
            <ac:spMk id="279" creationId="{7DC0B8F5-3238-3849-9B9C-3ACB19EEDC21}"/>
          </ac:spMkLst>
        </pc:spChg>
        <pc:spChg chg="mod">
          <ac:chgData name="Nick Robinson" userId="d0c2b313-4ae0-4040-8c6a-fec7a720a7b5" providerId="ADAL" clId="{190131DE-6250-C84F-B491-721E6CF30BCB}" dt="2021-12-17T10:48:18.494" v="6788" actId="207"/>
          <ac:spMkLst>
            <pc:docMk/>
            <pc:sldMk cId="257716761" sldId="2145707268"/>
            <ac:spMk id="282" creationId="{6C52BF31-2CB5-6A47-BD8F-8FB23BC720AB}"/>
          </ac:spMkLst>
        </pc:spChg>
        <pc:spChg chg="mod">
          <ac:chgData name="Nick Robinson" userId="d0c2b313-4ae0-4040-8c6a-fec7a720a7b5" providerId="ADAL" clId="{190131DE-6250-C84F-B491-721E6CF30BCB}" dt="2021-12-17T10:48:18.494" v="6788" actId="207"/>
          <ac:spMkLst>
            <pc:docMk/>
            <pc:sldMk cId="257716761" sldId="2145707268"/>
            <ac:spMk id="285" creationId="{822ED443-1D35-3344-8BEA-22D3F68D70F7}"/>
          </ac:spMkLst>
        </pc:spChg>
        <pc:spChg chg="mod">
          <ac:chgData name="Nick Robinson" userId="d0c2b313-4ae0-4040-8c6a-fec7a720a7b5" providerId="ADAL" clId="{190131DE-6250-C84F-B491-721E6CF30BCB}" dt="2021-12-17T10:48:18.494" v="6788" actId="207"/>
          <ac:spMkLst>
            <pc:docMk/>
            <pc:sldMk cId="257716761" sldId="2145707268"/>
            <ac:spMk id="288" creationId="{065B8509-095D-3046-9424-78ABD4023409}"/>
          </ac:spMkLst>
        </pc:spChg>
        <pc:spChg chg="mod">
          <ac:chgData name="Nick Robinson" userId="d0c2b313-4ae0-4040-8c6a-fec7a720a7b5" providerId="ADAL" clId="{190131DE-6250-C84F-B491-721E6CF30BCB}" dt="2021-12-17T10:48:18.494" v="6788" actId="207"/>
          <ac:spMkLst>
            <pc:docMk/>
            <pc:sldMk cId="257716761" sldId="2145707268"/>
            <ac:spMk id="291" creationId="{2B633BF4-19CC-9744-9F48-5795637D2AED}"/>
          </ac:spMkLst>
        </pc:spChg>
        <pc:spChg chg="mod">
          <ac:chgData name="Nick Robinson" userId="d0c2b313-4ae0-4040-8c6a-fec7a720a7b5" providerId="ADAL" clId="{190131DE-6250-C84F-B491-721E6CF30BCB}" dt="2021-12-17T10:48:18.494" v="6788" actId="207"/>
          <ac:spMkLst>
            <pc:docMk/>
            <pc:sldMk cId="257716761" sldId="2145707268"/>
            <ac:spMk id="294" creationId="{A2BAAAFD-2C17-8744-B53D-AAFC3E5E106F}"/>
          </ac:spMkLst>
        </pc:spChg>
        <pc:spChg chg="mod">
          <ac:chgData name="Nick Robinson" userId="d0c2b313-4ae0-4040-8c6a-fec7a720a7b5" providerId="ADAL" clId="{190131DE-6250-C84F-B491-721E6CF30BCB}" dt="2021-12-17T10:48:18.494" v="6788" actId="207"/>
          <ac:spMkLst>
            <pc:docMk/>
            <pc:sldMk cId="257716761" sldId="2145707268"/>
            <ac:spMk id="297" creationId="{0CE19A1F-D621-C34A-8E0E-431E7395814B}"/>
          </ac:spMkLst>
        </pc:spChg>
        <pc:spChg chg="mod">
          <ac:chgData name="Nick Robinson" userId="d0c2b313-4ae0-4040-8c6a-fec7a720a7b5" providerId="ADAL" clId="{190131DE-6250-C84F-B491-721E6CF30BCB}" dt="2021-12-17T10:48:18.494" v="6788" actId="207"/>
          <ac:spMkLst>
            <pc:docMk/>
            <pc:sldMk cId="257716761" sldId="2145707268"/>
            <ac:spMk id="300" creationId="{C3048F3B-3D6F-6546-BA7F-7F070D414EDE}"/>
          </ac:spMkLst>
        </pc:spChg>
        <pc:spChg chg="mod">
          <ac:chgData name="Nick Robinson" userId="d0c2b313-4ae0-4040-8c6a-fec7a720a7b5" providerId="ADAL" clId="{190131DE-6250-C84F-B491-721E6CF30BCB}" dt="2021-12-17T10:48:18.494" v="6788" actId="207"/>
          <ac:spMkLst>
            <pc:docMk/>
            <pc:sldMk cId="257716761" sldId="2145707268"/>
            <ac:spMk id="303" creationId="{E25CF9C9-F158-9249-8EE0-C45B54763B24}"/>
          </ac:spMkLst>
        </pc:spChg>
        <pc:spChg chg="mod">
          <ac:chgData name="Nick Robinson" userId="d0c2b313-4ae0-4040-8c6a-fec7a720a7b5" providerId="ADAL" clId="{190131DE-6250-C84F-B491-721E6CF30BCB}" dt="2021-12-17T10:48:18.494" v="6788" actId="207"/>
          <ac:spMkLst>
            <pc:docMk/>
            <pc:sldMk cId="257716761" sldId="2145707268"/>
            <ac:spMk id="306" creationId="{60B14C3B-3AFD-8C43-93BA-959920A53FA9}"/>
          </ac:spMkLst>
        </pc:spChg>
        <pc:spChg chg="mod">
          <ac:chgData name="Nick Robinson" userId="d0c2b313-4ae0-4040-8c6a-fec7a720a7b5" providerId="ADAL" clId="{190131DE-6250-C84F-B491-721E6CF30BCB}" dt="2021-12-17T10:48:18.494" v="6788" actId="207"/>
          <ac:spMkLst>
            <pc:docMk/>
            <pc:sldMk cId="257716761" sldId="2145707268"/>
            <ac:spMk id="309" creationId="{A667F930-11FE-9B4A-A37B-56B5D2FB30CF}"/>
          </ac:spMkLst>
        </pc:spChg>
        <pc:spChg chg="mod">
          <ac:chgData name="Nick Robinson" userId="d0c2b313-4ae0-4040-8c6a-fec7a720a7b5" providerId="ADAL" clId="{190131DE-6250-C84F-B491-721E6CF30BCB}" dt="2021-12-17T10:48:18.494" v="6788" actId="207"/>
          <ac:spMkLst>
            <pc:docMk/>
            <pc:sldMk cId="257716761" sldId="2145707268"/>
            <ac:spMk id="312" creationId="{3FFEB716-7ACC-9D48-8113-0495276F2A0B}"/>
          </ac:spMkLst>
        </pc:spChg>
        <pc:spChg chg="mod">
          <ac:chgData name="Nick Robinson" userId="d0c2b313-4ae0-4040-8c6a-fec7a720a7b5" providerId="ADAL" clId="{190131DE-6250-C84F-B491-721E6CF30BCB}" dt="2021-12-17T10:48:18.494" v="6788" actId="207"/>
          <ac:spMkLst>
            <pc:docMk/>
            <pc:sldMk cId="257716761" sldId="2145707268"/>
            <ac:spMk id="315" creationId="{4D4945F9-582A-624A-A72C-FDAC5AD31C13}"/>
          </ac:spMkLst>
        </pc:spChg>
        <pc:spChg chg="mod">
          <ac:chgData name="Nick Robinson" userId="d0c2b313-4ae0-4040-8c6a-fec7a720a7b5" providerId="ADAL" clId="{190131DE-6250-C84F-B491-721E6CF30BCB}" dt="2021-12-17T10:48:18.494" v="6788" actId="207"/>
          <ac:spMkLst>
            <pc:docMk/>
            <pc:sldMk cId="257716761" sldId="2145707268"/>
            <ac:spMk id="318" creationId="{C371C338-D5B3-3146-8548-D595C13FDC4A}"/>
          </ac:spMkLst>
        </pc:spChg>
        <pc:spChg chg="mod">
          <ac:chgData name="Nick Robinson" userId="d0c2b313-4ae0-4040-8c6a-fec7a720a7b5" providerId="ADAL" clId="{190131DE-6250-C84F-B491-721E6CF30BCB}" dt="2021-12-17T10:48:18.494" v="6788" actId="207"/>
          <ac:spMkLst>
            <pc:docMk/>
            <pc:sldMk cId="257716761" sldId="2145707268"/>
            <ac:spMk id="321" creationId="{DCB4D9D0-E012-6046-83B2-FF016C20BFBC}"/>
          </ac:spMkLst>
        </pc:spChg>
        <pc:spChg chg="mod">
          <ac:chgData name="Nick Robinson" userId="d0c2b313-4ae0-4040-8c6a-fec7a720a7b5" providerId="ADAL" clId="{190131DE-6250-C84F-B491-721E6CF30BCB}" dt="2021-12-17T10:48:18.494" v="6788" actId="207"/>
          <ac:spMkLst>
            <pc:docMk/>
            <pc:sldMk cId="257716761" sldId="2145707268"/>
            <ac:spMk id="324" creationId="{4984DAF1-0E37-5E4C-8BBF-DCD7FFCFD847}"/>
          </ac:spMkLst>
        </pc:spChg>
        <pc:spChg chg="mod">
          <ac:chgData name="Nick Robinson" userId="d0c2b313-4ae0-4040-8c6a-fec7a720a7b5" providerId="ADAL" clId="{190131DE-6250-C84F-B491-721E6CF30BCB}" dt="2021-12-17T10:48:18.494" v="6788" actId="207"/>
          <ac:spMkLst>
            <pc:docMk/>
            <pc:sldMk cId="257716761" sldId="2145707268"/>
            <ac:spMk id="327" creationId="{14EFE0DE-620B-A64B-960E-5B81FE178128}"/>
          </ac:spMkLst>
        </pc:spChg>
        <pc:spChg chg="mod">
          <ac:chgData name="Nick Robinson" userId="d0c2b313-4ae0-4040-8c6a-fec7a720a7b5" providerId="ADAL" clId="{190131DE-6250-C84F-B491-721E6CF30BCB}" dt="2021-12-17T10:48:18.494" v="6788" actId="207"/>
          <ac:spMkLst>
            <pc:docMk/>
            <pc:sldMk cId="257716761" sldId="2145707268"/>
            <ac:spMk id="330" creationId="{82EEDE5D-1C92-5740-B60C-0A073EE1B4EC}"/>
          </ac:spMkLst>
        </pc:spChg>
        <pc:spChg chg="mod">
          <ac:chgData name="Nick Robinson" userId="d0c2b313-4ae0-4040-8c6a-fec7a720a7b5" providerId="ADAL" clId="{190131DE-6250-C84F-B491-721E6CF30BCB}" dt="2021-12-17T10:48:18.494" v="6788" actId="207"/>
          <ac:spMkLst>
            <pc:docMk/>
            <pc:sldMk cId="257716761" sldId="2145707268"/>
            <ac:spMk id="333" creationId="{00742193-C44D-1745-BBDC-4AD3AA3C7545}"/>
          </ac:spMkLst>
        </pc:spChg>
        <pc:spChg chg="mod">
          <ac:chgData name="Nick Robinson" userId="d0c2b313-4ae0-4040-8c6a-fec7a720a7b5" providerId="ADAL" clId="{190131DE-6250-C84F-B491-721E6CF30BCB}" dt="2021-12-17T10:48:18.494" v="6788" actId="207"/>
          <ac:spMkLst>
            <pc:docMk/>
            <pc:sldMk cId="257716761" sldId="2145707268"/>
            <ac:spMk id="336" creationId="{A1F5B186-BF52-AC4D-83AF-EDC7654AD23B}"/>
          </ac:spMkLst>
        </pc:spChg>
        <pc:spChg chg="mod">
          <ac:chgData name="Nick Robinson" userId="d0c2b313-4ae0-4040-8c6a-fec7a720a7b5" providerId="ADAL" clId="{190131DE-6250-C84F-B491-721E6CF30BCB}" dt="2021-12-17T10:48:18.494" v="6788" actId="207"/>
          <ac:spMkLst>
            <pc:docMk/>
            <pc:sldMk cId="257716761" sldId="2145707268"/>
            <ac:spMk id="339" creationId="{91B8D500-148E-2F42-8581-4556EA395ADE}"/>
          </ac:spMkLst>
        </pc:spChg>
        <pc:spChg chg="mod">
          <ac:chgData name="Nick Robinson" userId="d0c2b313-4ae0-4040-8c6a-fec7a720a7b5" providerId="ADAL" clId="{190131DE-6250-C84F-B491-721E6CF30BCB}" dt="2021-12-17T10:48:18.494" v="6788" actId="207"/>
          <ac:spMkLst>
            <pc:docMk/>
            <pc:sldMk cId="257716761" sldId="2145707268"/>
            <ac:spMk id="342" creationId="{2558B96F-3001-7448-A42F-A7DD15EDEFAD}"/>
          </ac:spMkLst>
        </pc:spChg>
        <pc:spChg chg="mod">
          <ac:chgData name="Nick Robinson" userId="d0c2b313-4ae0-4040-8c6a-fec7a720a7b5" providerId="ADAL" clId="{190131DE-6250-C84F-B491-721E6CF30BCB}" dt="2021-12-17T10:48:18.494" v="6788" actId="207"/>
          <ac:spMkLst>
            <pc:docMk/>
            <pc:sldMk cId="257716761" sldId="2145707268"/>
            <ac:spMk id="345" creationId="{46DBF104-F294-CA4E-8D89-295451D01947}"/>
          </ac:spMkLst>
        </pc:spChg>
        <pc:spChg chg="mod">
          <ac:chgData name="Nick Robinson" userId="d0c2b313-4ae0-4040-8c6a-fec7a720a7b5" providerId="ADAL" clId="{190131DE-6250-C84F-B491-721E6CF30BCB}" dt="2021-12-17T10:48:18.494" v="6788" actId="207"/>
          <ac:spMkLst>
            <pc:docMk/>
            <pc:sldMk cId="257716761" sldId="2145707268"/>
            <ac:spMk id="348" creationId="{7DAA548F-2930-7244-AB40-76CFA65B94EA}"/>
          </ac:spMkLst>
        </pc:spChg>
        <pc:spChg chg="mod">
          <ac:chgData name="Nick Robinson" userId="d0c2b313-4ae0-4040-8c6a-fec7a720a7b5" providerId="ADAL" clId="{190131DE-6250-C84F-B491-721E6CF30BCB}" dt="2021-12-17T10:48:18.494" v="6788" actId="207"/>
          <ac:spMkLst>
            <pc:docMk/>
            <pc:sldMk cId="257716761" sldId="2145707268"/>
            <ac:spMk id="351" creationId="{C4CA91F2-238C-D744-971E-9CEA808331A3}"/>
          </ac:spMkLst>
        </pc:spChg>
        <pc:spChg chg="mod">
          <ac:chgData name="Nick Robinson" userId="d0c2b313-4ae0-4040-8c6a-fec7a720a7b5" providerId="ADAL" clId="{190131DE-6250-C84F-B491-721E6CF30BCB}" dt="2021-12-17T10:48:18.494" v="6788" actId="207"/>
          <ac:spMkLst>
            <pc:docMk/>
            <pc:sldMk cId="257716761" sldId="2145707268"/>
            <ac:spMk id="354" creationId="{1835D3C2-D27C-E74F-B0BB-40417AD14312}"/>
          </ac:spMkLst>
        </pc:spChg>
        <pc:spChg chg="mod">
          <ac:chgData name="Nick Robinson" userId="d0c2b313-4ae0-4040-8c6a-fec7a720a7b5" providerId="ADAL" clId="{190131DE-6250-C84F-B491-721E6CF30BCB}" dt="2021-12-17T10:48:18.494" v="6788" actId="207"/>
          <ac:spMkLst>
            <pc:docMk/>
            <pc:sldMk cId="257716761" sldId="2145707268"/>
            <ac:spMk id="357" creationId="{A0D3CE63-DBFA-7B4A-B2A8-48647B62C8FC}"/>
          </ac:spMkLst>
        </pc:spChg>
        <pc:spChg chg="mod">
          <ac:chgData name="Nick Robinson" userId="d0c2b313-4ae0-4040-8c6a-fec7a720a7b5" providerId="ADAL" clId="{190131DE-6250-C84F-B491-721E6CF30BCB}" dt="2021-12-17T10:48:18.494" v="6788" actId="207"/>
          <ac:spMkLst>
            <pc:docMk/>
            <pc:sldMk cId="257716761" sldId="2145707268"/>
            <ac:spMk id="360" creationId="{DE3BCD13-CC81-2D4B-B26C-25FB9B0EE598}"/>
          </ac:spMkLst>
        </pc:spChg>
        <pc:spChg chg="mod">
          <ac:chgData name="Nick Robinson" userId="d0c2b313-4ae0-4040-8c6a-fec7a720a7b5" providerId="ADAL" clId="{190131DE-6250-C84F-B491-721E6CF30BCB}" dt="2021-12-17T10:48:18.494" v="6788" actId="207"/>
          <ac:spMkLst>
            <pc:docMk/>
            <pc:sldMk cId="257716761" sldId="2145707268"/>
            <ac:spMk id="363" creationId="{528CDC0C-12FB-144B-AEB9-BF040701A7BF}"/>
          </ac:spMkLst>
        </pc:spChg>
        <pc:spChg chg="mod">
          <ac:chgData name="Nick Robinson" userId="d0c2b313-4ae0-4040-8c6a-fec7a720a7b5" providerId="ADAL" clId="{190131DE-6250-C84F-B491-721E6CF30BCB}" dt="2021-12-17T10:48:18.494" v="6788" actId="207"/>
          <ac:spMkLst>
            <pc:docMk/>
            <pc:sldMk cId="257716761" sldId="2145707268"/>
            <ac:spMk id="366" creationId="{6110AE1F-6D14-7541-8BDD-7D97B2AB4CE4}"/>
          </ac:spMkLst>
        </pc:spChg>
        <pc:spChg chg="mod">
          <ac:chgData name="Nick Robinson" userId="d0c2b313-4ae0-4040-8c6a-fec7a720a7b5" providerId="ADAL" clId="{190131DE-6250-C84F-B491-721E6CF30BCB}" dt="2021-12-17T10:48:18.494" v="6788" actId="207"/>
          <ac:spMkLst>
            <pc:docMk/>
            <pc:sldMk cId="257716761" sldId="2145707268"/>
            <ac:spMk id="369" creationId="{DBA91B9D-1D12-9A48-A870-B35A15AC47BD}"/>
          </ac:spMkLst>
        </pc:spChg>
        <pc:spChg chg="mod">
          <ac:chgData name="Nick Robinson" userId="d0c2b313-4ae0-4040-8c6a-fec7a720a7b5" providerId="ADAL" clId="{190131DE-6250-C84F-B491-721E6CF30BCB}" dt="2021-12-17T10:48:18.494" v="6788" actId="207"/>
          <ac:spMkLst>
            <pc:docMk/>
            <pc:sldMk cId="257716761" sldId="2145707268"/>
            <ac:spMk id="372" creationId="{7D858587-3E53-7A4D-BCD5-53BCD14D203C}"/>
          </ac:spMkLst>
        </pc:spChg>
        <pc:spChg chg="mod">
          <ac:chgData name="Nick Robinson" userId="d0c2b313-4ae0-4040-8c6a-fec7a720a7b5" providerId="ADAL" clId="{190131DE-6250-C84F-B491-721E6CF30BCB}" dt="2021-12-17T10:48:18.494" v="6788" actId="207"/>
          <ac:spMkLst>
            <pc:docMk/>
            <pc:sldMk cId="257716761" sldId="2145707268"/>
            <ac:spMk id="375" creationId="{B674903A-5568-534A-8407-F1FC546CFBBC}"/>
          </ac:spMkLst>
        </pc:spChg>
        <pc:spChg chg="mod">
          <ac:chgData name="Nick Robinson" userId="d0c2b313-4ae0-4040-8c6a-fec7a720a7b5" providerId="ADAL" clId="{190131DE-6250-C84F-B491-721E6CF30BCB}" dt="2021-12-17T10:48:18.494" v="6788" actId="207"/>
          <ac:spMkLst>
            <pc:docMk/>
            <pc:sldMk cId="257716761" sldId="2145707268"/>
            <ac:spMk id="378" creationId="{05D4BF78-9800-9B41-99A2-BFE314AB8789}"/>
          </ac:spMkLst>
        </pc:spChg>
        <pc:spChg chg="mod">
          <ac:chgData name="Nick Robinson" userId="d0c2b313-4ae0-4040-8c6a-fec7a720a7b5" providerId="ADAL" clId="{190131DE-6250-C84F-B491-721E6CF30BCB}" dt="2021-12-17T10:48:18.494" v="6788" actId="207"/>
          <ac:spMkLst>
            <pc:docMk/>
            <pc:sldMk cId="257716761" sldId="2145707268"/>
            <ac:spMk id="381" creationId="{550C5EE6-CDAC-584B-941F-BE06A16AF822}"/>
          </ac:spMkLst>
        </pc:spChg>
        <pc:spChg chg="mod">
          <ac:chgData name="Nick Robinson" userId="d0c2b313-4ae0-4040-8c6a-fec7a720a7b5" providerId="ADAL" clId="{190131DE-6250-C84F-B491-721E6CF30BCB}" dt="2021-12-17T10:48:18.494" v="6788" actId="207"/>
          <ac:spMkLst>
            <pc:docMk/>
            <pc:sldMk cId="257716761" sldId="2145707268"/>
            <ac:spMk id="384" creationId="{41F3F741-579B-F543-815E-EDFEF65618D4}"/>
          </ac:spMkLst>
        </pc:spChg>
        <pc:spChg chg="mod">
          <ac:chgData name="Nick Robinson" userId="d0c2b313-4ae0-4040-8c6a-fec7a720a7b5" providerId="ADAL" clId="{190131DE-6250-C84F-B491-721E6CF30BCB}" dt="2021-12-17T10:48:18.494" v="6788" actId="207"/>
          <ac:spMkLst>
            <pc:docMk/>
            <pc:sldMk cId="257716761" sldId="2145707268"/>
            <ac:spMk id="387" creationId="{7359851F-323D-3A4E-A127-A61A0C146875}"/>
          </ac:spMkLst>
        </pc:spChg>
        <pc:spChg chg="mod">
          <ac:chgData name="Nick Robinson" userId="d0c2b313-4ae0-4040-8c6a-fec7a720a7b5" providerId="ADAL" clId="{190131DE-6250-C84F-B491-721E6CF30BCB}" dt="2021-12-17T10:48:18.494" v="6788" actId="207"/>
          <ac:spMkLst>
            <pc:docMk/>
            <pc:sldMk cId="257716761" sldId="2145707268"/>
            <ac:spMk id="390" creationId="{6D3441EA-9E72-744E-B96C-2367308C7B94}"/>
          </ac:spMkLst>
        </pc:spChg>
        <pc:spChg chg="mod">
          <ac:chgData name="Nick Robinson" userId="d0c2b313-4ae0-4040-8c6a-fec7a720a7b5" providerId="ADAL" clId="{190131DE-6250-C84F-B491-721E6CF30BCB}" dt="2021-12-17T10:48:18.494" v="6788" actId="207"/>
          <ac:spMkLst>
            <pc:docMk/>
            <pc:sldMk cId="257716761" sldId="2145707268"/>
            <ac:spMk id="393" creationId="{F7C9C4DA-7DAB-834D-8AB1-D1677D8F9472}"/>
          </ac:spMkLst>
        </pc:spChg>
        <pc:spChg chg="mod">
          <ac:chgData name="Nick Robinson" userId="d0c2b313-4ae0-4040-8c6a-fec7a720a7b5" providerId="ADAL" clId="{190131DE-6250-C84F-B491-721E6CF30BCB}" dt="2021-12-17T10:48:18.494" v="6788" actId="207"/>
          <ac:spMkLst>
            <pc:docMk/>
            <pc:sldMk cId="257716761" sldId="2145707268"/>
            <ac:spMk id="396" creationId="{515D789C-389B-E542-8FBA-DB9B48519294}"/>
          </ac:spMkLst>
        </pc:spChg>
        <pc:spChg chg="mod">
          <ac:chgData name="Nick Robinson" userId="d0c2b313-4ae0-4040-8c6a-fec7a720a7b5" providerId="ADAL" clId="{190131DE-6250-C84F-B491-721E6CF30BCB}" dt="2021-12-17T10:48:18.494" v="6788" actId="207"/>
          <ac:spMkLst>
            <pc:docMk/>
            <pc:sldMk cId="257716761" sldId="2145707268"/>
            <ac:spMk id="399" creationId="{75D73D2A-720A-8A43-8456-368045E823E1}"/>
          </ac:spMkLst>
        </pc:spChg>
        <pc:spChg chg="mod">
          <ac:chgData name="Nick Robinson" userId="d0c2b313-4ae0-4040-8c6a-fec7a720a7b5" providerId="ADAL" clId="{190131DE-6250-C84F-B491-721E6CF30BCB}" dt="2021-12-17T10:48:18.494" v="6788" actId="207"/>
          <ac:spMkLst>
            <pc:docMk/>
            <pc:sldMk cId="257716761" sldId="2145707268"/>
            <ac:spMk id="402" creationId="{30339615-90CB-3E45-B5E0-EDEFF2F14804}"/>
          </ac:spMkLst>
        </pc:spChg>
        <pc:spChg chg="mod">
          <ac:chgData name="Nick Robinson" userId="d0c2b313-4ae0-4040-8c6a-fec7a720a7b5" providerId="ADAL" clId="{190131DE-6250-C84F-B491-721E6CF30BCB}" dt="2021-12-17T10:48:18.494" v="6788" actId="207"/>
          <ac:spMkLst>
            <pc:docMk/>
            <pc:sldMk cId="257716761" sldId="2145707268"/>
            <ac:spMk id="405" creationId="{91A71A93-0EEF-4F4D-A983-BB9F0B0A797B}"/>
          </ac:spMkLst>
        </pc:spChg>
        <pc:spChg chg="mod">
          <ac:chgData name="Nick Robinson" userId="d0c2b313-4ae0-4040-8c6a-fec7a720a7b5" providerId="ADAL" clId="{190131DE-6250-C84F-B491-721E6CF30BCB}" dt="2021-12-17T10:48:18.494" v="6788" actId="207"/>
          <ac:spMkLst>
            <pc:docMk/>
            <pc:sldMk cId="257716761" sldId="2145707268"/>
            <ac:spMk id="408" creationId="{0DAD202E-55ED-8D49-B10E-5A2E327FBC0F}"/>
          </ac:spMkLst>
        </pc:spChg>
        <pc:spChg chg="mod">
          <ac:chgData name="Nick Robinson" userId="d0c2b313-4ae0-4040-8c6a-fec7a720a7b5" providerId="ADAL" clId="{190131DE-6250-C84F-B491-721E6CF30BCB}" dt="2021-12-17T10:48:18.494" v="6788" actId="207"/>
          <ac:spMkLst>
            <pc:docMk/>
            <pc:sldMk cId="257716761" sldId="2145707268"/>
            <ac:spMk id="411" creationId="{85DEC956-2D21-8547-8646-4A444A9229E0}"/>
          </ac:spMkLst>
        </pc:spChg>
        <pc:spChg chg="mod">
          <ac:chgData name="Nick Robinson" userId="d0c2b313-4ae0-4040-8c6a-fec7a720a7b5" providerId="ADAL" clId="{190131DE-6250-C84F-B491-721E6CF30BCB}" dt="2021-12-17T10:48:18.494" v="6788" actId="207"/>
          <ac:spMkLst>
            <pc:docMk/>
            <pc:sldMk cId="257716761" sldId="2145707268"/>
            <ac:spMk id="414" creationId="{508AB27B-7BED-784E-9F9E-50A90BA666F9}"/>
          </ac:spMkLst>
        </pc:spChg>
        <pc:spChg chg="mod">
          <ac:chgData name="Nick Robinson" userId="d0c2b313-4ae0-4040-8c6a-fec7a720a7b5" providerId="ADAL" clId="{190131DE-6250-C84F-B491-721E6CF30BCB}" dt="2021-12-17T10:48:18.494" v="6788" actId="207"/>
          <ac:spMkLst>
            <pc:docMk/>
            <pc:sldMk cId="257716761" sldId="2145707268"/>
            <ac:spMk id="417" creationId="{9C4A1D5C-FE87-9F4F-9B20-2E5E844085BD}"/>
          </ac:spMkLst>
        </pc:spChg>
        <pc:spChg chg="mod">
          <ac:chgData name="Nick Robinson" userId="d0c2b313-4ae0-4040-8c6a-fec7a720a7b5" providerId="ADAL" clId="{190131DE-6250-C84F-B491-721E6CF30BCB}" dt="2021-12-17T10:48:18.494" v="6788" actId="207"/>
          <ac:spMkLst>
            <pc:docMk/>
            <pc:sldMk cId="257716761" sldId="2145707268"/>
            <ac:spMk id="420" creationId="{6BA561D7-A6DE-4A41-8F8D-7754DB6BEE20}"/>
          </ac:spMkLst>
        </pc:spChg>
        <pc:spChg chg="mod">
          <ac:chgData name="Nick Robinson" userId="d0c2b313-4ae0-4040-8c6a-fec7a720a7b5" providerId="ADAL" clId="{190131DE-6250-C84F-B491-721E6CF30BCB}" dt="2021-12-17T10:48:18.494" v="6788" actId="207"/>
          <ac:spMkLst>
            <pc:docMk/>
            <pc:sldMk cId="257716761" sldId="2145707268"/>
            <ac:spMk id="423" creationId="{933A7D6A-E09B-1A4A-A719-E4B50748C370}"/>
          </ac:spMkLst>
        </pc:spChg>
        <pc:spChg chg="mod">
          <ac:chgData name="Nick Robinson" userId="d0c2b313-4ae0-4040-8c6a-fec7a720a7b5" providerId="ADAL" clId="{190131DE-6250-C84F-B491-721E6CF30BCB}" dt="2021-12-17T10:48:18.494" v="6788" actId="207"/>
          <ac:spMkLst>
            <pc:docMk/>
            <pc:sldMk cId="257716761" sldId="2145707268"/>
            <ac:spMk id="426" creationId="{2018642F-2C25-1A47-8C5D-30175D6D952B}"/>
          </ac:spMkLst>
        </pc:spChg>
        <pc:spChg chg="mod">
          <ac:chgData name="Nick Robinson" userId="d0c2b313-4ae0-4040-8c6a-fec7a720a7b5" providerId="ADAL" clId="{190131DE-6250-C84F-B491-721E6CF30BCB}" dt="2021-12-17T10:48:18.494" v="6788" actId="207"/>
          <ac:spMkLst>
            <pc:docMk/>
            <pc:sldMk cId="257716761" sldId="2145707268"/>
            <ac:spMk id="429" creationId="{CAF44E04-5CE7-C243-A3B1-CE7831715E5F}"/>
          </ac:spMkLst>
        </pc:spChg>
        <pc:spChg chg="mod">
          <ac:chgData name="Nick Robinson" userId="d0c2b313-4ae0-4040-8c6a-fec7a720a7b5" providerId="ADAL" clId="{190131DE-6250-C84F-B491-721E6CF30BCB}" dt="2021-12-17T10:48:18.494" v="6788" actId="207"/>
          <ac:spMkLst>
            <pc:docMk/>
            <pc:sldMk cId="257716761" sldId="2145707268"/>
            <ac:spMk id="432" creationId="{C3520ABD-383A-8D4F-A2FD-9C0214291FE6}"/>
          </ac:spMkLst>
        </pc:spChg>
        <pc:spChg chg="mod">
          <ac:chgData name="Nick Robinson" userId="d0c2b313-4ae0-4040-8c6a-fec7a720a7b5" providerId="ADAL" clId="{190131DE-6250-C84F-B491-721E6CF30BCB}" dt="2021-12-17T10:48:18.494" v="6788" actId="207"/>
          <ac:spMkLst>
            <pc:docMk/>
            <pc:sldMk cId="257716761" sldId="2145707268"/>
            <ac:spMk id="435" creationId="{2FDB7BB7-CA53-FF4D-8794-34AD8CB4815C}"/>
          </ac:spMkLst>
        </pc:spChg>
        <pc:spChg chg="mod">
          <ac:chgData name="Nick Robinson" userId="d0c2b313-4ae0-4040-8c6a-fec7a720a7b5" providerId="ADAL" clId="{190131DE-6250-C84F-B491-721E6CF30BCB}" dt="2021-12-17T10:48:18.494" v="6788" actId="207"/>
          <ac:spMkLst>
            <pc:docMk/>
            <pc:sldMk cId="257716761" sldId="2145707268"/>
            <ac:spMk id="438" creationId="{FE038463-24C8-F243-AD50-7C3ACF3004BB}"/>
          </ac:spMkLst>
        </pc:spChg>
        <pc:spChg chg="mod">
          <ac:chgData name="Nick Robinson" userId="d0c2b313-4ae0-4040-8c6a-fec7a720a7b5" providerId="ADAL" clId="{190131DE-6250-C84F-B491-721E6CF30BCB}" dt="2021-12-17T10:48:18.494" v="6788" actId="207"/>
          <ac:spMkLst>
            <pc:docMk/>
            <pc:sldMk cId="257716761" sldId="2145707268"/>
            <ac:spMk id="441" creationId="{52CA28CE-0CCC-D847-B36B-0215B61D73E7}"/>
          </ac:spMkLst>
        </pc:spChg>
        <pc:spChg chg="mod">
          <ac:chgData name="Nick Robinson" userId="d0c2b313-4ae0-4040-8c6a-fec7a720a7b5" providerId="ADAL" clId="{190131DE-6250-C84F-B491-721E6CF30BCB}" dt="2021-12-17T10:48:18.494" v="6788" actId="207"/>
          <ac:spMkLst>
            <pc:docMk/>
            <pc:sldMk cId="257716761" sldId="2145707268"/>
            <ac:spMk id="444" creationId="{838A640A-11D4-0841-AEB5-96D13C98C3D8}"/>
          </ac:spMkLst>
        </pc:spChg>
        <pc:spChg chg="mod">
          <ac:chgData name="Nick Robinson" userId="d0c2b313-4ae0-4040-8c6a-fec7a720a7b5" providerId="ADAL" clId="{190131DE-6250-C84F-B491-721E6CF30BCB}" dt="2021-12-17T10:48:18.494" v="6788" actId="207"/>
          <ac:spMkLst>
            <pc:docMk/>
            <pc:sldMk cId="257716761" sldId="2145707268"/>
            <ac:spMk id="447" creationId="{9CEC8754-9403-0B4B-954E-A80F244A1431}"/>
          </ac:spMkLst>
        </pc:spChg>
        <pc:spChg chg="mod">
          <ac:chgData name="Nick Robinson" userId="d0c2b313-4ae0-4040-8c6a-fec7a720a7b5" providerId="ADAL" clId="{190131DE-6250-C84F-B491-721E6CF30BCB}" dt="2021-12-17T10:48:18.494" v="6788" actId="207"/>
          <ac:spMkLst>
            <pc:docMk/>
            <pc:sldMk cId="257716761" sldId="2145707268"/>
            <ac:spMk id="450" creationId="{5DD0361F-32CE-DA47-B8D0-8F24127EFE41}"/>
          </ac:spMkLst>
        </pc:spChg>
        <pc:spChg chg="mod">
          <ac:chgData name="Nick Robinson" userId="d0c2b313-4ae0-4040-8c6a-fec7a720a7b5" providerId="ADAL" clId="{190131DE-6250-C84F-B491-721E6CF30BCB}" dt="2021-12-17T10:48:18.494" v="6788" actId="207"/>
          <ac:spMkLst>
            <pc:docMk/>
            <pc:sldMk cId="257716761" sldId="2145707268"/>
            <ac:spMk id="453" creationId="{745E65B9-3CED-0142-A1A0-3D5AE3AB1E1B}"/>
          </ac:spMkLst>
        </pc:spChg>
        <pc:spChg chg="mod">
          <ac:chgData name="Nick Robinson" userId="d0c2b313-4ae0-4040-8c6a-fec7a720a7b5" providerId="ADAL" clId="{190131DE-6250-C84F-B491-721E6CF30BCB}" dt="2021-12-17T10:48:18.494" v="6788" actId="207"/>
          <ac:spMkLst>
            <pc:docMk/>
            <pc:sldMk cId="257716761" sldId="2145707268"/>
            <ac:spMk id="456" creationId="{24EA0663-9206-E542-9F77-BCA2AF4F54EE}"/>
          </ac:spMkLst>
        </pc:spChg>
        <pc:spChg chg="mod">
          <ac:chgData name="Nick Robinson" userId="d0c2b313-4ae0-4040-8c6a-fec7a720a7b5" providerId="ADAL" clId="{190131DE-6250-C84F-B491-721E6CF30BCB}" dt="2021-12-17T10:48:18.494" v="6788" actId="207"/>
          <ac:spMkLst>
            <pc:docMk/>
            <pc:sldMk cId="257716761" sldId="2145707268"/>
            <ac:spMk id="459" creationId="{3EA46300-9D1B-F742-818E-5DFA3FB19D45}"/>
          </ac:spMkLst>
        </pc:spChg>
        <pc:spChg chg="mod">
          <ac:chgData name="Nick Robinson" userId="d0c2b313-4ae0-4040-8c6a-fec7a720a7b5" providerId="ADAL" clId="{190131DE-6250-C84F-B491-721E6CF30BCB}" dt="2021-12-17T10:48:18.494" v="6788" actId="207"/>
          <ac:spMkLst>
            <pc:docMk/>
            <pc:sldMk cId="257716761" sldId="2145707268"/>
            <ac:spMk id="462" creationId="{4A2F2747-BD14-E341-ABD4-83E5136AA82E}"/>
          </ac:spMkLst>
        </pc:spChg>
        <pc:spChg chg="mod">
          <ac:chgData name="Nick Robinson" userId="d0c2b313-4ae0-4040-8c6a-fec7a720a7b5" providerId="ADAL" clId="{190131DE-6250-C84F-B491-721E6CF30BCB}" dt="2021-12-17T10:48:18.494" v="6788" actId="207"/>
          <ac:spMkLst>
            <pc:docMk/>
            <pc:sldMk cId="257716761" sldId="2145707268"/>
            <ac:spMk id="465" creationId="{2C6253E8-52AA-A04F-9093-3BFA943146C4}"/>
          </ac:spMkLst>
        </pc:spChg>
        <pc:spChg chg="mod">
          <ac:chgData name="Nick Robinson" userId="d0c2b313-4ae0-4040-8c6a-fec7a720a7b5" providerId="ADAL" clId="{190131DE-6250-C84F-B491-721E6CF30BCB}" dt="2021-12-17T10:48:48.128" v="6790"/>
          <ac:spMkLst>
            <pc:docMk/>
            <pc:sldMk cId="257716761" sldId="2145707268"/>
            <ac:spMk id="468" creationId="{C038C7DE-171E-5244-94CB-D0F34C61D6FC}"/>
          </ac:spMkLst>
        </pc:spChg>
        <pc:spChg chg="mod">
          <ac:chgData name="Nick Robinson" userId="d0c2b313-4ae0-4040-8c6a-fec7a720a7b5" providerId="ADAL" clId="{190131DE-6250-C84F-B491-721E6CF30BCB}" dt="2021-12-17T10:48:48.128" v="6790"/>
          <ac:spMkLst>
            <pc:docMk/>
            <pc:sldMk cId="257716761" sldId="2145707268"/>
            <ac:spMk id="471" creationId="{EF852A72-CB08-8D44-8929-3C0823A6752F}"/>
          </ac:spMkLst>
        </pc:spChg>
        <pc:spChg chg="mod">
          <ac:chgData name="Nick Robinson" userId="d0c2b313-4ae0-4040-8c6a-fec7a720a7b5" providerId="ADAL" clId="{190131DE-6250-C84F-B491-721E6CF30BCB}" dt="2021-12-17T10:48:48.128" v="6790"/>
          <ac:spMkLst>
            <pc:docMk/>
            <pc:sldMk cId="257716761" sldId="2145707268"/>
            <ac:spMk id="474" creationId="{035AC29C-FEB5-FE4E-9E19-8C1BB570D58A}"/>
          </ac:spMkLst>
        </pc:spChg>
        <pc:spChg chg="mod">
          <ac:chgData name="Nick Robinson" userId="d0c2b313-4ae0-4040-8c6a-fec7a720a7b5" providerId="ADAL" clId="{190131DE-6250-C84F-B491-721E6CF30BCB}" dt="2021-12-17T10:48:48.128" v="6790"/>
          <ac:spMkLst>
            <pc:docMk/>
            <pc:sldMk cId="257716761" sldId="2145707268"/>
            <ac:spMk id="477" creationId="{6C10A7C3-2ED3-5241-8A66-47626E952415}"/>
          </ac:spMkLst>
        </pc:spChg>
        <pc:spChg chg="mod">
          <ac:chgData name="Nick Robinson" userId="d0c2b313-4ae0-4040-8c6a-fec7a720a7b5" providerId="ADAL" clId="{190131DE-6250-C84F-B491-721E6CF30BCB}" dt="2021-12-17T10:48:52.529" v="6792"/>
          <ac:spMkLst>
            <pc:docMk/>
            <pc:sldMk cId="257716761" sldId="2145707268"/>
            <ac:spMk id="480" creationId="{7512449D-D390-4842-9090-BCF515D4FE36}"/>
          </ac:spMkLst>
        </pc:spChg>
        <pc:spChg chg="mod">
          <ac:chgData name="Nick Robinson" userId="d0c2b313-4ae0-4040-8c6a-fec7a720a7b5" providerId="ADAL" clId="{190131DE-6250-C84F-B491-721E6CF30BCB}" dt="2021-12-17T10:48:52.529" v="6792"/>
          <ac:spMkLst>
            <pc:docMk/>
            <pc:sldMk cId="257716761" sldId="2145707268"/>
            <ac:spMk id="483" creationId="{31AEDF04-B3A6-1247-951B-2377B283D590}"/>
          </ac:spMkLst>
        </pc:spChg>
        <pc:spChg chg="mod">
          <ac:chgData name="Nick Robinson" userId="d0c2b313-4ae0-4040-8c6a-fec7a720a7b5" providerId="ADAL" clId="{190131DE-6250-C84F-B491-721E6CF30BCB}" dt="2021-12-17T10:48:52.529" v="6792"/>
          <ac:spMkLst>
            <pc:docMk/>
            <pc:sldMk cId="257716761" sldId="2145707268"/>
            <ac:spMk id="486" creationId="{E9215361-92D3-E248-AB3E-47143914B490}"/>
          </ac:spMkLst>
        </pc:spChg>
        <pc:spChg chg="mod">
          <ac:chgData name="Nick Robinson" userId="d0c2b313-4ae0-4040-8c6a-fec7a720a7b5" providerId="ADAL" clId="{190131DE-6250-C84F-B491-721E6CF30BCB}" dt="2021-12-17T10:48:52.529" v="6792"/>
          <ac:spMkLst>
            <pc:docMk/>
            <pc:sldMk cId="257716761" sldId="2145707268"/>
            <ac:spMk id="489" creationId="{C3BA9D12-EB69-4944-92B1-A83366B46E89}"/>
          </ac:spMkLst>
        </pc:spChg>
        <pc:spChg chg="add mod">
          <ac:chgData name="Nick Robinson" userId="d0c2b313-4ae0-4040-8c6a-fec7a720a7b5" providerId="ADAL" clId="{190131DE-6250-C84F-B491-721E6CF30BCB}" dt="2021-12-17T14:47:39.658" v="10380"/>
          <ac:spMkLst>
            <pc:docMk/>
            <pc:sldMk cId="257716761" sldId="2145707268"/>
            <ac:spMk id="491" creationId="{4DFD4FDC-ABC8-4740-A27F-4DE31A1A6932}"/>
          </ac:spMkLst>
        </pc:spChg>
        <pc:grpChg chg="mod">
          <ac:chgData name="Nick Robinson" userId="d0c2b313-4ae0-4040-8c6a-fec7a720a7b5" providerId="ADAL" clId="{190131DE-6250-C84F-B491-721E6CF30BCB}" dt="2021-12-17T10:47:18.857" v="6774" actId="1076"/>
          <ac:grpSpMkLst>
            <pc:docMk/>
            <pc:sldMk cId="257716761" sldId="2145707268"/>
            <ac:grpSpMk id="10" creationId="{A5873C76-5908-8B41-8526-0CC85835EE20}"/>
          </ac:grpSpMkLst>
        </pc:grpChg>
        <pc:grpChg chg="mod">
          <ac:chgData name="Nick Robinson" userId="d0c2b313-4ae0-4040-8c6a-fec7a720a7b5" providerId="ADAL" clId="{190131DE-6250-C84F-B491-721E6CF30BCB}" dt="2021-12-17T10:43:51.577" v="6715" actId="207"/>
          <ac:grpSpMkLst>
            <pc:docMk/>
            <pc:sldMk cId="257716761" sldId="2145707268"/>
            <ac:grpSpMk id="36" creationId="{BEA3BD2D-51F4-4440-AF3C-B915B415B3BE}"/>
          </ac:grpSpMkLst>
        </pc:grpChg>
        <pc:grpChg chg="del">
          <ac:chgData name="Nick Robinson" userId="d0c2b313-4ae0-4040-8c6a-fec7a720a7b5" providerId="ADAL" clId="{190131DE-6250-C84F-B491-721E6CF30BCB}" dt="2021-12-17T10:47:41.714" v="6781" actId="478"/>
          <ac:grpSpMkLst>
            <pc:docMk/>
            <pc:sldMk cId="257716761" sldId="2145707268"/>
            <ac:grpSpMk id="54" creationId="{345795E3-6480-484F-B465-088E91BE7C54}"/>
          </ac:grpSpMkLst>
        </pc:grpChg>
        <pc:grpChg chg="del">
          <ac:chgData name="Nick Robinson" userId="d0c2b313-4ae0-4040-8c6a-fec7a720a7b5" providerId="ADAL" clId="{190131DE-6250-C84F-B491-721E6CF30BCB}" dt="2021-12-17T10:47:29.934" v="6776" actId="478"/>
          <ac:grpSpMkLst>
            <pc:docMk/>
            <pc:sldMk cId="257716761" sldId="2145707268"/>
            <ac:grpSpMk id="57" creationId="{8ACEC777-22AB-8B46-8665-17A636C61D2B}"/>
          </ac:grpSpMkLst>
        </pc:grpChg>
        <pc:grpChg chg="del">
          <ac:chgData name="Nick Robinson" userId="d0c2b313-4ae0-4040-8c6a-fec7a720a7b5" providerId="ADAL" clId="{190131DE-6250-C84F-B491-721E6CF30BCB}" dt="2021-12-17T10:47:33.083" v="6777" actId="478"/>
          <ac:grpSpMkLst>
            <pc:docMk/>
            <pc:sldMk cId="257716761" sldId="2145707268"/>
            <ac:grpSpMk id="60" creationId="{79C95457-0877-1243-85B9-95FF041CA4C7}"/>
          </ac:grpSpMkLst>
        </pc:grpChg>
        <pc:grpChg chg="del">
          <ac:chgData name="Nick Robinson" userId="d0c2b313-4ae0-4040-8c6a-fec7a720a7b5" providerId="ADAL" clId="{190131DE-6250-C84F-B491-721E6CF30BCB}" dt="2021-12-17T10:47:29.934" v="6776" actId="478"/>
          <ac:grpSpMkLst>
            <pc:docMk/>
            <pc:sldMk cId="257716761" sldId="2145707268"/>
            <ac:grpSpMk id="63" creationId="{6BCBF9FE-D9B1-684C-BE65-951DDDCF030E}"/>
          </ac:grpSpMkLst>
        </pc:grpChg>
        <pc:grpChg chg="del">
          <ac:chgData name="Nick Robinson" userId="d0c2b313-4ae0-4040-8c6a-fec7a720a7b5" providerId="ADAL" clId="{190131DE-6250-C84F-B491-721E6CF30BCB}" dt="2021-12-17T10:47:33.083" v="6777" actId="478"/>
          <ac:grpSpMkLst>
            <pc:docMk/>
            <pc:sldMk cId="257716761" sldId="2145707268"/>
            <ac:grpSpMk id="66" creationId="{62C5A01D-6B4A-F44E-A139-81E0BC9EC580}"/>
          </ac:grpSpMkLst>
        </pc:grpChg>
        <pc:grpChg chg="del">
          <ac:chgData name="Nick Robinson" userId="d0c2b313-4ae0-4040-8c6a-fec7a720a7b5" providerId="ADAL" clId="{190131DE-6250-C84F-B491-721E6CF30BCB}" dt="2021-12-17T10:47:37.828" v="6778" actId="478"/>
          <ac:grpSpMkLst>
            <pc:docMk/>
            <pc:sldMk cId="257716761" sldId="2145707268"/>
            <ac:grpSpMk id="70" creationId="{5D49BAE0-6D5A-1045-8AE5-36B24BAF7CD6}"/>
          </ac:grpSpMkLst>
        </pc:grpChg>
        <pc:grpChg chg="del">
          <ac:chgData name="Nick Robinson" userId="d0c2b313-4ae0-4040-8c6a-fec7a720a7b5" providerId="ADAL" clId="{190131DE-6250-C84F-B491-721E6CF30BCB}" dt="2021-12-17T10:47:39.578" v="6779" actId="478"/>
          <ac:grpSpMkLst>
            <pc:docMk/>
            <pc:sldMk cId="257716761" sldId="2145707268"/>
            <ac:grpSpMk id="74" creationId="{0D282660-3D31-CC4F-803A-EBA6D8CD3483}"/>
          </ac:grpSpMkLst>
        </pc:grpChg>
        <pc:grpChg chg="del mod">
          <ac:chgData name="Nick Robinson" userId="d0c2b313-4ae0-4040-8c6a-fec7a720a7b5" providerId="ADAL" clId="{190131DE-6250-C84F-B491-721E6CF30BCB}" dt="2021-12-17T10:47:46.585" v="6782" actId="478"/>
          <ac:grpSpMkLst>
            <pc:docMk/>
            <pc:sldMk cId="257716761" sldId="2145707268"/>
            <ac:grpSpMk id="78" creationId="{7841ED2A-67AF-FE47-AE13-9B501DA745BA}"/>
          </ac:grpSpMkLst>
        </pc:grpChg>
        <pc:grpChg chg="del">
          <ac:chgData name="Nick Robinson" userId="d0c2b313-4ae0-4040-8c6a-fec7a720a7b5" providerId="ADAL" clId="{190131DE-6250-C84F-B491-721E6CF30BCB}" dt="2021-12-17T10:47:29.934" v="6776" actId="478"/>
          <ac:grpSpMkLst>
            <pc:docMk/>
            <pc:sldMk cId="257716761" sldId="2145707268"/>
            <ac:grpSpMk id="82" creationId="{6445DE1F-B409-6444-BFAA-F8E2682CB1A6}"/>
          </ac:grpSpMkLst>
        </pc:grpChg>
        <pc:grpChg chg="del mod">
          <ac:chgData name="Nick Robinson" userId="d0c2b313-4ae0-4040-8c6a-fec7a720a7b5" providerId="ADAL" clId="{190131DE-6250-C84F-B491-721E6CF30BCB}" dt="2021-12-17T10:47:46.585" v="6782" actId="478"/>
          <ac:grpSpMkLst>
            <pc:docMk/>
            <pc:sldMk cId="257716761" sldId="2145707268"/>
            <ac:grpSpMk id="89" creationId="{CD9E4D95-3146-0D40-B4BF-FFADB79D674A}"/>
          </ac:grpSpMkLst>
        </pc:grpChg>
        <pc:grpChg chg="del">
          <ac:chgData name="Nick Robinson" userId="d0c2b313-4ae0-4040-8c6a-fec7a720a7b5" providerId="ADAL" clId="{190131DE-6250-C84F-B491-721E6CF30BCB}" dt="2021-12-17T10:47:29.934" v="6776" actId="478"/>
          <ac:grpSpMkLst>
            <pc:docMk/>
            <pc:sldMk cId="257716761" sldId="2145707268"/>
            <ac:grpSpMk id="95" creationId="{6488BAAA-B97F-904E-B8BF-16A67D604C7B}"/>
          </ac:grpSpMkLst>
        </pc:grpChg>
        <pc:grpChg chg="del">
          <ac:chgData name="Nick Robinson" userId="d0c2b313-4ae0-4040-8c6a-fec7a720a7b5" providerId="ADAL" clId="{190131DE-6250-C84F-B491-721E6CF30BCB}" dt="2021-12-17T10:45:05.729" v="6734" actId="478"/>
          <ac:grpSpMkLst>
            <pc:docMk/>
            <pc:sldMk cId="257716761" sldId="2145707268"/>
            <ac:grpSpMk id="98" creationId="{376AF1FB-0D1C-2D47-BD1D-B05B16C3DE5E}"/>
          </ac:grpSpMkLst>
        </pc:grpChg>
        <pc:grpChg chg="del">
          <ac:chgData name="Nick Robinson" userId="d0c2b313-4ae0-4040-8c6a-fec7a720a7b5" providerId="ADAL" clId="{190131DE-6250-C84F-B491-721E6CF30BCB}" dt="2021-12-17T10:47:33.083" v="6777" actId="478"/>
          <ac:grpSpMkLst>
            <pc:docMk/>
            <pc:sldMk cId="257716761" sldId="2145707268"/>
            <ac:grpSpMk id="101" creationId="{3D7CAE10-F6C0-4D41-B353-099EEA62D0C9}"/>
          </ac:grpSpMkLst>
        </pc:grpChg>
        <pc:grpChg chg="del">
          <ac:chgData name="Nick Robinson" userId="d0c2b313-4ae0-4040-8c6a-fec7a720a7b5" providerId="ADAL" clId="{190131DE-6250-C84F-B491-721E6CF30BCB}" dt="2021-12-17T10:47:37.828" v="6778" actId="478"/>
          <ac:grpSpMkLst>
            <pc:docMk/>
            <pc:sldMk cId="257716761" sldId="2145707268"/>
            <ac:grpSpMk id="107" creationId="{4D8018A8-E1D1-5540-BF1A-C1906472DC7D}"/>
          </ac:grpSpMkLst>
        </pc:grpChg>
        <pc:grpChg chg="del">
          <ac:chgData name="Nick Robinson" userId="d0c2b313-4ae0-4040-8c6a-fec7a720a7b5" providerId="ADAL" clId="{190131DE-6250-C84F-B491-721E6CF30BCB}" dt="2021-12-17T10:47:29.934" v="6776" actId="478"/>
          <ac:grpSpMkLst>
            <pc:docMk/>
            <pc:sldMk cId="257716761" sldId="2145707268"/>
            <ac:grpSpMk id="110" creationId="{62AF3950-CD61-D145-A5B2-E71C3AD5FF08}"/>
          </ac:grpSpMkLst>
        </pc:grpChg>
        <pc:grpChg chg="del">
          <ac:chgData name="Nick Robinson" userId="d0c2b313-4ae0-4040-8c6a-fec7a720a7b5" providerId="ADAL" clId="{190131DE-6250-C84F-B491-721E6CF30BCB}" dt="2021-12-17T10:47:29.934" v="6776" actId="478"/>
          <ac:grpSpMkLst>
            <pc:docMk/>
            <pc:sldMk cId="257716761" sldId="2145707268"/>
            <ac:grpSpMk id="113" creationId="{C2E57981-2DA9-5C45-80DC-91FB29FAB59E}"/>
          </ac:grpSpMkLst>
        </pc:grpChg>
        <pc:grpChg chg="del">
          <ac:chgData name="Nick Robinson" userId="d0c2b313-4ae0-4040-8c6a-fec7a720a7b5" providerId="ADAL" clId="{190131DE-6250-C84F-B491-721E6CF30BCB}" dt="2021-12-17T10:47:41.289" v="6780" actId="478"/>
          <ac:grpSpMkLst>
            <pc:docMk/>
            <pc:sldMk cId="257716761" sldId="2145707268"/>
            <ac:grpSpMk id="119" creationId="{4306B157-3CEA-4D4F-AA06-FB7FD8DADA6F}"/>
          </ac:grpSpMkLst>
        </pc:grpChg>
        <pc:grpChg chg="del mod">
          <ac:chgData name="Nick Robinson" userId="d0c2b313-4ae0-4040-8c6a-fec7a720a7b5" providerId="ADAL" clId="{190131DE-6250-C84F-B491-721E6CF30BCB}" dt="2021-12-17T10:47:46.585" v="6782" actId="478"/>
          <ac:grpSpMkLst>
            <pc:docMk/>
            <pc:sldMk cId="257716761" sldId="2145707268"/>
            <ac:grpSpMk id="122" creationId="{EC9E31FD-EF00-674B-84F1-7F9F125BFBF8}"/>
          </ac:grpSpMkLst>
        </pc:grpChg>
        <pc:grpChg chg="del">
          <ac:chgData name="Nick Robinson" userId="d0c2b313-4ae0-4040-8c6a-fec7a720a7b5" providerId="ADAL" clId="{190131DE-6250-C84F-B491-721E6CF30BCB}" dt="2021-12-17T10:47:29.934" v="6776" actId="478"/>
          <ac:grpSpMkLst>
            <pc:docMk/>
            <pc:sldMk cId="257716761" sldId="2145707268"/>
            <ac:grpSpMk id="125" creationId="{D8A89E2B-B0C9-7649-801F-DBA0E43E73E7}"/>
          </ac:grpSpMkLst>
        </pc:grpChg>
        <pc:grpChg chg="del">
          <ac:chgData name="Nick Robinson" userId="d0c2b313-4ae0-4040-8c6a-fec7a720a7b5" providerId="ADAL" clId="{190131DE-6250-C84F-B491-721E6CF30BCB}" dt="2021-12-17T10:47:33.083" v="6777" actId="478"/>
          <ac:grpSpMkLst>
            <pc:docMk/>
            <pc:sldMk cId="257716761" sldId="2145707268"/>
            <ac:grpSpMk id="129" creationId="{CE3607EF-148E-2D4E-A1FB-AAFE4B96F836}"/>
          </ac:grpSpMkLst>
        </pc:grpChg>
        <pc:grpChg chg="del mod">
          <ac:chgData name="Nick Robinson" userId="d0c2b313-4ae0-4040-8c6a-fec7a720a7b5" providerId="ADAL" clId="{190131DE-6250-C84F-B491-721E6CF30BCB}" dt="2021-12-17T10:47:46.585" v="6782" actId="478"/>
          <ac:grpSpMkLst>
            <pc:docMk/>
            <pc:sldMk cId="257716761" sldId="2145707268"/>
            <ac:grpSpMk id="133" creationId="{14039B66-FE65-094A-9823-385EB830AA3E}"/>
          </ac:grpSpMkLst>
        </pc:grpChg>
        <pc:grpChg chg="del">
          <ac:chgData name="Nick Robinson" userId="d0c2b313-4ae0-4040-8c6a-fec7a720a7b5" providerId="ADAL" clId="{190131DE-6250-C84F-B491-721E6CF30BCB}" dt="2021-12-17T10:47:37.828" v="6778" actId="478"/>
          <ac:grpSpMkLst>
            <pc:docMk/>
            <pc:sldMk cId="257716761" sldId="2145707268"/>
            <ac:grpSpMk id="140" creationId="{02064E0E-73E0-9840-89DA-C6B1AE08B71B}"/>
          </ac:grpSpMkLst>
        </pc:grpChg>
        <pc:grpChg chg="del">
          <ac:chgData name="Nick Robinson" userId="d0c2b313-4ae0-4040-8c6a-fec7a720a7b5" providerId="ADAL" clId="{190131DE-6250-C84F-B491-721E6CF30BCB}" dt="2021-12-17T10:47:37.828" v="6778" actId="478"/>
          <ac:grpSpMkLst>
            <pc:docMk/>
            <pc:sldMk cId="257716761" sldId="2145707268"/>
            <ac:grpSpMk id="143" creationId="{5CF4B089-02A0-2B45-8252-05ABEC35E5E9}"/>
          </ac:grpSpMkLst>
        </pc:grpChg>
        <pc:grpChg chg="del mod">
          <ac:chgData name="Nick Robinson" userId="d0c2b313-4ae0-4040-8c6a-fec7a720a7b5" providerId="ADAL" clId="{190131DE-6250-C84F-B491-721E6CF30BCB}" dt="2021-12-17T10:47:46.585" v="6782" actId="478"/>
          <ac:grpSpMkLst>
            <pc:docMk/>
            <pc:sldMk cId="257716761" sldId="2145707268"/>
            <ac:grpSpMk id="146" creationId="{B4C340B2-43BE-514F-92EF-132AC256F2A1}"/>
          </ac:grpSpMkLst>
        </pc:grpChg>
        <pc:grpChg chg="del">
          <ac:chgData name="Nick Robinson" userId="d0c2b313-4ae0-4040-8c6a-fec7a720a7b5" providerId="ADAL" clId="{190131DE-6250-C84F-B491-721E6CF30BCB}" dt="2021-12-17T10:47:29.934" v="6776" actId="478"/>
          <ac:grpSpMkLst>
            <pc:docMk/>
            <pc:sldMk cId="257716761" sldId="2145707268"/>
            <ac:grpSpMk id="149" creationId="{FF04D684-DB87-A147-9D78-1AAEA85BB2BF}"/>
          </ac:grpSpMkLst>
        </pc:grpChg>
        <pc:grpChg chg="mod">
          <ac:chgData name="Nick Robinson" userId="d0c2b313-4ae0-4040-8c6a-fec7a720a7b5" providerId="ADAL" clId="{190131DE-6250-C84F-B491-721E6CF30BCB}" dt="2021-12-17T10:43:51.577" v="6715" actId="207"/>
          <ac:grpSpMkLst>
            <pc:docMk/>
            <pc:sldMk cId="257716761" sldId="2145707268"/>
            <ac:grpSpMk id="153" creationId="{13AB137A-3171-F649-B0E6-134038B50D9E}"/>
          </ac:grpSpMkLst>
        </pc:grpChg>
        <pc:grpChg chg="mod">
          <ac:chgData name="Nick Robinson" userId="d0c2b313-4ae0-4040-8c6a-fec7a720a7b5" providerId="ADAL" clId="{190131DE-6250-C84F-B491-721E6CF30BCB}" dt="2021-12-17T10:43:51.577" v="6715" actId="207"/>
          <ac:grpSpMkLst>
            <pc:docMk/>
            <pc:sldMk cId="257716761" sldId="2145707268"/>
            <ac:grpSpMk id="157" creationId="{050C9B5F-69FB-F647-9DA9-B84645F77D3D}"/>
          </ac:grpSpMkLst>
        </pc:grpChg>
        <pc:grpChg chg="mod">
          <ac:chgData name="Nick Robinson" userId="d0c2b313-4ae0-4040-8c6a-fec7a720a7b5" providerId="ADAL" clId="{190131DE-6250-C84F-B491-721E6CF30BCB}" dt="2021-12-17T10:43:51.577" v="6715" actId="207"/>
          <ac:grpSpMkLst>
            <pc:docMk/>
            <pc:sldMk cId="257716761" sldId="2145707268"/>
            <ac:grpSpMk id="160" creationId="{E0819102-94B4-4246-B181-E30D877D8459}"/>
          </ac:grpSpMkLst>
        </pc:grpChg>
        <pc:grpChg chg="mod">
          <ac:chgData name="Nick Robinson" userId="d0c2b313-4ae0-4040-8c6a-fec7a720a7b5" providerId="ADAL" clId="{190131DE-6250-C84F-B491-721E6CF30BCB}" dt="2021-12-17T10:43:51.577" v="6715" actId="207"/>
          <ac:grpSpMkLst>
            <pc:docMk/>
            <pc:sldMk cId="257716761" sldId="2145707268"/>
            <ac:grpSpMk id="163" creationId="{226C90E2-1548-8140-9426-8B6BAF0D3D1D}"/>
          </ac:grpSpMkLst>
        </pc:grpChg>
        <pc:grpChg chg="mod">
          <ac:chgData name="Nick Robinson" userId="d0c2b313-4ae0-4040-8c6a-fec7a720a7b5" providerId="ADAL" clId="{190131DE-6250-C84F-B491-721E6CF30BCB}" dt="2021-12-17T10:43:51.577" v="6715" actId="207"/>
          <ac:grpSpMkLst>
            <pc:docMk/>
            <pc:sldMk cId="257716761" sldId="2145707268"/>
            <ac:grpSpMk id="166" creationId="{03FDBABE-91AD-4942-AEDB-8254B2A43472}"/>
          </ac:grpSpMkLst>
        </pc:grpChg>
        <pc:grpChg chg="mod">
          <ac:chgData name="Nick Robinson" userId="d0c2b313-4ae0-4040-8c6a-fec7a720a7b5" providerId="ADAL" clId="{190131DE-6250-C84F-B491-721E6CF30BCB}" dt="2021-12-17T10:43:51.577" v="6715" actId="207"/>
          <ac:grpSpMkLst>
            <pc:docMk/>
            <pc:sldMk cId="257716761" sldId="2145707268"/>
            <ac:grpSpMk id="169" creationId="{B30CFACA-2215-C74C-AD5E-6EB46477171F}"/>
          </ac:grpSpMkLst>
        </pc:grpChg>
        <pc:grpChg chg="mod">
          <ac:chgData name="Nick Robinson" userId="d0c2b313-4ae0-4040-8c6a-fec7a720a7b5" providerId="ADAL" clId="{190131DE-6250-C84F-B491-721E6CF30BCB}" dt="2021-12-17T10:43:51.577" v="6715" actId="207"/>
          <ac:grpSpMkLst>
            <pc:docMk/>
            <pc:sldMk cId="257716761" sldId="2145707268"/>
            <ac:grpSpMk id="172" creationId="{2B716DF9-8666-A444-97A2-0070862FD0CA}"/>
          </ac:grpSpMkLst>
        </pc:grpChg>
        <pc:grpChg chg="add del mod">
          <ac:chgData name="Nick Robinson" userId="d0c2b313-4ae0-4040-8c6a-fec7a720a7b5" providerId="ADAL" clId="{190131DE-6250-C84F-B491-721E6CF30BCB}" dt="2021-12-17T10:47:46.585" v="6782" actId="478"/>
          <ac:grpSpMkLst>
            <pc:docMk/>
            <pc:sldMk cId="257716761" sldId="2145707268"/>
            <ac:grpSpMk id="179" creationId="{EECB2AEC-53AB-494E-8D7B-CDB93B681991}"/>
          </ac:grpSpMkLst>
        </pc:grpChg>
        <pc:grpChg chg="add del mod">
          <ac:chgData name="Nick Robinson" userId="d0c2b313-4ae0-4040-8c6a-fec7a720a7b5" providerId="ADAL" clId="{190131DE-6250-C84F-B491-721E6CF30BCB}" dt="2021-12-17T10:47:46.585" v="6782" actId="478"/>
          <ac:grpSpMkLst>
            <pc:docMk/>
            <pc:sldMk cId="257716761" sldId="2145707268"/>
            <ac:grpSpMk id="183" creationId="{52D23E24-87F2-F143-84BD-13FCB305EFB4}"/>
          </ac:grpSpMkLst>
        </pc:grpChg>
        <pc:grpChg chg="add del mod">
          <ac:chgData name="Nick Robinson" userId="d0c2b313-4ae0-4040-8c6a-fec7a720a7b5" providerId="ADAL" clId="{190131DE-6250-C84F-B491-721E6CF30BCB}" dt="2021-12-17T10:47:46.585" v="6782" actId="478"/>
          <ac:grpSpMkLst>
            <pc:docMk/>
            <pc:sldMk cId="257716761" sldId="2145707268"/>
            <ac:grpSpMk id="186" creationId="{1120A7F5-50CF-6F43-85A6-DCE8156B2010}"/>
          </ac:grpSpMkLst>
        </pc:grpChg>
        <pc:grpChg chg="add del mod">
          <ac:chgData name="Nick Robinson" userId="d0c2b313-4ae0-4040-8c6a-fec7a720a7b5" providerId="ADAL" clId="{190131DE-6250-C84F-B491-721E6CF30BCB}" dt="2021-12-17T10:47:46.585" v="6782" actId="478"/>
          <ac:grpSpMkLst>
            <pc:docMk/>
            <pc:sldMk cId="257716761" sldId="2145707268"/>
            <ac:grpSpMk id="189" creationId="{85BC95EA-1C5D-3740-84D7-F67AC2A36ED3}"/>
          </ac:grpSpMkLst>
        </pc:grpChg>
        <pc:grpChg chg="add del mod">
          <ac:chgData name="Nick Robinson" userId="d0c2b313-4ae0-4040-8c6a-fec7a720a7b5" providerId="ADAL" clId="{190131DE-6250-C84F-B491-721E6CF30BCB}" dt="2021-12-17T10:47:46.585" v="6782" actId="478"/>
          <ac:grpSpMkLst>
            <pc:docMk/>
            <pc:sldMk cId="257716761" sldId="2145707268"/>
            <ac:grpSpMk id="192" creationId="{B8CBF204-B299-D54D-9580-14325A291412}"/>
          </ac:grpSpMkLst>
        </pc:grpChg>
        <pc:grpChg chg="add del mod">
          <ac:chgData name="Nick Robinson" userId="d0c2b313-4ae0-4040-8c6a-fec7a720a7b5" providerId="ADAL" clId="{190131DE-6250-C84F-B491-721E6CF30BCB}" dt="2021-12-17T10:47:46.585" v="6782" actId="478"/>
          <ac:grpSpMkLst>
            <pc:docMk/>
            <pc:sldMk cId="257716761" sldId="2145707268"/>
            <ac:grpSpMk id="197" creationId="{923F35D8-35D8-8F42-B8C8-D96B0B36E31B}"/>
          </ac:grpSpMkLst>
        </pc:grpChg>
        <pc:grpChg chg="add del mod">
          <ac:chgData name="Nick Robinson" userId="d0c2b313-4ae0-4040-8c6a-fec7a720a7b5" providerId="ADAL" clId="{190131DE-6250-C84F-B491-721E6CF30BCB}" dt="2021-12-17T10:47:46.585" v="6782" actId="478"/>
          <ac:grpSpMkLst>
            <pc:docMk/>
            <pc:sldMk cId="257716761" sldId="2145707268"/>
            <ac:grpSpMk id="200" creationId="{BA77C1AD-50D0-4842-9509-1DF2FEB0AF2C}"/>
          </ac:grpSpMkLst>
        </pc:grpChg>
        <pc:grpChg chg="add del mod">
          <ac:chgData name="Nick Robinson" userId="d0c2b313-4ae0-4040-8c6a-fec7a720a7b5" providerId="ADAL" clId="{190131DE-6250-C84F-B491-721E6CF30BCB}" dt="2021-12-17T10:47:46.585" v="6782" actId="478"/>
          <ac:grpSpMkLst>
            <pc:docMk/>
            <pc:sldMk cId="257716761" sldId="2145707268"/>
            <ac:grpSpMk id="203" creationId="{094B4963-2A49-C646-97CD-3014DCC5C0C9}"/>
          </ac:grpSpMkLst>
        </pc:grpChg>
        <pc:grpChg chg="add del mod">
          <ac:chgData name="Nick Robinson" userId="d0c2b313-4ae0-4040-8c6a-fec7a720a7b5" providerId="ADAL" clId="{190131DE-6250-C84F-B491-721E6CF30BCB}" dt="2021-12-17T10:47:46.585" v="6782" actId="478"/>
          <ac:grpSpMkLst>
            <pc:docMk/>
            <pc:sldMk cId="257716761" sldId="2145707268"/>
            <ac:grpSpMk id="206" creationId="{5A20E402-92F1-0C4F-BF5B-8BE20C1B7281}"/>
          </ac:grpSpMkLst>
        </pc:grpChg>
        <pc:grpChg chg="add del mod">
          <ac:chgData name="Nick Robinson" userId="d0c2b313-4ae0-4040-8c6a-fec7a720a7b5" providerId="ADAL" clId="{190131DE-6250-C84F-B491-721E6CF30BCB}" dt="2021-12-17T10:47:46.585" v="6782" actId="478"/>
          <ac:grpSpMkLst>
            <pc:docMk/>
            <pc:sldMk cId="257716761" sldId="2145707268"/>
            <ac:grpSpMk id="209" creationId="{8FEA903A-98FA-F949-96FD-2837AD0DD3FE}"/>
          </ac:grpSpMkLst>
        </pc:grpChg>
        <pc:grpChg chg="add del mod">
          <ac:chgData name="Nick Robinson" userId="d0c2b313-4ae0-4040-8c6a-fec7a720a7b5" providerId="ADAL" clId="{190131DE-6250-C84F-B491-721E6CF30BCB}" dt="2021-12-17T10:47:46.585" v="6782" actId="478"/>
          <ac:grpSpMkLst>
            <pc:docMk/>
            <pc:sldMk cId="257716761" sldId="2145707268"/>
            <ac:grpSpMk id="212" creationId="{E6C8FE43-F990-BD46-BEB5-A8A583DD2097}"/>
          </ac:grpSpMkLst>
        </pc:grpChg>
        <pc:grpChg chg="add del mod">
          <ac:chgData name="Nick Robinson" userId="d0c2b313-4ae0-4040-8c6a-fec7a720a7b5" providerId="ADAL" clId="{190131DE-6250-C84F-B491-721E6CF30BCB}" dt="2021-12-17T10:47:46.585" v="6782" actId="478"/>
          <ac:grpSpMkLst>
            <pc:docMk/>
            <pc:sldMk cId="257716761" sldId="2145707268"/>
            <ac:grpSpMk id="215" creationId="{5C599F07-609A-3147-AE0E-31C97DB65C9E}"/>
          </ac:grpSpMkLst>
        </pc:grpChg>
        <pc:grpChg chg="add del mod">
          <ac:chgData name="Nick Robinson" userId="d0c2b313-4ae0-4040-8c6a-fec7a720a7b5" providerId="ADAL" clId="{190131DE-6250-C84F-B491-721E6CF30BCB}" dt="2021-12-17T10:47:46.585" v="6782" actId="478"/>
          <ac:grpSpMkLst>
            <pc:docMk/>
            <pc:sldMk cId="257716761" sldId="2145707268"/>
            <ac:grpSpMk id="218" creationId="{B366CAD7-8395-0341-8FDA-611044617736}"/>
          </ac:grpSpMkLst>
        </pc:grpChg>
        <pc:grpChg chg="add del mod">
          <ac:chgData name="Nick Robinson" userId="d0c2b313-4ae0-4040-8c6a-fec7a720a7b5" providerId="ADAL" clId="{190131DE-6250-C84F-B491-721E6CF30BCB}" dt="2021-12-17T10:47:46.585" v="6782" actId="478"/>
          <ac:grpSpMkLst>
            <pc:docMk/>
            <pc:sldMk cId="257716761" sldId="2145707268"/>
            <ac:grpSpMk id="221" creationId="{56A1A0DC-8D73-614E-BA68-54DE4FFE3053}"/>
          </ac:grpSpMkLst>
        </pc:grpChg>
        <pc:grpChg chg="add del mod">
          <ac:chgData name="Nick Robinson" userId="d0c2b313-4ae0-4040-8c6a-fec7a720a7b5" providerId="ADAL" clId="{190131DE-6250-C84F-B491-721E6CF30BCB}" dt="2021-12-17T10:47:46.585" v="6782" actId="478"/>
          <ac:grpSpMkLst>
            <pc:docMk/>
            <pc:sldMk cId="257716761" sldId="2145707268"/>
            <ac:grpSpMk id="224" creationId="{5B05FF4A-1654-2A48-A0E7-D9B8DC6FB6EC}"/>
          </ac:grpSpMkLst>
        </pc:grpChg>
        <pc:grpChg chg="add del mod">
          <ac:chgData name="Nick Robinson" userId="d0c2b313-4ae0-4040-8c6a-fec7a720a7b5" providerId="ADAL" clId="{190131DE-6250-C84F-B491-721E6CF30BCB}" dt="2021-12-17T10:47:46.585" v="6782" actId="478"/>
          <ac:grpSpMkLst>
            <pc:docMk/>
            <pc:sldMk cId="257716761" sldId="2145707268"/>
            <ac:grpSpMk id="227" creationId="{FD62121E-8B8F-6A48-8252-56BAF74B5448}"/>
          </ac:grpSpMkLst>
        </pc:grpChg>
        <pc:grpChg chg="add del mod">
          <ac:chgData name="Nick Robinson" userId="d0c2b313-4ae0-4040-8c6a-fec7a720a7b5" providerId="ADAL" clId="{190131DE-6250-C84F-B491-721E6CF30BCB}" dt="2021-12-17T10:47:46.585" v="6782" actId="478"/>
          <ac:grpSpMkLst>
            <pc:docMk/>
            <pc:sldMk cId="257716761" sldId="2145707268"/>
            <ac:grpSpMk id="230" creationId="{C4FCF4CE-4594-584F-94F0-6463D4EA9B2B}"/>
          </ac:grpSpMkLst>
        </pc:grpChg>
        <pc:grpChg chg="add del mod">
          <ac:chgData name="Nick Robinson" userId="d0c2b313-4ae0-4040-8c6a-fec7a720a7b5" providerId="ADAL" clId="{190131DE-6250-C84F-B491-721E6CF30BCB}" dt="2021-12-17T10:47:46.585" v="6782" actId="478"/>
          <ac:grpSpMkLst>
            <pc:docMk/>
            <pc:sldMk cId="257716761" sldId="2145707268"/>
            <ac:grpSpMk id="233" creationId="{4C8F67A1-4E85-5F43-82A0-803E9429E603}"/>
          </ac:grpSpMkLst>
        </pc:grpChg>
        <pc:grpChg chg="add del mod">
          <ac:chgData name="Nick Robinson" userId="d0c2b313-4ae0-4040-8c6a-fec7a720a7b5" providerId="ADAL" clId="{190131DE-6250-C84F-B491-721E6CF30BCB}" dt="2021-12-17T10:47:46.585" v="6782" actId="478"/>
          <ac:grpSpMkLst>
            <pc:docMk/>
            <pc:sldMk cId="257716761" sldId="2145707268"/>
            <ac:grpSpMk id="236" creationId="{B9C63FA5-B2F4-6741-8020-E5A88234C101}"/>
          </ac:grpSpMkLst>
        </pc:grpChg>
        <pc:grpChg chg="add del mod">
          <ac:chgData name="Nick Robinson" userId="d0c2b313-4ae0-4040-8c6a-fec7a720a7b5" providerId="ADAL" clId="{190131DE-6250-C84F-B491-721E6CF30BCB}" dt="2021-12-17T10:47:46.585" v="6782" actId="478"/>
          <ac:grpSpMkLst>
            <pc:docMk/>
            <pc:sldMk cId="257716761" sldId="2145707268"/>
            <ac:grpSpMk id="239" creationId="{5378E5A2-6430-0645-8847-53FE5FC4701F}"/>
          </ac:grpSpMkLst>
        </pc:grpChg>
        <pc:grpChg chg="add mod">
          <ac:chgData name="Nick Robinson" userId="d0c2b313-4ae0-4040-8c6a-fec7a720a7b5" providerId="ADAL" clId="{190131DE-6250-C84F-B491-721E6CF30BCB}" dt="2021-12-17T10:48:18.494" v="6788" actId="207"/>
          <ac:grpSpMkLst>
            <pc:docMk/>
            <pc:sldMk cId="257716761" sldId="2145707268"/>
            <ac:grpSpMk id="242" creationId="{A2A88F59-F5F1-604B-896B-CFE3306BB345}"/>
          </ac:grpSpMkLst>
        </pc:grpChg>
        <pc:grpChg chg="add mod">
          <ac:chgData name="Nick Robinson" userId="d0c2b313-4ae0-4040-8c6a-fec7a720a7b5" providerId="ADAL" clId="{190131DE-6250-C84F-B491-721E6CF30BCB}" dt="2021-12-17T10:48:18.494" v="6788" actId="207"/>
          <ac:grpSpMkLst>
            <pc:docMk/>
            <pc:sldMk cId="257716761" sldId="2145707268"/>
            <ac:grpSpMk id="245" creationId="{71653F40-2FF4-374B-807F-04BD8653D633}"/>
          </ac:grpSpMkLst>
        </pc:grpChg>
        <pc:grpChg chg="add mod">
          <ac:chgData name="Nick Robinson" userId="d0c2b313-4ae0-4040-8c6a-fec7a720a7b5" providerId="ADAL" clId="{190131DE-6250-C84F-B491-721E6CF30BCB}" dt="2021-12-17T10:48:18.494" v="6788" actId="207"/>
          <ac:grpSpMkLst>
            <pc:docMk/>
            <pc:sldMk cId="257716761" sldId="2145707268"/>
            <ac:grpSpMk id="248" creationId="{C796E9E0-CBAA-154A-B628-B00D9BC7D53D}"/>
          </ac:grpSpMkLst>
        </pc:grpChg>
        <pc:grpChg chg="add mod">
          <ac:chgData name="Nick Robinson" userId="d0c2b313-4ae0-4040-8c6a-fec7a720a7b5" providerId="ADAL" clId="{190131DE-6250-C84F-B491-721E6CF30BCB}" dt="2021-12-17T10:48:18.494" v="6788" actId="207"/>
          <ac:grpSpMkLst>
            <pc:docMk/>
            <pc:sldMk cId="257716761" sldId="2145707268"/>
            <ac:grpSpMk id="251" creationId="{2FD615DD-C89B-1E42-99A3-9F942B5E0C72}"/>
          </ac:grpSpMkLst>
        </pc:grpChg>
        <pc:grpChg chg="add mod">
          <ac:chgData name="Nick Robinson" userId="d0c2b313-4ae0-4040-8c6a-fec7a720a7b5" providerId="ADAL" clId="{190131DE-6250-C84F-B491-721E6CF30BCB}" dt="2021-12-17T10:48:18.494" v="6788" actId="207"/>
          <ac:grpSpMkLst>
            <pc:docMk/>
            <pc:sldMk cId="257716761" sldId="2145707268"/>
            <ac:grpSpMk id="254" creationId="{F0DDF072-DA24-D545-A47A-9E6C3D28A1A1}"/>
          </ac:grpSpMkLst>
        </pc:grpChg>
        <pc:grpChg chg="add mod">
          <ac:chgData name="Nick Robinson" userId="d0c2b313-4ae0-4040-8c6a-fec7a720a7b5" providerId="ADAL" clId="{190131DE-6250-C84F-B491-721E6CF30BCB}" dt="2021-12-17T10:48:18.494" v="6788" actId="207"/>
          <ac:grpSpMkLst>
            <pc:docMk/>
            <pc:sldMk cId="257716761" sldId="2145707268"/>
            <ac:grpSpMk id="257" creationId="{87F1FB8E-C9AA-E74C-BA05-3BE245CCC40C}"/>
          </ac:grpSpMkLst>
        </pc:grpChg>
        <pc:grpChg chg="add mod">
          <ac:chgData name="Nick Robinson" userId="d0c2b313-4ae0-4040-8c6a-fec7a720a7b5" providerId="ADAL" clId="{190131DE-6250-C84F-B491-721E6CF30BCB}" dt="2021-12-17T10:48:18.494" v="6788" actId="207"/>
          <ac:grpSpMkLst>
            <pc:docMk/>
            <pc:sldMk cId="257716761" sldId="2145707268"/>
            <ac:grpSpMk id="260" creationId="{266CDA6D-FD6D-514D-9ED1-97B9D4919EF2}"/>
          </ac:grpSpMkLst>
        </pc:grpChg>
        <pc:grpChg chg="add mod">
          <ac:chgData name="Nick Robinson" userId="d0c2b313-4ae0-4040-8c6a-fec7a720a7b5" providerId="ADAL" clId="{190131DE-6250-C84F-B491-721E6CF30BCB}" dt="2021-12-17T10:48:18.494" v="6788" actId="207"/>
          <ac:grpSpMkLst>
            <pc:docMk/>
            <pc:sldMk cId="257716761" sldId="2145707268"/>
            <ac:grpSpMk id="263" creationId="{E8D265EC-2E01-A94B-AE2F-B16751299FEE}"/>
          </ac:grpSpMkLst>
        </pc:grpChg>
        <pc:grpChg chg="add mod">
          <ac:chgData name="Nick Robinson" userId="d0c2b313-4ae0-4040-8c6a-fec7a720a7b5" providerId="ADAL" clId="{190131DE-6250-C84F-B491-721E6CF30BCB}" dt="2021-12-17T10:48:18.494" v="6788" actId="207"/>
          <ac:grpSpMkLst>
            <pc:docMk/>
            <pc:sldMk cId="257716761" sldId="2145707268"/>
            <ac:grpSpMk id="266" creationId="{EB27F0D6-D83B-B846-AF99-B9E76732D25A}"/>
          </ac:grpSpMkLst>
        </pc:grpChg>
        <pc:grpChg chg="add mod">
          <ac:chgData name="Nick Robinson" userId="d0c2b313-4ae0-4040-8c6a-fec7a720a7b5" providerId="ADAL" clId="{190131DE-6250-C84F-B491-721E6CF30BCB}" dt="2021-12-17T10:48:18.494" v="6788" actId="207"/>
          <ac:grpSpMkLst>
            <pc:docMk/>
            <pc:sldMk cId="257716761" sldId="2145707268"/>
            <ac:grpSpMk id="269" creationId="{71CF6874-6214-1148-9BD2-63EF98E8803F}"/>
          </ac:grpSpMkLst>
        </pc:grpChg>
        <pc:grpChg chg="add mod">
          <ac:chgData name="Nick Robinson" userId="d0c2b313-4ae0-4040-8c6a-fec7a720a7b5" providerId="ADAL" clId="{190131DE-6250-C84F-B491-721E6CF30BCB}" dt="2021-12-17T10:48:18.494" v="6788" actId="207"/>
          <ac:grpSpMkLst>
            <pc:docMk/>
            <pc:sldMk cId="257716761" sldId="2145707268"/>
            <ac:grpSpMk id="272" creationId="{0F4F2383-C75B-194E-95A2-930890F3E37D}"/>
          </ac:grpSpMkLst>
        </pc:grpChg>
        <pc:grpChg chg="add mod">
          <ac:chgData name="Nick Robinson" userId="d0c2b313-4ae0-4040-8c6a-fec7a720a7b5" providerId="ADAL" clId="{190131DE-6250-C84F-B491-721E6CF30BCB}" dt="2021-12-17T10:48:18.494" v="6788" actId="207"/>
          <ac:grpSpMkLst>
            <pc:docMk/>
            <pc:sldMk cId="257716761" sldId="2145707268"/>
            <ac:grpSpMk id="275" creationId="{BF7C1512-013F-B448-AB0A-74C5DD598BC0}"/>
          </ac:grpSpMkLst>
        </pc:grpChg>
        <pc:grpChg chg="add mod">
          <ac:chgData name="Nick Robinson" userId="d0c2b313-4ae0-4040-8c6a-fec7a720a7b5" providerId="ADAL" clId="{190131DE-6250-C84F-B491-721E6CF30BCB}" dt="2021-12-17T10:48:18.494" v="6788" actId="207"/>
          <ac:grpSpMkLst>
            <pc:docMk/>
            <pc:sldMk cId="257716761" sldId="2145707268"/>
            <ac:grpSpMk id="278" creationId="{0D91AEFC-7B40-9845-903A-79FAD2395023}"/>
          </ac:grpSpMkLst>
        </pc:grpChg>
        <pc:grpChg chg="add mod">
          <ac:chgData name="Nick Robinson" userId="d0c2b313-4ae0-4040-8c6a-fec7a720a7b5" providerId="ADAL" clId="{190131DE-6250-C84F-B491-721E6CF30BCB}" dt="2021-12-17T10:48:18.494" v="6788" actId="207"/>
          <ac:grpSpMkLst>
            <pc:docMk/>
            <pc:sldMk cId="257716761" sldId="2145707268"/>
            <ac:grpSpMk id="281" creationId="{C8335749-BD3E-3D4F-9C77-67DD8CC6E959}"/>
          </ac:grpSpMkLst>
        </pc:grpChg>
        <pc:grpChg chg="add mod">
          <ac:chgData name="Nick Robinson" userId="d0c2b313-4ae0-4040-8c6a-fec7a720a7b5" providerId="ADAL" clId="{190131DE-6250-C84F-B491-721E6CF30BCB}" dt="2021-12-17T10:48:18.494" v="6788" actId="207"/>
          <ac:grpSpMkLst>
            <pc:docMk/>
            <pc:sldMk cId="257716761" sldId="2145707268"/>
            <ac:grpSpMk id="284" creationId="{E155B00D-E76E-DF4D-8601-579111A1039D}"/>
          </ac:grpSpMkLst>
        </pc:grpChg>
        <pc:grpChg chg="add mod">
          <ac:chgData name="Nick Robinson" userId="d0c2b313-4ae0-4040-8c6a-fec7a720a7b5" providerId="ADAL" clId="{190131DE-6250-C84F-B491-721E6CF30BCB}" dt="2021-12-17T10:48:18.494" v="6788" actId="207"/>
          <ac:grpSpMkLst>
            <pc:docMk/>
            <pc:sldMk cId="257716761" sldId="2145707268"/>
            <ac:grpSpMk id="287" creationId="{3DCDFB90-38A7-3F40-90BD-28B895F3EB08}"/>
          </ac:grpSpMkLst>
        </pc:grpChg>
        <pc:grpChg chg="add mod">
          <ac:chgData name="Nick Robinson" userId="d0c2b313-4ae0-4040-8c6a-fec7a720a7b5" providerId="ADAL" clId="{190131DE-6250-C84F-B491-721E6CF30BCB}" dt="2021-12-17T10:48:18.494" v="6788" actId="207"/>
          <ac:grpSpMkLst>
            <pc:docMk/>
            <pc:sldMk cId="257716761" sldId="2145707268"/>
            <ac:grpSpMk id="290" creationId="{C015EB16-4FF8-4C43-84C6-ABD7B18B85AD}"/>
          </ac:grpSpMkLst>
        </pc:grpChg>
        <pc:grpChg chg="add mod">
          <ac:chgData name="Nick Robinson" userId="d0c2b313-4ae0-4040-8c6a-fec7a720a7b5" providerId="ADAL" clId="{190131DE-6250-C84F-B491-721E6CF30BCB}" dt="2021-12-17T10:48:18.494" v="6788" actId="207"/>
          <ac:grpSpMkLst>
            <pc:docMk/>
            <pc:sldMk cId="257716761" sldId="2145707268"/>
            <ac:grpSpMk id="293" creationId="{7BFAA29A-03E4-654F-A582-DC06EA19CE1F}"/>
          </ac:grpSpMkLst>
        </pc:grpChg>
        <pc:grpChg chg="add mod">
          <ac:chgData name="Nick Robinson" userId="d0c2b313-4ae0-4040-8c6a-fec7a720a7b5" providerId="ADAL" clId="{190131DE-6250-C84F-B491-721E6CF30BCB}" dt="2021-12-17T10:48:18.494" v="6788" actId="207"/>
          <ac:grpSpMkLst>
            <pc:docMk/>
            <pc:sldMk cId="257716761" sldId="2145707268"/>
            <ac:grpSpMk id="296" creationId="{CFFB062C-32B0-6F4E-83C9-E5B04FA82F45}"/>
          </ac:grpSpMkLst>
        </pc:grpChg>
        <pc:grpChg chg="add mod">
          <ac:chgData name="Nick Robinson" userId="d0c2b313-4ae0-4040-8c6a-fec7a720a7b5" providerId="ADAL" clId="{190131DE-6250-C84F-B491-721E6CF30BCB}" dt="2021-12-17T10:48:18.494" v="6788" actId="207"/>
          <ac:grpSpMkLst>
            <pc:docMk/>
            <pc:sldMk cId="257716761" sldId="2145707268"/>
            <ac:grpSpMk id="299" creationId="{C267653B-3681-0345-A929-CCC0A4C606DF}"/>
          </ac:grpSpMkLst>
        </pc:grpChg>
        <pc:grpChg chg="add mod">
          <ac:chgData name="Nick Robinson" userId="d0c2b313-4ae0-4040-8c6a-fec7a720a7b5" providerId="ADAL" clId="{190131DE-6250-C84F-B491-721E6CF30BCB}" dt="2021-12-17T10:48:18.494" v="6788" actId="207"/>
          <ac:grpSpMkLst>
            <pc:docMk/>
            <pc:sldMk cId="257716761" sldId="2145707268"/>
            <ac:grpSpMk id="302" creationId="{0CAA7B2B-F9F2-5F4D-A865-C7D53C3AD5E1}"/>
          </ac:grpSpMkLst>
        </pc:grpChg>
        <pc:grpChg chg="add mod">
          <ac:chgData name="Nick Robinson" userId="d0c2b313-4ae0-4040-8c6a-fec7a720a7b5" providerId="ADAL" clId="{190131DE-6250-C84F-B491-721E6CF30BCB}" dt="2021-12-17T10:48:18.494" v="6788" actId="207"/>
          <ac:grpSpMkLst>
            <pc:docMk/>
            <pc:sldMk cId="257716761" sldId="2145707268"/>
            <ac:grpSpMk id="305" creationId="{9D5C087C-E9B4-DA44-B299-E49EA21F5C64}"/>
          </ac:grpSpMkLst>
        </pc:grpChg>
        <pc:grpChg chg="add mod">
          <ac:chgData name="Nick Robinson" userId="d0c2b313-4ae0-4040-8c6a-fec7a720a7b5" providerId="ADAL" clId="{190131DE-6250-C84F-B491-721E6CF30BCB}" dt="2021-12-17T10:48:18.494" v="6788" actId="207"/>
          <ac:grpSpMkLst>
            <pc:docMk/>
            <pc:sldMk cId="257716761" sldId="2145707268"/>
            <ac:grpSpMk id="308" creationId="{85D99128-79DE-7041-9C08-808E0251E422}"/>
          </ac:grpSpMkLst>
        </pc:grpChg>
        <pc:grpChg chg="add mod">
          <ac:chgData name="Nick Robinson" userId="d0c2b313-4ae0-4040-8c6a-fec7a720a7b5" providerId="ADAL" clId="{190131DE-6250-C84F-B491-721E6CF30BCB}" dt="2021-12-17T10:48:18.494" v="6788" actId="207"/>
          <ac:grpSpMkLst>
            <pc:docMk/>
            <pc:sldMk cId="257716761" sldId="2145707268"/>
            <ac:grpSpMk id="311" creationId="{198F89C6-2860-F944-8C97-201F01439EC6}"/>
          </ac:grpSpMkLst>
        </pc:grpChg>
        <pc:grpChg chg="add mod">
          <ac:chgData name="Nick Robinson" userId="d0c2b313-4ae0-4040-8c6a-fec7a720a7b5" providerId="ADAL" clId="{190131DE-6250-C84F-B491-721E6CF30BCB}" dt="2021-12-17T10:48:18.494" v="6788" actId="207"/>
          <ac:grpSpMkLst>
            <pc:docMk/>
            <pc:sldMk cId="257716761" sldId="2145707268"/>
            <ac:grpSpMk id="314" creationId="{42D93189-8D12-5849-8562-B8CAA57776F2}"/>
          </ac:grpSpMkLst>
        </pc:grpChg>
        <pc:grpChg chg="add mod">
          <ac:chgData name="Nick Robinson" userId="d0c2b313-4ae0-4040-8c6a-fec7a720a7b5" providerId="ADAL" clId="{190131DE-6250-C84F-B491-721E6CF30BCB}" dt="2021-12-17T10:49:52.927" v="6811" actId="1076"/>
          <ac:grpSpMkLst>
            <pc:docMk/>
            <pc:sldMk cId="257716761" sldId="2145707268"/>
            <ac:grpSpMk id="317" creationId="{76BEEE72-8BC0-284E-9BE8-41DD367925BE}"/>
          </ac:grpSpMkLst>
        </pc:grpChg>
        <pc:grpChg chg="add mod">
          <ac:chgData name="Nick Robinson" userId="d0c2b313-4ae0-4040-8c6a-fec7a720a7b5" providerId="ADAL" clId="{190131DE-6250-C84F-B491-721E6CF30BCB}" dt="2021-12-17T10:49:52.927" v="6811" actId="1076"/>
          <ac:grpSpMkLst>
            <pc:docMk/>
            <pc:sldMk cId="257716761" sldId="2145707268"/>
            <ac:grpSpMk id="320" creationId="{0F67B21E-87BE-6942-9F5F-326508ABA105}"/>
          </ac:grpSpMkLst>
        </pc:grpChg>
        <pc:grpChg chg="add mod">
          <ac:chgData name="Nick Robinson" userId="d0c2b313-4ae0-4040-8c6a-fec7a720a7b5" providerId="ADAL" clId="{190131DE-6250-C84F-B491-721E6CF30BCB}" dt="2021-12-17T10:49:52.927" v="6811" actId="1076"/>
          <ac:grpSpMkLst>
            <pc:docMk/>
            <pc:sldMk cId="257716761" sldId="2145707268"/>
            <ac:grpSpMk id="323" creationId="{29B60F3D-1D04-BA47-B336-B393A99EFD84}"/>
          </ac:grpSpMkLst>
        </pc:grpChg>
        <pc:grpChg chg="add mod">
          <ac:chgData name="Nick Robinson" userId="d0c2b313-4ae0-4040-8c6a-fec7a720a7b5" providerId="ADAL" clId="{190131DE-6250-C84F-B491-721E6CF30BCB}" dt="2021-12-17T10:49:52.927" v="6811" actId="1076"/>
          <ac:grpSpMkLst>
            <pc:docMk/>
            <pc:sldMk cId="257716761" sldId="2145707268"/>
            <ac:grpSpMk id="326" creationId="{FD32EBA7-C617-3A41-AC3F-98F55E3CB658}"/>
          </ac:grpSpMkLst>
        </pc:grpChg>
        <pc:grpChg chg="add mod">
          <ac:chgData name="Nick Robinson" userId="d0c2b313-4ae0-4040-8c6a-fec7a720a7b5" providerId="ADAL" clId="{190131DE-6250-C84F-B491-721E6CF30BCB}" dt="2021-12-17T10:49:52.927" v="6811" actId="1076"/>
          <ac:grpSpMkLst>
            <pc:docMk/>
            <pc:sldMk cId="257716761" sldId="2145707268"/>
            <ac:grpSpMk id="329" creationId="{90C2403D-DD45-FC47-8883-603479FC8118}"/>
          </ac:grpSpMkLst>
        </pc:grpChg>
        <pc:grpChg chg="add mod">
          <ac:chgData name="Nick Robinson" userId="d0c2b313-4ae0-4040-8c6a-fec7a720a7b5" providerId="ADAL" clId="{190131DE-6250-C84F-B491-721E6CF30BCB}" dt="2021-12-17T10:49:52.927" v="6811" actId="1076"/>
          <ac:grpSpMkLst>
            <pc:docMk/>
            <pc:sldMk cId="257716761" sldId="2145707268"/>
            <ac:grpSpMk id="332" creationId="{0707538A-4610-134B-ACD8-CA23FFCB8116}"/>
          </ac:grpSpMkLst>
        </pc:grpChg>
        <pc:grpChg chg="add mod">
          <ac:chgData name="Nick Robinson" userId="d0c2b313-4ae0-4040-8c6a-fec7a720a7b5" providerId="ADAL" clId="{190131DE-6250-C84F-B491-721E6CF30BCB}" dt="2021-12-17T10:49:52.927" v="6811" actId="1076"/>
          <ac:grpSpMkLst>
            <pc:docMk/>
            <pc:sldMk cId="257716761" sldId="2145707268"/>
            <ac:grpSpMk id="335" creationId="{6B33F47A-56CC-A146-8F29-7223DD5F5528}"/>
          </ac:grpSpMkLst>
        </pc:grpChg>
        <pc:grpChg chg="add mod">
          <ac:chgData name="Nick Robinson" userId="d0c2b313-4ae0-4040-8c6a-fec7a720a7b5" providerId="ADAL" clId="{190131DE-6250-C84F-B491-721E6CF30BCB}" dt="2021-12-17T10:49:52.927" v="6811" actId="1076"/>
          <ac:grpSpMkLst>
            <pc:docMk/>
            <pc:sldMk cId="257716761" sldId="2145707268"/>
            <ac:grpSpMk id="338" creationId="{3FD072B1-1578-ED44-ACA9-2D4660E0B537}"/>
          </ac:grpSpMkLst>
        </pc:grpChg>
        <pc:grpChg chg="add mod">
          <ac:chgData name="Nick Robinson" userId="d0c2b313-4ae0-4040-8c6a-fec7a720a7b5" providerId="ADAL" clId="{190131DE-6250-C84F-B491-721E6CF30BCB}" dt="2021-12-17T10:49:52.927" v="6811" actId="1076"/>
          <ac:grpSpMkLst>
            <pc:docMk/>
            <pc:sldMk cId="257716761" sldId="2145707268"/>
            <ac:grpSpMk id="341" creationId="{8664ECC1-E4C4-8B43-9DBC-C23270F4322C}"/>
          </ac:grpSpMkLst>
        </pc:grpChg>
        <pc:grpChg chg="add mod">
          <ac:chgData name="Nick Robinson" userId="d0c2b313-4ae0-4040-8c6a-fec7a720a7b5" providerId="ADAL" clId="{190131DE-6250-C84F-B491-721E6CF30BCB}" dt="2021-12-17T10:49:52.927" v="6811" actId="1076"/>
          <ac:grpSpMkLst>
            <pc:docMk/>
            <pc:sldMk cId="257716761" sldId="2145707268"/>
            <ac:grpSpMk id="344" creationId="{2D74535E-B7B8-B746-96AD-BDD7FE8A6A08}"/>
          </ac:grpSpMkLst>
        </pc:grpChg>
        <pc:grpChg chg="add mod">
          <ac:chgData name="Nick Robinson" userId="d0c2b313-4ae0-4040-8c6a-fec7a720a7b5" providerId="ADAL" clId="{190131DE-6250-C84F-B491-721E6CF30BCB}" dt="2021-12-17T10:49:52.927" v="6811" actId="1076"/>
          <ac:grpSpMkLst>
            <pc:docMk/>
            <pc:sldMk cId="257716761" sldId="2145707268"/>
            <ac:grpSpMk id="347" creationId="{07579CF9-F510-2E48-A47D-C15B3BE52B53}"/>
          </ac:grpSpMkLst>
        </pc:grpChg>
        <pc:grpChg chg="add mod">
          <ac:chgData name="Nick Robinson" userId="d0c2b313-4ae0-4040-8c6a-fec7a720a7b5" providerId="ADAL" clId="{190131DE-6250-C84F-B491-721E6CF30BCB}" dt="2021-12-17T10:49:52.927" v="6811" actId="1076"/>
          <ac:grpSpMkLst>
            <pc:docMk/>
            <pc:sldMk cId="257716761" sldId="2145707268"/>
            <ac:grpSpMk id="350" creationId="{9D3A034D-CC0A-944C-A472-CB31502DCFBC}"/>
          </ac:grpSpMkLst>
        </pc:grpChg>
        <pc:grpChg chg="add mod">
          <ac:chgData name="Nick Robinson" userId="d0c2b313-4ae0-4040-8c6a-fec7a720a7b5" providerId="ADAL" clId="{190131DE-6250-C84F-B491-721E6CF30BCB}" dt="2021-12-17T10:49:52.927" v="6811" actId="1076"/>
          <ac:grpSpMkLst>
            <pc:docMk/>
            <pc:sldMk cId="257716761" sldId="2145707268"/>
            <ac:grpSpMk id="353" creationId="{6093E8BF-A796-6D48-B826-63D9CF70BD8A}"/>
          </ac:grpSpMkLst>
        </pc:grpChg>
        <pc:grpChg chg="add mod">
          <ac:chgData name="Nick Robinson" userId="d0c2b313-4ae0-4040-8c6a-fec7a720a7b5" providerId="ADAL" clId="{190131DE-6250-C84F-B491-721E6CF30BCB}" dt="2021-12-17T10:49:52.927" v="6811" actId="1076"/>
          <ac:grpSpMkLst>
            <pc:docMk/>
            <pc:sldMk cId="257716761" sldId="2145707268"/>
            <ac:grpSpMk id="356" creationId="{BA168A54-8436-354C-8D73-7DC29F962452}"/>
          </ac:grpSpMkLst>
        </pc:grpChg>
        <pc:grpChg chg="add mod">
          <ac:chgData name="Nick Robinson" userId="d0c2b313-4ae0-4040-8c6a-fec7a720a7b5" providerId="ADAL" clId="{190131DE-6250-C84F-B491-721E6CF30BCB}" dt="2021-12-17T10:49:52.927" v="6811" actId="1076"/>
          <ac:grpSpMkLst>
            <pc:docMk/>
            <pc:sldMk cId="257716761" sldId="2145707268"/>
            <ac:grpSpMk id="359" creationId="{0D35054C-C2A9-E142-BC80-EAA13CA07181}"/>
          </ac:grpSpMkLst>
        </pc:grpChg>
        <pc:grpChg chg="add mod">
          <ac:chgData name="Nick Robinson" userId="d0c2b313-4ae0-4040-8c6a-fec7a720a7b5" providerId="ADAL" clId="{190131DE-6250-C84F-B491-721E6CF30BCB}" dt="2021-12-17T10:50:10.351" v="6815" actId="1076"/>
          <ac:grpSpMkLst>
            <pc:docMk/>
            <pc:sldMk cId="257716761" sldId="2145707268"/>
            <ac:grpSpMk id="362" creationId="{4AB62128-1056-934C-B1DA-F2FA71B3F323}"/>
          </ac:grpSpMkLst>
        </pc:grpChg>
        <pc:grpChg chg="add mod">
          <ac:chgData name="Nick Robinson" userId="d0c2b313-4ae0-4040-8c6a-fec7a720a7b5" providerId="ADAL" clId="{190131DE-6250-C84F-B491-721E6CF30BCB}" dt="2021-12-17T10:49:52.927" v="6811" actId="1076"/>
          <ac:grpSpMkLst>
            <pc:docMk/>
            <pc:sldMk cId="257716761" sldId="2145707268"/>
            <ac:grpSpMk id="365" creationId="{3BCBC39E-B443-A24F-80E3-C13A66C0A53B}"/>
          </ac:grpSpMkLst>
        </pc:grpChg>
        <pc:grpChg chg="add mod">
          <ac:chgData name="Nick Robinson" userId="d0c2b313-4ae0-4040-8c6a-fec7a720a7b5" providerId="ADAL" clId="{190131DE-6250-C84F-B491-721E6CF30BCB}" dt="2021-12-17T10:49:52.927" v="6811" actId="1076"/>
          <ac:grpSpMkLst>
            <pc:docMk/>
            <pc:sldMk cId="257716761" sldId="2145707268"/>
            <ac:grpSpMk id="368" creationId="{FE26B2A7-7751-854E-9C50-5B036115544B}"/>
          </ac:grpSpMkLst>
        </pc:grpChg>
        <pc:grpChg chg="add mod">
          <ac:chgData name="Nick Robinson" userId="d0c2b313-4ae0-4040-8c6a-fec7a720a7b5" providerId="ADAL" clId="{190131DE-6250-C84F-B491-721E6CF30BCB}" dt="2021-12-17T10:49:52.927" v="6811" actId="1076"/>
          <ac:grpSpMkLst>
            <pc:docMk/>
            <pc:sldMk cId="257716761" sldId="2145707268"/>
            <ac:grpSpMk id="371" creationId="{739D7B6E-3ED7-D543-ACB2-8559294C449E}"/>
          </ac:grpSpMkLst>
        </pc:grpChg>
        <pc:grpChg chg="add mod">
          <ac:chgData name="Nick Robinson" userId="d0c2b313-4ae0-4040-8c6a-fec7a720a7b5" providerId="ADAL" clId="{190131DE-6250-C84F-B491-721E6CF30BCB}" dt="2021-12-17T10:49:52.927" v="6811" actId="1076"/>
          <ac:grpSpMkLst>
            <pc:docMk/>
            <pc:sldMk cId="257716761" sldId="2145707268"/>
            <ac:grpSpMk id="374" creationId="{074C29E6-CAD9-9144-9E01-8425D2E455B1}"/>
          </ac:grpSpMkLst>
        </pc:grpChg>
        <pc:grpChg chg="add mod">
          <ac:chgData name="Nick Robinson" userId="d0c2b313-4ae0-4040-8c6a-fec7a720a7b5" providerId="ADAL" clId="{190131DE-6250-C84F-B491-721E6CF30BCB}" dt="2021-12-17T10:50:09.127" v="6814" actId="1076"/>
          <ac:grpSpMkLst>
            <pc:docMk/>
            <pc:sldMk cId="257716761" sldId="2145707268"/>
            <ac:grpSpMk id="377" creationId="{175DCD8F-C796-3E4E-8A5C-2A96F8D5531F}"/>
          </ac:grpSpMkLst>
        </pc:grpChg>
        <pc:grpChg chg="add mod">
          <ac:chgData name="Nick Robinson" userId="d0c2b313-4ae0-4040-8c6a-fec7a720a7b5" providerId="ADAL" clId="{190131DE-6250-C84F-B491-721E6CF30BCB}" dt="2021-12-17T10:49:52.927" v="6811" actId="1076"/>
          <ac:grpSpMkLst>
            <pc:docMk/>
            <pc:sldMk cId="257716761" sldId="2145707268"/>
            <ac:grpSpMk id="380" creationId="{10C73416-721D-014C-B148-61ACC7FC7D76}"/>
          </ac:grpSpMkLst>
        </pc:grpChg>
        <pc:grpChg chg="add mod">
          <ac:chgData name="Nick Robinson" userId="d0c2b313-4ae0-4040-8c6a-fec7a720a7b5" providerId="ADAL" clId="{190131DE-6250-C84F-B491-721E6CF30BCB}" dt="2021-12-17T10:49:52.927" v="6811" actId="1076"/>
          <ac:grpSpMkLst>
            <pc:docMk/>
            <pc:sldMk cId="257716761" sldId="2145707268"/>
            <ac:grpSpMk id="383" creationId="{B45B25C7-2958-8947-B2AA-EB6C318CC79E}"/>
          </ac:grpSpMkLst>
        </pc:grpChg>
        <pc:grpChg chg="add mod">
          <ac:chgData name="Nick Robinson" userId="d0c2b313-4ae0-4040-8c6a-fec7a720a7b5" providerId="ADAL" clId="{190131DE-6250-C84F-B491-721E6CF30BCB}" dt="2021-12-17T10:49:52.927" v="6811" actId="1076"/>
          <ac:grpSpMkLst>
            <pc:docMk/>
            <pc:sldMk cId="257716761" sldId="2145707268"/>
            <ac:grpSpMk id="386" creationId="{CF022310-F623-9B4C-BCE5-58E8F944F348}"/>
          </ac:grpSpMkLst>
        </pc:grpChg>
        <pc:grpChg chg="add mod">
          <ac:chgData name="Nick Robinson" userId="d0c2b313-4ae0-4040-8c6a-fec7a720a7b5" providerId="ADAL" clId="{190131DE-6250-C84F-B491-721E6CF30BCB}" dt="2021-12-17T10:49:52.927" v="6811" actId="1076"/>
          <ac:grpSpMkLst>
            <pc:docMk/>
            <pc:sldMk cId="257716761" sldId="2145707268"/>
            <ac:grpSpMk id="389" creationId="{87AC4744-031B-5E40-B853-1D88B94E347C}"/>
          </ac:grpSpMkLst>
        </pc:grpChg>
        <pc:grpChg chg="add mod">
          <ac:chgData name="Nick Robinson" userId="d0c2b313-4ae0-4040-8c6a-fec7a720a7b5" providerId="ADAL" clId="{190131DE-6250-C84F-B491-721E6CF30BCB}" dt="2021-12-17T10:49:52.927" v="6811" actId="1076"/>
          <ac:grpSpMkLst>
            <pc:docMk/>
            <pc:sldMk cId="257716761" sldId="2145707268"/>
            <ac:grpSpMk id="392" creationId="{979CC574-512F-5C4D-9797-4AA406C5CC8F}"/>
          </ac:grpSpMkLst>
        </pc:grpChg>
        <pc:grpChg chg="add mod">
          <ac:chgData name="Nick Robinson" userId="d0c2b313-4ae0-4040-8c6a-fec7a720a7b5" providerId="ADAL" clId="{190131DE-6250-C84F-B491-721E6CF30BCB}" dt="2021-12-17T10:49:52.927" v="6811" actId="1076"/>
          <ac:grpSpMkLst>
            <pc:docMk/>
            <pc:sldMk cId="257716761" sldId="2145707268"/>
            <ac:grpSpMk id="395" creationId="{3D4023E0-BCAB-124C-82BE-580A5511E533}"/>
          </ac:grpSpMkLst>
        </pc:grpChg>
        <pc:grpChg chg="add mod">
          <ac:chgData name="Nick Robinson" userId="d0c2b313-4ae0-4040-8c6a-fec7a720a7b5" providerId="ADAL" clId="{190131DE-6250-C84F-B491-721E6CF30BCB}" dt="2021-12-17T10:49:52.927" v="6811" actId="1076"/>
          <ac:grpSpMkLst>
            <pc:docMk/>
            <pc:sldMk cId="257716761" sldId="2145707268"/>
            <ac:grpSpMk id="398" creationId="{E2D2B353-A948-1F43-A6FC-C92EBEF7E490}"/>
          </ac:grpSpMkLst>
        </pc:grpChg>
        <pc:grpChg chg="add mod">
          <ac:chgData name="Nick Robinson" userId="d0c2b313-4ae0-4040-8c6a-fec7a720a7b5" providerId="ADAL" clId="{190131DE-6250-C84F-B491-721E6CF30BCB}" dt="2021-12-17T10:49:52.927" v="6811" actId="1076"/>
          <ac:grpSpMkLst>
            <pc:docMk/>
            <pc:sldMk cId="257716761" sldId="2145707268"/>
            <ac:grpSpMk id="401" creationId="{942676A1-2B73-6F4A-B5F4-F0DD5971A2B6}"/>
          </ac:grpSpMkLst>
        </pc:grpChg>
        <pc:grpChg chg="add mod">
          <ac:chgData name="Nick Robinson" userId="d0c2b313-4ae0-4040-8c6a-fec7a720a7b5" providerId="ADAL" clId="{190131DE-6250-C84F-B491-721E6CF30BCB}" dt="2021-12-17T10:49:52.927" v="6811" actId="1076"/>
          <ac:grpSpMkLst>
            <pc:docMk/>
            <pc:sldMk cId="257716761" sldId="2145707268"/>
            <ac:grpSpMk id="404" creationId="{CB6FAB60-74C5-1446-8267-AC962E2FF6C3}"/>
          </ac:grpSpMkLst>
        </pc:grpChg>
        <pc:grpChg chg="add mod">
          <ac:chgData name="Nick Robinson" userId="d0c2b313-4ae0-4040-8c6a-fec7a720a7b5" providerId="ADAL" clId="{190131DE-6250-C84F-B491-721E6CF30BCB}" dt="2021-12-17T10:49:52.927" v="6811" actId="1076"/>
          <ac:grpSpMkLst>
            <pc:docMk/>
            <pc:sldMk cId="257716761" sldId="2145707268"/>
            <ac:grpSpMk id="407" creationId="{E86F96E5-E50C-6445-9548-020FA2DEFEA0}"/>
          </ac:grpSpMkLst>
        </pc:grpChg>
        <pc:grpChg chg="add mod">
          <ac:chgData name="Nick Robinson" userId="d0c2b313-4ae0-4040-8c6a-fec7a720a7b5" providerId="ADAL" clId="{190131DE-6250-C84F-B491-721E6CF30BCB}" dt="2021-12-17T10:49:52.927" v="6811" actId="1076"/>
          <ac:grpSpMkLst>
            <pc:docMk/>
            <pc:sldMk cId="257716761" sldId="2145707268"/>
            <ac:grpSpMk id="410" creationId="{074FDDD8-D350-2640-BFBA-B32C3EBA3AEC}"/>
          </ac:grpSpMkLst>
        </pc:grpChg>
        <pc:grpChg chg="add mod">
          <ac:chgData name="Nick Robinson" userId="d0c2b313-4ae0-4040-8c6a-fec7a720a7b5" providerId="ADAL" clId="{190131DE-6250-C84F-B491-721E6CF30BCB}" dt="2021-12-17T10:49:52.927" v="6811" actId="1076"/>
          <ac:grpSpMkLst>
            <pc:docMk/>
            <pc:sldMk cId="257716761" sldId="2145707268"/>
            <ac:grpSpMk id="413" creationId="{15F8B970-CDE0-F948-9EFD-5CDA86625A67}"/>
          </ac:grpSpMkLst>
        </pc:grpChg>
        <pc:grpChg chg="add mod">
          <ac:chgData name="Nick Robinson" userId="d0c2b313-4ae0-4040-8c6a-fec7a720a7b5" providerId="ADAL" clId="{190131DE-6250-C84F-B491-721E6CF30BCB}" dt="2021-12-17T10:49:52.927" v="6811" actId="1076"/>
          <ac:grpSpMkLst>
            <pc:docMk/>
            <pc:sldMk cId="257716761" sldId="2145707268"/>
            <ac:grpSpMk id="416" creationId="{5740C3EB-80F8-5C45-BC31-3FC41A377F95}"/>
          </ac:grpSpMkLst>
        </pc:grpChg>
        <pc:grpChg chg="add mod">
          <ac:chgData name="Nick Robinson" userId="d0c2b313-4ae0-4040-8c6a-fec7a720a7b5" providerId="ADAL" clId="{190131DE-6250-C84F-B491-721E6CF30BCB}" dt="2021-12-17T10:49:52.927" v="6811" actId="1076"/>
          <ac:grpSpMkLst>
            <pc:docMk/>
            <pc:sldMk cId="257716761" sldId="2145707268"/>
            <ac:grpSpMk id="419" creationId="{B8E25459-D8B3-2945-89BC-DA553F1B0A7D}"/>
          </ac:grpSpMkLst>
        </pc:grpChg>
        <pc:grpChg chg="add mod">
          <ac:chgData name="Nick Robinson" userId="d0c2b313-4ae0-4040-8c6a-fec7a720a7b5" providerId="ADAL" clId="{190131DE-6250-C84F-B491-721E6CF30BCB}" dt="2021-12-17T10:49:52.927" v="6811" actId="1076"/>
          <ac:grpSpMkLst>
            <pc:docMk/>
            <pc:sldMk cId="257716761" sldId="2145707268"/>
            <ac:grpSpMk id="422" creationId="{70652935-979A-D545-8A32-4632AACCD0C2}"/>
          </ac:grpSpMkLst>
        </pc:grpChg>
        <pc:grpChg chg="add mod">
          <ac:chgData name="Nick Robinson" userId="d0c2b313-4ae0-4040-8c6a-fec7a720a7b5" providerId="ADAL" clId="{190131DE-6250-C84F-B491-721E6CF30BCB}" dt="2021-12-17T10:49:52.927" v="6811" actId="1076"/>
          <ac:grpSpMkLst>
            <pc:docMk/>
            <pc:sldMk cId="257716761" sldId="2145707268"/>
            <ac:grpSpMk id="425" creationId="{16D06D1C-3843-CE4D-9F94-D91BE7049611}"/>
          </ac:grpSpMkLst>
        </pc:grpChg>
        <pc:grpChg chg="add mod">
          <ac:chgData name="Nick Robinson" userId="d0c2b313-4ae0-4040-8c6a-fec7a720a7b5" providerId="ADAL" clId="{190131DE-6250-C84F-B491-721E6CF30BCB}" dt="2021-12-17T10:49:52.927" v="6811" actId="1076"/>
          <ac:grpSpMkLst>
            <pc:docMk/>
            <pc:sldMk cId="257716761" sldId="2145707268"/>
            <ac:grpSpMk id="428" creationId="{89AF2D6E-2A25-D64E-9EBB-B12E00848BB4}"/>
          </ac:grpSpMkLst>
        </pc:grpChg>
        <pc:grpChg chg="add mod">
          <ac:chgData name="Nick Robinson" userId="d0c2b313-4ae0-4040-8c6a-fec7a720a7b5" providerId="ADAL" clId="{190131DE-6250-C84F-B491-721E6CF30BCB}" dt="2021-12-17T10:49:52.927" v="6811" actId="1076"/>
          <ac:grpSpMkLst>
            <pc:docMk/>
            <pc:sldMk cId="257716761" sldId="2145707268"/>
            <ac:grpSpMk id="431" creationId="{1CEDA02F-238B-E840-AEBF-36D45A383B77}"/>
          </ac:grpSpMkLst>
        </pc:grpChg>
        <pc:grpChg chg="add mod">
          <ac:chgData name="Nick Robinson" userId="d0c2b313-4ae0-4040-8c6a-fec7a720a7b5" providerId="ADAL" clId="{190131DE-6250-C84F-B491-721E6CF30BCB}" dt="2021-12-17T10:49:52.927" v="6811" actId="1076"/>
          <ac:grpSpMkLst>
            <pc:docMk/>
            <pc:sldMk cId="257716761" sldId="2145707268"/>
            <ac:grpSpMk id="434" creationId="{C4F5C3F6-12CB-294B-89BB-214B7ECA2F4D}"/>
          </ac:grpSpMkLst>
        </pc:grpChg>
        <pc:grpChg chg="add mod">
          <ac:chgData name="Nick Robinson" userId="d0c2b313-4ae0-4040-8c6a-fec7a720a7b5" providerId="ADAL" clId="{190131DE-6250-C84F-B491-721E6CF30BCB}" dt="2021-12-17T10:49:52.927" v="6811" actId="1076"/>
          <ac:grpSpMkLst>
            <pc:docMk/>
            <pc:sldMk cId="257716761" sldId="2145707268"/>
            <ac:grpSpMk id="437" creationId="{852C0100-E9F9-AE43-84CE-3D767B058D4A}"/>
          </ac:grpSpMkLst>
        </pc:grpChg>
        <pc:grpChg chg="add mod">
          <ac:chgData name="Nick Robinson" userId="d0c2b313-4ae0-4040-8c6a-fec7a720a7b5" providerId="ADAL" clId="{190131DE-6250-C84F-B491-721E6CF30BCB}" dt="2021-12-17T10:49:52.927" v="6811" actId="1076"/>
          <ac:grpSpMkLst>
            <pc:docMk/>
            <pc:sldMk cId="257716761" sldId="2145707268"/>
            <ac:grpSpMk id="440" creationId="{3C09AB6E-692E-6B49-BEC1-708239E35323}"/>
          </ac:grpSpMkLst>
        </pc:grpChg>
        <pc:grpChg chg="add mod">
          <ac:chgData name="Nick Robinson" userId="d0c2b313-4ae0-4040-8c6a-fec7a720a7b5" providerId="ADAL" clId="{190131DE-6250-C84F-B491-721E6CF30BCB}" dt="2021-12-17T10:49:52.927" v="6811" actId="1076"/>
          <ac:grpSpMkLst>
            <pc:docMk/>
            <pc:sldMk cId="257716761" sldId="2145707268"/>
            <ac:grpSpMk id="443" creationId="{14E0E437-6BB3-1D48-AA5C-26FB1DDF63BF}"/>
          </ac:grpSpMkLst>
        </pc:grpChg>
        <pc:grpChg chg="add mod">
          <ac:chgData name="Nick Robinson" userId="d0c2b313-4ae0-4040-8c6a-fec7a720a7b5" providerId="ADAL" clId="{190131DE-6250-C84F-B491-721E6CF30BCB}" dt="2021-12-17T10:49:52.927" v="6811" actId="1076"/>
          <ac:grpSpMkLst>
            <pc:docMk/>
            <pc:sldMk cId="257716761" sldId="2145707268"/>
            <ac:grpSpMk id="446" creationId="{E3291444-7BFF-374A-BA0B-14E51A4D1D12}"/>
          </ac:grpSpMkLst>
        </pc:grpChg>
        <pc:grpChg chg="add mod">
          <ac:chgData name="Nick Robinson" userId="d0c2b313-4ae0-4040-8c6a-fec7a720a7b5" providerId="ADAL" clId="{190131DE-6250-C84F-B491-721E6CF30BCB}" dt="2021-12-17T10:49:52.927" v="6811" actId="1076"/>
          <ac:grpSpMkLst>
            <pc:docMk/>
            <pc:sldMk cId="257716761" sldId="2145707268"/>
            <ac:grpSpMk id="449" creationId="{611187BC-35DA-E145-A3A0-0CBF3DE448AD}"/>
          </ac:grpSpMkLst>
        </pc:grpChg>
        <pc:grpChg chg="add mod">
          <ac:chgData name="Nick Robinson" userId="d0c2b313-4ae0-4040-8c6a-fec7a720a7b5" providerId="ADAL" clId="{190131DE-6250-C84F-B491-721E6CF30BCB}" dt="2021-12-17T10:50:11.989" v="6816" actId="1076"/>
          <ac:grpSpMkLst>
            <pc:docMk/>
            <pc:sldMk cId="257716761" sldId="2145707268"/>
            <ac:grpSpMk id="452" creationId="{149DA429-A54B-C541-AE2B-4F59996FEE79}"/>
          </ac:grpSpMkLst>
        </pc:grpChg>
        <pc:grpChg chg="add mod">
          <ac:chgData name="Nick Robinson" userId="d0c2b313-4ae0-4040-8c6a-fec7a720a7b5" providerId="ADAL" clId="{190131DE-6250-C84F-B491-721E6CF30BCB}" dt="2021-12-17T10:49:52.927" v="6811" actId="1076"/>
          <ac:grpSpMkLst>
            <pc:docMk/>
            <pc:sldMk cId="257716761" sldId="2145707268"/>
            <ac:grpSpMk id="455" creationId="{8B53942F-6D58-3241-9FC6-F31619619163}"/>
          </ac:grpSpMkLst>
        </pc:grpChg>
        <pc:grpChg chg="add mod">
          <ac:chgData name="Nick Robinson" userId="d0c2b313-4ae0-4040-8c6a-fec7a720a7b5" providerId="ADAL" clId="{190131DE-6250-C84F-B491-721E6CF30BCB}" dt="2021-12-17T10:50:13.091" v="6817" actId="1076"/>
          <ac:grpSpMkLst>
            <pc:docMk/>
            <pc:sldMk cId="257716761" sldId="2145707268"/>
            <ac:grpSpMk id="458" creationId="{44B13701-3ECE-7545-B98E-00165A711226}"/>
          </ac:grpSpMkLst>
        </pc:grpChg>
        <pc:grpChg chg="add mod">
          <ac:chgData name="Nick Robinson" userId="d0c2b313-4ae0-4040-8c6a-fec7a720a7b5" providerId="ADAL" clId="{190131DE-6250-C84F-B491-721E6CF30BCB}" dt="2021-12-17T10:50:14.158" v="6818" actId="1076"/>
          <ac:grpSpMkLst>
            <pc:docMk/>
            <pc:sldMk cId="257716761" sldId="2145707268"/>
            <ac:grpSpMk id="461" creationId="{FFEEE199-F2A1-424A-8F06-F33D3516C7E3}"/>
          </ac:grpSpMkLst>
        </pc:grpChg>
        <pc:grpChg chg="add mod">
          <ac:chgData name="Nick Robinson" userId="d0c2b313-4ae0-4040-8c6a-fec7a720a7b5" providerId="ADAL" clId="{190131DE-6250-C84F-B491-721E6CF30BCB}" dt="2021-12-17T10:49:52.927" v="6811" actId="1076"/>
          <ac:grpSpMkLst>
            <pc:docMk/>
            <pc:sldMk cId="257716761" sldId="2145707268"/>
            <ac:grpSpMk id="464" creationId="{5F937D77-DD9F-CE45-9EED-C4BECCACF667}"/>
          </ac:grpSpMkLst>
        </pc:grpChg>
        <pc:grpChg chg="add mod">
          <ac:chgData name="Nick Robinson" userId="d0c2b313-4ae0-4040-8c6a-fec7a720a7b5" providerId="ADAL" clId="{190131DE-6250-C84F-B491-721E6CF30BCB}" dt="2021-12-17T10:49:15.061" v="6800" actId="1076"/>
          <ac:grpSpMkLst>
            <pc:docMk/>
            <pc:sldMk cId="257716761" sldId="2145707268"/>
            <ac:grpSpMk id="467" creationId="{9044BF49-D61D-6F41-A4C0-D68AA203FFB0}"/>
          </ac:grpSpMkLst>
        </pc:grpChg>
        <pc:grpChg chg="add mod">
          <ac:chgData name="Nick Robinson" userId="d0c2b313-4ae0-4040-8c6a-fec7a720a7b5" providerId="ADAL" clId="{190131DE-6250-C84F-B491-721E6CF30BCB}" dt="2021-12-17T10:49:16.427" v="6801" actId="1076"/>
          <ac:grpSpMkLst>
            <pc:docMk/>
            <pc:sldMk cId="257716761" sldId="2145707268"/>
            <ac:grpSpMk id="470" creationId="{65202F6B-CA5C-DA4A-AC9B-C9D5374E60D8}"/>
          </ac:grpSpMkLst>
        </pc:grpChg>
        <pc:grpChg chg="add mod">
          <ac:chgData name="Nick Robinson" userId="d0c2b313-4ae0-4040-8c6a-fec7a720a7b5" providerId="ADAL" clId="{190131DE-6250-C84F-B491-721E6CF30BCB}" dt="2021-12-17T10:49:12.827" v="6798" actId="1076"/>
          <ac:grpSpMkLst>
            <pc:docMk/>
            <pc:sldMk cId="257716761" sldId="2145707268"/>
            <ac:grpSpMk id="473" creationId="{A1A0BADE-4D90-824D-89C0-8D89A2C6C6B6}"/>
          </ac:grpSpMkLst>
        </pc:grpChg>
        <pc:grpChg chg="add mod">
          <ac:chgData name="Nick Robinson" userId="d0c2b313-4ae0-4040-8c6a-fec7a720a7b5" providerId="ADAL" clId="{190131DE-6250-C84F-B491-721E6CF30BCB}" dt="2021-12-17T10:49:13.909" v="6799" actId="1076"/>
          <ac:grpSpMkLst>
            <pc:docMk/>
            <pc:sldMk cId="257716761" sldId="2145707268"/>
            <ac:grpSpMk id="476" creationId="{F4F93A62-4357-D442-AF27-FB4006F05E7E}"/>
          </ac:grpSpMkLst>
        </pc:grpChg>
        <pc:grpChg chg="add mod">
          <ac:chgData name="Nick Robinson" userId="d0c2b313-4ae0-4040-8c6a-fec7a720a7b5" providerId="ADAL" clId="{190131DE-6250-C84F-B491-721E6CF30BCB}" dt="2021-12-17T10:49:18.789" v="6803" actId="1076"/>
          <ac:grpSpMkLst>
            <pc:docMk/>
            <pc:sldMk cId="257716761" sldId="2145707268"/>
            <ac:grpSpMk id="479" creationId="{FD2D1C8A-7C60-8946-8727-3FE9FD1E5598}"/>
          </ac:grpSpMkLst>
        </pc:grpChg>
        <pc:grpChg chg="add mod">
          <ac:chgData name="Nick Robinson" userId="d0c2b313-4ae0-4040-8c6a-fec7a720a7b5" providerId="ADAL" clId="{190131DE-6250-C84F-B491-721E6CF30BCB}" dt="2021-12-17T10:49:22.177" v="6805" actId="1076"/>
          <ac:grpSpMkLst>
            <pc:docMk/>
            <pc:sldMk cId="257716761" sldId="2145707268"/>
            <ac:grpSpMk id="482" creationId="{FFB3B415-85E0-EA47-80A3-369A08F212F1}"/>
          </ac:grpSpMkLst>
        </pc:grpChg>
        <pc:grpChg chg="add mod">
          <ac:chgData name="Nick Robinson" userId="d0c2b313-4ae0-4040-8c6a-fec7a720a7b5" providerId="ADAL" clId="{190131DE-6250-C84F-B491-721E6CF30BCB}" dt="2021-12-17T10:49:17.645" v="6802" actId="1076"/>
          <ac:grpSpMkLst>
            <pc:docMk/>
            <pc:sldMk cId="257716761" sldId="2145707268"/>
            <ac:grpSpMk id="485" creationId="{D78A9F45-5071-DD4B-B643-8B4855E9C7F1}"/>
          </ac:grpSpMkLst>
        </pc:grpChg>
        <pc:grpChg chg="add mod">
          <ac:chgData name="Nick Robinson" userId="d0c2b313-4ae0-4040-8c6a-fec7a720a7b5" providerId="ADAL" clId="{190131DE-6250-C84F-B491-721E6CF30BCB}" dt="2021-12-17T10:49:20.627" v="6804" actId="1076"/>
          <ac:grpSpMkLst>
            <pc:docMk/>
            <pc:sldMk cId="257716761" sldId="2145707268"/>
            <ac:grpSpMk id="488" creationId="{19A6EEEE-A47A-D94B-AC35-A65150AC6CFB}"/>
          </ac:grpSpMkLst>
        </pc:grpChg>
        <pc:picChg chg="mod">
          <ac:chgData name="Nick Robinson" userId="d0c2b313-4ae0-4040-8c6a-fec7a720a7b5" providerId="ADAL" clId="{190131DE-6250-C84F-B491-721E6CF30BCB}" dt="2021-12-17T10:43:54.983" v="6716" actId="207"/>
          <ac:picMkLst>
            <pc:docMk/>
            <pc:sldMk cId="257716761" sldId="2145707268"/>
            <ac:picMk id="38" creationId="{59EB1A97-B817-2A46-8977-EC030AF68B7F}"/>
          </ac:picMkLst>
        </pc:picChg>
        <pc:picChg chg="mod">
          <ac:chgData name="Nick Robinson" userId="d0c2b313-4ae0-4040-8c6a-fec7a720a7b5" providerId="ADAL" clId="{190131DE-6250-C84F-B491-721E6CF30BCB}" dt="2021-12-17T10:43:54.983" v="6716" actId="207"/>
          <ac:picMkLst>
            <pc:docMk/>
            <pc:sldMk cId="257716761" sldId="2145707268"/>
            <ac:picMk id="155" creationId="{2E39242C-1230-E04B-8608-ACEA2B97AE8C}"/>
          </ac:picMkLst>
        </pc:picChg>
        <pc:picChg chg="mod">
          <ac:chgData name="Nick Robinson" userId="d0c2b313-4ae0-4040-8c6a-fec7a720a7b5" providerId="ADAL" clId="{190131DE-6250-C84F-B491-721E6CF30BCB}" dt="2021-12-17T10:43:54.983" v="6716" actId="207"/>
          <ac:picMkLst>
            <pc:docMk/>
            <pc:sldMk cId="257716761" sldId="2145707268"/>
            <ac:picMk id="159" creationId="{A74C0539-9508-5E42-8C5D-48C47AB1AA1E}"/>
          </ac:picMkLst>
        </pc:picChg>
        <pc:picChg chg="mod">
          <ac:chgData name="Nick Robinson" userId="d0c2b313-4ae0-4040-8c6a-fec7a720a7b5" providerId="ADAL" clId="{190131DE-6250-C84F-B491-721E6CF30BCB}" dt="2021-12-17T10:43:54.983" v="6716" actId="207"/>
          <ac:picMkLst>
            <pc:docMk/>
            <pc:sldMk cId="257716761" sldId="2145707268"/>
            <ac:picMk id="162" creationId="{4FF69E24-6664-174B-946F-BCFBE1DEA3EF}"/>
          </ac:picMkLst>
        </pc:picChg>
        <pc:picChg chg="mod">
          <ac:chgData name="Nick Robinson" userId="d0c2b313-4ae0-4040-8c6a-fec7a720a7b5" providerId="ADAL" clId="{190131DE-6250-C84F-B491-721E6CF30BCB}" dt="2021-12-17T10:43:54.983" v="6716" actId="207"/>
          <ac:picMkLst>
            <pc:docMk/>
            <pc:sldMk cId="257716761" sldId="2145707268"/>
            <ac:picMk id="165" creationId="{FD3A6674-0E7C-404F-90B5-A7ACE1519BFE}"/>
          </ac:picMkLst>
        </pc:picChg>
        <pc:picChg chg="mod">
          <ac:chgData name="Nick Robinson" userId="d0c2b313-4ae0-4040-8c6a-fec7a720a7b5" providerId="ADAL" clId="{190131DE-6250-C84F-B491-721E6CF30BCB}" dt="2021-12-17T10:43:54.983" v="6716" actId="207"/>
          <ac:picMkLst>
            <pc:docMk/>
            <pc:sldMk cId="257716761" sldId="2145707268"/>
            <ac:picMk id="168" creationId="{810CA28C-E525-B844-9E3A-DC285D5DBF6B}"/>
          </ac:picMkLst>
        </pc:picChg>
        <pc:picChg chg="mod">
          <ac:chgData name="Nick Robinson" userId="d0c2b313-4ae0-4040-8c6a-fec7a720a7b5" providerId="ADAL" clId="{190131DE-6250-C84F-B491-721E6CF30BCB}" dt="2021-12-17T10:43:54.983" v="6716" actId="207"/>
          <ac:picMkLst>
            <pc:docMk/>
            <pc:sldMk cId="257716761" sldId="2145707268"/>
            <ac:picMk id="171" creationId="{02CAEE1C-FC72-BB48-A9BF-A4999B884D1A}"/>
          </ac:picMkLst>
        </pc:picChg>
        <pc:picChg chg="mod">
          <ac:chgData name="Nick Robinson" userId="d0c2b313-4ae0-4040-8c6a-fec7a720a7b5" providerId="ADAL" clId="{190131DE-6250-C84F-B491-721E6CF30BCB}" dt="2021-12-17T10:43:54.983" v="6716" actId="207"/>
          <ac:picMkLst>
            <pc:docMk/>
            <pc:sldMk cId="257716761" sldId="2145707268"/>
            <ac:picMk id="174" creationId="{D569C4CF-76B8-8E4C-8632-06612B009284}"/>
          </ac:picMkLst>
        </pc:picChg>
        <pc:picChg chg="mod">
          <ac:chgData name="Nick Robinson" userId="d0c2b313-4ae0-4040-8c6a-fec7a720a7b5" providerId="ADAL" clId="{190131DE-6250-C84F-B491-721E6CF30BCB}" dt="2021-12-17T10:44:39.262" v="6723"/>
          <ac:picMkLst>
            <pc:docMk/>
            <pc:sldMk cId="257716761" sldId="2145707268"/>
            <ac:picMk id="182" creationId="{95F73289-FDE5-4D42-B19E-7B90B57887E3}"/>
          </ac:picMkLst>
        </pc:picChg>
        <pc:picChg chg="mod">
          <ac:chgData name="Nick Robinson" userId="d0c2b313-4ae0-4040-8c6a-fec7a720a7b5" providerId="ADAL" clId="{190131DE-6250-C84F-B491-721E6CF30BCB}" dt="2021-12-17T10:44:39.262" v="6723"/>
          <ac:picMkLst>
            <pc:docMk/>
            <pc:sldMk cId="257716761" sldId="2145707268"/>
            <ac:picMk id="185" creationId="{6BD79DF1-A7B4-0A41-ACD4-A92FE40297DE}"/>
          </ac:picMkLst>
        </pc:picChg>
        <pc:picChg chg="mod">
          <ac:chgData name="Nick Robinson" userId="d0c2b313-4ae0-4040-8c6a-fec7a720a7b5" providerId="ADAL" clId="{190131DE-6250-C84F-B491-721E6CF30BCB}" dt="2021-12-17T10:44:39.262" v="6723"/>
          <ac:picMkLst>
            <pc:docMk/>
            <pc:sldMk cId="257716761" sldId="2145707268"/>
            <ac:picMk id="188" creationId="{D18F8F1C-D622-1B43-8BB1-6F047F97A1DD}"/>
          </ac:picMkLst>
        </pc:picChg>
        <pc:picChg chg="mod">
          <ac:chgData name="Nick Robinson" userId="d0c2b313-4ae0-4040-8c6a-fec7a720a7b5" providerId="ADAL" clId="{190131DE-6250-C84F-B491-721E6CF30BCB}" dt="2021-12-17T10:44:39.262" v="6723"/>
          <ac:picMkLst>
            <pc:docMk/>
            <pc:sldMk cId="257716761" sldId="2145707268"/>
            <ac:picMk id="191" creationId="{174D38FE-9D79-5E44-9086-3D10855D80F1}"/>
          </ac:picMkLst>
        </pc:picChg>
        <pc:picChg chg="mod">
          <ac:chgData name="Nick Robinson" userId="d0c2b313-4ae0-4040-8c6a-fec7a720a7b5" providerId="ADAL" clId="{190131DE-6250-C84F-B491-721E6CF30BCB}" dt="2021-12-17T10:44:39.262" v="6723"/>
          <ac:picMkLst>
            <pc:docMk/>
            <pc:sldMk cId="257716761" sldId="2145707268"/>
            <ac:picMk id="196" creationId="{44D45CC3-8205-4942-B905-9F3E13A9DD64}"/>
          </ac:picMkLst>
        </pc:picChg>
        <pc:picChg chg="mod">
          <ac:chgData name="Nick Robinson" userId="d0c2b313-4ae0-4040-8c6a-fec7a720a7b5" providerId="ADAL" clId="{190131DE-6250-C84F-B491-721E6CF30BCB}" dt="2021-12-17T10:44:50.090" v="6726"/>
          <ac:picMkLst>
            <pc:docMk/>
            <pc:sldMk cId="257716761" sldId="2145707268"/>
            <ac:picMk id="199" creationId="{505A5EC6-0DE1-6E41-B84B-BA24A7542724}"/>
          </ac:picMkLst>
        </pc:picChg>
        <pc:picChg chg="mod">
          <ac:chgData name="Nick Robinson" userId="d0c2b313-4ae0-4040-8c6a-fec7a720a7b5" providerId="ADAL" clId="{190131DE-6250-C84F-B491-721E6CF30BCB}" dt="2021-12-17T10:44:50.090" v="6726"/>
          <ac:picMkLst>
            <pc:docMk/>
            <pc:sldMk cId="257716761" sldId="2145707268"/>
            <ac:picMk id="202" creationId="{F810414D-FF7A-A94B-8BE5-2501E31D0334}"/>
          </ac:picMkLst>
        </pc:picChg>
        <pc:picChg chg="mod">
          <ac:chgData name="Nick Robinson" userId="d0c2b313-4ae0-4040-8c6a-fec7a720a7b5" providerId="ADAL" clId="{190131DE-6250-C84F-B491-721E6CF30BCB}" dt="2021-12-17T10:44:50.090" v="6726"/>
          <ac:picMkLst>
            <pc:docMk/>
            <pc:sldMk cId="257716761" sldId="2145707268"/>
            <ac:picMk id="205" creationId="{A1E6615A-2B0D-6A40-ACD0-9748FCC35BEF}"/>
          </ac:picMkLst>
        </pc:picChg>
        <pc:picChg chg="mod">
          <ac:chgData name="Nick Robinson" userId="d0c2b313-4ae0-4040-8c6a-fec7a720a7b5" providerId="ADAL" clId="{190131DE-6250-C84F-B491-721E6CF30BCB}" dt="2021-12-17T10:44:50.090" v="6726"/>
          <ac:picMkLst>
            <pc:docMk/>
            <pc:sldMk cId="257716761" sldId="2145707268"/>
            <ac:picMk id="208" creationId="{00136DB4-E6D3-4946-84D5-F23865B11D4E}"/>
          </ac:picMkLst>
        </pc:picChg>
        <pc:picChg chg="mod">
          <ac:chgData name="Nick Robinson" userId="d0c2b313-4ae0-4040-8c6a-fec7a720a7b5" providerId="ADAL" clId="{190131DE-6250-C84F-B491-721E6CF30BCB}" dt="2021-12-17T10:44:50.090" v="6726"/>
          <ac:picMkLst>
            <pc:docMk/>
            <pc:sldMk cId="257716761" sldId="2145707268"/>
            <ac:picMk id="211" creationId="{C4D4A704-E79D-3E4C-B59F-572EE57837B7}"/>
          </ac:picMkLst>
        </pc:picChg>
        <pc:picChg chg="mod">
          <ac:chgData name="Nick Robinson" userId="d0c2b313-4ae0-4040-8c6a-fec7a720a7b5" providerId="ADAL" clId="{190131DE-6250-C84F-B491-721E6CF30BCB}" dt="2021-12-17T10:44:55.613" v="6728"/>
          <ac:picMkLst>
            <pc:docMk/>
            <pc:sldMk cId="257716761" sldId="2145707268"/>
            <ac:picMk id="214" creationId="{AFABB15B-01DC-6A43-A83E-C01467869FCB}"/>
          </ac:picMkLst>
        </pc:picChg>
        <pc:picChg chg="mod">
          <ac:chgData name="Nick Robinson" userId="d0c2b313-4ae0-4040-8c6a-fec7a720a7b5" providerId="ADAL" clId="{190131DE-6250-C84F-B491-721E6CF30BCB}" dt="2021-12-17T10:44:55.613" v="6728"/>
          <ac:picMkLst>
            <pc:docMk/>
            <pc:sldMk cId="257716761" sldId="2145707268"/>
            <ac:picMk id="217" creationId="{BD63E38D-2937-D646-930E-0BDB4E9D0D71}"/>
          </ac:picMkLst>
        </pc:picChg>
        <pc:picChg chg="mod">
          <ac:chgData name="Nick Robinson" userId="d0c2b313-4ae0-4040-8c6a-fec7a720a7b5" providerId="ADAL" clId="{190131DE-6250-C84F-B491-721E6CF30BCB}" dt="2021-12-17T10:44:55.613" v="6728"/>
          <ac:picMkLst>
            <pc:docMk/>
            <pc:sldMk cId="257716761" sldId="2145707268"/>
            <ac:picMk id="220" creationId="{67A4C82E-CF5B-6347-B5F5-F5668D87FB56}"/>
          </ac:picMkLst>
        </pc:picChg>
        <pc:picChg chg="mod">
          <ac:chgData name="Nick Robinson" userId="d0c2b313-4ae0-4040-8c6a-fec7a720a7b5" providerId="ADAL" clId="{190131DE-6250-C84F-B491-721E6CF30BCB}" dt="2021-12-17T10:44:55.613" v="6728"/>
          <ac:picMkLst>
            <pc:docMk/>
            <pc:sldMk cId="257716761" sldId="2145707268"/>
            <ac:picMk id="223" creationId="{27880A9C-7C8D-624A-8E89-B957D2C40105}"/>
          </ac:picMkLst>
        </pc:picChg>
        <pc:picChg chg="mod">
          <ac:chgData name="Nick Robinson" userId="d0c2b313-4ae0-4040-8c6a-fec7a720a7b5" providerId="ADAL" clId="{190131DE-6250-C84F-B491-721E6CF30BCB}" dt="2021-12-17T10:44:55.613" v="6728"/>
          <ac:picMkLst>
            <pc:docMk/>
            <pc:sldMk cId="257716761" sldId="2145707268"/>
            <ac:picMk id="226" creationId="{83A5AC1C-6089-D64D-8CAE-8090DF7A18CB}"/>
          </ac:picMkLst>
        </pc:picChg>
        <pc:picChg chg="mod">
          <ac:chgData name="Nick Robinson" userId="d0c2b313-4ae0-4040-8c6a-fec7a720a7b5" providerId="ADAL" clId="{190131DE-6250-C84F-B491-721E6CF30BCB}" dt="2021-12-17T10:44:57.866" v="6730"/>
          <ac:picMkLst>
            <pc:docMk/>
            <pc:sldMk cId="257716761" sldId="2145707268"/>
            <ac:picMk id="229" creationId="{8E3CC02D-D358-E64B-B494-8767E0A960C4}"/>
          </ac:picMkLst>
        </pc:picChg>
        <pc:picChg chg="mod">
          <ac:chgData name="Nick Robinson" userId="d0c2b313-4ae0-4040-8c6a-fec7a720a7b5" providerId="ADAL" clId="{190131DE-6250-C84F-B491-721E6CF30BCB}" dt="2021-12-17T10:44:57.866" v="6730"/>
          <ac:picMkLst>
            <pc:docMk/>
            <pc:sldMk cId="257716761" sldId="2145707268"/>
            <ac:picMk id="232" creationId="{290FEF42-5A11-CE4E-AA36-EDEC3BA4DD6B}"/>
          </ac:picMkLst>
        </pc:picChg>
        <pc:picChg chg="mod">
          <ac:chgData name="Nick Robinson" userId="d0c2b313-4ae0-4040-8c6a-fec7a720a7b5" providerId="ADAL" clId="{190131DE-6250-C84F-B491-721E6CF30BCB}" dt="2021-12-17T10:44:57.866" v="6730"/>
          <ac:picMkLst>
            <pc:docMk/>
            <pc:sldMk cId="257716761" sldId="2145707268"/>
            <ac:picMk id="235" creationId="{A4591C5A-5BFE-9841-8FD4-637A74A9BE0C}"/>
          </ac:picMkLst>
        </pc:picChg>
        <pc:picChg chg="mod">
          <ac:chgData name="Nick Robinson" userId="d0c2b313-4ae0-4040-8c6a-fec7a720a7b5" providerId="ADAL" clId="{190131DE-6250-C84F-B491-721E6CF30BCB}" dt="2021-12-17T10:44:57.866" v="6730"/>
          <ac:picMkLst>
            <pc:docMk/>
            <pc:sldMk cId="257716761" sldId="2145707268"/>
            <ac:picMk id="238" creationId="{9E55A927-6272-FB4B-AB44-6C0BE966E3CE}"/>
          </ac:picMkLst>
        </pc:picChg>
        <pc:picChg chg="mod">
          <ac:chgData name="Nick Robinson" userId="d0c2b313-4ae0-4040-8c6a-fec7a720a7b5" providerId="ADAL" clId="{190131DE-6250-C84F-B491-721E6CF30BCB}" dt="2021-12-17T10:44:57.866" v="6730"/>
          <ac:picMkLst>
            <pc:docMk/>
            <pc:sldMk cId="257716761" sldId="2145707268"/>
            <ac:picMk id="241" creationId="{00582C01-DEA8-8443-BD09-44E3E247ECB4}"/>
          </ac:picMkLst>
        </pc:picChg>
        <pc:picChg chg="mod">
          <ac:chgData name="Nick Robinson" userId="d0c2b313-4ae0-4040-8c6a-fec7a720a7b5" providerId="ADAL" clId="{190131DE-6250-C84F-B491-721E6CF30BCB}" dt="2021-12-17T10:48:30.993" v="6789" actId="207"/>
          <ac:picMkLst>
            <pc:docMk/>
            <pc:sldMk cId="257716761" sldId="2145707268"/>
            <ac:picMk id="244" creationId="{C6A57AE9-CE0B-1F47-A285-1016897FC4AD}"/>
          </ac:picMkLst>
        </pc:picChg>
        <pc:picChg chg="mod">
          <ac:chgData name="Nick Robinson" userId="d0c2b313-4ae0-4040-8c6a-fec7a720a7b5" providerId="ADAL" clId="{190131DE-6250-C84F-B491-721E6CF30BCB}" dt="2021-12-17T10:48:30.993" v="6789" actId="207"/>
          <ac:picMkLst>
            <pc:docMk/>
            <pc:sldMk cId="257716761" sldId="2145707268"/>
            <ac:picMk id="247" creationId="{C98F7F16-7A77-C241-8CA9-374C63FB8B1B}"/>
          </ac:picMkLst>
        </pc:picChg>
        <pc:picChg chg="mod">
          <ac:chgData name="Nick Robinson" userId="d0c2b313-4ae0-4040-8c6a-fec7a720a7b5" providerId="ADAL" clId="{190131DE-6250-C84F-B491-721E6CF30BCB}" dt="2021-12-17T10:48:30.993" v="6789" actId="207"/>
          <ac:picMkLst>
            <pc:docMk/>
            <pc:sldMk cId="257716761" sldId="2145707268"/>
            <ac:picMk id="250" creationId="{CD09BD85-0C81-AF46-BCB3-1B4547835FD0}"/>
          </ac:picMkLst>
        </pc:picChg>
        <pc:picChg chg="mod">
          <ac:chgData name="Nick Robinson" userId="d0c2b313-4ae0-4040-8c6a-fec7a720a7b5" providerId="ADAL" clId="{190131DE-6250-C84F-B491-721E6CF30BCB}" dt="2021-12-17T10:48:30.993" v="6789" actId="207"/>
          <ac:picMkLst>
            <pc:docMk/>
            <pc:sldMk cId="257716761" sldId="2145707268"/>
            <ac:picMk id="253" creationId="{BC9D0042-792C-8C4B-829D-F0690174C24C}"/>
          </ac:picMkLst>
        </pc:picChg>
        <pc:picChg chg="mod">
          <ac:chgData name="Nick Robinson" userId="d0c2b313-4ae0-4040-8c6a-fec7a720a7b5" providerId="ADAL" clId="{190131DE-6250-C84F-B491-721E6CF30BCB}" dt="2021-12-17T10:48:30.993" v="6789" actId="207"/>
          <ac:picMkLst>
            <pc:docMk/>
            <pc:sldMk cId="257716761" sldId="2145707268"/>
            <ac:picMk id="256" creationId="{519A89B1-961E-5745-8FB8-7AFE3F13FCBB}"/>
          </ac:picMkLst>
        </pc:picChg>
        <pc:picChg chg="mod">
          <ac:chgData name="Nick Robinson" userId="d0c2b313-4ae0-4040-8c6a-fec7a720a7b5" providerId="ADAL" clId="{190131DE-6250-C84F-B491-721E6CF30BCB}" dt="2021-12-17T10:48:30.993" v="6789" actId="207"/>
          <ac:picMkLst>
            <pc:docMk/>
            <pc:sldMk cId="257716761" sldId="2145707268"/>
            <ac:picMk id="259" creationId="{1B4A0540-F142-4248-AED4-4BEBE72AE871}"/>
          </ac:picMkLst>
        </pc:picChg>
        <pc:picChg chg="mod">
          <ac:chgData name="Nick Robinson" userId="d0c2b313-4ae0-4040-8c6a-fec7a720a7b5" providerId="ADAL" clId="{190131DE-6250-C84F-B491-721E6CF30BCB}" dt="2021-12-17T10:48:30.993" v="6789" actId="207"/>
          <ac:picMkLst>
            <pc:docMk/>
            <pc:sldMk cId="257716761" sldId="2145707268"/>
            <ac:picMk id="262" creationId="{54079B15-7349-364B-9B19-8A5D2012A9B3}"/>
          </ac:picMkLst>
        </pc:picChg>
        <pc:picChg chg="mod">
          <ac:chgData name="Nick Robinson" userId="d0c2b313-4ae0-4040-8c6a-fec7a720a7b5" providerId="ADAL" clId="{190131DE-6250-C84F-B491-721E6CF30BCB}" dt="2021-12-17T10:48:30.993" v="6789" actId="207"/>
          <ac:picMkLst>
            <pc:docMk/>
            <pc:sldMk cId="257716761" sldId="2145707268"/>
            <ac:picMk id="265" creationId="{C971BCD0-8A0C-5E4B-9AD0-2AAB76CFFD94}"/>
          </ac:picMkLst>
        </pc:picChg>
        <pc:picChg chg="mod">
          <ac:chgData name="Nick Robinson" userId="d0c2b313-4ae0-4040-8c6a-fec7a720a7b5" providerId="ADAL" clId="{190131DE-6250-C84F-B491-721E6CF30BCB}" dt="2021-12-17T10:48:30.993" v="6789" actId="207"/>
          <ac:picMkLst>
            <pc:docMk/>
            <pc:sldMk cId="257716761" sldId="2145707268"/>
            <ac:picMk id="268" creationId="{EE267800-CD5B-6C48-966F-BD83EF2157ED}"/>
          </ac:picMkLst>
        </pc:picChg>
        <pc:picChg chg="mod">
          <ac:chgData name="Nick Robinson" userId="d0c2b313-4ae0-4040-8c6a-fec7a720a7b5" providerId="ADAL" clId="{190131DE-6250-C84F-B491-721E6CF30BCB}" dt="2021-12-17T10:48:30.993" v="6789" actId="207"/>
          <ac:picMkLst>
            <pc:docMk/>
            <pc:sldMk cId="257716761" sldId="2145707268"/>
            <ac:picMk id="271" creationId="{337A588B-E6B1-8544-801B-FA885A274658}"/>
          </ac:picMkLst>
        </pc:picChg>
        <pc:picChg chg="mod">
          <ac:chgData name="Nick Robinson" userId="d0c2b313-4ae0-4040-8c6a-fec7a720a7b5" providerId="ADAL" clId="{190131DE-6250-C84F-B491-721E6CF30BCB}" dt="2021-12-17T10:48:30.993" v="6789" actId="207"/>
          <ac:picMkLst>
            <pc:docMk/>
            <pc:sldMk cId="257716761" sldId="2145707268"/>
            <ac:picMk id="274" creationId="{3FC6A2C3-5BFD-6545-908B-6B18610FFEBD}"/>
          </ac:picMkLst>
        </pc:picChg>
        <pc:picChg chg="mod">
          <ac:chgData name="Nick Robinson" userId="d0c2b313-4ae0-4040-8c6a-fec7a720a7b5" providerId="ADAL" clId="{190131DE-6250-C84F-B491-721E6CF30BCB}" dt="2021-12-17T10:48:30.993" v="6789" actId="207"/>
          <ac:picMkLst>
            <pc:docMk/>
            <pc:sldMk cId="257716761" sldId="2145707268"/>
            <ac:picMk id="277" creationId="{8B008545-2D52-A645-9F2E-591EFA3F1004}"/>
          </ac:picMkLst>
        </pc:picChg>
        <pc:picChg chg="mod">
          <ac:chgData name="Nick Robinson" userId="d0c2b313-4ae0-4040-8c6a-fec7a720a7b5" providerId="ADAL" clId="{190131DE-6250-C84F-B491-721E6CF30BCB}" dt="2021-12-17T10:48:30.993" v="6789" actId="207"/>
          <ac:picMkLst>
            <pc:docMk/>
            <pc:sldMk cId="257716761" sldId="2145707268"/>
            <ac:picMk id="280" creationId="{01013A5A-AC20-D746-9EAA-040969300CCF}"/>
          </ac:picMkLst>
        </pc:picChg>
        <pc:picChg chg="mod">
          <ac:chgData name="Nick Robinson" userId="d0c2b313-4ae0-4040-8c6a-fec7a720a7b5" providerId="ADAL" clId="{190131DE-6250-C84F-B491-721E6CF30BCB}" dt="2021-12-17T10:48:30.993" v="6789" actId="207"/>
          <ac:picMkLst>
            <pc:docMk/>
            <pc:sldMk cId="257716761" sldId="2145707268"/>
            <ac:picMk id="283" creationId="{B85867FD-986A-AA48-BDE0-BCBD8D7672EB}"/>
          </ac:picMkLst>
        </pc:picChg>
        <pc:picChg chg="mod">
          <ac:chgData name="Nick Robinson" userId="d0c2b313-4ae0-4040-8c6a-fec7a720a7b5" providerId="ADAL" clId="{190131DE-6250-C84F-B491-721E6CF30BCB}" dt="2021-12-17T10:48:30.993" v="6789" actId="207"/>
          <ac:picMkLst>
            <pc:docMk/>
            <pc:sldMk cId="257716761" sldId="2145707268"/>
            <ac:picMk id="286" creationId="{1F843F34-6B8B-5349-A1AF-6B95565EA15F}"/>
          </ac:picMkLst>
        </pc:picChg>
        <pc:picChg chg="mod">
          <ac:chgData name="Nick Robinson" userId="d0c2b313-4ae0-4040-8c6a-fec7a720a7b5" providerId="ADAL" clId="{190131DE-6250-C84F-B491-721E6CF30BCB}" dt="2021-12-17T10:48:30.993" v="6789" actId="207"/>
          <ac:picMkLst>
            <pc:docMk/>
            <pc:sldMk cId="257716761" sldId="2145707268"/>
            <ac:picMk id="289" creationId="{81F51486-7F87-664F-81E7-DE956CF8B936}"/>
          </ac:picMkLst>
        </pc:picChg>
        <pc:picChg chg="mod">
          <ac:chgData name="Nick Robinson" userId="d0c2b313-4ae0-4040-8c6a-fec7a720a7b5" providerId="ADAL" clId="{190131DE-6250-C84F-B491-721E6CF30BCB}" dt="2021-12-17T10:48:30.993" v="6789" actId="207"/>
          <ac:picMkLst>
            <pc:docMk/>
            <pc:sldMk cId="257716761" sldId="2145707268"/>
            <ac:picMk id="292" creationId="{12B3F7F5-F744-CB4D-88DA-5DDD7DEA427E}"/>
          </ac:picMkLst>
        </pc:picChg>
        <pc:picChg chg="mod">
          <ac:chgData name="Nick Robinson" userId="d0c2b313-4ae0-4040-8c6a-fec7a720a7b5" providerId="ADAL" clId="{190131DE-6250-C84F-B491-721E6CF30BCB}" dt="2021-12-17T10:48:30.993" v="6789" actId="207"/>
          <ac:picMkLst>
            <pc:docMk/>
            <pc:sldMk cId="257716761" sldId="2145707268"/>
            <ac:picMk id="295" creationId="{3ED44E4E-0EC8-D149-A26C-F0E659986CC5}"/>
          </ac:picMkLst>
        </pc:picChg>
        <pc:picChg chg="mod">
          <ac:chgData name="Nick Robinson" userId="d0c2b313-4ae0-4040-8c6a-fec7a720a7b5" providerId="ADAL" clId="{190131DE-6250-C84F-B491-721E6CF30BCB}" dt="2021-12-17T10:48:30.993" v="6789" actId="207"/>
          <ac:picMkLst>
            <pc:docMk/>
            <pc:sldMk cId="257716761" sldId="2145707268"/>
            <ac:picMk id="298" creationId="{00B36B4D-319A-6E45-B5DF-822E4EFE8A35}"/>
          </ac:picMkLst>
        </pc:picChg>
        <pc:picChg chg="mod">
          <ac:chgData name="Nick Robinson" userId="d0c2b313-4ae0-4040-8c6a-fec7a720a7b5" providerId="ADAL" clId="{190131DE-6250-C84F-B491-721E6CF30BCB}" dt="2021-12-17T10:48:30.993" v="6789" actId="207"/>
          <ac:picMkLst>
            <pc:docMk/>
            <pc:sldMk cId="257716761" sldId="2145707268"/>
            <ac:picMk id="301" creationId="{14DC6FEB-8124-F947-98E4-1B4981438AE1}"/>
          </ac:picMkLst>
        </pc:picChg>
        <pc:picChg chg="mod">
          <ac:chgData name="Nick Robinson" userId="d0c2b313-4ae0-4040-8c6a-fec7a720a7b5" providerId="ADAL" clId="{190131DE-6250-C84F-B491-721E6CF30BCB}" dt="2021-12-17T10:48:30.993" v="6789" actId="207"/>
          <ac:picMkLst>
            <pc:docMk/>
            <pc:sldMk cId="257716761" sldId="2145707268"/>
            <ac:picMk id="304" creationId="{497D8A1E-6528-584A-A5ED-915499D58F13}"/>
          </ac:picMkLst>
        </pc:picChg>
        <pc:picChg chg="mod">
          <ac:chgData name="Nick Robinson" userId="d0c2b313-4ae0-4040-8c6a-fec7a720a7b5" providerId="ADAL" clId="{190131DE-6250-C84F-B491-721E6CF30BCB}" dt="2021-12-17T10:48:30.993" v="6789" actId="207"/>
          <ac:picMkLst>
            <pc:docMk/>
            <pc:sldMk cId="257716761" sldId="2145707268"/>
            <ac:picMk id="307" creationId="{56C78CFD-1A90-A24E-96B6-F6F35C4743A2}"/>
          </ac:picMkLst>
        </pc:picChg>
        <pc:picChg chg="mod">
          <ac:chgData name="Nick Robinson" userId="d0c2b313-4ae0-4040-8c6a-fec7a720a7b5" providerId="ADAL" clId="{190131DE-6250-C84F-B491-721E6CF30BCB}" dt="2021-12-17T10:48:30.993" v="6789" actId="207"/>
          <ac:picMkLst>
            <pc:docMk/>
            <pc:sldMk cId="257716761" sldId="2145707268"/>
            <ac:picMk id="310" creationId="{8D0F98C1-DA71-0E4F-9CEE-C77931AB673E}"/>
          </ac:picMkLst>
        </pc:picChg>
        <pc:picChg chg="mod">
          <ac:chgData name="Nick Robinson" userId="d0c2b313-4ae0-4040-8c6a-fec7a720a7b5" providerId="ADAL" clId="{190131DE-6250-C84F-B491-721E6CF30BCB}" dt="2021-12-17T10:48:30.993" v="6789" actId="207"/>
          <ac:picMkLst>
            <pc:docMk/>
            <pc:sldMk cId="257716761" sldId="2145707268"/>
            <ac:picMk id="313" creationId="{F33669F1-FD12-CF4F-ABDC-B567D3EDAC1B}"/>
          </ac:picMkLst>
        </pc:picChg>
        <pc:picChg chg="mod">
          <ac:chgData name="Nick Robinson" userId="d0c2b313-4ae0-4040-8c6a-fec7a720a7b5" providerId="ADAL" clId="{190131DE-6250-C84F-B491-721E6CF30BCB}" dt="2021-12-17T10:48:30.993" v="6789" actId="207"/>
          <ac:picMkLst>
            <pc:docMk/>
            <pc:sldMk cId="257716761" sldId="2145707268"/>
            <ac:picMk id="316" creationId="{3ED60DF7-332D-F84B-B558-E0E56EB077AE}"/>
          </ac:picMkLst>
        </pc:picChg>
        <pc:picChg chg="mod">
          <ac:chgData name="Nick Robinson" userId="d0c2b313-4ae0-4040-8c6a-fec7a720a7b5" providerId="ADAL" clId="{190131DE-6250-C84F-B491-721E6CF30BCB}" dt="2021-12-17T10:48:30.993" v="6789" actId="207"/>
          <ac:picMkLst>
            <pc:docMk/>
            <pc:sldMk cId="257716761" sldId="2145707268"/>
            <ac:picMk id="319" creationId="{95406711-CA00-0D43-8460-A03A3C6BFFD2}"/>
          </ac:picMkLst>
        </pc:picChg>
        <pc:picChg chg="mod">
          <ac:chgData name="Nick Robinson" userId="d0c2b313-4ae0-4040-8c6a-fec7a720a7b5" providerId="ADAL" clId="{190131DE-6250-C84F-B491-721E6CF30BCB}" dt="2021-12-17T10:48:30.993" v="6789" actId="207"/>
          <ac:picMkLst>
            <pc:docMk/>
            <pc:sldMk cId="257716761" sldId="2145707268"/>
            <ac:picMk id="322" creationId="{A70EA8BA-4532-854C-8840-C3081DE021CE}"/>
          </ac:picMkLst>
        </pc:picChg>
        <pc:picChg chg="mod">
          <ac:chgData name="Nick Robinson" userId="d0c2b313-4ae0-4040-8c6a-fec7a720a7b5" providerId="ADAL" clId="{190131DE-6250-C84F-B491-721E6CF30BCB}" dt="2021-12-17T10:48:30.993" v="6789" actId="207"/>
          <ac:picMkLst>
            <pc:docMk/>
            <pc:sldMk cId="257716761" sldId="2145707268"/>
            <ac:picMk id="325" creationId="{22BB57EA-1EDE-C34D-935E-6EC53570E329}"/>
          </ac:picMkLst>
        </pc:picChg>
        <pc:picChg chg="mod">
          <ac:chgData name="Nick Robinson" userId="d0c2b313-4ae0-4040-8c6a-fec7a720a7b5" providerId="ADAL" clId="{190131DE-6250-C84F-B491-721E6CF30BCB}" dt="2021-12-17T10:48:30.993" v="6789" actId="207"/>
          <ac:picMkLst>
            <pc:docMk/>
            <pc:sldMk cId="257716761" sldId="2145707268"/>
            <ac:picMk id="328" creationId="{65AE74EA-BD02-1949-89DC-EF4B86C8F369}"/>
          </ac:picMkLst>
        </pc:picChg>
        <pc:picChg chg="mod">
          <ac:chgData name="Nick Robinson" userId="d0c2b313-4ae0-4040-8c6a-fec7a720a7b5" providerId="ADAL" clId="{190131DE-6250-C84F-B491-721E6CF30BCB}" dt="2021-12-17T10:48:30.993" v="6789" actId="207"/>
          <ac:picMkLst>
            <pc:docMk/>
            <pc:sldMk cId="257716761" sldId="2145707268"/>
            <ac:picMk id="331" creationId="{D0E88398-C277-3841-9790-A01A809201D2}"/>
          </ac:picMkLst>
        </pc:picChg>
        <pc:picChg chg="mod">
          <ac:chgData name="Nick Robinson" userId="d0c2b313-4ae0-4040-8c6a-fec7a720a7b5" providerId="ADAL" clId="{190131DE-6250-C84F-B491-721E6CF30BCB}" dt="2021-12-17T10:48:30.993" v="6789" actId="207"/>
          <ac:picMkLst>
            <pc:docMk/>
            <pc:sldMk cId="257716761" sldId="2145707268"/>
            <ac:picMk id="334" creationId="{0D2F87AC-DD53-9544-8FB5-CAA8340EBF58}"/>
          </ac:picMkLst>
        </pc:picChg>
        <pc:picChg chg="mod">
          <ac:chgData name="Nick Robinson" userId="d0c2b313-4ae0-4040-8c6a-fec7a720a7b5" providerId="ADAL" clId="{190131DE-6250-C84F-B491-721E6CF30BCB}" dt="2021-12-17T10:48:30.993" v="6789" actId="207"/>
          <ac:picMkLst>
            <pc:docMk/>
            <pc:sldMk cId="257716761" sldId="2145707268"/>
            <ac:picMk id="337" creationId="{19FD9FEF-2223-244F-B50D-3A157BAD4B44}"/>
          </ac:picMkLst>
        </pc:picChg>
        <pc:picChg chg="mod">
          <ac:chgData name="Nick Robinson" userId="d0c2b313-4ae0-4040-8c6a-fec7a720a7b5" providerId="ADAL" clId="{190131DE-6250-C84F-B491-721E6CF30BCB}" dt="2021-12-17T10:48:30.993" v="6789" actId="207"/>
          <ac:picMkLst>
            <pc:docMk/>
            <pc:sldMk cId="257716761" sldId="2145707268"/>
            <ac:picMk id="340" creationId="{FBF28CEB-08EA-A749-A70A-7CFF4098AEE5}"/>
          </ac:picMkLst>
        </pc:picChg>
        <pc:picChg chg="mod">
          <ac:chgData name="Nick Robinson" userId="d0c2b313-4ae0-4040-8c6a-fec7a720a7b5" providerId="ADAL" clId="{190131DE-6250-C84F-B491-721E6CF30BCB}" dt="2021-12-17T10:48:30.993" v="6789" actId="207"/>
          <ac:picMkLst>
            <pc:docMk/>
            <pc:sldMk cId="257716761" sldId="2145707268"/>
            <ac:picMk id="343" creationId="{BC0A7CDE-769E-4A49-9D01-4A901714C881}"/>
          </ac:picMkLst>
        </pc:picChg>
        <pc:picChg chg="mod">
          <ac:chgData name="Nick Robinson" userId="d0c2b313-4ae0-4040-8c6a-fec7a720a7b5" providerId="ADAL" clId="{190131DE-6250-C84F-B491-721E6CF30BCB}" dt="2021-12-17T10:48:30.993" v="6789" actId="207"/>
          <ac:picMkLst>
            <pc:docMk/>
            <pc:sldMk cId="257716761" sldId="2145707268"/>
            <ac:picMk id="346" creationId="{CEEA3B2A-43F5-474B-BF4D-60E40D8D3846}"/>
          </ac:picMkLst>
        </pc:picChg>
        <pc:picChg chg="mod">
          <ac:chgData name="Nick Robinson" userId="d0c2b313-4ae0-4040-8c6a-fec7a720a7b5" providerId="ADAL" clId="{190131DE-6250-C84F-B491-721E6CF30BCB}" dt="2021-12-17T10:48:30.993" v="6789" actId="207"/>
          <ac:picMkLst>
            <pc:docMk/>
            <pc:sldMk cId="257716761" sldId="2145707268"/>
            <ac:picMk id="349" creationId="{7989143C-5F97-5C4C-87B4-BAA446CC7761}"/>
          </ac:picMkLst>
        </pc:picChg>
        <pc:picChg chg="mod">
          <ac:chgData name="Nick Robinson" userId="d0c2b313-4ae0-4040-8c6a-fec7a720a7b5" providerId="ADAL" clId="{190131DE-6250-C84F-B491-721E6CF30BCB}" dt="2021-12-17T10:48:30.993" v="6789" actId="207"/>
          <ac:picMkLst>
            <pc:docMk/>
            <pc:sldMk cId="257716761" sldId="2145707268"/>
            <ac:picMk id="352" creationId="{BAFC116E-C771-3B4C-9CC0-1B5432CED87E}"/>
          </ac:picMkLst>
        </pc:picChg>
        <pc:picChg chg="mod">
          <ac:chgData name="Nick Robinson" userId="d0c2b313-4ae0-4040-8c6a-fec7a720a7b5" providerId="ADAL" clId="{190131DE-6250-C84F-B491-721E6CF30BCB}" dt="2021-12-17T10:48:30.993" v="6789" actId="207"/>
          <ac:picMkLst>
            <pc:docMk/>
            <pc:sldMk cId="257716761" sldId="2145707268"/>
            <ac:picMk id="355" creationId="{FEC958FF-D06A-9841-B76E-A07AC7381411}"/>
          </ac:picMkLst>
        </pc:picChg>
        <pc:picChg chg="mod">
          <ac:chgData name="Nick Robinson" userId="d0c2b313-4ae0-4040-8c6a-fec7a720a7b5" providerId="ADAL" clId="{190131DE-6250-C84F-B491-721E6CF30BCB}" dt="2021-12-17T10:48:30.993" v="6789" actId="207"/>
          <ac:picMkLst>
            <pc:docMk/>
            <pc:sldMk cId="257716761" sldId="2145707268"/>
            <ac:picMk id="358" creationId="{449B7E3B-E6F7-3F4E-9DD1-EF52C0817D06}"/>
          </ac:picMkLst>
        </pc:picChg>
        <pc:picChg chg="mod">
          <ac:chgData name="Nick Robinson" userId="d0c2b313-4ae0-4040-8c6a-fec7a720a7b5" providerId="ADAL" clId="{190131DE-6250-C84F-B491-721E6CF30BCB}" dt="2021-12-17T10:48:30.993" v="6789" actId="207"/>
          <ac:picMkLst>
            <pc:docMk/>
            <pc:sldMk cId="257716761" sldId="2145707268"/>
            <ac:picMk id="361" creationId="{9A0AFB04-B8D1-BE4B-ADD6-939877954272}"/>
          </ac:picMkLst>
        </pc:picChg>
        <pc:picChg chg="mod">
          <ac:chgData name="Nick Robinson" userId="d0c2b313-4ae0-4040-8c6a-fec7a720a7b5" providerId="ADAL" clId="{190131DE-6250-C84F-B491-721E6CF30BCB}" dt="2021-12-17T10:48:30.993" v="6789" actId="207"/>
          <ac:picMkLst>
            <pc:docMk/>
            <pc:sldMk cId="257716761" sldId="2145707268"/>
            <ac:picMk id="364" creationId="{A86A075D-19DD-3240-8513-1EE70AB78297}"/>
          </ac:picMkLst>
        </pc:picChg>
        <pc:picChg chg="mod">
          <ac:chgData name="Nick Robinson" userId="d0c2b313-4ae0-4040-8c6a-fec7a720a7b5" providerId="ADAL" clId="{190131DE-6250-C84F-B491-721E6CF30BCB}" dt="2021-12-17T10:48:30.993" v="6789" actId="207"/>
          <ac:picMkLst>
            <pc:docMk/>
            <pc:sldMk cId="257716761" sldId="2145707268"/>
            <ac:picMk id="367" creationId="{A9A281C0-28D7-9945-9949-58D26B99908B}"/>
          </ac:picMkLst>
        </pc:picChg>
        <pc:picChg chg="mod">
          <ac:chgData name="Nick Robinson" userId="d0c2b313-4ae0-4040-8c6a-fec7a720a7b5" providerId="ADAL" clId="{190131DE-6250-C84F-B491-721E6CF30BCB}" dt="2021-12-17T10:48:30.993" v="6789" actId="207"/>
          <ac:picMkLst>
            <pc:docMk/>
            <pc:sldMk cId="257716761" sldId="2145707268"/>
            <ac:picMk id="370" creationId="{864796FC-48BB-A245-9FCD-A90E430338A6}"/>
          </ac:picMkLst>
        </pc:picChg>
        <pc:picChg chg="mod">
          <ac:chgData name="Nick Robinson" userId="d0c2b313-4ae0-4040-8c6a-fec7a720a7b5" providerId="ADAL" clId="{190131DE-6250-C84F-B491-721E6CF30BCB}" dt="2021-12-17T10:48:30.993" v="6789" actId="207"/>
          <ac:picMkLst>
            <pc:docMk/>
            <pc:sldMk cId="257716761" sldId="2145707268"/>
            <ac:picMk id="373" creationId="{FE0D39AA-5F30-1347-B64E-DCA6DB90FA03}"/>
          </ac:picMkLst>
        </pc:picChg>
        <pc:picChg chg="mod">
          <ac:chgData name="Nick Robinson" userId="d0c2b313-4ae0-4040-8c6a-fec7a720a7b5" providerId="ADAL" clId="{190131DE-6250-C84F-B491-721E6CF30BCB}" dt="2021-12-17T10:48:30.993" v="6789" actId="207"/>
          <ac:picMkLst>
            <pc:docMk/>
            <pc:sldMk cId="257716761" sldId="2145707268"/>
            <ac:picMk id="376" creationId="{F94EBE34-BA9D-4747-A63D-4C6573D39F66}"/>
          </ac:picMkLst>
        </pc:picChg>
        <pc:picChg chg="mod">
          <ac:chgData name="Nick Robinson" userId="d0c2b313-4ae0-4040-8c6a-fec7a720a7b5" providerId="ADAL" clId="{190131DE-6250-C84F-B491-721E6CF30BCB}" dt="2021-12-17T10:48:30.993" v="6789" actId="207"/>
          <ac:picMkLst>
            <pc:docMk/>
            <pc:sldMk cId="257716761" sldId="2145707268"/>
            <ac:picMk id="379" creationId="{831487CC-E724-514D-86B0-4B03A39B1D0E}"/>
          </ac:picMkLst>
        </pc:picChg>
        <pc:picChg chg="mod">
          <ac:chgData name="Nick Robinson" userId="d0c2b313-4ae0-4040-8c6a-fec7a720a7b5" providerId="ADAL" clId="{190131DE-6250-C84F-B491-721E6CF30BCB}" dt="2021-12-17T10:48:30.993" v="6789" actId="207"/>
          <ac:picMkLst>
            <pc:docMk/>
            <pc:sldMk cId="257716761" sldId="2145707268"/>
            <ac:picMk id="382" creationId="{E59151DA-AE97-A648-AA64-8E5AF36ED735}"/>
          </ac:picMkLst>
        </pc:picChg>
        <pc:picChg chg="mod">
          <ac:chgData name="Nick Robinson" userId="d0c2b313-4ae0-4040-8c6a-fec7a720a7b5" providerId="ADAL" clId="{190131DE-6250-C84F-B491-721E6CF30BCB}" dt="2021-12-17T10:48:30.993" v="6789" actId="207"/>
          <ac:picMkLst>
            <pc:docMk/>
            <pc:sldMk cId="257716761" sldId="2145707268"/>
            <ac:picMk id="385" creationId="{779830A8-DA1B-A94F-9428-80C90C851D10}"/>
          </ac:picMkLst>
        </pc:picChg>
        <pc:picChg chg="mod">
          <ac:chgData name="Nick Robinson" userId="d0c2b313-4ae0-4040-8c6a-fec7a720a7b5" providerId="ADAL" clId="{190131DE-6250-C84F-B491-721E6CF30BCB}" dt="2021-12-17T10:48:30.993" v="6789" actId="207"/>
          <ac:picMkLst>
            <pc:docMk/>
            <pc:sldMk cId="257716761" sldId="2145707268"/>
            <ac:picMk id="388" creationId="{29A00F63-89D6-F545-8708-84B58D2DBD82}"/>
          </ac:picMkLst>
        </pc:picChg>
        <pc:picChg chg="mod">
          <ac:chgData name="Nick Robinson" userId="d0c2b313-4ae0-4040-8c6a-fec7a720a7b5" providerId="ADAL" clId="{190131DE-6250-C84F-B491-721E6CF30BCB}" dt="2021-12-17T10:48:30.993" v="6789" actId="207"/>
          <ac:picMkLst>
            <pc:docMk/>
            <pc:sldMk cId="257716761" sldId="2145707268"/>
            <ac:picMk id="391" creationId="{2270AAE9-E41E-F949-B6CA-9FDF1CDDECA3}"/>
          </ac:picMkLst>
        </pc:picChg>
        <pc:picChg chg="mod">
          <ac:chgData name="Nick Robinson" userId="d0c2b313-4ae0-4040-8c6a-fec7a720a7b5" providerId="ADAL" clId="{190131DE-6250-C84F-B491-721E6CF30BCB}" dt="2021-12-17T10:48:30.993" v="6789" actId="207"/>
          <ac:picMkLst>
            <pc:docMk/>
            <pc:sldMk cId="257716761" sldId="2145707268"/>
            <ac:picMk id="394" creationId="{28E3CAF3-BF52-7E4D-BDB2-499ED1BFB9D5}"/>
          </ac:picMkLst>
        </pc:picChg>
        <pc:picChg chg="mod">
          <ac:chgData name="Nick Robinson" userId="d0c2b313-4ae0-4040-8c6a-fec7a720a7b5" providerId="ADAL" clId="{190131DE-6250-C84F-B491-721E6CF30BCB}" dt="2021-12-17T10:48:30.993" v="6789" actId="207"/>
          <ac:picMkLst>
            <pc:docMk/>
            <pc:sldMk cId="257716761" sldId="2145707268"/>
            <ac:picMk id="397" creationId="{FC82603B-44E0-0C4D-8C51-E4992F9ACC3A}"/>
          </ac:picMkLst>
        </pc:picChg>
        <pc:picChg chg="mod">
          <ac:chgData name="Nick Robinson" userId="d0c2b313-4ae0-4040-8c6a-fec7a720a7b5" providerId="ADAL" clId="{190131DE-6250-C84F-B491-721E6CF30BCB}" dt="2021-12-17T10:48:30.993" v="6789" actId="207"/>
          <ac:picMkLst>
            <pc:docMk/>
            <pc:sldMk cId="257716761" sldId="2145707268"/>
            <ac:picMk id="400" creationId="{F5BBFFEB-0410-CF4F-9E7C-0B95A2D0B421}"/>
          </ac:picMkLst>
        </pc:picChg>
        <pc:picChg chg="mod">
          <ac:chgData name="Nick Robinson" userId="d0c2b313-4ae0-4040-8c6a-fec7a720a7b5" providerId="ADAL" clId="{190131DE-6250-C84F-B491-721E6CF30BCB}" dt="2021-12-17T10:48:30.993" v="6789" actId="207"/>
          <ac:picMkLst>
            <pc:docMk/>
            <pc:sldMk cId="257716761" sldId="2145707268"/>
            <ac:picMk id="403" creationId="{95C9B012-A572-4847-B298-69F2B3B4DF78}"/>
          </ac:picMkLst>
        </pc:picChg>
        <pc:picChg chg="mod">
          <ac:chgData name="Nick Robinson" userId="d0c2b313-4ae0-4040-8c6a-fec7a720a7b5" providerId="ADAL" clId="{190131DE-6250-C84F-B491-721E6CF30BCB}" dt="2021-12-17T10:48:30.993" v="6789" actId="207"/>
          <ac:picMkLst>
            <pc:docMk/>
            <pc:sldMk cId="257716761" sldId="2145707268"/>
            <ac:picMk id="406" creationId="{B01591B8-8EFD-074A-BA95-39E36FA7DBCB}"/>
          </ac:picMkLst>
        </pc:picChg>
        <pc:picChg chg="mod">
          <ac:chgData name="Nick Robinson" userId="d0c2b313-4ae0-4040-8c6a-fec7a720a7b5" providerId="ADAL" clId="{190131DE-6250-C84F-B491-721E6CF30BCB}" dt="2021-12-17T10:48:30.993" v="6789" actId="207"/>
          <ac:picMkLst>
            <pc:docMk/>
            <pc:sldMk cId="257716761" sldId="2145707268"/>
            <ac:picMk id="409" creationId="{F1FBB85C-A554-E14E-B72C-825A901CE960}"/>
          </ac:picMkLst>
        </pc:picChg>
        <pc:picChg chg="mod">
          <ac:chgData name="Nick Robinson" userId="d0c2b313-4ae0-4040-8c6a-fec7a720a7b5" providerId="ADAL" clId="{190131DE-6250-C84F-B491-721E6CF30BCB}" dt="2021-12-17T10:48:30.993" v="6789" actId="207"/>
          <ac:picMkLst>
            <pc:docMk/>
            <pc:sldMk cId="257716761" sldId="2145707268"/>
            <ac:picMk id="412" creationId="{DE0314DE-DDA8-7049-B697-154CD1322E43}"/>
          </ac:picMkLst>
        </pc:picChg>
        <pc:picChg chg="mod">
          <ac:chgData name="Nick Robinson" userId="d0c2b313-4ae0-4040-8c6a-fec7a720a7b5" providerId="ADAL" clId="{190131DE-6250-C84F-B491-721E6CF30BCB}" dt="2021-12-17T10:48:30.993" v="6789" actId="207"/>
          <ac:picMkLst>
            <pc:docMk/>
            <pc:sldMk cId="257716761" sldId="2145707268"/>
            <ac:picMk id="415" creationId="{B864B70F-9E5F-1D4E-804D-433B9199D8A3}"/>
          </ac:picMkLst>
        </pc:picChg>
        <pc:picChg chg="mod">
          <ac:chgData name="Nick Robinson" userId="d0c2b313-4ae0-4040-8c6a-fec7a720a7b5" providerId="ADAL" clId="{190131DE-6250-C84F-B491-721E6CF30BCB}" dt="2021-12-17T10:48:30.993" v="6789" actId="207"/>
          <ac:picMkLst>
            <pc:docMk/>
            <pc:sldMk cId="257716761" sldId="2145707268"/>
            <ac:picMk id="418" creationId="{A8657148-B16B-014F-90DE-E107D7E84E3E}"/>
          </ac:picMkLst>
        </pc:picChg>
        <pc:picChg chg="mod">
          <ac:chgData name="Nick Robinson" userId="d0c2b313-4ae0-4040-8c6a-fec7a720a7b5" providerId="ADAL" clId="{190131DE-6250-C84F-B491-721E6CF30BCB}" dt="2021-12-17T10:48:30.993" v="6789" actId="207"/>
          <ac:picMkLst>
            <pc:docMk/>
            <pc:sldMk cId="257716761" sldId="2145707268"/>
            <ac:picMk id="421" creationId="{DE9005F3-100B-6B4F-9527-FFA1E5AA5ECB}"/>
          </ac:picMkLst>
        </pc:picChg>
        <pc:picChg chg="mod">
          <ac:chgData name="Nick Robinson" userId="d0c2b313-4ae0-4040-8c6a-fec7a720a7b5" providerId="ADAL" clId="{190131DE-6250-C84F-B491-721E6CF30BCB}" dt="2021-12-17T10:48:30.993" v="6789" actId="207"/>
          <ac:picMkLst>
            <pc:docMk/>
            <pc:sldMk cId="257716761" sldId="2145707268"/>
            <ac:picMk id="424" creationId="{6514EBFD-22C7-E04F-8B1D-38AD8257B295}"/>
          </ac:picMkLst>
        </pc:picChg>
        <pc:picChg chg="mod">
          <ac:chgData name="Nick Robinson" userId="d0c2b313-4ae0-4040-8c6a-fec7a720a7b5" providerId="ADAL" clId="{190131DE-6250-C84F-B491-721E6CF30BCB}" dt="2021-12-17T10:48:30.993" v="6789" actId="207"/>
          <ac:picMkLst>
            <pc:docMk/>
            <pc:sldMk cId="257716761" sldId="2145707268"/>
            <ac:picMk id="427" creationId="{E472409A-FA7C-D84C-872B-63F03ABDF903}"/>
          </ac:picMkLst>
        </pc:picChg>
        <pc:picChg chg="mod">
          <ac:chgData name="Nick Robinson" userId="d0c2b313-4ae0-4040-8c6a-fec7a720a7b5" providerId="ADAL" clId="{190131DE-6250-C84F-B491-721E6CF30BCB}" dt="2021-12-17T10:48:30.993" v="6789" actId="207"/>
          <ac:picMkLst>
            <pc:docMk/>
            <pc:sldMk cId="257716761" sldId="2145707268"/>
            <ac:picMk id="430" creationId="{6C4C89B9-5A9E-6F4F-8C30-16E2A8F032DE}"/>
          </ac:picMkLst>
        </pc:picChg>
        <pc:picChg chg="mod">
          <ac:chgData name="Nick Robinson" userId="d0c2b313-4ae0-4040-8c6a-fec7a720a7b5" providerId="ADAL" clId="{190131DE-6250-C84F-B491-721E6CF30BCB}" dt="2021-12-17T10:48:30.993" v="6789" actId="207"/>
          <ac:picMkLst>
            <pc:docMk/>
            <pc:sldMk cId="257716761" sldId="2145707268"/>
            <ac:picMk id="433" creationId="{CC043B51-F6AF-CE49-9350-3A28D2C0D877}"/>
          </ac:picMkLst>
        </pc:picChg>
        <pc:picChg chg="mod">
          <ac:chgData name="Nick Robinson" userId="d0c2b313-4ae0-4040-8c6a-fec7a720a7b5" providerId="ADAL" clId="{190131DE-6250-C84F-B491-721E6CF30BCB}" dt="2021-12-17T10:48:30.993" v="6789" actId="207"/>
          <ac:picMkLst>
            <pc:docMk/>
            <pc:sldMk cId="257716761" sldId="2145707268"/>
            <ac:picMk id="436" creationId="{8B979EB7-DD03-C943-9E9F-945D960C8BC7}"/>
          </ac:picMkLst>
        </pc:picChg>
        <pc:picChg chg="mod">
          <ac:chgData name="Nick Robinson" userId="d0c2b313-4ae0-4040-8c6a-fec7a720a7b5" providerId="ADAL" clId="{190131DE-6250-C84F-B491-721E6CF30BCB}" dt="2021-12-17T10:48:30.993" v="6789" actId="207"/>
          <ac:picMkLst>
            <pc:docMk/>
            <pc:sldMk cId="257716761" sldId="2145707268"/>
            <ac:picMk id="439" creationId="{490F1C1A-6CCE-F547-A681-487D56F26A82}"/>
          </ac:picMkLst>
        </pc:picChg>
        <pc:picChg chg="mod">
          <ac:chgData name="Nick Robinson" userId="d0c2b313-4ae0-4040-8c6a-fec7a720a7b5" providerId="ADAL" clId="{190131DE-6250-C84F-B491-721E6CF30BCB}" dt="2021-12-17T10:48:30.993" v="6789" actId="207"/>
          <ac:picMkLst>
            <pc:docMk/>
            <pc:sldMk cId="257716761" sldId="2145707268"/>
            <ac:picMk id="442" creationId="{960D7406-0872-1B42-A544-762D868FBBE5}"/>
          </ac:picMkLst>
        </pc:picChg>
        <pc:picChg chg="mod">
          <ac:chgData name="Nick Robinson" userId="d0c2b313-4ae0-4040-8c6a-fec7a720a7b5" providerId="ADAL" clId="{190131DE-6250-C84F-B491-721E6CF30BCB}" dt="2021-12-17T10:48:30.993" v="6789" actId="207"/>
          <ac:picMkLst>
            <pc:docMk/>
            <pc:sldMk cId="257716761" sldId="2145707268"/>
            <ac:picMk id="445" creationId="{0C140EB1-0993-5946-BC8F-987CD9BB983D}"/>
          </ac:picMkLst>
        </pc:picChg>
        <pc:picChg chg="mod">
          <ac:chgData name="Nick Robinson" userId="d0c2b313-4ae0-4040-8c6a-fec7a720a7b5" providerId="ADAL" clId="{190131DE-6250-C84F-B491-721E6CF30BCB}" dt="2021-12-17T10:48:30.993" v="6789" actId="207"/>
          <ac:picMkLst>
            <pc:docMk/>
            <pc:sldMk cId="257716761" sldId="2145707268"/>
            <ac:picMk id="448" creationId="{F7403A28-E108-544F-85C5-BD4AFE243ADA}"/>
          </ac:picMkLst>
        </pc:picChg>
        <pc:picChg chg="mod">
          <ac:chgData name="Nick Robinson" userId="d0c2b313-4ae0-4040-8c6a-fec7a720a7b5" providerId="ADAL" clId="{190131DE-6250-C84F-B491-721E6CF30BCB}" dt="2021-12-17T10:48:30.993" v="6789" actId="207"/>
          <ac:picMkLst>
            <pc:docMk/>
            <pc:sldMk cId="257716761" sldId="2145707268"/>
            <ac:picMk id="451" creationId="{F0067A2F-0BA5-714C-8D1F-E995F423576F}"/>
          </ac:picMkLst>
        </pc:picChg>
        <pc:picChg chg="mod">
          <ac:chgData name="Nick Robinson" userId="d0c2b313-4ae0-4040-8c6a-fec7a720a7b5" providerId="ADAL" clId="{190131DE-6250-C84F-B491-721E6CF30BCB}" dt="2021-12-17T10:48:30.993" v="6789" actId="207"/>
          <ac:picMkLst>
            <pc:docMk/>
            <pc:sldMk cId="257716761" sldId="2145707268"/>
            <ac:picMk id="454" creationId="{B00A9076-F035-5D4D-8C08-8ADE79B97FAE}"/>
          </ac:picMkLst>
        </pc:picChg>
        <pc:picChg chg="mod">
          <ac:chgData name="Nick Robinson" userId="d0c2b313-4ae0-4040-8c6a-fec7a720a7b5" providerId="ADAL" clId="{190131DE-6250-C84F-B491-721E6CF30BCB}" dt="2021-12-17T10:48:30.993" v="6789" actId="207"/>
          <ac:picMkLst>
            <pc:docMk/>
            <pc:sldMk cId="257716761" sldId="2145707268"/>
            <ac:picMk id="457" creationId="{15EA79D5-4897-FE4B-B7D0-5D2027B1BC7B}"/>
          </ac:picMkLst>
        </pc:picChg>
        <pc:picChg chg="mod">
          <ac:chgData name="Nick Robinson" userId="d0c2b313-4ae0-4040-8c6a-fec7a720a7b5" providerId="ADAL" clId="{190131DE-6250-C84F-B491-721E6CF30BCB}" dt="2021-12-17T10:48:30.993" v="6789" actId="207"/>
          <ac:picMkLst>
            <pc:docMk/>
            <pc:sldMk cId="257716761" sldId="2145707268"/>
            <ac:picMk id="460" creationId="{CB8DAB77-5FD4-934F-AE3B-C94BE6A1547E}"/>
          </ac:picMkLst>
        </pc:picChg>
        <pc:picChg chg="mod">
          <ac:chgData name="Nick Robinson" userId="d0c2b313-4ae0-4040-8c6a-fec7a720a7b5" providerId="ADAL" clId="{190131DE-6250-C84F-B491-721E6CF30BCB}" dt="2021-12-17T10:48:30.993" v="6789" actId="207"/>
          <ac:picMkLst>
            <pc:docMk/>
            <pc:sldMk cId="257716761" sldId="2145707268"/>
            <ac:picMk id="463" creationId="{EA1DE1E3-2F82-6548-B350-DDE8FFDE71F3}"/>
          </ac:picMkLst>
        </pc:picChg>
        <pc:picChg chg="mod">
          <ac:chgData name="Nick Robinson" userId="d0c2b313-4ae0-4040-8c6a-fec7a720a7b5" providerId="ADAL" clId="{190131DE-6250-C84F-B491-721E6CF30BCB}" dt="2021-12-17T10:48:30.993" v="6789" actId="207"/>
          <ac:picMkLst>
            <pc:docMk/>
            <pc:sldMk cId="257716761" sldId="2145707268"/>
            <ac:picMk id="466" creationId="{5C8D4011-C03D-E74A-95BB-CE899896E195}"/>
          </ac:picMkLst>
        </pc:picChg>
        <pc:picChg chg="mod">
          <ac:chgData name="Nick Robinson" userId="d0c2b313-4ae0-4040-8c6a-fec7a720a7b5" providerId="ADAL" clId="{190131DE-6250-C84F-B491-721E6CF30BCB}" dt="2021-12-17T10:48:48.128" v="6790"/>
          <ac:picMkLst>
            <pc:docMk/>
            <pc:sldMk cId="257716761" sldId="2145707268"/>
            <ac:picMk id="469" creationId="{9049374F-50C5-D445-924C-F01E52E8AD4D}"/>
          </ac:picMkLst>
        </pc:picChg>
        <pc:picChg chg="mod">
          <ac:chgData name="Nick Robinson" userId="d0c2b313-4ae0-4040-8c6a-fec7a720a7b5" providerId="ADAL" clId="{190131DE-6250-C84F-B491-721E6CF30BCB}" dt="2021-12-17T10:48:48.128" v="6790"/>
          <ac:picMkLst>
            <pc:docMk/>
            <pc:sldMk cId="257716761" sldId="2145707268"/>
            <ac:picMk id="472" creationId="{DF962969-9E4A-E241-A382-1C548C95D72C}"/>
          </ac:picMkLst>
        </pc:picChg>
        <pc:picChg chg="mod">
          <ac:chgData name="Nick Robinson" userId="d0c2b313-4ae0-4040-8c6a-fec7a720a7b5" providerId="ADAL" clId="{190131DE-6250-C84F-B491-721E6CF30BCB}" dt="2021-12-17T10:48:48.128" v="6790"/>
          <ac:picMkLst>
            <pc:docMk/>
            <pc:sldMk cId="257716761" sldId="2145707268"/>
            <ac:picMk id="475" creationId="{E1D25C1C-14C5-594D-8590-2EC4FB258722}"/>
          </ac:picMkLst>
        </pc:picChg>
        <pc:picChg chg="mod">
          <ac:chgData name="Nick Robinson" userId="d0c2b313-4ae0-4040-8c6a-fec7a720a7b5" providerId="ADAL" clId="{190131DE-6250-C84F-B491-721E6CF30BCB}" dt="2021-12-17T10:48:48.128" v="6790"/>
          <ac:picMkLst>
            <pc:docMk/>
            <pc:sldMk cId="257716761" sldId="2145707268"/>
            <ac:picMk id="478" creationId="{229F8805-4BB9-DB4E-AF45-0E546F4B3DD0}"/>
          </ac:picMkLst>
        </pc:picChg>
        <pc:picChg chg="mod">
          <ac:chgData name="Nick Robinson" userId="d0c2b313-4ae0-4040-8c6a-fec7a720a7b5" providerId="ADAL" clId="{190131DE-6250-C84F-B491-721E6CF30BCB}" dt="2021-12-17T10:48:52.529" v="6792"/>
          <ac:picMkLst>
            <pc:docMk/>
            <pc:sldMk cId="257716761" sldId="2145707268"/>
            <ac:picMk id="481" creationId="{15E74EE9-0C45-BD43-A04C-6A42F1694DA7}"/>
          </ac:picMkLst>
        </pc:picChg>
        <pc:picChg chg="mod">
          <ac:chgData name="Nick Robinson" userId="d0c2b313-4ae0-4040-8c6a-fec7a720a7b5" providerId="ADAL" clId="{190131DE-6250-C84F-B491-721E6CF30BCB}" dt="2021-12-17T10:48:52.529" v="6792"/>
          <ac:picMkLst>
            <pc:docMk/>
            <pc:sldMk cId="257716761" sldId="2145707268"/>
            <ac:picMk id="484" creationId="{49702507-8E15-4C48-AE2A-6CC9F5A888A9}"/>
          </ac:picMkLst>
        </pc:picChg>
        <pc:picChg chg="mod">
          <ac:chgData name="Nick Robinson" userId="d0c2b313-4ae0-4040-8c6a-fec7a720a7b5" providerId="ADAL" clId="{190131DE-6250-C84F-B491-721E6CF30BCB}" dt="2021-12-17T10:48:52.529" v="6792"/>
          <ac:picMkLst>
            <pc:docMk/>
            <pc:sldMk cId="257716761" sldId="2145707268"/>
            <ac:picMk id="487" creationId="{2FB35DC7-E15F-0341-A9CB-EB4BDD833024}"/>
          </ac:picMkLst>
        </pc:picChg>
        <pc:picChg chg="mod">
          <ac:chgData name="Nick Robinson" userId="d0c2b313-4ae0-4040-8c6a-fec7a720a7b5" providerId="ADAL" clId="{190131DE-6250-C84F-B491-721E6CF30BCB}" dt="2021-12-17T10:48:52.529" v="6792"/>
          <ac:picMkLst>
            <pc:docMk/>
            <pc:sldMk cId="257716761" sldId="2145707268"/>
            <ac:picMk id="490" creationId="{EE74647C-6771-0E48-97CA-3599A8A23E48}"/>
          </ac:picMkLst>
        </pc:picChg>
      </pc:sldChg>
      <pc:sldChg chg="modSp add del mod">
        <pc:chgData name="Nick Robinson" userId="d0c2b313-4ae0-4040-8c6a-fec7a720a7b5" providerId="ADAL" clId="{190131DE-6250-C84F-B491-721E6CF30BCB}" dt="2021-12-21T08:39:27.452" v="20177" actId="2696"/>
        <pc:sldMkLst>
          <pc:docMk/>
          <pc:sldMk cId="400196288" sldId="2145707269"/>
        </pc:sldMkLst>
        <pc:spChg chg="mod">
          <ac:chgData name="Nick Robinson" userId="d0c2b313-4ae0-4040-8c6a-fec7a720a7b5" providerId="ADAL" clId="{190131DE-6250-C84F-B491-721E6CF30BCB}" dt="2021-12-17T09:11:32.160" v="4381" actId="20577"/>
          <ac:spMkLst>
            <pc:docMk/>
            <pc:sldMk cId="400196288" sldId="2145707269"/>
            <ac:spMk id="2" creationId="{00000000-0000-0000-0000-000000000000}"/>
          </ac:spMkLst>
        </pc:spChg>
        <pc:spChg chg="mod">
          <ac:chgData name="Nick Robinson" userId="d0c2b313-4ae0-4040-8c6a-fec7a720a7b5" providerId="ADAL" clId="{190131DE-6250-C84F-B491-721E6CF30BCB}" dt="2021-12-17T11:18:00.845" v="6962" actId="1076"/>
          <ac:spMkLst>
            <pc:docMk/>
            <pc:sldMk cId="400196288" sldId="2145707269"/>
            <ac:spMk id="5" creationId="{46E9979E-1F37-D74B-B2AD-0C4512024DF3}"/>
          </ac:spMkLst>
        </pc:spChg>
      </pc:sldChg>
      <pc:sldChg chg="addSp delSp modSp add del mod ord">
        <pc:chgData name="Nick Robinson" userId="d0c2b313-4ae0-4040-8c6a-fec7a720a7b5" providerId="ADAL" clId="{190131DE-6250-C84F-B491-721E6CF30BCB}" dt="2021-12-20T11:23:54.794" v="15384" actId="2696"/>
        <pc:sldMkLst>
          <pc:docMk/>
          <pc:sldMk cId="1376033050" sldId="2145707270"/>
        </pc:sldMkLst>
        <pc:spChg chg="del">
          <ac:chgData name="Nick Robinson" userId="d0c2b313-4ae0-4040-8c6a-fec7a720a7b5" providerId="ADAL" clId="{190131DE-6250-C84F-B491-721E6CF30BCB}" dt="2021-12-17T11:28:24.231" v="7232" actId="478"/>
          <ac:spMkLst>
            <pc:docMk/>
            <pc:sldMk cId="1376033050" sldId="2145707270"/>
            <ac:spMk id="3" creationId="{E913216F-775D-E445-B57D-55CC6EA6EAD3}"/>
          </ac:spMkLst>
        </pc:spChg>
        <pc:spChg chg="mod">
          <ac:chgData name="Nick Robinson" userId="d0c2b313-4ae0-4040-8c6a-fec7a720a7b5" providerId="ADAL" clId="{190131DE-6250-C84F-B491-721E6CF30BCB}" dt="2021-12-17T11:28:30.618" v="7245" actId="20577"/>
          <ac:spMkLst>
            <pc:docMk/>
            <pc:sldMk cId="1376033050" sldId="2145707270"/>
            <ac:spMk id="7" creationId="{057581C4-CC99-2A46-AE18-D0CBC020606C}"/>
          </ac:spMkLst>
        </pc:spChg>
        <pc:spChg chg="del">
          <ac:chgData name="Nick Robinson" userId="d0c2b313-4ae0-4040-8c6a-fec7a720a7b5" providerId="ADAL" clId="{190131DE-6250-C84F-B491-721E6CF30BCB}" dt="2021-12-17T11:28:24.231" v="7232" actId="478"/>
          <ac:spMkLst>
            <pc:docMk/>
            <pc:sldMk cId="1376033050" sldId="2145707270"/>
            <ac:spMk id="33" creationId="{AB764455-DD30-9347-B13A-9F62E5D9CB1B}"/>
          </ac:spMkLst>
        </pc:spChg>
        <pc:spChg chg="del">
          <ac:chgData name="Nick Robinson" userId="d0c2b313-4ae0-4040-8c6a-fec7a720a7b5" providerId="ADAL" clId="{190131DE-6250-C84F-B491-721E6CF30BCB}" dt="2021-12-17T11:28:24.231" v="7232" actId="478"/>
          <ac:spMkLst>
            <pc:docMk/>
            <pc:sldMk cId="1376033050" sldId="2145707270"/>
            <ac:spMk id="34" creationId="{329D3EB0-CA12-E046-8134-689D05E53572}"/>
          </ac:spMkLst>
        </pc:spChg>
        <pc:spChg chg="del">
          <ac:chgData name="Nick Robinson" userId="d0c2b313-4ae0-4040-8c6a-fec7a720a7b5" providerId="ADAL" clId="{190131DE-6250-C84F-B491-721E6CF30BCB}" dt="2021-12-17T11:28:24.231" v="7232" actId="478"/>
          <ac:spMkLst>
            <pc:docMk/>
            <pc:sldMk cId="1376033050" sldId="2145707270"/>
            <ac:spMk id="36" creationId="{24FE0935-E8DE-6E4C-A2F6-F7166CE1D47E}"/>
          </ac:spMkLst>
        </pc:spChg>
        <pc:spChg chg="del">
          <ac:chgData name="Nick Robinson" userId="d0c2b313-4ae0-4040-8c6a-fec7a720a7b5" providerId="ADAL" clId="{190131DE-6250-C84F-B491-721E6CF30BCB}" dt="2021-12-17T11:28:24.231" v="7232" actId="478"/>
          <ac:spMkLst>
            <pc:docMk/>
            <pc:sldMk cId="1376033050" sldId="2145707270"/>
            <ac:spMk id="38" creationId="{7B7AEABB-BE59-5D45-B59E-CAD0239C38A4}"/>
          </ac:spMkLst>
        </pc:spChg>
        <pc:spChg chg="del">
          <ac:chgData name="Nick Robinson" userId="d0c2b313-4ae0-4040-8c6a-fec7a720a7b5" providerId="ADAL" clId="{190131DE-6250-C84F-B491-721E6CF30BCB}" dt="2021-12-17T11:28:24.231" v="7232" actId="478"/>
          <ac:spMkLst>
            <pc:docMk/>
            <pc:sldMk cId="1376033050" sldId="2145707270"/>
            <ac:spMk id="40" creationId="{B81D14B0-9601-284E-929D-24B199033209}"/>
          </ac:spMkLst>
        </pc:spChg>
        <pc:spChg chg="del">
          <ac:chgData name="Nick Robinson" userId="d0c2b313-4ae0-4040-8c6a-fec7a720a7b5" providerId="ADAL" clId="{190131DE-6250-C84F-B491-721E6CF30BCB}" dt="2021-12-17T11:28:24.231" v="7232" actId="478"/>
          <ac:spMkLst>
            <pc:docMk/>
            <pc:sldMk cId="1376033050" sldId="2145707270"/>
            <ac:spMk id="42" creationId="{C3D6DC90-0222-F949-BCFD-E24AE0E2A4DA}"/>
          </ac:spMkLst>
        </pc:spChg>
        <pc:spChg chg="del">
          <ac:chgData name="Nick Robinson" userId="d0c2b313-4ae0-4040-8c6a-fec7a720a7b5" providerId="ADAL" clId="{190131DE-6250-C84F-B491-721E6CF30BCB}" dt="2021-12-17T11:28:24.231" v="7232" actId="478"/>
          <ac:spMkLst>
            <pc:docMk/>
            <pc:sldMk cId="1376033050" sldId="2145707270"/>
            <ac:spMk id="44" creationId="{32338005-3E53-DF49-9080-C488CB2CA8BB}"/>
          </ac:spMkLst>
        </pc:spChg>
        <pc:spChg chg="del">
          <ac:chgData name="Nick Robinson" userId="d0c2b313-4ae0-4040-8c6a-fec7a720a7b5" providerId="ADAL" clId="{190131DE-6250-C84F-B491-721E6CF30BCB}" dt="2021-12-17T11:28:24.231" v="7232" actId="478"/>
          <ac:spMkLst>
            <pc:docMk/>
            <pc:sldMk cId="1376033050" sldId="2145707270"/>
            <ac:spMk id="46" creationId="{FC7C74B0-398F-FF44-BA94-B70E97B7B253}"/>
          </ac:spMkLst>
        </pc:spChg>
        <pc:spChg chg="del">
          <ac:chgData name="Nick Robinson" userId="d0c2b313-4ae0-4040-8c6a-fec7a720a7b5" providerId="ADAL" clId="{190131DE-6250-C84F-B491-721E6CF30BCB}" dt="2021-12-17T11:28:24.231" v="7232" actId="478"/>
          <ac:spMkLst>
            <pc:docMk/>
            <pc:sldMk cId="1376033050" sldId="2145707270"/>
            <ac:spMk id="48" creationId="{DB89675B-56D2-8444-B7CC-E2EBD02BF060}"/>
          </ac:spMkLst>
        </pc:spChg>
        <pc:spChg chg="del">
          <ac:chgData name="Nick Robinson" userId="d0c2b313-4ae0-4040-8c6a-fec7a720a7b5" providerId="ADAL" clId="{190131DE-6250-C84F-B491-721E6CF30BCB}" dt="2021-12-17T11:28:24.231" v="7232" actId="478"/>
          <ac:spMkLst>
            <pc:docMk/>
            <pc:sldMk cId="1376033050" sldId="2145707270"/>
            <ac:spMk id="49" creationId="{0E28FEB7-CCD9-AF4E-A4A6-016FDA8CB711}"/>
          </ac:spMkLst>
        </pc:spChg>
        <pc:spChg chg="del">
          <ac:chgData name="Nick Robinson" userId="d0c2b313-4ae0-4040-8c6a-fec7a720a7b5" providerId="ADAL" clId="{190131DE-6250-C84F-B491-721E6CF30BCB}" dt="2021-12-17T11:28:24.231" v="7232" actId="478"/>
          <ac:spMkLst>
            <pc:docMk/>
            <pc:sldMk cId="1376033050" sldId="2145707270"/>
            <ac:spMk id="50" creationId="{7E420D97-4708-884B-A888-C6B0BC86CB8D}"/>
          </ac:spMkLst>
        </pc:spChg>
        <pc:spChg chg="del">
          <ac:chgData name="Nick Robinson" userId="d0c2b313-4ae0-4040-8c6a-fec7a720a7b5" providerId="ADAL" clId="{190131DE-6250-C84F-B491-721E6CF30BCB}" dt="2021-12-17T11:28:24.231" v="7232" actId="478"/>
          <ac:spMkLst>
            <pc:docMk/>
            <pc:sldMk cId="1376033050" sldId="2145707270"/>
            <ac:spMk id="51" creationId="{64A586D4-D1C3-7049-8DD8-35F6B6ABD70D}"/>
          </ac:spMkLst>
        </pc:spChg>
        <pc:spChg chg="del">
          <ac:chgData name="Nick Robinson" userId="d0c2b313-4ae0-4040-8c6a-fec7a720a7b5" providerId="ADAL" clId="{190131DE-6250-C84F-B491-721E6CF30BCB}" dt="2021-12-17T11:28:24.231" v="7232" actId="478"/>
          <ac:spMkLst>
            <pc:docMk/>
            <pc:sldMk cId="1376033050" sldId="2145707270"/>
            <ac:spMk id="54" creationId="{042D7FE1-93BD-3E44-859E-FC251794D1FA}"/>
          </ac:spMkLst>
        </pc:spChg>
        <pc:spChg chg="del">
          <ac:chgData name="Nick Robinson" userId="d0c2b313-4ae0-4040-8c6a-fec7a720a7b5" providerId="ADAL" clId="{190131DE-6250-C84F-B491-721E6CF30BCB}" dt="2021-12-17T11:28:24.231" v="7232" actId="478"/>
          <ac:spMkLst>
            <pc:docMk/>
            <pc:sldMk cId="1376033050" sldId="2145707270"/>
            <ac:spMk id="56" creationId="{3A6FECF1-DCDC-1F47-AFAF-0ED9FDEFE63A}"/>
          </ac:spMkLst>
        </pc:spChg>
        <pc:spChg chg="del">
          <ac:chgData name="Nick Robinson" userId="d0c2b313-4ae0-4040-8c6a-fec7a720a7b5" providerId="ADAL" clId="{190131DE-6250-C84F-B491-721E6CF30BCB}" dt="2021-12-17T11:28:24.231" v="7232" actId="478"/>
          <ac:spMkLst>
            <pc:docMk/>
            <pc:sldMk cId="1376033050" sldId="2145707270"/>
            <ac:spMk id="57" creationId="{2ED74A6C-E1C0-7040-AFEA-1B1495B79D3C}"/>
          </ac:spMkLst>
        </pc:spChg>
        <pc:spChg chg="del">
          <ac:chgData name="Nick Robinson" userId="d0c2b313-4ae0-4040-8c6a-fec7a720a7b5" providerId="ADAL" clId="{190131DE-6250-C84F-B491-721E6CF30BCB}" dt="2021-12-17T11:28:24.231" v="7232" actId="478"/>
          <ac:spMkLst>
            <pc:docMk/>
            <pc:sldMk cId="1376033050" sldId="2145707270"/>
            <ac:spMk id="59" creationId="{258619E8-0276-904C-B362-528DEE9825AC}"/>
          </ac:spMkLst>
        </pc:spChg>
        <pc:spChg chg="del">
          <ac:chgData name="Nick Robinson" userId="d0c2b313-4ae0-4040-8c6a-fec7a720a7b5" providerId="ADAL" clId="{190131DE-6250-C84F-B491-721E6CF30BCB}" dt="2021-12-17T11:28:24.231" v="7232" actId="478"/>
          <ac:spMkLst>
            <pc:docMk/>
            <pc:sldMk cId="1376033050" sldId="2145707270"/>
            <ac:spMk id="60" creationId="{4F2AB5AD-99A0-E548-B562-37897CD6FF85}"/>
          </ac:spMkLst>
        </pc:spChg>
        <pc:spChg chg="del">
          <ac:chgData name="Nick Robinson" userId="d0c2b313-4ae0-4040-8c6a-fec7a720a7b5" providerId="ADAL" clId="{190131DE-6250-C84F-B491-721E6CF30BCB}" dt="2021-12-17T11:28:24.231" v="7232" actId="478"/>
          <ac:spMkLst>
            <pc:docMk/>
            <pc:sldMk cId="1376033050" sldId="2145707270"/>
            <ac:spMk id="61" creationId="{09BB1679-0169-41AB-8FAF-066B8A1FE06D}"/>
          </ac:spMkLst>
        </pc:spChg>
        <pc:spChg chg="del">
          <ac:chgData name="Nick Robinson" userId="d0c2b313-4ae0-4040-8c6a-fec7a720a7b5" providerId="ADAL" clId="{190131DE-6250-C84F-B491-721E6CF30BCB}" dt="2021-12-17T11:28:24.231" v="7232" actId="478"/>
          <ac:spMkLst>
            <pc:docMk/>
            <pc:sldMk cId="1376033050" sldId="2145707270"/>
            <ac:spMk id="62" creationId="{AE96C520-56D6-B94B-8117-D35EE18F647D}"/>
          </ac:spMkLst>
        </pc:spChg>
        <pc:spChg chg="del">
          <ac:chgData name="Nick Robinson" userId="d0c2b313-4ae0-4040-8c6a-fec7a720a7b5" providerId="ADAL" clId="{190131DE-6250-C84F-B491-721E6CF30BCB}" dt="2021-12-17T11:28:24.231" v="7232" actId="478"/>
          <ac:spMkLst>
            <pc:docMk/>
            <pc:sldMk cId="1376033050" sldId="2145707270"/>
            <ac:spMk id="63" creationId="{BE228614-15E7-D041-8566-F1D7DAFD521C}"/>
          </ac:spMkLst>
        </pc:spChg>
        <pc:spChg chg="del">
          <ac:chgData name="Nick Robinson" userId="d0c2b313-4ae0-4040-8c6a-fec7a720a7b5" providerId="ADAL" clId="{190131DE-6250-C84F-B491-721E6CF30BCB}" dt="2021-12-17T11:28:24.231" v="7232" actId="478"/>
          <ac:spMkLst>
            <pc:docMk/>
            <pc:sldMk cId="1376033050" sldId="2145707270"/>
            <ac:spMk id="64" creationId="{F084C3F2-B3B3-F848-B677-24F341A71F40}"/>
          </ac:spMkLst>
        </pc:spChg>
        <pc:spChg chg="del">
          <ac:chgData name="Nick Robinson" userId="d0c2b313-4ae0-4040-8c6a-fec7a720a7b5" providerId="ADAL" clId="{190131DE-6250-C84F-B491-721E6CF30BCB}" dt="2021-12-17T11:28:24.231" v="7232" actId="478"/>
          <ac:spMkLst>
            <pc:docMk/>
            <pc:sldMk cId="1376033050" sldId="2145707270"/>
            <ac:spMk id="72" creationId="{AB45019A-6953-C949-828C-45E17EF07D82}"/>
          </ac:spMkLst>
        </pc:spChg>
        <pc:spChg chg="del">
          <ac:chgData name="Nick Robinson" userId="d0c2b313-4ae0-4040-8c6a-fec7a720a7b5" providerId="ADAL" clId="{190131DE-6250-C84F-B491-721E6CF30BCB}" dt="2021-12-17T11:28:24.231" v="7232" actId="478"/>
          <ac:spMkLst>
            <pc:docMk/>
            <pc:sldMk cId="1376033050" sldId="2145707270"/>
            <ac:spMk id="73" creationId="{E00C0C20-C74F-564E-9BA4-60051B663B0B}"/>
          </ac:spMkLst>
        </pc:spChg>
        <pc:spChg chg="del">
          <ac:chgData name="Nick Robinson" userId="d0c2b313-4ae0-4040-8c6a-fec7a720a7b5" providerId="ADAL" clId="{190131DE-6250-C84F-B491-721E6CF30BCB}" dt="2021-12-17T11:28:24.231" v="7232" actId="478"/>
          <ac:spMkLst>
            <pc:docMk/>
            <pc:sldMk cId="1376033050" sldId="2145707270"/>
            <ac:spMk id="75" creationId="{324CF59E-8C75-C14D-A1E2-F6B0A288B605}"/>
          </ac:spMkLst>
        </pc:spChg>
        <pc:spChg chg="del">
          <ac:chgData name="Nick Robinson" userId="d0c2b313-4ae0-4040-8c6a-fec7a720a7b5" providerId="ADAL" clId="{190131DE-6250-C84F-B491-721E6CF30BCB}" dt="2021-12-17T11:28:24.231" v="7232" actId="478"/>
          <ac:spMkLst>
            <pc:docMk/>
            <pc:sldMk cId="1376033050" sldId="2145707270"/>
            <ac:spMk id="90" creationId="{88D61C6E-321B-DA40-A96F-B7AAC2E952CC}"/>
          </ac:spMkLst>
        </pc:spChg>
        <pc:spChg chg="del">
          <ac:chgData name="Nick Robinson" userId="d0c2b313-4ae0-4040-8c6a-fec7a720a7b5" providerId="ADAL" clId="{190131DE-6250-C84F-B491-721E6CF30BCB}" dt="2021-12-17T11:28:24.231" v="7232" actId="478"/>
          <ac:spMkLst>
            <pc:docMk/>
            <pc:sldMk cId="1376033050" sldId="2145707270"/>
            <ac:spMk id="97" creationId="{1F645D20-8BED-C44F-9784-0062401399CA}"/>
          </ac:spMkLst>
        </pc:spChg>
        <pc:spChg chg="del">
          <ac:chgData name="Nick Robinson" userId="d0c2b313-4ae0-4040-8c6a-fec7a720a7b5" providerId="ADAL" clId="{190131DE-6250-C84F-B491-721E6CF30BCB}" dt="2021-12-17T11:28:24.231" v="7232" actId="478"/>
          <ac:spMkLst>
            <pc:docMk/>
            <pc:sldMk cId="1376033050" sldId="2145707270"/>
            <ac:spMk id="99" creationId="{A191B3F3-6E26-FB4A-BA99-A4F3CD7B3221}"/>
          </ac:spMkLst>
        </pc:spChg>
        <pc:spChg chg="del">
          <ac:chgData name="Nick Robinson" userId="d0c2b313-4ae0-4040-8c6a-fec7a720a7b5" providerId="ADAL" clId="{190131DE-6250-C84F-B491-721E6CF30BCB}" dt="2021-12-17T11:28:24.231" v="7232" actId="478"/>
          <ac:spMkLst>
            <pc:docMk/>
            <pc:sldMk cId="1376033050" sldId="2145707270"/>
            <ac:spMk id="100" creationId="{D8103D42-F9C6-D742-BD83-4F31E286871E}"/>
          </ac:spMkLst>
        </pc:spChg>
        <pc:spChg chg="del">
          <ac:chgData name="Nick Robinson" userId="d0c2b313-4ae0-4040-8c6a-fec7a720a7b5" providerId="ADAL" clId="{190131DE-6250-C84F-B491-721E6CF30BCB}" dt="2021-12-17T11:28:24.231" v="7232" actId="478"/>
          <ac:spMkLst>
            <pc:docMk/>
            <pc:sldMk cId="1376033050" sldId="2145707270"/>
            <ac:spMk id="103" creationId="{1409A8F4-5551-0149-A93A-52B2E00CA5B9}"/>
          </ac:spMkLst>
        </pc:spChg>
        <pc:spChg chg="del">
          <ac:chgData name="Nick Robinson" userId="d0c2b313-4ae0-4040-8c6a-fec7a720a7b5" providerId="ADAL" clId="{190131DE-6250-C84F-B491-721E6CF30BCB}" dt="2021-12-17T11:28:24.231" v="7232" actId="478"/>
          <ac:spMkLst>
            <pc:docMk/>
            <pc:sldMk cId="1376033050" sldId="2145707270"/>
            <ac:spMk id="104" creationId="{3DD50DAF-1C36-0246-95D7-BD75C2A31BAE}"/>
          </ac:spMkLst>
        </pc:spChg>
        <pc:spChg chg="del">
          <ac:chgData name="Nick Robinson" userId="d0c2b313-4ae0-4040-8c6a-fec7a720a7b5" providerId="ADAL" clId="{190131DE-6250-C84F-B491-721E6CF30BCB}" dt="2021-12-17T11:28:24.231" v="7232" actId="478"/>
          <ac:spMkLst>
            <pc:docMk/>
            <pc:sldMk cId="1376033050" sldId="2145707270"/>
            <ac:spMk id="105" creationId="{81CE5580-6A5F-1E4E-B7E7-C0EE273C97C0}"/>
          </ac:spMkLst>
        </pc:spChg>
        <pc:spChg chg="del">
          <ac:chgData name="Nick Robinson" userId="d0c2b313-4ae0-4040-8c6a-fec7a720a7b5" providerId="ADAL" clId="{190131DE-6250-C84F-B491-721E6CF30BCB}" dt="2021-12-17T11:28:24.231" v="7232" actId="478"/>
          <ac:spMkLst>
            <pc:docMk/>
            <pc:sldMk cId="1376033050" sldId="2145707270"/>
            <ac:spMk id="110" creationId="{254E068F-98C8-B349-859F-3E6103D3A1A1}"/>
          </ac:spMkLst>
        </pc:spChg>
        <pc:spChg chg="del">
          <ac:chgData name="Nick Robinson" userId="d0c2b313-4ae0-4040-8c6a-fec7a720a7b5" providerId="ADAL" clId="{190131DE-6250-C84F-B491-721E6CF30BCB}" dt="2021-12-17T11:28:25.410" v="7233" actId="478"/>
          <ac:spMkLst>
            <pc:docMk/>
            <pc:sldMk cId="1376033050" sldId="2145707270"/>
            <ac:spMk id="111" creationId="{C2F03B16-F219-4147-AD63-23C918EFB22A}"/>
          </ac:spMkLst>
        </pc:spChg>
        <pc:spChg chg="del">
          <ac:chgData name="Nick Robinson" userId="d0c2b313-4ae0-4040-8c6a-fec7a720a7b5" providerId="ADAL" clId="{190131DE-6250-C84F-B491-721E6CF30BCB}" dt="2021-12-17T11:28:24.231" v="7232" actId="478"/>
          <ac:spMkLst>
            <pc:docMk/>
            <pc:sldMk cId="1376033050" sldId="2145707270"/>
            <ac:spMk id="113" creationId="{962109BA-1F52-2D40-A3C1-3BC6BB3E53F0}"/>
          </ac:spMkLst>
        </pc:spChg>
        <pc:spChg chg="del">
          <ac:chgData name="Nick Robinson" userId="d0c2b313-4ae0-4040-8c6a-fec7a720a7b5" providerId="ADAL" clId="{190131DE-6250-C84F-B491-721E6CF30BCB}" dt="2021-12-17T11:28:24.231" v="7232" actId="478"/>
          <ac:spMkLst>
            <pc:docMk/>
            <pc:sldMk cId="1376033050" sldId="2145707270"/>
            <ac:spMk id="117" creationId="{F09A10BC-6D0E-CC48-B267-BB3B6D6850D7}"/>
          </ac:spMkLst>
        </pc:spChg>
        <pc:spChg chg="del">
          <ac:chgData name="Nick Robinson" userId="d0c2b313-4ae0-4040-8c6a-fec7a720a7b5" providerId="ADAL" clId="{190131DE-6250-C84F-B491-721E6CF30BCB}" dt="2021-12-17T11:28:24.231" v="7232" actId="478"/>
          <ac:spMkLst>
            <pc:docMk/>
            <pc:sldMk cId="1376033050" sldId="2145707270"/>
            <ac:spMk id="120" creationId="{D705B794-941B-374A-B64E-99DAC32BAFCF}"/>
          </ac:spMkLst>
        </pc:spChg>
        <pc:spChg chg="del">
          <ac:chgData name="Nick Robinson" userId="d0c2b313-4ae0-4040-8c6a-fec7a720a7b5" providerId="ADAL" clId="{190131DE-6250-C84F-B491-721E6CF30BCB}" dt="2021-12-17T11:28:24.231" v="7232" actId="478"/>
          <ac:spMkLst>
            <pc:docMk/>
            <pc:sldMk cId="1376033050" sldId="2145707270"/>
            <ac:spMk id="125" creationId="{23223884-8D3A-F04E-AD0D-DC4187E83302}"/>
          </ac:spMkLst>
        </pc:spChg>
        <pc:spChg chg="del">
          <ac:chgData name="Nick Robinson" userId="d0c2b313-4ae0-4040-8c6a-fec7a720a7b5" providerId="ADAL" clId="{190131DE-6250-C84F-B491-721E6CF30BCB}" dt="2021-12-17T11:28:24.231" v="7232" actId="478"/>
          <ac:spMkLst>
            <pc:docMk/>
            <pc:sldMk cId="1376033050" sldId="2145707270"/>
            <ac:spMk id="126" creationId="{2DA23663-D8AD-794C-AA51-68AA610503AF}"/>
          </ac:spMkLst>
        </pc:spChg>
        <pc:spChg chg="del">
          <ac:chgData name="Nick Robinson" userId="d0c2b313-4ae0-4040-8c6a-fec7a720a7b5" providerId="ADAL" clId="{190131DE-6250-C84F-B491-721E6CF30BCB}" dt="2021-12-17T11:28:24.231" v="7232" actId="478"/>
          <ac:spMkLst>
            <pc:docMk/>
            <pc:sldMk cId="1376033050" sldId="2145707270"/>
            <ac:spMk id="127" creationId="{39F5BF6B-82E4-AC42-8095-C3D07AF4D099}"/>
          </ac:spMkLst>
        </pc:spChg>
        <pc:graphicFrameChg chg="add mod modGraphic">
          <ac:chgData name="Nick Robinson" userId="d0c2b313-4ae0-4040-8c6a-fec7a720a7b5" providerId="ADAL" clId="{190131DE-6250-C84F-B491-721E6CF30BCB}" dt="2021-12-17T11:27:51.681" v="7231" actId="207"/>
          <ac:graphicFrameMkLst>
            <pc:docMk/>
            <pc:sldMk cId="1376033050" sldId="2145707270"/>
            <ac:graphicFrameMk id="55" creationId="{DE2B84C5-7A6C-8C4C-88F4-3FD3E343B352}"/>
          </ac:graphicFrameMkLst>
        </pc:graphicFrameChg>
        <pc:graphicFrameChg chg="del">
          <ac:chgData name="Nick Robinson" userId="d0c2b313-4ae0-4040-8c6a-fec7a720a7b5" providerId="ADAL" clId="{190131DE-6250-C84F-B491-721E6CF30BCB}" dt="2021-12-17T11:27:42.731" v="7228" actId="478"/>
          <ac:graphicFrameMkLst>
            <pc:docMk/>
            <pc:sldMk cId="1376033050" sldId="2145707270"/>
            <ac:graphicFrameMk id="66" creationId="{F98ED38C-3374-584E-B601-81AF17E9D573}"/>
          </ac:graphicFrameMkLst>
        </pc:graphicFrameChg>
        <pc:picChg chg="del">
          <ac:chgData name="Nick Robinson" userId="d0c2b313-4ae0-4040-8c6a-fec7a720a7b5" providerId="ADAL" clId="{190131DE-6250-C84F-B491-721E6CF30BCB}" dt="2021-12-17T11:28:24.231" v="7232" actId="478"/>
          <ac:picMkLst>
            <pc:docMk/>
            <pc:sldMk cId="1376033050" sldId="2145707270"/>
            <ac:picMk id="9" creationId="{9043E678-5C25-6543-ACE6-0CE399E20BB8}"/>
          </ac:picMkLst>
        </pc:picChg>
        <pc:picChg chg="del">
          <ac:chgData name="Nick Robinson" userId="d0c2b313-4ae0-4040-8c6a-fec7a720a7b5" providerId="ADAL" clId="{190131DE-6250-C84F-B491-721E6CF30BCB}" dt="2021-12-17T11:28:24.231" v="7232" actId="478"/>
          <ac:picMkLst>
            <pc:docMk/>
            <pc:sldMk cId="1376033050" sldId="2145707270"/>
            <ac:picMk id="65" creationId="{9F87D394-B64A-6741-8C6D-92A82C29D85A}"/>
          </ac:picMkLst>
        </pc:picChg>
        <pc:picChg chg="del">
          <ac:chgData name="Nick Robinson" userId="d0c2b313-4ae0-4040-8c6a-fec7a720a7b5" providerId="ADAL" clId="{190131DE-6250-C84F-B491-721E6CF30BCB}" dt="2021-12-17T11:28:24.231" v="7232" actId="478"/>
          <ac:picMkLst>
            <pc:docMk/>
            <pc:sldMk cId="1376033050" sldId="2145707270"/>
            <ac:picMk id="67" creationId="{8C16B7FC-431E-1B47-9271-6EC4FB064A98}"/>
          </ac:picMkLst>
        </pc:picChg>
        <pc:picChg chg="del">
          <ac:chgData name="Nick Robinson" userId="d0c2b313-4ae0-4040-8c6a-fec7a720a7b5" providerId="ADAL" clId="{190131DE-6250-C84F-B491-721E6CF30BCB}" dt="2021-12-17T11:28:24.231" v="7232" actId="478"/>
          <ac:picMkLst>
            <pc:docMk/>
            <pc:sldMk cId="1376033050" sldId="2145707270"/>
            <ac:picMk id="68" creationId="{9FB0CAAA-31C1-E54D-912E-2D418CC1C5ED}"/>
          </ac:picMkLst>
        </pc:picChg>
        <pc:picChg chg="del">
          <ac:chgData name="Nick Robinson" userId="d0c2b313-4ae0-4040-8c6a-fec7a720a7b5" providerId="ADAL" clId="{190131DE-6250-C84F-B491-721E6CF30BCB}" dt="2021-12-17T11:28:24.231" v="7232" actId="478"/>
          <ac:picMkLst>
            <pc:docMk/>
            <pc:sldMk cId="1376033050" sldId="2145707270"/>
            <ac:picMk id="69" creationId="{4A56C8B5-97DA-FD4B-ACCD-B5BA4226D2E6}"/>
          </ac:picMkLst>
        </pc:picChg>
        <pc:picChg chg="del">
          <ac:chgData name="Nick Robinson" userId="d0c2b313-4ae0-4040-8c6a-fec7a720a7b5" providerId="ADAL" clId="{190131DE-6250-C84F-B491-721E6CF30BCB}" dt="2021-12-17T11:28:24.231" v="7232" actId="478"/>
          <ac:picMkLst>
            <pc:docMk/>
            <pc:sldMk cId="1376033050" sldId="2145707270"/>
            <ac:picMk id="76" creationId="{38BD8C00-EAB4-1C41-B16B-486D162FB499}"/>
          </ac:picMkLst>
        </pc:picChg>
        <pc:picChg chg="del">
          <ac:chgData name="Nick Robinson" userId="d0c2b313-4ae0-4040-8c6a-fec7a720a7b5" providerId="ADAL" clId="{190131DE-6250-C84F-B491-721E6CF30BCB}" dt="2021-12-17T11:28:24.231" v="7232" actId="478"/>
          <ac:picMkLst>
            <pc:docMk/>
            <pc:sldMk cId="1376033050" sldId="2145707270"/>
            <ac:picMk id="77" creationId="{EA8E9DA7-026A-8840-BF8B-918C67FA7731}"/>
          </ac:picMkLst>
        </pc:picChg>
        <pc:picChg chg="del">
          <ac:chgData name="Nick Robinson" userId="d0c2b313-4ae0-4040-8c6a-fec7a720a7b5" providerId="ADAL" clId="{190131DE-6250-C84F-B491-721E6CF30BCB}" dt="2021-12-17T11:28:24.231" v="7232" actId="478"/>
          <ac:picMkLst>
            <pc:docMk/>
            <pc:sldMk cId="1376033050" sldId="2145707270"/>
            <ac:picMk id="80" creationId="{9A057607-E930-8E44-A39C-FA3E24E82F5D}"/>
          </ac:picMkLst>
        </pc:picChg>
        <pc:picChg chg="del">
          <ac:chgData name="Nick Robinson" userId="d0c2b313-4ae0-4040-8c6a-fec7a720a7b5" providerId="ADAL" clId="{190131DE-6250-C84F-B491-721E6CF30BCB}" dt="2021-12-17T11:28:24.231" v="7232" actId="478"/>
          <ac:picMkLst>
            <pc:docMk/>
            <pc:sldMk cId="1376033050" sldId="2145707270"/>
            <ac:picMk id="82" creationId="{9BDC9542-20DB-854A-B7DB-4EFD1573CD39}"/>
          </ac:picMkLst>
        </pc:picChg>
      </pc:sldChg>
      <pc:sldChg chg="addSp modSp add del mod ord modShow">
        <pc:chgData name="Nick Robinson" userId="d0c2b313-4ae0-4040-8c6a-fec7a720a7b5" providerId="ADAL" clId="{190131DE-6250-C84F-B491-721E6CF30BCB}" dt="2021-12-17T11:28:45.244" v="7264" actId="2696"/>
        <pc:sldMkLst>
          <pc:docMk/>
          <pc:sldMk cId="2872453758" sldId="2145707271"/>
        </pc:sldMkLst>
        <pc:spChg chg="mod">
          <ac:chgData name="Nick Robinson" userId="d0c2b313-4ae0-4040-8c6a-fec7a720a7b5" providerId="ADAL" clId="{190131DE-6250-C84F-B491-721E6CF30BCB}" dt="2021-12-17T09:12:51.077" v="4462" actId="20577"/>
          <ac:spMkLst>
            <pc:docMk/>
            <pc:sldMk cId="2872453758" sldId="2145707271"/>
            <ac:spMk id="3" creationId="{48F9D52A-8F64-384C-971E-97B7A8F11849}"/>
          </ac:spMkLst>
        </pc:spChg>
        <pc:spChg chg="mod">
          <ac:chgData name="Nick Robinson" userId="d0c2b313-4ae0-4040-8c6a-fec7a720a7b5" providerId="ADAL" clId="{190131DE-6250-C84F-B491-721E6CF30BCB}" dt="2021-12-17T09:24:13.135" v="4876" actId="14100"/>
          <ac:spMkLst>
            <pc:docMk/>
            <pc:sldMk cId="2872453758" sldId="2145707271"/>
            <ac:spMk id="37" creationId="{4DF3BFC2-B4F6-3A45-8DA6-0FA3B16C76D7}"/>
          </ac:spMkLst>
        </pc:spChg>
        <pc:spChg chg="mod">
          <ac:chgData name="Nick Robinson" userId="d0c2b313-4ae0-4040-8c6a-fec7a720a7b5" providerId="ADAL" clId="{190131DE-6250-C84F-B491-721E6CF30BCB}" dt="2021-12-17T09:24:15.985" v="4877" actId="14100"/>
          <ac:spMkLst>
            <pc:docMk/>
            <pc:sldMk cId="2872453758" sldId="2145707271"/>
            <ac:spMk id="38" creationId="{194C8724-2C03-7249-8B9C-1A97E8BF77A4}"/>
          </ac:spMkLst>
        </pc:spChg>
        <pc:spChg chg="mod">
          <ac:chgData name="Nick Robinson" userId="d0c2b313-4ae0-4040-8c6a-fec7a720a7b5" providerId="ADAL" clId="{190131DE-6250-C84F-B491-721E6CF30BCB}" dt="2021-12-17T09:24:18.184" v="4878" actId="14100"/>
          <ac:spMkLst>
            <pc:docMk/>
            <pc:sldMk cId="2872453758" sldId="2145707271"/>
            <ac:spMk id="39" creationId="{2DB49F00-D89D-8040-8B00-4F776E688C86}"/>
          </ac:spMkLst>
        </pc:spChg>
        <pc:spChg chg="mod">
          <ac:chgData name="Nick Robinson" userId="d0c2b313-4ae0-4040-8c6a-fec7a720a7b5" providerId="ADAL" clId="{190131DE-6250-C84F-B491-721E6CF30BCB}" dt="2021-12-17T09:24:04.184" v="4874" actId="14100"/>
          <ac:spMkLst>
            <pc:docMk/>
            <pc:sldMk cId="2872453758" sldId="2145707271"/>
            <ac:spMk id="40" creationId="{D58356F1-6BE4-034F-8656-6D9C1C1BE867}"/>
          </ac:spMkLst>
        </pc:spChg>
        <pc:spChg chg="mod">
          <ac:chgData name="Nick Robinson" userId="d0c2b313-4ae0-4040-8c6a-fec7a720a7b5" providerId="ADAL" clId="{190131DE-6250-C84F-B491-721E6CF30BCB}" dt="2021-12-17T09:24:08.985" v="4875" actId="14100"/>
          <ac:spMkLst>
            <pc:docMk/>
            <pc:sldMk cId="2872453758" sldId="2145707271"/>
            <ac:spMk id="41" creationId="{8B062E0A-6918-6D41-93AD-6EC436F0BB94}"/>
          </ac:spMkLst>
        </pc:spChg>
        <pc:spChg chg="add mod">
          <ac:chgData name="Nick Robinson" userId="d0c2b313-4ae0-4040-8c6a-fec7a720a7b5" providerId="ADAL" clId="{190131DE-6250-C84F-B491-721E6CF30BCB}" dt="2021-12-17T09:23:42.247" v="4873" actId="12"/>
          <ac:spMkLst>
            <pc:docMk/>
            <pc:sldMk cId="2872453758" sldId="2145707271"/>
            <ac:spMk id="49" creationId="{F73955B5-B330-974D-BBB0-81C565187EE7}"/>
          </ac:spMkLst>
        </pc:spChg>
      </pc:sldChg>
      <pc:sldChg chg="add del">
        <pc:chgData name="Nick Robinson" userId="d0c2b313-4ae0-4040-8c6a-fec7a720a7b5" providerId="ADAL" clId="{190131DE-6250-C84F-B491-721E6CF30BCB}" dt="2021-12-17T11:28:43.891" v="7263" actId="2696"/>
        <pc:sldMkLst>
          <pc:docMk/>
          <pc:sldMk cId="953820107" sldId="2145707272"/>
        </pc:sldMkLst>
      </pc:sldChg>
      <pc:sldChg chg="modSp add mod ord">
        <pc:chgData name="Nick Robinson" userId="d0c2b313-4ae0-4040-8c6a-fec7a720a7b5" providerId="ADAL" clId="{190131DE-6250-C84F-B491-721E6CF30BCB}" dt="2021-12-17T09:25:40.847" v="4997" actId="20577"/>
        <pc:sldMkLst>
          <pc:docMk/>
          <pc:sldMk cId="831719426" sldId="2145707273"/>
        </pc:sldMkLst>
        <pc:spChg chg="mod">
          <ac:chgData name="Nick Robinson" userId="d0c2b313-4ae0-4040-8c6a-fec7a720a7b5" providerId="ADAL" clId="{190131DE-6250-C84F-B491-721E6CF30BCB}" dt="2021-12-17T09:25:23.188" v="4893" actId="20577"/>
          <ac:spMkLst>
            <pc:docMk/>
            <pc:sldMk cId="831719426" sldId="2145707273"/>
            <ac:spMk id="2" creationId="{00000000-0000-0000-0000-000000000000}"/>
          </ac:spMkLst>
        </pc:spChg>
        <pc:spChg chg="mod">
          <ac:chgData name="Nick Robinson" userId="d0c2b313-4ae0-4040-8c6a-fec7a720a7b5" providerId="ADAL" clId="{190131DE-6250-C84F-B491-721E6CF30BCB}" dt="2021-12-17T09:25:40.847" v="4997" actId="20577"/>
          <ac:spMkLst>
            <pc:docMk/>
            <pc:sldMk cId="831719426" sldId="2145707273"/>
            <ac:spMk id="54" creationId="{A7DD93EE-2A6C-2D44-8C5F-34F2D3F3960E}"/>
          </ac:spMkLst>
        </pc:spChg>
      </pc:sldChg>
      <pc:sldChg chg="add del">
        <pc:chgData name="Nick Robinson" userId="d0c2b313-4ae0-4040-8c6a-fec7a720a7b5" providerId="ADAL" clId="{190131DE-6250-C84F-B491-721E6CF30BCB}" dt="2021-12-20T14:46:12.535" v="17397" actId="2696"/>
        <pc:sldMkLst>
          <pc:docMk/>
          <pc:sldMk cId="3990279336" sldId="2145707274"/>
        </pc:sldMkLst>
      </pc:sldChg>
      <pc:sldChg chg="add del">
        <pc:chgData name="Nick Robinson" userId="d0c2b313-4ae0-4040-8c6a-fec7a720a7b5" providerId="ADAL" clId="{190131DE-6250-C84F-B491-721E6CF30BCB}" dt="2021-12-20T14:46:12.535" v="17397" actId="2696"/>
        <pc:sldMkLst>
          <pc:docMk/>
          <pc:sldMk cId="3231929467" sldId="2145707275"/>
        </pc:sldMkLst>
      </pc:sldChg>
      <pc:sldChg chg="add del">
        <pc:chgData name="Nick Robinson" userId="d0c2b313-4ae0-4040-8c6a-fec7a720a7b5" providerId="ADAL" clId="{190131DE-6250-C84F-B491-721E6CF30BCB}" dt="2021-12-20T14:46:12.535" v="17397" actId="2696"/>
        <pc:sldMkLst>
          <pc:docMk/>
          <pc:sldMk cId="3281081423" sldId="2145707276"/>
        </pc:sldMkLst>
      </pc:sldChg>
      <pc:sldChg chg="add del">
        <pc:chgData name="Nick Robinson" userId="d0c2b313-4ae0-4040-8c6a-fec7a720a7b5" providerId="ADAL" clId="{190131DE-6250-C84F-B491-721E6CF30BCB}" dt="2021-12-20T14:46:12.535" v="17397" actId="2696"/>
        <pc:sldMkLst>
          <pc:docMk/>
          <pc:sldMk cId="3253686580" sldId="2145707277"/>
        </pc:sldMkLst>
      </pc:sldChg>
      <pc:sldChg chg="addSp delSp modSp add mod">
        <pc:chgData name="Nick Robinson" userId="d0c2b313-4ae0-4040-8c6a-fec7a720a7b5" providerId="ADAL" clId="{190131DE-6250-C84F-B491-721E6CF30BCB}" dt="2021-12-23T11:19:09.338" v="42309" actId="207"/>
        <pc:sldMkLst>
          <pc:docMk/>
          <pc:sldMk cId="2253966421" sldId="2145707278"/>
        </pc:sldMkLst>
        <pc:spChg chg="mod">
          <ac:chgData name="Nick Robinson" userId="d0c2b313-4ae0-4040-8c6a-fec7a720a7b5" providerId="ADAL" clId="{190131DE-6250-C84F-B491-721E6CF30BCB}" dt="2021-12-17T11:14:33.087" v="6869" actId="20577"/>
          <ac:spMkLst>
            <pc:docMk/>
            <pc:sldMk cId="2253966421" sldId="2145707278"/>
            <ac:spMk id="2" creationId="{97DF49F5-76E4-D045-9AE5-C5DFB0E4B946}"/>
          </ac:spMkLst>
        </pc:spChg>
        <pc:spChg chg="del">
          <ac:chgData name="Nick Robinson" userId="d0c2b313-4ae0-4040-8c6a-fec7a720a7b5" providerId="ADAL" clId="{190131DE-6250-C84F-B491-721E6CF30BCB}" dt="2021-12-17T11:14:57.982" v="6883" actId="478"/>
          <ac:spMkLst>
            <pc:docMk/>
            <pc:sldMk cId="2253966421" sldId="2145707278"/>
            <ac:spMk id="3" creationId="{7EC74004-F909-D349-8CEB-3B490B854AEF}"/>
          </ac:spMkLst>
        </pc:spChg>
        <pc:graphicFrameChg chg="add del mod modGraphic">
          <ac:chgData name="Nick Robinson" userId="d0c2b313-4ae0-4040-8c6a-fec7a720a7b5" providerId="ADAL" clId="{190131DE-6250-C84F-B491-721E6CF30BCB}" dt="2021-12-17T14:44:28.910" v="10298" actId="478"/>
          <ac:graphicFrameMkLst>
            <pc:docMk/>
            <pc:sldMk cId="2253966421" sldId="2145707278"/>
            <ac:graphicFrameMk id="4" creationId="{9DA3C2DF-18E1-C24E-A4A6-BEF20E4F2270}"/>
          </ac:graphicFrameMkLst>
        </pc:graphicFrameChg>
        <pc:graphicFrameChg chg="modGraphic">
          <ac:chgData name="Nick Robinson" userId="d0c2b313-4ae0-4040-8c6a-fec7a720a7b5" providerId="ADAL" clId="{190131DE-6250-C84F-B491-721E6CF30BCB}" dt="2021-12-23T11:19:09.338" v="42309" actId="207"/>
          <ac:graphicFrameMkLst>
            <pc:docMk/>
            <pc:sldMk cId="2253966421" sldId="2145707278"/>
            <ac:graphicFrameMk id="7" creationId="{55491300-71DD-9D4D-9A39-2ECB09F71D19}"/>
          </ac:graphicFrameMkLst>
        </pc:graphicFrameChg>
      </pc:sldChg>
      <pc:sldChg chg="delSp modSp add mod delCm modCm">
        <pc:chgData name="Nick Robinson" userId="d0c2b313-4ae0-4040-8c6a-fec7a720a7b5" providerId="ADAL" clId="{190131DE-6250-C84F-B491-721E6CF30BCB}" dt="2021-12-22T21:38:54.454" v="32785"/>
        <pc:sldMkLst>
          <pc:docMk/>
          <pc:sldMk cId="889857472" sldId="2145707279"/>
        </pc:sldMkLst>
        <pc:spChg chg="mod">
          <ac:chgData name="Nick Robinson" userId="d0c2b313-4ae0-4040-8c6a-fec7a720a7b5" providerId="ADAL" clId="{190131DE-6250-C84F-B491-721E6CF30BCB}" dt="2021-12-21T13:44:54.337" v="23431" actId="20577"/>
          <ac:spMkLst>
            <pc:docMk/>
            <pc:sldMk cId="889857472" sldId="2145707279"/>
            <ac:spMk id="2" creationId="{97DF49F5-76E4-D045-9AE5-C5DFB0E4B946}"/>
          </ac:spMkLst>
        </pc:spChg>
        <pc:spChg chg="del">
          <ac:chgData name="Nick Robinson" userId="d0c2b313-4ae0-4040-8c6a-fec7a720a7b5" providerId="ADAL" clId="{190131DE-6250-C84F-B491-721E6CF30BCB}" dt="2021-12-17T11:15:04.932" v="6884" actId="478"/>
          <ac:spMkLst>
            <pc:docMk/>
            <pc:sldMk cId="889857472" sldId="2145707279"/>
            <ac:spMk id="3" creationId="{7EC74004-F909-D349-8CEB-3B490B854AEF}"/>
          </ac:spMkLst>
        </pc:spChg>
        <pc:graphicFrameChg chg="mod modGraphic">
          <ac:chgData name="Nick Robinson" userId="d0c2b313-4ae0-4040-8c6a-fec7a720a7b5" providerId="ADAL" clId="{190131DE-6250-C84F-B491-721E6CF30BCB}" dt="2021-12-17T14:50:05.265" v="10384" actId="207"/>
          <ac:graphicFrameMkLst>
            <pc:docMk/>
            <pc:sldMk cId="889857472" sldId="2145707279"/>
            <ac:graphicFrameMk id="7" creationId="{55491300-71DD-9D4D-9A39-2ECB09F71D19}"/>
          </ac:graphicFrameMkLst>
        </pc:graphicFrameChg>
      </pc:sldChg>
      <pc:sldChg chg="add del">
        <pc:chgData name="Nick Robinson" userId="d0c2b313-4ae0-4040-8c6a-fec7a720a7b5" providerId="ADAL" clId="{190131DE-6250-C84F-B491-721E6CF30BCB}" dt="2021-12-17T11:15:51.228" v="6889" actId="2696"/>
        <pc:sldMkLst>
          <pc:docMk/>
          <pc:sldMk cId="862946472" sldId="2145707280"/>
        </pc:sldMkLst>
      </pc:sldChg>
      <pc:sldChg chg="modSp add mod">
        <pc:chgData name="Nick Robinson" userId="d0c2b313-4ae0-4040-8c6a-fec7a720a7b5" providerId="ADAL" clId="{190131DE-6250-C84F-B491-721E6CF30BCB}" dt="2021-12-17T11:24:15.783" v="7007" actId="207"/>
        <pc:sldMkLst>
          <pc:docMk/>
          <pc:sldMk cId="1625754266" sldId="2145707280"/>
        </pc:sldMkLst>
        <pc:spChg chg="mod">
          <ac:chgData name="Nick Robinson" userId="d0c2b313-4ae0-4040-8c6a-fec7a720a7b5" providerId="ADAL" clId="{190131DE-6250-C84F-B491-721E6CF30BCB}" dt="2021-12-17T11:16:17.137" v="6906" actId="20577"/>
          <ac:spMkLst>
            <pc:docMk/>
            <pc:sldMk cId="1625754266" sldId="2145707280"/>
            <ac:spMk id="2" creationId="{97DF49F5-76E4-D045-9AE5-C5DFB0E4B946}"/>
          </ac:spMkLst>
        </pc:spChg>
        <pc:graphicFrameChg chg="modGraphic">
          <ac:chgData name="Nick Robinson" userId="d0c2b313-4ae0-4040-8c6a-fec7a720a7b5" providerId="ADAL" clId="{190131DE-6250-C84F-B491-721E6CF30BCB}" dt="2021-12-17T11:24:15.783" v="7007" actId="207"/>
          <ac:graphicFrameMkLst>
            <pc:docMk/>
            <pc:sldMk cId="1625754266" sldId="2145707280"/>
            <ac:graphicFrameMk id="7" creationId="{55491300-71DD-9D4D-9A39-2ECB09F71D19}"/>
          </ac:graphicFrameMkLst>
        </pc:graphicFrameChg>
      </pc:sldChg>
      <pc:sldChg chg="add del">
        <pc:chgData name="Nick Robinson" userId="d0c2b313-4ae0-4040-8c6a-fec7a720a7b5" providerId="ADAL" clId="{190131DE-6250-C84F-B491-721E6CF30BCB}" dt="2021-12-17T11:15:44.649" v="6886" actId="2696"/>
        <pc:sldMkLst>
          <pc:docMk/>
          <pc:sldMk cId="4159631706" sldId="2145707280"/>
        </pc:sldMkLst>
      </pc:sldChg>
      <pc:sldChg chg="modSp add mod">
        <pc:chgData name="Nick Robinson" userId="d0c2b313-4ae0-4040-8c6a-fec7a720a7b5" providerId="ADAL" clId="{190131DE-6250-C84F-B491-721E6CF30BCB}" dt="2021-12-17T11:27:38.297" v="7227" actId="207"/>
        <pc:sldMkLst>
          <pc:docMk/>
          <pc:sldMk cId="1867875014" sldId="2145707281"/>
        </pc:sldMkLst>
        <pc:spChg chg="mod">
          <ac:chgData name="Nick Robinson" userId="d0c2b313-4ae0-4040-8c6a-fec7a720a7b5" providerId="ADAL" clId="{190131DE-6250-C84F-B491-721E6CF30BCB}" dt="2021-12-17T11:16:37.992" v="6939" actId="20577"/>
          <ac:spMkLst>
            <pc:docMk/>
            <pc:sldMk cId="1867875014" sldId="2145707281"/>
            <ac:spMk id="2" creationId="{97DF49F5-76E4-D045-9AE5-C5DFB0E4B946}"/>
          </ac:spMkLst>
        </pc:spChg>
        <pc:graphicFrameChg chg="modGraphic">
          <ac:chgData name="Nick Robinson" userId="d0c2b313-4ae0-4040-8c6a-fec7a720a7b5" providerId="ADAL" clId="{190131DE-6250-C84F-B491-721E6CF30BCB}" dt="2021-12-17T11:27:38.297" v="7227" actId="207"/>
          <ac:graphicFrameMkLst>
            <pc:docMk/>
            <pc:sldMk cId="1867875014" sldId="2145707281"/>
            <ac:graphicFrameMk id="7" creationId="{55491300-71DD-9D4D-9A39-2ECB09F71D19}"/>
          </ac:graphicFrameMkLst>
        </pc:graphicFrameChg>
      </pc:sldChg>
      <pc:sldChg chg="modSp add mod">
        <pc:chgData name="Nick Robinson" userId="d0c2b313-4ae0-4040-8c6a-fec7a720a7b5" providerId="ADAL" clId="{190131DE-6250-C84F-B491-721E6CF30BCB}" dt="2021-12-21T10:39:24.546" v="21962" actId="207"/>
        <pc:sldMkLst>
          <pc:docMk/>
          <pc:sldMk cId="920601762" sldId="2145707282"/>
        </pc:sldMkLst>
        <pc:spChg chg="mod">
          <ac:chgData name="Nick Robinson" userId="d0c2b313-4ae0-4040-8c6a-fec7a720a7b5" providerId="ADAL" clId="{190131DE-6250-C84F-B491-721E6CF30BCB}" dt="2021-12-17T11:17:03.989" v="6948" actId="20577"/>
          <ac:spMkLst>
            <pc:docMk/>
            <pc:sldMk cId="920601762" sldId="2145707282"/>
            <ac:spMk id="2" creationId="{97DF49F5-76E4-D045-9AE5-C5DFB0E4B946}"/>
          </ac:spMkLst>
        </pc:spChg>
        <pc:graphicFrameChg chg="modGraphic">
          <ac:chgData name="Nick Robinson" userId="d0c2b313-4ae0-4040-8c6a-fec7a720a7b5" providerId="ADAL" clId="{190131DE-6250-C84F-B491-721E6CF30BCB}" dt="2021-12-21T10:39:24.546" v="21962" actId="207"/>
          <ac:graphicFrameMkLst>
            <pc:docMk/>
            <pc:sldMk cId="920601762" sldId="2145707282"/>
            <ac:graphicFrameMk id="7" creationId="{55491300-71DD-9D4D-9A39-2ECB09F71D19}"/>
          </ac:graphicFrameMkLst>
        </pc:graphicFrameChg>
      </pc:sldChg>
      <pc:sldChg chg="modSp add del mod">
        <pc:chgData name="Nick Robinson" userId="d0c2b313-4ae0-4040-8c6a-fec7a720a7b5" providerId="ADAL" clId="{190131DE-6250-C84F-B491-721E6CF30BCB}" dt="2021-12-20T14:46:12.535" v="17397" actId="2696"/>
        <pc:sldMkLst>
          <pc:docMk/>
          <pc:sldMk cId="1223158327" sldId="2145707283"/>
        </pc:sldMkLst>
        <pc:spChg chg="mod">
          <ac:chgData name="Nick Robinson" userId="d0c2b313-4ae0-4040-8c6a-fec7a720a7b5" providerId="ADAL" clId="{190131DE-6250-C84F-B491-721E6CF30BCB}" dt="2021-12-17T11:17:16.023" v="6960" actId="20577"/>
          <ac:spMkLst>
            <pc:docMk/>
            <pc:sldMk cId="1223158327" sldId="2145707283"/>
            <ac:spMk id="2" creationId="{97DF49F5-76E4-D045-9AE5-C5DFB0E4B946}"/>
          </ac:spMkLst>
        </pc:spChg>
      </pc:sldChg>
      <pc:sldChg chg="modSp new del mod ord">
        <pc:chgData name="Nick Robinson" userId="d0c2b313-4ae0-4040-8c6a-fec7a720a7b5" providerId="ADAL" clId="{190131DE-6250-C84F-B491-721E6CF30BCB}" dt="2021-12-17T11:24:33.033" v="7012" actId="2696"/>
        <pc:sldMkLst>
          <pc:docMk/>
          <pc:sldMk cId="2784583385" sldId="2145707284"/>
        </pc:sldMkLst>
        <pc:spChg chg="mod">
          <ac:chgData name="Nick Robinson" userId="d0c2b313-4ae0-4040-8c6a-fec7a720a7b5" providerId="ADAL" clId="{190131DE-6250-C84F-B491-721E6CF30BCB}" dt="2021-12-17T11:20:45.357" v="6995" actId="20577"/>
          <ac:spMkLst>
            <pc:docMk/>
            <pc:sldMk cId="2784583385" sldId="2145707284"/>
            <ac:spMk id="2" creationId="{526F7A7D-8799-2145-A982-84E620B74743}"/>
          </ac:spMkLst>
        </pc:spChg>
      </pc:sldChg>
      <pc:sldChg chg="addSp modSp add mod delCm">
        <pc:chgData name="Nick Robinson" userId="d0c2b313-4ae0-4040-8c6a-fec7a720a7b5" providerId="ADAL" clId="{190131DE-6250-C84F-B491-721E6CF30BCB}" dt="2021-12-23T08:35:49.432" v="37649" actId="20577"/>
        <pc:sldMkLst>
          <pc:docMk/>
          <pc:sldMk cId="957403761" sldId="2145708065"/>
        </pc:sldMkLst>
        <pc:graphicFrameChg chg="mod modGraphic">
          <ac:chgData name="Nick Robinson" userId="d0c2b313-4ae0-4040-8c6a-fec7a720a7b5" providerId="ADAL" clId="{190131DE-6250-C84F-B491-721E6CF30BCB}" dt="2021-12-23T08:35:49.432" v="37649" actId="20577"/>
          <ac:graphicFrameMkLst>
            <pc:docMk/>
            <pc:sldMk cId="957403761" sldId="2145708065"/>
            <ac:graphicFrameMk id="2" creationId="{C936049E-4494-6547-93D5-77CC5AD22A24}"/>
          </ac:graphicFrameMkLst>
        </pc:graphicFrameChg>
        <pc:graphicFrameChg chg="add mod">
          <ac:chgData name="Nick Robinson" userId="d0c2b313-4ae0-4040-8c6a-fec7a720a7b5" providerId="ADAL" clId="{190131DE-6250-C84F-B491-721E6CF30BCB}" dt="2021-12-17T11:25:16.025" v="7019"/>
          <ac:graphicFrameMkLst>
            <pc:docMk/>
            <pc:sldMk cId="957403761" sldId="2145708065"/>
            <ac:graphicFrameMk id="4" creationId="{226E5558-942F-1A4D-9F3D-558CB041F1ED}"/>
          </ac:graphicFrameMkLst>
        </pc:graphicFrameChg>
      </pc:sldChg>
      <pc:sldChg chg="addSp modSp add mod modNotesTx">
        <pc:chgData name="Nick Robinson" userId="d0c2b313-4ae0-4040-8c6a-fec7a720a7b5" providerId="ADAL" clId="{190131DE-6250-C84F-B491-721E6CF30BCB}" dt="2021-12-23T11:19:30.976" v="42310" actId="20577"/>
        <pc:sldMkLst>
          <pc:docMk/>
          <pc:sldMk cId="558902208" sldId="2145708066"/>
        </pc:sldMkLst>
        <pc:spChg chg="mod">
          <ac:chgData name="Nick Robinson" userId="d0c2b313-4ae0-4040-8c6a-fec7a720a7b5" providerId="ADAL" clId="{190131DE-6250-C84F-B491-721E6CF30BCB}" dt="2021-12-22T16:41:24.468" v="28016" actId="20577"/>
          <ac:spMkLst>
            <pc:docMk/>
            <pc:sldMk cId="558902208" sldId="2145708066"/>
            <ac:spMk id="3" creationId="{0A22AF2B-CD1C-8742-ABF2-F47A44879B64}"/>
          </ac:spMkLst>
        </pc:spChg>
        <pc:spChg chg="mod">
          <ac:chgData name="Nick Robinson" userId="d0c2b313-4ae0-4040-8c6a-fec7a720a7b5" providerId="ADAL" clId="{190131DE-6250-C84F-B491-721E6CF30BCB}" dt="2021-12-22T16:22:45.383" v="26911" actId="20577"/>
          <ac:spMkLst>
            <pc:docMk/>
            <pc:sldMk cId="558902208" sldId="2145708066"/>
            <ac:spMk id="27" creationId="{AEC743DF-4B96-6346-B9FD-81197DD42890}"/>
          </ac:spMkLst>
        </pc:spChg>
        <pc:spChg chg="mod">
          <ac:chgData name="Nick Robinson" userId="d0c2b313-4ae0-4040-8c6a-fec7a720a7b5" providerId="ADAL" clId="{190131DE-6250-C84F-B491-721E6CF30BCB}" dt="2021-12-23T08:19:55.939" v="36990" actId="207"/>
          <ac:spMkLst>
            <pc:docMk/>
            <pc:sldMk cId="558902208" sldId="2145708066"/>
            <ac:spMk id="36" creationId="{F0613AF4-B5CC-A042-A76D-31B970DEDD1C}"/>
          </ac:spMkLst>
        </pc:spChg>
        <pc:graphicFrameChg chg="add mod">
          <ac:chgData name="Nick Robinson" userId="d0c2b313-4ae0-4040-8c6a-fec7a720a7b5" providerId="ADAL" clId="{190131DE-6250-C84F-B491-721E6CF30BCB}" dt="2021-12-17T11:24:59.610" v="7013"/>
          <ac:graphicFrameMkLst>
            <pc:docMk/>
            <pc:sldMk cId="558902208" sldId="2145708066"/>
            <ac:graphicFrameMk id="15" creationId="{882DCB19-7416-6743-9BDD-AD458F5E7912}"/>
          </ac:graphicFrameMkLst>
        </pc:graphicFrameChg>
        <pc:cxnChg chg="mod">
          <ac:chgData name="Nick Robinson" userId="d0c2b313-4ae0-4040-8c6a-fec7a720a7b5" providerId="ADAL" clId="{190131DE-6250-C84F-B491-721E6CF30BCB}" dt="2021-12-22T20:42:33.875" v="30287" actId="208"/>
          <ac:cxnSpMkLst>
            <pc:docMk/>
            <pc:sldMk cId="558902208" sldId="2145708066"/>
            <ac:cxnSpMk id="29" creationId="{FCCBC7B1-B5F3-A247-9019-A56410AE2B78}"/>
          </ac:cxnSpMkLst>
        </pc:cxnChg>
        <pc:cxnChg chg="mod">
          <ac:chgData name="Nick Robinson" userId="d0c2b313-4ae0-4040-8c6a-fec7a720a7b5" providerId="ADAL" clId="{190131DE-6250-C84F-B491-721E6CF30BCB}" dt="2021-12-22T20:42:33.875" v="30287" actId="208"/>
          <ac:cxnSpMkLst>
            <pc:docMk/>
            <pc:sldMk cId="558902208" sldId="2145708066"/>
            <ac:cxnSpMk id="31" creationId="{BF547E83-A69F-5345-9BBB-0CE7DFB371D6}"/>
          </ac:cxnSpMkLst>
        </pc:cxnChg>
      </pc:sldChg>
      <pc:sldChg chg="addSp modSp add mod delCm modCm">
        <pc:chgData name="Nick Robinson" userId="d0c2b313-4ae0-4040-8c6a-fec7a720a7b5" providerId="ADAL" clId="{190131DE-6250-C84F-B491-721E6CF30BCB}" dt="2021-12-23T14:08:38.681" v="44606" actId="1035"/>
        <pc:sldMkLst>
          <pc:docMk/>
          <pc:sldMk cId="2489041963" sldId="2145708067"/>
        </pc:sldMkLst>
        <pc:spChg chg="mod">
          <ac:chgData name="Nick Robinson" userId="d0c2b313-4ae0-4040-8c6a-fec7a720a7b5" providerId="ADAL" clId="{190131DE-6250-C84F-B491-721E6CF30BCB}" dt="2021-12-23T14:08:38.681" v="44606" actId="1035"/>
          <ac:spMkLst>
            <pc:docMk/>
            <pc:sldMk cId="2489041963" sldId="2145708067"/>
            <ac:spMk id="7" creationId="{892E9E0C-01FC-1740-9B08-C381AC69FDD1}"/>
          </ac:spMkLst>
        </pc:spChg>
        <pc:spChg chg="mod">
          <ac:chgData name="Nick Robinson" userId="d0c2b313-4ae0-4040-8c6a-fec7a720a7b5" providerId="ADAL" clId="{190131DE-6250-C84F-B491-721E6CF30BCB}" dt="2021-12-23T10:22:35.673" v="41718" actId="13926"/>
          <ac:spMkLst>
            <pc:docMk/>
            <pc:sldMk cId="2489041963" sldId="2145708067"/>
            <ac:spMk id="19" creationId="{1487E005-8D68-734A-B5E9-05BC79427B74}"/>
          </ac:spMkLst>
        </pc:spChg>
        <pc:spChg chg="mod">
          <ac:chgData name="Nick Robinson" userId="d0c2b313-4ae0-4040-8c6a-fec7a720a7b5" providerId="ADAL" clId="{190131DE-6250-C84F-B491-721E6CF30BCB}" dt="2021-12-23T10:24:09.187" v="41775" actId="20577"/>
          <ac:spMkLst>
            <pc:docMk/>
            <pc:sldMk cId="2489041963" sldId="2145708067"/>
            <ac:spMk id="20" creationId="{F250A382-7342-3346-864D-36D4AD8152D1}"/>
          </ac:spMkLst>
        </pc:spChg>
        <pc:graphicFrameChg chg="add mod">
          <ac:chgData name="Nick Robinson" userId="d0c2b313-4ae0-4040-8c6a-fec7a720a7b5" providerId="ADAL" clId="{190131DE-6250-C84F-B491-721E6CF30BCB}" dt="2021-12-17T11:26:18.674" v="7123"/>
          <ac:graphicFrameMkLst>
            <pc:docMk/>
            <pc:sldMk cId="2489041963" sldId="2145708067"/>
            <ac:graphicFrameMk id="15" creationId="{A8F242F6-6068-0941-9498-A32635C71FB1}"/>
          </ac:graphicFrameMkLst>
        </pc:graphicFrameChg>
      </pc:sldChg>
      <pc:sldChg chg="addSp modSp add mod delCm modCm">
        <pc:chgData name="Nick Robinson" userId="d0c2b313-4ae0-4040-8c6a-fec7a720a7b5" providerId="ADAL" clId="{190131DE-6250-C84F-B491-721E6CF30BCB}" dt="2021-12-23T14:07:40.257" v="44598" actId="207"/>
        <pc:sldMkLst>
          <pc:docMk/>
          <pc:sldMk cId="409810355" sldId="2145708068"/>
        </pc:sldMkLst>
        <pc:spChg chg="mod">
          <ac:chgData name="Nick Robinson" userId="d0c2b313-4ae0-4040-8c6a-fec7a720a7b5" providerId="ADAL" clId="{190131DE-6250-C84F-B491-721E6CF30BCB}" dt="2021-12-23T14:07:40.257" v="44598" actId="207"/>
          <ac:spMkLst>
            <pc:docMk/>
            <pc:sldMk cId="409810355" sldId="2145708068"/>
            <ac:spMk id="7" creationId="{892E9E0C-01FC-1740-9B08-C381AC69FDD1}"/>
          </ac:spMkLst>
        </pc:spChg>
        <pc:spChg chg="mod">
          <ac:chgData name="Nick Robinson" userId="d0c2b313-4ae0-4040-8c6a-fec7a720a7b5" providerId="ADAL" clId="{190131DE-6250-C84F-B491-721E6CF30BCB}" dt="2021-12-23T08:28:38.468" v="37362" actId="20577"/>
          <ac:spMkLst>
            <pc:docMk/>
            <pc:sldMk cId="409810355" sldId="2145708068"/>
            <ac:spMk id="15" creationId="{344024B8-4780-414B-916D-6D41148D4E98}"/>
          </ac:spMkLst>
        </pc:spChg>
        <pc:spChg chg="mod">
          <ac:chgData name="Nick Robinson" userId="d0c2b313-4ae0-4040-8c6a-fec7a720a7b5" providerId="ADAL" clId="{190131DE-6250-C84F-B491-721E6CF30BCB}" dt="2021-12-23T12:30:55.811" v="44067" actId="13926"/>
          <ac:spMkLst>
            <pc:docMk/>
            <pc:sldMk cId="409810355" sldId="2145708068"/>
            <ac:spMk id="24" creationId="{71660C57-FF23-C648-B333-F05E77884992}"/>
          </ac:spMkLst>
        </pc:spChg>
        <pc:graphicFrameChg chg="add mod">
          <ac:chgData name="Nick Robinson" userId="d0c2b313-4ae0-4040-8c6a-fec7a720a7b5" providerId="ADAL" clId="{190131DE-6250-C84F-B491-721E6CF30BCB}" dt="2021-12-17T11:26:42.792" v="7129"/>
          <ac:graphicFrameMkLst>
            <pc:docMk/>
            <pc:sldMk cId="409810355" sldId="2145708068"/>
            <ac:graphicFrameMk id="16" creationId="{848D89A5-B4C5-8747-865D-80640F24FD38}"/>
          </ac:graphicFrameMkLst>
        </pc:graphicFrameChg>
      </pc:sldChg>
      <pc:sldChg chg="addSp modSp add mod delCm modCm">
        <pc:chgData name="Nick Robinson" userId="d0c2b313-4ae0-4040-8c6a-fec7a720a7b5" providerId="ADAL" clId="{190131DE-6250-C84F-B491-721E6CF30BCB}" dt="2021-12-23T10:29:15.382" v="42177"/>
        <pc:sldMkLst>
          <pc:docMk/>
          <pc:sldMk cId="2439348659" sldId="2145708069"/>
        </pc:sldMkLst>
        <pc:graphicFrameChg chg="mod modGraphic">
          <ac:chgData name="Nick Robinson" userId="d0c2b313-4ae0-4040-8c6a-fec7a720a7b5" providerId="ADAL" clId="{190131DE-6250-C84F-B491-721E6CF30BCB}" dt="2021-12-23T10:29:13.778" v="42176" actId="313"/>
          <ac:graphicFrameMkLst>
            <pc:docMk/>
            <pc:sldMk cId="2439348659" sldId="2145708069"/>
            <ac:graphicFrameMk id="4" creationId="{D648F469-9FD3-4446-BE3D-9571E81B47CF}"/>
          </ac:graphicFrameMkLst>
        </pc:graphicFrameChg>
        <pc:graphicFrameChg chg="add mod">
          <ac:chgData name="Nick Robinson" userId="d0c2b313-4ae0-4040-8c6a-fec7a720a7b5" providerId="ADAL" clId="{190131DE-6250-C84F-B491-721E6CF30BCB}" dt="2021-12-17T11:26:31.230" v="7126"/>
          <ac:graphicFrameMkLst>
            <pc:docMk/>
            <pc:sldMk cId="2439348659" sldId="2145708069"/>
            <ac:graphicFrameMk id="5" creationId="{2AAC0BE0-9B45-574F-AB5A-1E9B342C96CE}"/>
          </ac:graphicFrameMkLst>
        </pc:graphicFrameChg>
      </pc:sldChg>
      <pc:sldChg chg="addSp modSp add mod delCm">
        <pc:chgData name="Nick Robinson" userId="d0c2b313-4ae0-4040-8c6a-fec7a720a7b5" providerId="ADAL" clId="{190131DE-6250-C84F-B491-721E6CF30BCB}" dt="2021-12-23T13:42:51.553" v="44120"/>
        <pc:sldMkLst>
          <pc:docMk/>
          <pc:sldMk cId="2416394318" sldId="2145708070"/>
        </pc:sldMkLst>
        <pc:graphicFrameChg chg="mod modGraphic">
          <ac:chgData name="Nick Robinson" userId="d0c2b313-4ae0-4040-8c6a-fec7a720a7b5" providerId="ADAL" clId="{190131DE-6250-C84F-B491-721E6CF30BCB}" dt="2021-12-23T13:42:48.198" v="44119"/>
          <ac:graphicFrameMkLst>
            <pc:docMk/>
            <pc:sldMk cId="2416394318" sldId="2145708070"/>
            <ac:graphicFrameMk id="4" creationId="{93D35352-A6E9-3B4E-A85E-6F9D009369E7}"/>
          </ac:graphicFrameMkLst>
        </pc:graphicFrameChg>
        <pc:graphicFrameChg chg="add mod">
          <ac:chgData name="Nick Robinson" userId="d0c2b313-4ae0-4040-8c6a-fec7a720a7b5" providerId="ADAL" clId="{190131DE-6250-C84F-B491-721E6CF30BCB}" dt="2021-12-17T11:26:49.598" v="7132"/>
          <ac:graphicFrameMkLst>
            <pc:docMk/>
            <pc:sldMk cId="2416394318" sldId="2145708070"/>
            <ac:graphicFrameMk id="5" creationId="{DA8EA378-00ED-9944-B11A-A628E8C9A2F2}"/>
          </ac:graphicFrameMkLst>
        </pc:graphicFrameChg>
      </pc:sldChg>
      <pc:sldChg chg="addSp modSp add mod delCm modCm">
        <pc:chgData name="Nick Robinson" userId="d0c2b313-4ae0-4040-8c6a-fec7a720a7b5" providerId="ADAL" clId="{190131DE-6250-C84F-B491-721E6CF30BCB}" dt="2021-12-23T10:52:12.913" v="42263" actId="1076"/>
        <pc:sldMkLst>
          <pc:docMk/>
          <pc:sldMk cId="3539399706" sldId="2145708071"/>
        </pc:sldMkLst>
        <pc:spChg chg="mod">
          <ac:chgData name="Nick Robinson" userId="d0c2b313-4ae0-4040-8c6a-fec7a720a7b5" providerId="ADAL" clId="{190131DE-6250-C84F-B491-721E6CF30BCB}" dt="2021-12-23T10:52:12.913" v="42263" actId="1076"/>
          <ac:spMkLst>
            <pc:docMk/>
            <pc:sldMk cId="3539399706" sldId="2145708071"/>
            <ac:spMk id="3" creationId="{0A22AF2B-CD1C-8742-ABF2-F47A44879B64}"/>
          </ac:spMkLst>
        </pc:spChg>
        <pc:graphicFrameChg chg="mod modGraphic">
          <ac:chgData name="Nick Robinson" userId="d0c2b313-4ae0-4040-8c6a-fec7a720a7b5" providerId="ADAL" clId="{190131DE-6250-C84F-B491-721E6CF30BCB}" dt="2021-12-23T10:52:10.753" v="42261" actId="2084"/>
          <ac:graphicFrameMkLst>
            <pc:docMk/>
            <pc:sldMk cId="3539399706" sldId="2145708071"/>
            <ac:graphicFrameMk id="2" creationId="{C936049E-4494-6547-93D5-77CC5AD22A24}"/>
          </ac:graphicFrameMkLst>
        </pc:graphicFrameChg>
        <pc:graphicFrameChg chg="add mod">
          <ac:chgData name="Nick Robinson" userId="d0c2b313-4ae0-4040-8c6a-fec7a720a7b5" providerId="ADAL" clId="{190131DE-6250-C84F-B491-721E6CF30BCB}" dt="2021-12-17T11:26:06.933" v="7121"/>
          <ac:graphicFrameMkLst>
            <pc:docMk/>
            <pc:sldMk cId="3539399706" sldId="2145708071"/>
            <ac:graphicFrameMk id="12" creationId="{C472F9EF-6AC2-B046-9035-4EDCA557274B}"/>
          </ac:graphicFrameMkLst>
        </pc:graphicFrameChg>
        <pc:picChg chg="mod">
          <ac:chgData name="Nick Robinson" userId="d0c2b313-4ae0-4040-8c6a-fec7a720a7b5" providerId="ADAL" clId="{190131DE-6250-C84F-B491-721E6CF30BCB}" dt="2021-12-17T11:25:37.195" v="7028" actId="1035"/>
          <ac:picMkLst>
            <pc:docMk/>
            <pc:sldMk cId="3539399706" sldId="2145708071"/>
            <ac:picMk id="5" creationId="{255472EB-9596-7140-B115-763C8478344B}"/>
          </ac:picMkLst>
        </pc:picChg>
        <pc:picChg chg="mod">
          <ac:chgData name="Nick Robinson" userId="d0c2b313-4ae0-4040-8c6a-fec7a720a7b5" providerId="ADAL" clId="{190131DE-6250-C84F-B491-721E6CF30BCB}" dt="2021-12-17T11:25:42.348" v="7037" actId="1035"/>
          <ac:picMkLst>
            <pc:docMk/>
            <pc:sldMk cId="3539399706" sldId="2145708071"/>
            <ac:picMk id="7" creationId="{DF56878C-7AD2-D349-B959-ED88AD16F1BD}"/>
          </ac:picMkLst>
        </pc:picChg>
        <pc:picChg chg="mod">
          <ac:chgData name="Nick Robinson" userId="d0c2b313-4ae0-4040-8c6a-fec7a720a7b5" providerId="ADAL" clId="{190131DE-6250-C84F-B491-721E6CF30BCB}" dt="2021-12-17T11:25:47.387" v="7049" actId="1035"/>
          <ac:picMkLst>
            <pc:docMk/>
            <pc:sldMk cId="3539399706" sldId="2145708071"/>
            <ac:picMk id="9" creationId="{402A88F5-F0EC-3641-B932-CDA21902C6EB}"/>
          </ac:picMkLst>
        </pc:picChg>
        <pc:picChg chg="mod">
          <ac:chgData name="Nick Robinson" userId="d0c2b313-4ae0-4040-8c6a-fec7a720a7b5" providerId="ADAL" clId="{190131DE-6250-C84F-B491-721E6CF30BCB}" dt="2021-12-17T11:25:52.406" v="7065" actId="1035"/>
          <ac:picMkLst>
            <pc:docMk/>
            <pc:sldMk cId="3539399706" sldId="2145708071"/>
            <ac:picMk id="11" creationId="{0CB6C27D-5EDE-9043-82F7-1C3B1F9CCBDA}"/>
          </ac:picMkLst>
        </pc:picChg>
        <pc:picChg chg="mod">
          <ac:chgData name="Nick Robinson" userId="d0c2b313-4ae0-4040-8c6a-fec7a720a7b5" providerId="ADAL" clId="{190131DE-6250-C84F-B491-721E6CF30BCB}" dt="2021-12-17T11:25:56.920" v="7085" actId="1035"/>
          <ac:picMkLst>
            <pc:docMk/>
            <pc:sldMk cId="3539399706" sldId="2145708071"/>
            <ac:picMk id="13" creationId="{EEE3A3AC-DE8C-5A43-9EF0-D0A085F15E89}"/>
          </ac:picMkLst>
        </pc:picChg>
        <pc:picChg chg="mod">
          <ac:chgData name="Nick Robinson" userId="d0c2b313-4ae0-4040-8c6a-fec7a720a7b5" providerId="ADAL" clId="{190131DE-6250-C84F-B491-721E6CF30BCB}" dt="2021-12-17T11:26:01.455" v="7100" actId="1035"/>
          <ac:picMkLst>
            <pc:docMk/>
            <pc:sldMk cId="3539399706" sldId="2145708071"/>
            <ac:picMk id="15" creationId="{510FCDAE-64F2-0047-B54E-77BCD7980B07}"/>
          </ac:picMkLst>
        </pc:picChg>
        <pc:picChg chg="mod">
          <ac:chgData name="Nick Robinson" userId="d0c2b313-4ae0-4040-8c6a-fec7a720a7b5" providerId="ADAL" clId="{190131DE-6250-C84F-B491-721E6CF30BCB}" dt="2021-12-17T11:26:05.655" v="7120" actId="1035"/>
          <ac:picMkLst>
            <pc:docMk/>
            <pc:sldMk cId="3539399706" sldId="2145708071"/>
            <ac:picMk id="17" creationId="{6D516687-60F7-774E-9ABD-17293ADB2695}"/>
          </ac:picMkLst>
        </pc:picChg>
      </pc:sldChg>
      <pc:sldChg chg="addSp modSp add mod delCm">
        <pc:chgData name="Nick Robinson" userId="d0c2b313-4ae0-4040-8c6a-fec7a720a7b5" providerId="ADAL" clId="{190131DE-6250-C84F-B491-721E6CF30BCB}" dt="2021-12-23T10:52:25.071" v="42264"/>
        <pc:sldMkLst>
          <pc:docMk/>
          <pc:sldMk cId="2862548609" sldId="2145708072"/>
        </pc:sldMkLst>
        <pc:graphicFrameChg chg="mod modGraphic">
          <ac:chgData name="Nick Robinson" userId="d0c2b313-4ae0-4040-8c6a-fec7a720a7b5" providerId="ADAL" clId="{190131DE-6250-C84F-B491-721E6CF30BCB}" dt="2021-12-23T10:49:15.331" v="42198" actId="2084"/>
          <ac:graphicFrameMkLst>
            <pc:docMk/>
            <pc:sldMk cId="2862548609" sldId="2145708072"/>
            <ac:graphicFrameMk id="2" creationId="{C936049E-4494-6547-93D5-77CC5AD22A24}"/>
          </ac:graphicFrameMkLst>
        </pc:graphicFrameChg>
        <pc:graphicFrameChg chg="add mod">
          <ac:chgData name="Nick Robinson" userId="d0c2b313-4ae0-4040-8c6a-fec7a720a7b5" providerId="ADAL" clId="{190131DE-6250-C84F-B491-721E6CF30BCB}" dt="2021-12-17T11:26:34.524" v="7127"/>
          <ac:graphicFrameMkLst>
            <pc:docMk/>
            <pc:sldMk cId="2862548609" sldId="2145708072"/>
            <ac:graphicFrameMk id="10" creationId="{013B358F-6DF7-C348-A7D5-97FD7E6BFAA5}"/>
          </ac:graphicFrameMkLst>
        </pc:graphicFrameChg>
      </pc:sldChg>
      <pc:sldChg chg="addSp modSp add mod delCm">
        <pc:chgData name="Nick Robinson" userId="d0c2b313-4ae0-4040-8c6a-fec7a720a7b5" providerId="ADAL" clId="{190131DE-6250-C84F-B491-721E6CF30BCB}" dt="2021-12-23T13:43:46.558" v="44179"/>
        <pc:sldMkLst>
          <pc:docMk/>
          <pc:sldMk cId="2063501385" sldId="2145708073"/>
        </pc:sldMkLst>
        <pc:graphicFrameChg chg="mod modGraphic">
          <ac:chgData name="Nick Robinson" userId="d0c2b313-4ae0-4040-8c6a-fec7a720a7b5" providerId="ADAL" clId="{190131DE-6250-C84F-B491-721E6CF30BCB}" dt="2021-12-23T13:43:44.059" v="44178" actId="13926"/>
          <ac:graphicFrameMkLst>
            <pc:docMk/>
            <pc:sldMk cId="2063501385" sldId="2145708073"/>
            <ac:graphicFrameMk id="2" creationId="{C936049E-4494-6547-93D5-77CC5AD22A24}"/>
          </ac:graphicFrameMkLst>
        </pc:graphicFrameChg>
        <pc:graphicFrameChg chg="add mod">
          <ac:chgData name="Nick Robinson" userId="d0c2b313-4ae0-4040-8c6a-fec7a720a7b5" providerId="ADAL" clId="{190131DE-6250-C84F-B491-721E6CF30BCB}" dt="2021-12-17T11:27:19.287" v="7224"/>
          <ac:graphicFrameMkLst>
            <pc:docMk/>
            <pc:sldMk cId="2063501385" sldId="2145708073"/>
            <ac:graphicFrameMk id="10" creationId="{91295849-69A5-4144-9762-0F2E24D165C3}"/>
          </ac:graphicFrameMkLst>
        </pc:graphicFrameChg>
        <pc:picChg chg="mod">
          <ac:chgData name="Nick Robinson" userId="d0c2b313-4ae0-4040-8c6a-fec7a720a7b5" providerId="ADAL" clId="{190131DE-6250-C84F-B491-721E6CF30BCB}" dt="2021-12-22T20:26:12.047" v="30248" actId="1035"/>
          <ac:picMkLst>
            <pc:docMk/>
            <pc:sldMk cId="2063501385" sldId="2145708073"/>
            <ac:picMk id="5" creationId="{9CE58689-2CB1-0E49-BCED-21E4A09B62C8}"/>
          </ac:picMkLst>
        </pc:picChg>
        <pc:picChg chg="mod">
          <ac:chgData name="Nick Robinson" userId="d0c2b313-4ae0-4040-8c6a-fec7a720a7b5" providerId="ADAL" clId="{190131DE-6250-C84F-B491-721E6CF30BCB}" dt="2021-12-22T20:26:12.047" v="30248" actId="1035"/>
          <ac:picMkLst>
            <pc:docMk/>
            <pc:sldMk cId="2063501385" sldId="2145708073"/>
            <ac:picMk id="7" creationId="{A5BF2A12-95B9-9347-AB79-16D3AB1FC88F}"/>
          </ac:picMkLst>
        </pc:picChg>
        <pc:picChg chg="mod">
          <ac:chgData name="Nick Robinson" userId="d0c2b313-4ae0-4040-8c6a-fec7a720a7b5" providerId="ADAL" clId="{190131DE-6250-C84F-B491-721E6CF30BCB}" dt="2021-12-22T20:26:12.047" v="30248" actId="1035"/>
          <ac:picMkLst>
            <pc:docMk/>
            <pc:sldMk cId="2063501385" sldId="2145708073"/>
            <ac:picMk id="9" creationId="{5D80B50E-53E0-1946-ABC2-9A9F4D7699F0}"/>
          </ac:picMkLst>
        </pc:picChg>
        <pc:picChg chg="mod">
          <ac:chgData name="Nick Robinson" userId="d0c2b313-4ae0-4040-8c6a-fec7a720a7b5" providerId="ADAL" clId="{190131DE-6250-C84F-B491-721E6CF30BCB}" dt="2021-12-22T20:26:12.047" v="30248" actId="1035"/>
          <ac:picMkLst>
            <pc:docMk/>
            <pc:sldMk cId="2063501385" sldId="2145708073"/>
            <ac:picMk id="11" creationId="{2970A055-B0A6-2D45-846E-DD40D85484BB}"/>
          </ac:picMkLst>
        </pc:picChg>
        <pc:picChg chg="mod">
          <ac:chgData name="Nick Robinson" userId="d0c2b313-4ae0-4040-8c6a-fec7a720a7b5" providerId="ADAL" clId="{190131DE-6250-C84F-B491-721E6CF30BCB}" dt="2021-12-22T20:26:12.047" v="30248" actId="1035"/>
          <ac:picMkLst>
            <pc:docMk/>
            <pc:sldMk cId="2063501385" sldId="2145708073"/>
            <ac:picMk id="12" creationId="{BACB56A0-FCE7-8241-81EB-9E877E3AEE79}"/>
          </ac:picMkLst>
        </pc:picChg>
        <pc:picChg chg="mod">
          <ac:chgData name="Nick Robinson" userId="d0c2b313-4ae0-4040-8c6a-fec7a720a7b5" providerId="ADAL" clId="{190131DE-6250-C84F-B491-721E6CF30BCB}" dt="2021-12-22T20:26:12.047" v="30248" actId="1035"/>
          <ac:picMkLst>
            <pc:docMk/>
            <pc:sldMk cId="2063501385" sldId="2145708073"/>
            <ac:picMk id="15" creationId="{4C396318-1047-1845-B112-FE3F5A122F41}"/>
          </ac:picMkLst>
        </pc:picChg>
      </pc:sldChg>
      <pc:sldChg chg="addSp modSp add">
        <pc:chgData name="Nick Robinson" userId="d0c2b313-4ae0-4040-8c6a-fec7a720a7b5" providerId="ADAL" clId="{190131DE-6250-C84F-B491-721E6CF30BCB}" dt="2021-12-17T11:24:21.257" v="7008"/>
        <pc:sldMkLst>
          <pc:docMk/>
          <pc:sldMk cId="1028571452" sldId="2145708074"/>
        </pc:sldMkLst>
        <pc:graphicFrameChg chg="add mod">
          <ac:chgData name="Nick Robinson" userId="d0c2b313-4ae0-4040-8c6a-fec7a720a7b5" providerId="ADAL" clId="{190131DE-6250-C84F-B491-721E6CF30BCB}" dt="2021-12-17T11:24:21.257" v="7008"/>
          <ac:graphicFrameMkLst>
            <pc:docMk/>
            <pc:sldMk cId="1028571452" sldId="2145708074"/>
            <ac:graphicFrameMk id="3" creationId="{A5C5145E-D4D0-4F41-A35E-C01975B6ED25}"/>
          </ac:graphicFrameMkLst>
        </pc:graphicFrameChg>
      </pc:sldChg>
      <pc:sldChg chg="addSp modSp add">
        <pc:chgData name="Nick Robinson" userId="d0c2b313-4ae0-4040-8c6a-fec7a720a7b5" providerId="ADAL" clId="{190131DE-6250-C84F-B491-721E6CF30BCB}" dt="2021-12-17T11:24:25.657" v="7009"/>
        <pc:sldMkLst>
          <pc:docMk/>
          <pc:sldMk cId="1300686025" sldId="2145708075"/>
        </pc:sldMkLst>
        <pc:graphicFrameChg chg="add mod">
          <ac:chgData name="Nick Robinson" userId="d0c2b313-4ae0-4040-8c6a-fec7a720a7b5" providerId="ADAL" clId="{190131DE-6250-C84F-B491-721E6CF30BCB}" dt="2021-12-17T11:24:25.657" v="7009"/>
          <ac:graphicFrameMkLst>
            <pc:docMk/>
            <pc:sldMk cId="1300686025" sldId="2145708075"/>
            <ac:graphicFrameMk id="3" creationId="{E0447EF9-FDA8-1A40-A668-67CAFAC97B86}"/>
          </ac:graphicFrameMkLst>
        </pc:graphicFrameChg>
      </pc:sldChg>
      <pc:sldChg chg="addSp modSp add">
        <pc:chgData name="Nick Robinson" userId="d0c2b313-4ae0-4040-8c6a-fec7a720a7b5" providerId="ADAL" clId="{190131DE-6250-C84F-B491-721E6CF30BCB}" dt="2021-12-17T11:24:27.770" v="7010"/>
        <pc:sldMkLst>
          <pc:docMk/>
          <pc:sldMk cId="2617260652" sldId="2145708076"/>
        </pc:sldMkLst>
        <pc:graphicFrameChg chg="add mod">
          <ac:chgData name="Nick Robinson" userId="d0c2b313-4ae0-4040-8c6a-fec7a720a7b5" providerId="ADAL" clId="{190131DE-6250-C84F-B491-721E6CF30BCB}" dt="2021-12-17T11:24:27.770" v="7010"/>
          <ac:graphicFrameMkLst>
            <pc:docMk/>
            <pc:sldMk cId="2617260652" sldId="2145708076"/>
            <ac:graphicFrameMk id="3" creationId="{A96572A6-9767-BD49-9FF6-775664C5B279}"/>
          </ac:graphicFrameMkLst>
        </pc:graphicFrameChg>
      </pc:sldChg>
      <pc:sldChg chg="addSp modSp add mod delCm modCm">
        <pc:chgData name="Nick Robinson" userId="d0c2b313-4ae0-4040-8c6a-fec7a720a7b5" providerId="ADAL" clId="{190131DE-6250-C84F-B491-721E6CF30BCB}" dt="2021-12-23T08:27:43.375" v="37360" actId="20577"/>
        <pc:sldMkLst>
          <pc:docMk/>
          <pc:sldMk cId="3706502819" sldId="2145708077"/>
        </pc:sldMkLst>
        <pc:spChg chg="mod">
          <ac:chgData name="Nick Robinson" userId="d0c2b313-4ae0-4040-8c6a-fec7a720a7b5" providerId="ADAL" clId="{190131DE-6250-C84F-B491-721E6CF30BCB}" dt="2021-12-23T08:19:38.202" v="36987" actId="1035"/>
          <ac:spMkLst>
            <pc:docMk/>
            <pc:sldMk cId="3706502819" sldId="2145708077"/>
            <ac:spMk id="6" creationId="{F4C46C5A-EFC4-EF4D-B867-BBA768987650}"/>
          </ac:spMkLst>
        </pc:spChg>
        <pc:spChg chg="mod">
          <ac:chgData name="Nick Robinson" userId="d0c2b313-4ae0-4040-8c6a-fec7a720a7b5" providerId="ADAL" clId="{190131DE-6250-C84F-B491-721E6CF30BCB}" dt="2021-12-23T08:27:43.375" v="37360" actId="20577"/>
          <ac:spMkLst>
            <pc:docMk/>
            <pc:sldMk cId="3706502819" sldId="2145708077"/>
            <ac:spMk id="7" creationId="{7B12EFA4-539C-A649-8CC2-21A23EDEE5AE}"/>
          </ac:spMkLst>
        </pc:spChg>
        <pc:spChg chg="mod">
          <ac:chgData name="Nick Robinson" userId="d0c2b313-4ae0-4040-8c6a-fec7a720a7b5" providerId="ADAL" clId="{190131DE-6250-C84F-B491-721E6CF30BCB}" dt="2021-12-23T08:19:38.202" v="36987" actId="1035"/>
          <ac:spMkLst>
            <pc:docMk/>
            <pc:sldMk cId="3706502819" sldId="2145708077"/>
            <ac:spMk id="8" creationId="{C3137F1F-9B50-584F-A40C-ACCBF208C18C}"/>
          </ac:spMkLst>
        </pc:spChg>
        <pc:spChg chg="mod">
          <ac:chgData name="Nick Robinson" userId="d0c2b313-4ae0-4040-8c6a-fec7a720a7b5" providerId="ADAL" clId="{190131DE-6250-C84F-B491-721E6CF30BCB}" dt="2021-12-23T08:19:38.202" v="36987" actId="1035"/>
          <ac:spMkLst>
            <pc:docMk/>
            <pc:sldMk cId="3706502819" sldId="2145708077"/>
            <ac:spMk id="10" creationId="{FE146FC4-7C85-EF47-A4EA-84E7649629C8}"/>
          </ac:spMkLst>
        </pc:spChg>
        <pc:spChg chg="mod">
          <ac:chgData name="Nick Robinson" userId="d0c2b313-4ae0-4040-8c6a-fec7a720a7b5" providerId="ADAL" clId="{190131DE-6250-C84F-B491-721E6CF30BCB}" dt="2021-12-23T08:19:38.202" v="36987" actId="1035"/>
          <ac:spMkLst>
            <pc:docMk/>
            <pc:sldMk cId="3706502819" sldId="2145708077"/>
            <ac:spMk id="12" creationId="{62F4D48E-42B5-E748-8742-A8DFC797FE55}"/>
          </ac:spMkLst>
        </pc:spChg>
        <pc:spChg chg="mod">
          <ac:chgData name="Nick Robinson" userId="d0c2b313-4ae0-4040-8c6a-fec7a720a7b5" providerId="ADAL" clId="{190131DE-6250-C84F-B491-721E6CF30BCB}" dt="2021-12-23T08:19:38.202" v="36987" actId="1035"/>
          <ac:spMkLst>
            <pc:docMk/>
            <pc:sldMk cId="3706502819" sldId="2145708077"/>
            <ac:spMk id="15" creationId="{74792645-8042-C146-B44E-9EDC74F71A87}"/>
          </ac:spMkLst>
        </pc:spChg>
        <pc:spChg chg="mod">
          <ac:chgData name="Nick Robinson" userId="d0c2b313-4ae0-4040-8c6a-fec7a720a7b5" providerId="ADAL" clId="{190131DE-6250-C84F-B491-721E6CF30BCB}" dt="2021-12-23T08:19:31.449" v="36982" actId="2085"/>
          <ac:spMkLst>
            <pc:docMk/>
            <pc:sldMk cId="3706502819" sldId="2145708077"/>
            <ac:spMk id="18" creationId="{87A0D5BE-92F8-324D-9365-1E344D7A55E4}"/>
          </ac:spMkLst>
        </pc:spChg>
        <pc:graphicFrameChg chg="add mod modGraphic">
          <ac:chgData name="Nick Robinson" userId="d0c2b313-4ae0-4040-8c6a-fec7a720a7b5" providerId="ADAL" clId="{190131DE-6250-C84F-B491-721E6CF30BCB}" dt="2021-12-20T11:41:39.507" v="16664" actId="14100"/>
          <ac:graphicFrameMkLst>
            <pc:docMk/>
            <pc:sldMk cId="3706502819" sldId="2145708077"/>
            <ac:graphicFrameMk id="13" creationId="{4936780D-46D6-DC48-A92F-00CD772C34F6}"/>
          </ac:graphicFrameMkLst>
        </pc:graphicFrameChg>
        <pc:cxnChg chg="mod">
          <ac:chgData name="Nick Robinson" userId="d0c2b313-4ae0-4040-8c6a-fec7a720a7b5" providerId="ADAL" clId="{190131DE-6250-C84F-B491-721E6CF30BCB}" dt="2021-12-23T08:19:38.202" v="36987" actId="1035"/>
          <ac:cxnSpMkLst>
            <pc:docMk/>
            <pc:sldMk cId="3706502819" sldId="2145708077"/>
            <ac:cxnSpMk id="9" creationId="{5269B4ED-8E38-1C4E-9F75-4144E1B0762C}"/>
          </ac:cxnSpMkLst>
        </pc:cxnChg>
        <pc:cxnChg chg="mod">
          <ac:chgData name="Nick Robinson" userId="d0c2b313-4ae0-4040-8c6a-fec7a720a7b5" providerId="ADAL" clId="{190131DE-6250-C84F-B491-721E6CF30BCB}" dt="2021-12-23T08:19:38.202" v="36987" actId="1035"/>
          <ac:cxnSpMkLst>
            <pc:docMk/>
            <pc:sldMk cId="3706502819" sldId="2145708077"/>
            <ac:cxnSpMk id="11" creationId="{C65F76F7-A7DD-294C-9518-28F5F88E5C7B}"/>
          </ac:cxnSpMkLst>
        </pc:cxnChg>
      </pc:sldChg>
      <pc:sldChg chg="addSp modSp add">
        <pc:chgData name="Nick Robinson" userId="d0c2b313-4ae0-4040-8c6a-fec7a720a7b5" providerId="ADAL" clId="{190131DE-6250-C84F-B491-721E6CF30BCB}" dt="2021-12-17T11:24:30.032" v="7011"/>
        <pc:sldMkLst>
          <pc:docMk/>
          <pc:sldMk cId="2067440178" sldId="2145708079"/>
        </pc:sldMkLst>
        <pc:graphicFrameChg chg="add mod">
          <ac:chgData name="Nick Robinson" userId="d0c2b313-4ae0-4040-8c6a-fec7a720a7b5" providerId="ADAL" clId="{190131DE-6250-C84F-B491-721E6CF30BCB}" dt="2021-12-17T11:24:30.032" v="7011"/>
          <ac:graphicFrameMkLst>
            <pc:docMk/>
            <pc:sldMk cId="2067440178" sldId="2145708079"/>
            <ac:graphicFrameMk id="3" creationId="{F27F71C4-F075-1249-973D-91202A2D14F8}"/>
          </ac:graphicFrameMkLst>
        </pc:graphicFrameChg>
      </pc:sldChg>
      <pc:sldChg chg="addSp modSp add mod">
        <pc:chgData name="Nick Robinson" userId="d0c2b313-4ae0-4040-8c6a-fec7a720a7b5" providerId="ADAL" clId="{190131DE-6250-C84F-B491-721E6CF30BCB}" dt="2021-12-23T16:06:10.368" v="44702" actId="313"/>
        <pc:sldMkLst>
          <pc:docMk/>
          <pc:sldMk cId="1291217972" sldId="2145708081"/>
        </pc:sldMkLst>
        <pc:spChg chg="mod">
          <ac:chgData name="Nick Robinson" userId="d0c2b313-4ae0-4040-8c6a-fec7a720a7b5" providerId="ADAL" clId="{190131DE-6250-C84F-B491-721E6CF30BCB}" dt="2021-12-23T14:09:16.207" v="44613" actId="1036"/>
          <ac:spMkLst>
            <pc:docMk/>
            <pc:sldMk cId="1291217972" sldId="2145708081"/>
            <ac:spMk id="2" creationId="{6E1954EE-44FB-904B-BCCF-A823E5E905B8}"/>
          </ac:spMkLst>
        </pc:spChg>
        <pc:spChg chg="mod">
          <ac:chgData name="Nick Robinson" userId="d0c2b313-4ae0-4040-8c6a-fec7a720a7b5" providerId="ADAL" clId="{190131DE-6250-C84F-B491-721E6CF30BCB}" dt="2021-12-23T14:09:11.256" v="44610" actId="255"/>
          <ac:spMkLst>
            <pc:docMk/>
            <pc:sldMk cId="1291217972" sldId="2145708081"/>
            <ac:spMk id="7" creationId="{892E9E0C-01FC-1740-9B08-C381AC69FDD1}"/>
          </ac:spMkLst>
        </pc:spChg>
        <pc:spChg chg="mod">
          <ac:chgData name="Nick Robinson" userId="d0c2b313-4ae0-4040-8c6a-fec7a720a7b5" providerId="ADAL" clId="{190131DE-6250-C84F-B491-721E6CF30BCB}" dt="2021-12-23T14:09:16.207" v="44613" actId="1036"/>
          <ac:spMkLst>
            <pc:docMk/>
            <pc:sldMk cId="1291217972" sldId="2145708081"/>
            <ac:spMk id="18" creationId="{3F58E5E0-13AA-204C-93CA-231D6A3FE11E}"/>
          </ac:spMkLst>
        </pc:spChg>
        <pc:spChg chg="mod">
          <ac:chgData name="Nick Robinson" userId="d0c2b313-4ae0-4040-8c6a-fec7a720a7b5" providerId="ADAL" clId="{190131DE-6250-C84F-B491-721E6CF30BCB}" dt="2021-12-23T14:09:16.207" v="44613" actId="1036"/>
          <ac:spMkLst>
            <pc:docMk/>
            <pc:sldMk cId="1291217972" sldId="2145708081"/>
            <ac:spMk id="19" creationId="{1487E005-8D68-734A-B5E9-05BC79427B74}"/>
          </ac:spMkLst>
        </pc:spChg>
        <pc:spChg chg="mod">
          <ac:chgData name="Nick Robinson" userId="d0c2b313-4ae0-4040-8c6a-fec7a720a7b5" providerId="ADAL" clId="{190131DE-6250-C84F-B491-721E6CF30BCB}" dt="2021-12-23T16:06:10.368" v="44702" actId="313"/>
          <ac:spMkLst>
            <pc:docMk/>
            <pc:sldMk cId="1291217972" sldId="2145708081"/>
            <ac:spMk id="20" creationId="{F250A382-7342-3346-864D-36D4AD8152D1}"/>
          </ac:spMkLst>
        </pc:spChg>
        <pc:spChg chg="mod">
          <ac:chgData name="Nick Robinson" userId="d0c2b313-4ae0-4040-8c6a-fec7a720a7b5" providerId="ADAL" clId="{190131DE-6250-C84F-B491-721E6CF30BCB}" dt="2021-12-23T14:09:16.207" v="44613" actId="1036"/>
          <ac:spMkLst>
            <pc:docMk/>
            <pc:sldMk cId="1291217972" sldId="2145708081"/>
            <ac:spMk id="23" creationId="{8BFA237E-7528-0642-B2F3-2659AE43B0BC}"/>
          </ac:spMkLst>
        </pc:spChg>
        <pc:spChg chg="mod">
          <ac:chgData name="Nick Robinson" userId="d0c2b313-4ae0-4040-8c6a-fec7a720a7b5" providerId="ADAL" clId="{190131DE-6250-C84F-B491-721E6CF30BCB}" dt="2021-12-23T14:09:16.207" v="44613" actId="1036"/>
          <ac:spMkLst>
            <pc:docMk/>
            <pc:sldMk cId="1291217972" sldId="2145708081"/>
            <ac:spMk id="24" creationId="{71660C57-FF23-C648-B333-F05E77884992}"/>
          </ac:spMkLst>
        </pc:spChg>
        <pc:grpChg chg="mod">
          <ac:chgData name="Nick Robinson" userId="d0c2b313-4ae0-4040-8c6a-fec7a720a7b5" providerId="ADAL" clId="{190131DE-6250-C84F-B491-721E6CF30BCB}" dt="2021-12-23T14:09:16.207" v="44613" actId="1036"/>
          <ac:grpSpMkLst>
            <pc:docMk/>
            <pc:sldMk cId="1291217972" sldId="2145708081"/>
            <ac:grpSpMk id="14" creationId="{7E0C9EB7-7642-F546-A346-6CCC7A35A777}"/>
          </ac:grpSpMkLst>
        </pc:grpChg>
        <pc:grpChg chg="mod">
          <ac:chgData name="Nick Robinson" userId="d0c2b313-4ae0-4040-8c6a-fec7a720a7b5" providerId="ADAL" clId="{190131DE-6250-C84F-B491-721E6CF30BCB}" dt="2021-12-23T14:09:16.207" v="44613" actId="1036"/>
          <ac:grpSpMkLst>
            <pc:docMk/>
            <pc:sldMk cId="1291217972" sldId="2145708081"/>
            <ac:grpSpMk id="22" creationId="{FDED7D77-F4ED-FD4A-8B1A-B87096F5A636}"/>
          </ac:grpSpMkLst>
        </pc:grpChg>
        <pc:graphicFrameChg chg="add mod">
          <ac:chgData name="Nick Robinson" userId="d0c2b313-4ae0-4040-8c6a-fec7a720a7b5" providerId="ADAL" clId="{190131DE-6250-C84F-B491-721E6CF30BCB}" dt="2021-12-17T11:25:01.183" v="7014"/>
          <ac:graphicFrameMkLst>
            <pc:docMk/>
            <pc:sldMk cId="1291217972" sldId="2145708081"/>
            <ac:graphicFrameMk id="13" creationId="{7DAE8A8C-598D-FE47-9ACE-A538CF886030}"/>
          </ac:graphicFrameMkLst>
        </pc:graphicFrameChg>
        <pc:picChg chg="mod">
          <ac:chgData name="Nick Robinson" userId="d0c2b313-4ae0-4040-8c6a-fec7a720a7b5" providerId="ADAL" clId="{190131DE-6250-C84F-B491-721E6CF30BCB}" dt="2021-12-23T14:09:16.207" v="44613" actId="1036"/>
          <ac:picMkLst>
            <pc:docMk/>
            <pc:sldMk cId="1291217972" sldId="2145708081"/>
            <ac:picMk id="40962" creationId="{94F59199-1AB3-3748-BF6F-72E7CD2A7EE6}"/>
          </ac:picMkLst>
        </pc:picChg>
      </pc:sldChg>
      <pc:sldChg chg="addSp modSp add mod modNotesTx">
        <pc:chgData name="Nick Robinson" userId="d0c2b313-4ae0-4040-8c6a-fec7a720a7b5" providerId="ADAL" clId="{190131DE-6250-C84F-B491-721E6CF30BCB}" dt="2021-12-23T10:15:05.899" v="40881" actId="313"/>
        <pc:sldMkLst>
          <pc:docMk/>
          <pc:sldMk cId="3646163975" sldId="2145708082"/>
        </pc:sldMkLst>
        <pc:spChg chg="mod">
          <ac:chgData name="Nick Robinson" userId="d0c2b313-4ae0-4040-8c6a-fec7a720a7b5" providerId="ADAL" clId="{190131DE-6250-C84F-B491-721E6CF30BCB}" dt="2021-12-23T09:23:04.483" v="39232" actId="20577"/>
          <ac:spMkLst>
            <pc:docMk/>
            <pc:sldMk cId="3646163975" sldId="2145708082"/>
            <ac:spMk id="3" creationId="{0A22AF2B-CD1C-8742-ABF2-F47A44879B64}"/>
          </ac:spMkLst>
        </pc:spChg>
        <pc:spChg chg="mod">
          <ac:chgData name="Nick Robinson" userId="d0c2b313-4ae0-4040-8c6a-fec7a720a7b5" providerId="ADAL" clId="{190131DE-6250-C84F-B491-721E6CF30BCB}" dt="2021-12-23T10:15:05.899" v="40881" actId="313"/>
          <ac:spMkLst>
            <pc:docMk/>
            <pc:sldMk cId="3646163975" sldId="2145708082"/>
            <ac:spMk id="36" creationId="{F0613AF4-B5CC-A042-A76D-31B970DEDD1C}"/>
          </ac:spMkLst>
        </pc:spChg>
        <pc:graphicFrameChg chg="add mod">
          <ac:chgData name="Nick Robinson" userId="d0c2b313-4ae0-4040-8c6a-fec7a720a7b5" providerId="ADAL" clId="{190131DE-6250-C84F-B491-721E6CF30BCB}" dt="2021-12-17T11:26:15.601" v="7122"/>
          <ac:graphicFrameMkLst>
            <pc:docMk/>
            <pc:sldMk cId="3646163975" sldId="2145708082"/>
            <ac:graphicFrameMk id="16" creationId="{DE6A3806-F81D-CE48-9BCC-4E4FBEE12009}"/>
          </ac:graphicFrameMkLst>
        </pc:graphicFrameChg>
        <pc:cxnChg chg="mod">
          <ac:chgData name="Nick Robinson" userId="d0c2b313-4ae0-4040-8c6a-fec7a720a7b5" providerId="ADAL" clId="{190131DE-6250-C84F-B491-721E6CF30BCB}" dt="2021-12-22T20:42:49.482" v="30288" actId="208"/>
          <ac:cxnSpMkLst>
            <pc:docMk/>
            <pc:sldMk cId="3646163975" sldId="2145708082"/>
            <ac:cxnSpMk id="23" creationId="{92A27FD9-4B11-5648-9C0D-1F7F671E147A}"/>
          </ac:cxnSpMkLst>
        </pc:cxnChg>
        <pc:cxnChg chg="mod">
          <ac:chgData name="Nick Robinson" userId="d0c2b313-4ae0-4040-8c6a-fec7a720a7b5" providerId="ADAL" clId="{190131DE-6250-C84F-B491-721E6CF30BCB}" dt="2021-12-22T20:42:49.482" v="30288" actId="208"/>
          <ac:cxnSpMkLst>
            <pc:docMk/>
            <pc:sldMk cId="3646163975" sldId="2145708082"/>
            <ac:cxnSpMk id="25" creationId="{79E2B728-364B-D748-840F-6001E6EFDFA8}"/>
          </ac:cxnSpMkLst>
        </pc:cxnChg>
      </pc:sldChg>
      <pc:sldChg chg="addSp modSp add mod modNotesTx">
        <pc:chgData name="Nick Robinson" userId="d0c2b313-4ae0-4040-8c6a-fec7a720a7b5" providerId="ADAL" clId="{190131DE-6250-C84F-B491-721E6CF30BCB}" dt="2021-12-23T10:18:57.603" v="41618" actId="20577"/>
        <pc:sldMkLst>
          <pc:docMk/>
          <pc:sldMk cId="111806695" sldId="2145708083"/>
        </pc:sldMkLst>
        <pc:spChg chg="mod">
          <ac:chgData name="Nick Robinson" userId="d0c2b313-4ae0-4040-8c6a-fec7a720a7b5" providerId="ADAL" clId="{190131DE-6250-C84F-B491-721E6CF30BCB}" dt="2021-12-22T16:41:41.099" v="28019" actId="20577"/>
          <ac:spMkLst>
            <pc:docMk/>
            <pc:sldMk cId="111806695" sldId="2145708083"/>
            <ac:spMk id="3" creationId="{0A22AF2B-CD1C-8742-ABF2-F47A44879B64}"/>
          </ac:spMkLst>
        </pc:spChg>
        <pc:spChg chg="mod">
          <ac:chgData name="Nick Robinson" userId="d0c2b313-4ae0-4040-8c6a-fec7a720a7b5" providerId="ADAL" clId="{190131DE-6250-C84F-B491-721E6CF30BCB}" dt="2021-12-23T10:18:57.603" v="41618" actId="20577"/>
          <ac:spMkLst>
            <pc:docMk/>
            <pc:sldMk cId="111806695" sldId="2145708083"/>
            <ac:spMk id="36" creationId="{F0613AF4-B5CC-A042-A76D-31B970DEDD1C}"/>
          </ac:spMkLst>
        </pc:spChg>
        <pc:graphicFrameChg chg="add mod">
          <ac:chgData name="Nick Robinson" userId="d0c2b313-4ae0-4040-8c6a-fec7a720a7b5" providerId="ADAL" clId="{190131DE-6250-C84F-B491-721E6CF30BCB}" dt="2021-12-17T11:26:40.320" v="7128"/>
          <ac:graphicFrameMkLst>
            <pc:docMk/>
            <pc:sldMk cId="111806695" sldId="2145708083"/>
            <ac:graphicFrameMk id="16" creationId="{2F5FFB69-B118-5D47-8BE4-2AFDA670B99A}"/>
          </ac:graphicFrameMkLst>
        </pc:graphicFrameChg>
        <pc:cxnChg chg="mod">
          <ac:chgData name="Nick Robinson" userId="d0c2b313-4ae0-4040-8c6a-fec7a720a7b5" providerId="ADAL" clId="{190131DE-6250-C84F-B491-721E6CF30BCB}" dt="2021-12-22T20:43:00.983" v="30289" actId="208"/>
          <ac:cxnSpMkLst>
            <pc:docMk/>
            <pc:sldMk cId="111806695" sldId="2145708083"/>
            <ac:cxnSpMk id="44" creationId="{0CBE68EF-8C37-444F-9ACF-F60BB8DD6EB2}"/>
          </ac:cxnSpMkLst>
        </pc:cxnChg>
        <pc:cxnChg chg="mod">
          <ac:chgData name="Nick Robinson" userId="d0c2b313-4ae0-4040-8c6a-fec7a720a7b5" providerId="ADAL" clId="{190131DE-6250-C84F-B491-721E6CF30BCB}" dt="2021-12-22T20:43:00.983" v="30289" actId="208"/>
          <ac:cxnSpMkLst>
            <pc:docMk/>
            <pc:sldMk cId="111806695" sldId="2145708083"/>
            <ac:cxnSpMk id="46" creationId="{FD48E642-115E-8748-97E3-DD8E4689B409}"/>
          </ac:cxnSpMkLst>
        </pc:cxnChg>
      </pc:sldChg>
      <pc:sldChg chg="addSp modSp add">
        <pc:chgData name="Nick Robinson" userId="d0c2b313-4ae0-4040-8c6a-fec7a720a7b5" providerId="ADAL" clId="{190131DE-6250-C84F-B491-721E6CF30BCB}" dt="2021-12-17T11:26:44.259" v="7130"/>
        <pc:sldMkLst>
          <pc:docMk/>
          <pc:sldMk cId="1873776421" sldId="2145708084"/>
        </pc:sldMkLst>
        <pc:graphicFrameChg chg="add mod">
          <ac:chgData name="Nick Robinson" userId="d0c2b313-4ae0-4040-8c6a-fec7a720a7b5" providerId="ADAL" clId="{190131DE-6250-C84F-B491-721E6CF30BCB}" dt="2021-12-17T11:26:44.259" v="7130"/>
          <ac:graphicFrameMkLst>
            <pc:docMk/>
            <pc:sldMk cId="1873776421" sldId="2145708084"/>
            <ac:graphicFrameMk id="87" creationId="{7E0A017E-897A-B14F-980C-4919BDC84066}"/>
          </ac:graphicFrameMkLst>
        </pc:graphicFrameChg>
      </pc:sldChg>
      <pc:sldChg chg="addSp modSp add del mod">
        <pc:chgData name="Nick Robinson" userId="d0c2b313-4ae0-4040-8c6a-fec7a720a7b5" providerId="ADAL" clId="{190131DE-6250-C84F-B491-721E6CF30BCB}" dt="2021-12-21T09:05:19.458" v="20533" actId="2696"/>
        <pc:sldMkLst>
          <pc:docMk/>
          <pc:sldMk cId="4151786411" sldId="2145708085"/>
        </pc:sldMkLst>
        <pc:graphicFrameChg chg="add mod">
          <ac:chgData name="Nick Robinson" userId="d0c2b313-4ae0-4040-8c6a-fec7a720a7b5" providerId="ADAL" clId="{190131DE-6250-C84F-B491-721E6CF30BCB}" dt="2021-12-17T11:27:22.854" v="7225"/>
          <ac:graphicFrameMkLst>
            <pc:docMk/>
            <pc:sldMk cId="4151786411" sldId="2145708085"/>
            <ac:graphicFrameMk id="6" creationId="{31A3F8E5-1C15-E44C-B2FF-0864CF4F41DF}"/>
          </ac:graphicFrameMkLst>
        </pc:graphicFrameChg>
        <pc:graphicFrameChg chg="modGraphic">
          <ac:chgData name="Nick Robinson" userId="d0c2b313-4ae0-4040-8c6a-fec7a720a7b5" providerId="ADAL" clId="{190131DE-6250-C84F-B491-721E6CF30BCB}" dt="2021-12-20T11:46:45.627" v="16698" actId="207"/>
          <ac:graphicFrameMkLst>
            <pc:docMk/>
            <pc:sldMk cId="4151786411" sldId="2145708085"/>
            <ac:graphicFrameMk id="7" creationId="{B0021113-E356-744D-9441-B64074BD5786}"/>
          </ac:graphicFrameMkLst>
        </pc:graphicFrameChg>
      </pc:sldChg>
      <pc:sldChg chg="addSp delSp modSp add mod">
        <pc:chgData name="Nick Robinson" userId="d0c2b313-4ae0-4040-8c6a-fec7a720a7b5" providerId="ADAL" clId="{190131DE-6250-C84F-B491-721E6CF30BCB}" dt="2021-12-23T08:21:53.256" v="37155" actId="1076"/>
        <pc:sldMkLst>
          <pc:docMk/>
          <pc:sldMk cId="1705789746" sldId="2145708086"/>
        </pc:sldMkLst>
        <pc:spChg chg="del mod">
          <ac:chgData name="Nick Robinson" userId="d0c2b313-4ae0-4040-8c6a-fec7a720a7b5" providerId="ADAL" clId="{190131DE-6250-C84F-B491-721E6CF30BCB}" dt="2021-12-23T08:21:48.655" v="37152" actId="478"/>
          <ac:spMkLst>
            <pc:docMk/>
            <pc:sldMk cId="1705789746" sldId="2145708086"/>
            <ac:spMk id="6" creationId="{F65844A6-5F54-4C46-B85E-DB6320A21D10}"/>
          </ac:spMkLst>
        </pc:spChg>
        <pc:spChg chg="add mod">
          <ac:chgData name="Nick Robinson" userId="d0c2b313-4ae0-4040-8c6a-fec7a720a7b5" providerId="ADAL" clId="{190131DE-6250-C84F-B491-721E6CF30BCB}" dt="2021-12-21T08:51:39.894" v="20357"/>
          <ac:spMkLst>
            <pc:docMk/>
            <pc:sldMk cId="1705789746" sldId="2145708086"/>
            <ac:spMk id="9" creationId="{945080C0-5942-4041-B3E6-FDFEEC398F73}"/>
          </ac:spMkLst>
        </pc:spChg>
        <pc:spChg chg="add mod">
          <ac:chgData name="Nick Robinson" userId="d0c2b313-4ae0-4040-8c6a-fec7a720a7b5" providerId="ADAL" clId="{190131DE-6250-C84F-B491-721E6CF30BCB}" dt="2021-12-21T08:51:39.894" v="20357"/>
          <ac:spMkLst>
            <pc:docMk/>
            <pc:sldMk cId="1705789746" sldId="2145708086"/>
            <ac:spMk id="10" creationId="{5068027D-2BC3-7C47-919D-9AEE6B304F2D}"/>
          </ac:spMkLst>
        </pc:spChg>
        <pc:spChg chg="add mod">
          <ac:chgData name="Nick Robinson" userId="d0c2b313-4ae0-4040-8c6a-fec7a720a7b5" providerId="ADAL" clId="{190131DE-6250-C84F-B491-721E6CF30BCB}" dt="2021-12-23T08:21:48.935" v="37153"/>
          <ac:spMkLst>
            <pc:docMk/>
            <pc:sldMk cId="1705789746" sldId="2145708086"/>
            <ac:spMk id="11" creationId="{7136B0C3-021F-3345-BDC4-7F008A951B67}"/>
          </ac:spMkLst>
        </pc:spChg>
        <pc:spChg chg="del">
          <ac:chgData name="Nick Robinson" userId="d0c2b313-4ae0-4040-8c6a-fec7a720a7b5" providerId="ADAL" clId="{190131DE-6250-C84F-B491-721E6CF30BCB}" dt="2021-12-21T08:51:30.512" v="20356" actId="478"/>
          <ac:spMkLst>
            <pc:docMk/>
            <pc:sldMk cId="1705789746" sldId="2145708086"/>
            <ac:spMk id="12" creationId="{0C5074E7-FDDC-4C4A-BC5C-6D347FD8F837}"/>
          </ac:spMkLst>
        </pc:spChg>
        <pc:graphicFrameChg chg="mod modGraphic">
          <ac:chgData name="Nick Robinson" userId="d0c2b313-4ae0-4040-8c6a-fec7a720a7b5" providerId="ADAL" clId="{190131DE-6250-C84F-B491-721E6CF30BCB}" dt="2021-12-23T08:21:53.256" v="37155" actId="1076"/>
          <ac:graphicFrameMkLst>
            <pc:docMk/>
            <pc:sldMk cId="1705789746" sldId="2145708086"/>
            <ac:graphicFrameMk id="7" creationId="{B0021113-E356-744D-9441-B64074BD5786}"/>
          </ac:graphicFrameMkLst>
        </pc:graphicFrameChg>
        <pc:graphicFrameChg chg="add mod">
          <ac:chgData name="Nick Robinson" userId="d0c2b313-4ae0-4040-8c6a-fec7a720a7b5" providerId="ADAL" clId="{190131DE-6250-C84F-B491-721E6CF30BCB}" dt="2021-12-17T11:27:24.898" v="7226"/>
          <ac:graphicFrameMkLst>
            <pc:docMk/>
            <pc:sldMk cId="1705789746" sldId="2145708086"/>
            <ac:graphicFrameMk id="8" creationId="{7D01DB08-0E4C-B545-AAAB-75C10C54BF52}"/>
          </ac:graphicFrameMkLst>
        </pc:graphicFrameChg>
      </pc:sldChg>
      <pc:sldChg chg="addSp delSp modSp add del mod">
        <pc:chgData name="Nick Robinson" userId="d0c2b313-4ae0-4040-8c6a-fec7a720a7b5" providerId="ADAL" clId="{190131DE-6250-C84F-B491-721E6CF30BCB}" dt="2021-12-20T09:22:10.626" v="11430" actId="2696"/>
        <pc:sldMkLst>
          <pc:docMk/>
          <pc:sldMk cId="2118443367" sldId="2145708087"/>
        </pc:sldMkLst>
        <pc:spChg chg="mod">
          <ac:chgData name="Nick Robinson" userId="d0c2b313-4ae0-4040-8c6a-fec7a720a7b5" providerId="ADAL" clId="{190131DE-6250-C84F-B491-721E6CF30BCB}" dt="2021-12-17T11:28:40.287" v="7262" actId="20577"/>
          <ac:spMkLst>
            <pc:docMk/>
            <pc:sldMk cId="2118443367" sldId="2145708087"/>
            <ac:spMk id="7" creationId="{057581C4-CC99-2A46-AE18-D0CBC020606C}"/>
          </ac:spMkLst>
        </pc:spChg>
        <pc:spChg chg="add del">
          <ac:chgData name="Nick Robinson" userId="d0c2b313-4ae0-4040-8c6a-fec7a720a7b5" providerId="ADAL" clId="{190131DE-6250-C84F-B491-721E6CF30BCB}" dt="2021-12-17T11:28:52.785" v="7267" actId="22"/>
          <ac:spMkLst>
            <pc:docMk/>
            <pc:sldMk cId="2118443367" sldId="2145708087"/>
            <ac:spMk id="8" creationId="{650E4A7A-DA7B-FB41-BCE9-91BC53B5CB4B}"/>
          </ac:spMkLst>
        </pc:spChg>
        <pc:spChg chg="add mod">
          <ac:chgData name="Nick Robinson" userId="d0c2b313-4ae0-4040-8c6a-fec7a720a7b5" providerId="ADAL" clId="{190131DE-6250-C84F-B491-721E6CF30BCB}" dt="2021-12-17T11:28:58.651" v="7273"/>
          <ac:spMkLst>
            <pc:docMk/>
            <pc:sldMk cId="2118443367" sldId="2145708087"/>
            <ac:spMk id="9" creationId="{3B89F851-DBA3-4A44-A445-FEEA12A01C7D}"/>
          </ac:spMkLst>
        </pc:spChg>
        <pc:graphicFrameChg chg="modGraphic">
          <ac:chgData name="Nick Robinson" userId="d0c2b313-4ae0-4040-8c6a-fec7a720a7b5" providerId="ADAL" clId="{190131DE-6250-C84F-B491-721E6CF30BCB}" dt="2021-12-17T16:43:35.870" v="11333" actId="14100"/>
          <ac:graphicFrameMkLst>
            <pc:docMk/>
            <pc:sldMk cId="2118443367" sldId="2145708087"/>
            <ac:graphicFrameMk id="55" creationId="{DE2B84C5-7A6C-8C4C-88F4-3FD3E343B352}"/>
          </ac:graphicFrameMkLst>
        </pc:graphicFrameChg>
      </pc:sldChg>
      <pc:sldChg chg="add del">
        <pc:chgData name="Nick Robinson" userId="d0c2b313-4ae0-4040-8c6a-fec7a720a7b5" providerId="ADAL" clId="{190131DE-6250-C84F-B491-721E6CF30BCB}" dt="2021-12-16T10:27:55.921" v="4280" actId="2696"/>
        <pc:sldMkLst>
          <pc:docMk/>
          <pc:sldMk cId="941192465" sldId="2145708113"/>
        </pc:sldMkLst>
      </pc:sldChg>
      <pc:sldChg chg="addSp delSp modSp del mod ord">
        <pc:chgData name="Nick Robinson" userId="d0c2b313-4ae0-4040-8c6a-fec7a720a7b5" providerId="ADAL" clId="{190131DE-6250-C84F-B491-721E6CF30BCB}" dt="2021-12-17T14:02:49.317" v="7834" actId="2696"/>
        <pc:sldMkLst>
          <pc:docMk/>
          <pc:sldMk cId="2790482894" sldId="2147374152"/>
        </pc:sldMkLst>
        <pc:spChg chg="add mod">
          <ac:chgData name="Nick Robinson" userId="d0c2b313-4ae0-4040-8c6a-fec7a720a7b5" providerId="ADAL" clId="{190131DE-6250-C84F-B491-721E6CF30BCB}" dt="2021-12-17T13:51:33.212" v="7815" actId="1076"/>
          <ac:spMkLst>
            <pc:docMk/>
            <pc:sldMk cId="2790482894" sldId="2147374152"/>
            <ac:spMk id="24" creationId="{4AA42F86-70BA-E64D-8A2D-DF93D6B73C48}"/>
          </ac:spMkLst>
        </pc:spChg>
        <pc:spChg chg="add mod">
          <ac:chgData name="Nick Robinson" userId="d0c2b313-4ae0-4040-8c6a-fec7a720a7b5" providerId="ADAL" clId="{190131DE-6250-C84F-B491-721E6CF30BCB}" dt="2021-12-17T13:51:33.212" v="7815" actId="1076"/>
          <ac:spMkLst>
            <pc:docMk/>
            <pc:sldMk cId="2790482894" sldId="2147374152"/>
            <ac:spMk id="25" creationId="{C04E2010-318B-A34A-9D09-65CD1DB5946C}"/>
          </ac:spMkLst>
        </pc:spChg>
        <pc:spChg chg="add mod">
          <ac:chgData name="Nick Robinson" userId="d0c2b313-4ae0-4040-8c6a-fec7a720a7b5" providerId="ADAL" clId="{190131DE-6250-C84F-B491-721E6CF30BCB}" dt="2021-12-17T13:51:33.212" v="7815" actId="1076"/>
          <ac:spMkLst>
            <pc:docMk/>
            <pc:sldMk cId="2790482894" sldId="2147374152"/>
            <ac:spMk id="26" creationId="{D95772AD-688A-294C-8E30-F5BF2EB0AC64}"/>
          </ac:spMkLst>
        </pc:spChg>
        <pc:spChg chg="del mod">
          <ac:chgData name="Nick Robinson" userId="d0c2b313-4ae0-4040-8c6a-fec7a720a7b5" providerId="ADAL" clId="{190131DE-6250-C84F-B491-721E6CF30BCB}" dt="2021-12-17T13:54:28.571" v="7820" actId="478"/>
          <ac:spMkLst>
            <pc:docMk/>
            <pc:sldMk cId="2790482894" sldId="2147374152"/>
            <ac:spMk id="27" creationId="{4EFAD1A4-9034-8448-A693-CCB4220B8B5E}"/>
          </ac:spMkLst>
        </pc:spChg>
        <pc:spChg chg="del">
          <ac:chgData name="Nick Robinson" userId="d0c2b313-4ae0-4040-8c6a-fec7a720a7b5" providerId="ADAL" clId="{190131DE-6250-C84F-B491-721E6CF30BCB}" dt="2021-12-17T13:40:41.509" v="7807" actId="478"/>
          <ac:spMkLst>
            <pc:docMk/>
            <pc:sldMk cId="2790482894" sldId="2147374152"/>
            <ac:spMk id="28" creationId="{EB83BA76-F5D6-F94D-95C7-D729B2EF3A13}"/>
          </ac:spMkLst>
        </pc:spChg>
        <pc:spChg chg="add mod">
          <ac:chgData name="Nick Robinson" userId="d0c2b313-4ae0-4040-8c6a-fec7a720a7b5" providerId="ADAL" clId="{190131DE-6250-C84F-B491-721E6CF30BCB}" dt="2021-12-17T13:51:33.212" v="7815" actId="1076"/>
          <ac:spMkLst>
            <pc:docMk/>
            <pc:sldMk cId="2790482894" sldId="2147374152"/>
            <ac:spMk id="30" creationId="{E0B907E1-BFFD-FD46-BCFA-AD45D8635A38}"/>
          </ac:spMkLst>
        </pc:spChg>
        <pc:spChg chg="add mod">
          <ac:chgData name="Nick Robinson" userId="d0c2b313-4ae0-4040-8c6a-fec7a720a7b5" providerId="ADAL" clId="{190131DE-6250-C84F-B491-721E6CF30BCB}" dt="2021-12-17T13:51:33.212" v="7815" actId="1076"/>
          <ac:spMkLst>
            <pc:docMk/>
            <pc:sldMk cId="2790482894" sldId="2147374152"/>
            <ac:spMk id="31" creationId="{FDD4D862-B17D-6849-9875-936EFD843EFC}"/>
          </ac:spMkLst>
        </pc:spChg>
        <pc:spChg chg="del">
          <ac:chgData name="Nick Robinson" userId="d0c2b313-4ae0-4040-8c6a-fec7a720a7b5" providerId="ADAL" clId="{190131DE-6250-C84F-B491-721E6CF30BCB}" dt="2021-12-17T13:40:41.509" v="7807" actId="478"/>
          <ac:spMkLst>
            <pc:docMk/>
            <pc:sldMk cId="2790482894" sldId="2147374152"/>
            <ac:spMk id="32" creationId="{4ECFF3F3-C2A1-4942-B5EC-E2802E4A8844}"/>
          </ac:spMkLst>
        </pc:spChg>
        <pc:spChg chg="add mod">
          <ac:chgData name="Nick Robinson" userId="d0c2b313-4ae0-4040-8c6a-fec7a720a7b5" providerId="ADAL" clId="{190131DE-6250-C84F-B491-721E6CF30BCB}" dt="2021-12-17T13:51:33.212" v="7815" actId="1076"/>
          <ac:spMkLst>
            <pc:docMk/>
            <pc:sldMk cId="2790482894" sldId="2147374152"/>
            <ac:spMk id="33" creationId="{3D6CB72E-0D13-574C-951A-C57D5380C06F}"/>
          </ac:spMkLst>
        </pc:spChg>
        <pc:spChg chg="add mod">
          <ac:chgData name="Nick Robinson" userId="d0c2b313-4ae0-4040-8c6a-fec7a720a7b5" providerId="ADAL" clId="{190131DE-6250-C84F-B491-721E6CF30BCB}" dt="2021-12-17T14:02:36.206" v="7833" actId="20577"/>
          <ac:spMkLst>
            <pc:docMk/>
            <pc:sldMk cId="2790482894" sldId="2147374152"/>
            <ac:spMk id="34" creationId="{FFE8D7D1-0653-1E45-9BE0-42C10BD061B0}"/>
          </ac:spMkLst>
        </pc:spChg>
        <pc:spChg chg="del">
          <ac:chgData name="Nick Robinson" userId="d0c2b313-4ae0-4040-8c6a-fec7a720a7b5" providerId="ADAL" clId="{190131DE-6250-C84F-B491-721E6CF30BCB}" dt="2021-12-17T13:40:41.509" v="7807" actId="478"/>
          <ac:spMkLst>
            <pc:docMk/>
            <pc:sldMk cId="2790482894" sldId="2147374152"/>
            <ac:spMk id="47" creationId="{D9C929F6-41CE-AB46-A900-A92451DD1F9A}"/>
          </ac:spMkLst>
        </pc:spChg>
        <pc:spChg chg="del">
          <ac:chgData name="Nick Robinson" userId="d0c2b313-4ae0-4040-8c6a-fec7a720a7b5" providerId="ADAL" clId="{190131DE-6250-C84F-B491-721E6CF30BCB}" dt="2021-12-17T13:40:41.509" v="7807" actId="478"/>
          <ac:spMkLst>
            <pc:docMk/>
            <pc:sldMk cId="2790482894" sldId="2147374152"/>
            <ac:spMk id="50" creationId="{12410B54-5493-0A4C-BA4B-0FB4FF08FF7E}"/>
          </ac:spMkLst>
        </pc:spChg>
        <pc:spChg chg="del">
          <ac:chgData name="Nick Robinson" userId="d0c2b313-4ae0-4040-8c6a-fec7a720a7b5" providerId="ADAL" clId="{190131DE-6250-C84F-B491-721E6CF30BCB}" dt="2021-12-17T13:40:41.509" v="7807" actId="478"/>
          <ac:spMkLst>
            <pc:docMk/>
            <pc:sldMk cId="2790482894" sldId="2147374152"/>
            <ac:spMk id="57" creationId="{0919CAE7-9390-254E-80AE-675091A2E6BF}"/>
          </ac:spMkLst>
        </pc:spChg>
        <pc:spChg chg="del">
          <ac:chgData name="Nick Robinson" userId="d0c2b313-4ae0-4040-8c6a-fec7a720a7b5" providerId="ADAL" clId="{190131DE-6250-C84F-B491-721E6CF30BCB}" dt="2021-12-17T13:40:41.509" v="7807" actId="478"/>
          <ac:spMkLst>
            <pc:docMk/>
            <pc:sldMk cId="2790482894" sldId="2147374152"/>
            <ac:spMk id="85" creationId="{BF87E107-9B05-AD4A-BF17-CE66A1FC31B2}"/>
          </ac:spMkLst>
        </pc:spChg>
        <pc:spChg chg="del">
          <ac:chgData name="Nick Robinson" userId="d0c2b313-4ae0-4040-8c6a-fec7a720a7b5" providerId="ADAL" clId="{190131DE-6250-C84F-B491-721E6CF30BCB}" dt="2021-12-17T13:40:41.509" v="7807" actId="478"/>
          <ac:spMkLst>
            <pc:docMk/>
            <pc:sldMk cId="2790482894" sldId="2147374152"/>
            <ac:spMk id="86" creationId="{D8828E80-B7D3-474D-A9F2-7711BEA3B95E}"/>
          </ac:spMkLst>
        </pc:spChg>
        <pc:spChg chg="del">
          <ac:chgData name="Nick Robinson" userId="d0c2b313-4ae0-4040-8c6a-fec7a720a7b5" providerId="ADAL" clId="{190131DE-6250-C84F-B491-721E6CF30BCB}" dt="2021-12-17T13:40:41.509" v="7807" actId="478"/>
          <ac:spMkLst>
            <pc:docMk/>
            <pc:sldMk cId="2790482894" sldId="2147374152"/>
            <ac:spMk id="87" creationId="{8A070B73-B7B2-C647-9C66-B06000225C2C}"/>
          </ac:spMkLst>
        </pc:spChg>
        <pc:spChg chg="del">
          <ac:chgData name="Nick Robinson" userId="d0c2b313-4ae0-4040-8c6a-fec7a720a7b5" providerId="ADAL" clId="{190131DE-6250-C84F-B491-721E6CF30BCB}" dt="2021-12-17T13:40:41.509" v="7807" actId="478"/>
          <ac:spMkLst>
            <pc:docMk/>
            <pc:sldMk cId="2790482894" sldId="2147374152"/>
            <ac:spMk id="88" creationId="{6E5EE1D9-A36C-5243-813A-6134380E8776}"/>
          </ac:spMkLst>
        </pc:spChg>
        <pc:graphicFrameChg chg="add del">
          <ac:chgData name="Nick Robinson" userId="d0c2b313-4ae0-4040-8c6a-fec7a720a7b5" providerId="ADAL" clId="{190131DE-6250-C84F-B491-721E6CF30BCB}" dt="2021-12-17T13:40:35.893" v="7805"/>
          <ac:graphicFrameMkLst>
            <pc:docMk/>
            <pc:sldMk cId="2790482894" sldId="2147374152"/>
            <ac:graphicFrameMk id="6" creationId="{77B8750B-900A-514F-9644-0B5A9D7468DE}"/>
          </ac:graphicFrameMkLst>
        </pc:graphicFrameChg>
        <pc:graphicFrameChg chg="add del mod">
          <ac:chgData name="Nick Robinson" userId="d0c2b313-4ae0-4040-8c6a-fec7a720a7b5" providerId="ADAL" clId="{190131DE-6250-C84F-B491-721E6CF30BCB}" dt="2021-12-17T11:34:51.482" v="7327" actId="478"/>
          <ac:graphicFrameMkLst>
            <pc:docMk/>
            <pc:sldMk cId="2790482894" sldId="2147374152"/>
            <ac:graphicFrameMk id="21" creationId="{6B3DD802-67A8-8A4A-A5BA-5D98BC48CB59}"/>
          </ac:graphicFrameMkLst>
        </pc:graphicFrameChg>
        <pc:graphicFrameChg chg="add mod">
          <ac:chgData name="Nick Robinson" userId="d0c2b313-4ae0-4040-8c6a-fec7a720a7b5" providerId="ADAL" clId="{190131DE-6250-C84F-B491-721E6CF30BCB}" dt="2021-12-17T11:34:51.733" v="7328"/>
          <ac:graphicFrameMkLst>
            <pc:docMk/>
            <pc:sldMk cId="2790482894" sldId="2147374152"/>
            <ac:graphicFrameMk id="22" creationId="{F49BE803-D0CE-E645-BDFC-6EB9FDBDA6A4}"/>
          </ac:graphicFrameMkLst>
        </pc:graphicFrameChg>
        <pc:cxnChg chg="del">
          <ac:chgData name="Nick Robinson" userId="d0c2b313-4ae0-4040-8c6a-fec7a720a7b5" providerId="ADAL" clId="{190131DE-6250-C84F-B491-721E6CF30BCB}" dt="2021-12-17T13:40:41.509" v="7807" actId="478"/>
          <ac:cxnSpMkLst>
            <pc:docMk/>
            <pc:sldMk cId="2790482894" sldId="2147374152"/>
            <ac:cxnSpMk id="29" creationId="{614F206B-05A2-7C4C-95E4-28B2D9B67F64}"/>
          </ac:cxnSpMkLst>
        </pc:cxnChg>
        <pc:cxnChg chg="del">
          <ac:chgData name="Nick Robinson" userId="d0c2b313-4ae0-4040-8c6a-fec7a720a7b5" providerId="ADAL" clId="{190131DE-6250-C84F-B491-721E6CF30BCB}" dt="2021-12-17T13:40:41.509" v="7807" actId="478"/>
          <ac:cxnSpMkLst>
            <pc:docMk/>
            <pc:sldMk cId="2790482894" sldId="2147374152"/>
            <ac:cxnSpMk id="49" creationId="{A4BF11B4-33E8-454C-A303-97C800C77196}"/>
          </ac:cxnSpMkLst>
        </pc:cxnChg>
        <pc:cxnChg chg="del">
          <ac:chgData name="Nick Robinson" userId="d0c2b313-4ae0-4040-8c6a-fec7a720a7b5" providerId="ADAL" clId="{190131DE-6250-C84F-B491-721E6CF30BCB}" dt="2021-12-17T13:40:41.509" v="7807" actId="478"/>
          <ac:cxnSpMkLst>
            <pc:docMk/>
            <pc:sldMk cId="2790482894" sldId="2147374152"/>
            <ac:cxnSpMk id="54" creationId="{DC5FEB28-39F0-B54D-84E0-A0836B2DE034}"/>
          </ac:cxnSpMkLst>
        </pc:cxnChg>
        <pc:cxnChg chg="del">
          <ac:chgData name="Nick Robinson" userId="d0c2b313-4ae0-4040-8c6a-fec7a720a7b5" providerId="ADAL" clId="{190131DE-6250-C84F-B491-721E6CF30BCB}" dt="2021-12-17T13:40:41.509" v="7807" actId="478"/>
          <ac:cxnSpMkLst>
            <pc:docMk/>
            <pc:sldMk cId="2790482894" sldId="2147374152"/>
            <ac:cxnSpMk id="92" creationId="{00CA843C-C4EA-3B42-B2ED-5312039E36F4}"/>
          </ac:cxnSpMkLst>
        </pc:cxnChg>
        <pc:cxnChg chg="del">
          <ac:chgData name="Nick Robinson" userId="d0c2b313-4ae0-4040-8c6a-fec7a720a7b5" providerId="ADAL" clId="{190131DE-6250-C84F-B491-721E6CF30BCB}" dt="2021-12-17T13:40:41.509" v="7807" actId="478"/>
          <ac:cxnSpMkLst>
            <pc:docMk/>
            <pc:sldMk cId="2790482894" sldId="2147374152"/>
            <ac:cxnSpMk id="116" creationId="{4D2CA61E-2902-1E42-A28E-AE2EA3E140D1}"/>
          </ac:cxnSpMkLst>
        </pc:cxnChg>
      </pc:sldChg>
      <pc:sldChg chg="del">
        <pc:chgData name="Nick Robinson" userId="d0c2b313-4ae0-4040-8c6a-fec7a720a7b5" providerId="ADAL" clId="{190131DE-6250-C84F-B491-721E6CF30BCB}" dt="2021-12-17T11:34:01.736" v="7320" actId="2696"/>
        <pc:sldMkLst>
          <pc:docMk/>
          <pc:sldMk cId="3253188942" sldId="2147374153"/>
        </pc:sldMkLst>
      </pc:sldChg>
      <pc:sldChg chg="del">
        <pc:chgData name="Nick Robinson" userId="d0c2b313-4ae0-4040-8c6a-fec7a720a7b5" providerId="ADAL" clId="{190131DE-6250-C84F-B491-721E6CF30BCB}" dt="2021-12-17T11:34:06.385" v="7321" actId="2696"/>
        <pc:sldMkLst>
          <pc:docMk/>
          <pc:sldMk cId="1845029812" sldId="2147374154"/>
        </pc:sldMkLst>
      </pc:sldChg>
      <pc:sldChg chg="addSp modSp del ord">
        <pc:chgData name="Nick Robinson" userId="d0c2b313-4ae0-4040-8c6a-fec7a720a7b5" providerId="ADAL" clId="{190131DE-6250-C84F-B491-721E6CF30BCB}" dt="2021-12-23T11:18:28.519" v="42307" actId="2696"/>
        <pc:sldMkLst>
          <pc:docMk/>
          <pc:sldMk cId="3067175084" sldId="2147374155"/>
        </pc:sldMkLst>
        <pc:graphicFrameChg chg="add mod">
          <ac:chgData name="Nick Robinson" userId="d0c2b313-4ae0-4040-8c6a-fec7a720a7b5" providerId="ADAL" clId="{190131DE-6250-C84F-B491-721E6CF30BCB}" dt="2021-12-17T11:34:56.044" v="7329"/>
          <ac:graphicFrameMkLst>
            <pc:docMk/>
            <pc:sldMk cId="3067175084" sldId="2147374155"/>
            <ac:graphicFrameMk id="22" creationId="{EBF9AF33-9646-6146-ADEB-C4298A35B9D4}"/>
          </ac:graphicFrameMkLst>
        </pc:graphicFrameChg>
      </pc:sldChg>
      <pc:sldChg chg="addSp delSp modSp del mod ord modShow addCm delCm modCm">
        <pc:chgData name="Nick Robinson" userId="d0c2b313-4ae0-4040-8c6a-fec7a720a7b5" providerId="ADAL" clId="{190131DE-6250-C84F-B491-721E6CF30BCB}" dt="2021-12-23T11:18:28.519" v="42307" actId="2696"/>
        <pc:sldMkLst>
          <pc:docMk/>
          <pc:sldMk cId="3525553709" sldId="2147374156"/>
        </pc:sldMkLst>
        <pc:spChg chg="mod">
          <ac:chgData name="Nick Robinson" userId="d0c2b313-4ae0-4040-8c6a-fec7a720a7b5" providerId="ADAL" clId="{190131DE-6250-C84F-B491-721E6CF30BCB}" dt="2021-12-21T11:38:26.445" v="22247" actId="6549"/>
          <ac:spMkLst>
            <pc:docMk/>
            <pc:sldMk cId="3525553709" sldId="2147374156"/>
            <ac:spMk id="2" creationId="{372E6F43-A3C7-8A42-8044-3C34712CC4DE}"/>
          </ac:spMkLst>
        </pc:spChg>
        <pc:spChg chg="del mod">
          <ac:chgData name="Nick Robinson" userId="d0c2b313-4ae0-4040-8c6a-fec7a720a7b5" providerId="ADAL" clId="{190131DE-6250-C84F-B491-721E6CF30BCB}" dt="2021-12-21T16:41:38.149" v="24450" actId="478"/>
          <ac:spMkLst>
            <pc:docMk/>
            <pc:sldMk cId="3525553709" sldId="2147374156"/>
            <ac:spMk id="3" creationId="{266C4A52-0FF5-2D4B-9B12-E199374BC9DD}"/>
          </ac:spMkLst>
        </pc:spChg>
        <pc:spChg chg="del">
          <ac:chgData name="Nick Robinson" userId="d0c2b313-4ae0-4040-8c6a-fec7a720a7b5" providerId="ADAL" clId="{190131DE-6250-C84F-B491-721E6CF30BCB}" dt="2021-12-21T11:38:40.679" v="22251" actId="478"/>
          <ac:spMkLst>
            <pc:docMk/>
            <pc:sldMk cId="3525553709" sldId="2147374156"/>
            <ac:spMk id="4" creationId="{CEF1AEE4-C47F-2A4C-A991-855D708E03B9}"/>
          </ac:spMkLst>
        </pc:spChg>
        <pc:spChg chg="add mod">
          <ac:chgData name="Nick Robinson" userId="d0c2b313-4ae0-4040-8c6a-fec7a720a7b5" providerId="ADAL" clId="{190131DE-6250-C84F-B491-721E6CF30BCB}" dt="2021-12-21T16:47:32.998" v="24459" actId="11"/>
          <ac:spMkLst>
            <pc:docMk/>
            <pc:sldMk cId="3525553709" sldId="2147374156"/>
            <ac:spMk id="11" creationId="{0C280681-602D-354E-A3CA-F765637A3477}"/>
          </ac:spMkLst>
        </pc:spChg>
        <pc:spChg chg="del">
          <ac:chgData name="Nick Robinson" userId="d0c2b313-4ae0-4040-8c6a-fec7a720a7b5" providerId="ADAL" clId="{190131DE-6250-C84F-B491-721E6CF30BCB}" dt="2021-12-21T11:38:33.472" v="22248" actId="478"/>
          <ac:spMkLst>
            <pc:docMk/>
            <pc:sldMk cId="3525553709" sldId="2147374156"/>
            <ac:spMk id="18" creationId="{4916077A-60E9-5B42-9F26-5471DB11FB89}"/>
          </ac:spMkLst>
        </pc:spChg>
        <pc:spChg chg="del">
          <ac:chgData name="Nick Robinson" userId="d0c2b313-4ae0-4040-8c6a-fec7a720a7b5" providerId="ADAL" clId="{190131DE-6250-C84F-B491-721E6CF30BCB}" dt="2021-12-21T11:38:35.557" v="22249" actId="478"/>
          <ac:spMkLst>
            <pc:docMk/>
            <pc:sldMk cId="3525553709" sldId="2147374156"/>
            <ac:spMk id="20" creationId="{4E8CE5CF-D32C-E24F-A35A-340AFB075B36}"/>
          </ac:spMkLst>
        </pc:spChg>
        <pc:spChg chg="del">
          <ac:chgData name="Nick Robinson" userId="d0c2b313-4ae0-4040-8c6a-fec7a720a7b5" providerId="ADAL" clId="{190131DE-6250-C84F-B491-721E6CF30BCB}" dt="2021-12-21T11:38:33.472" v="22248" actId="478"/>
          <ac:spMkLst>
            <pc:docMk/>
            <pc:sldMk cId="3525553709" sldId="2147374156"/>
            <ac:spMk id="21" creationId="{57A29E00-FE77-E640-A3E7-6EF353B77C88}"/>
          </ac:spMkLst>
        </pc:spChg>
        <pc:spChg chg="del">
          <ac:chgData name="Nick Robinson" userId="d0c2b313-4ae0-4040-8c6a-fec7a720a7b5" providerId="ADAL" clId="{190131DE-6250-C84F-B491-721E6CF30BCB}" dt="2021-12-21T11:38:33.472" v="22248" actId="478"/>
          <ac:spMkLst>
            <pc:docMk/>
            <pc:sldMk cId="3525553709" sldId="2147374156"/>
            <ac:spMk id="26" creationId="{52BC107D-7B71-F942-A59C-B017D0DE1F23}"/>
          </ac:spMkLst>
        </pc:spChg>
        <pc:spChg chg="add del mod">
          <ac:chgData name="Nick Robinson" userId="d0c2b313-4ae0-4040-8c6a-fec7a720a7b5" providerId="ADAL" clId="{190131DE-6250-C84F-B491-721E6CF30BCB}" dt="2021-12-21T16:29:35.848" v="24316" actId="478"/>
          <ac:spMkLst>
            <pc:docMk/>
            <pc:sldMk cId="3525553709" sldId="2147374156"/>
            <ac:spMk id="27" creationId="{CB8C7E1E-E793-FD48-90F7-01B0738A08DD}"/>
          </ac:spMkLst>
        </pc:spChg>
        <pc:spChg chg="add del mod">
          <ac:chgData name="Nick Robinson" userId="d0c2b313-4ae0-4040-8c6a-fec7a720a7b5" providerId="ADAL" clId="{190131DE-6250-C84F-B491-721E6CF30BCB}" dt="2021-12-21T11:38:21.816" v="22246" actId="478"/>
          <ac:spMkLst>
            <pc:docMk/>
            <pc:sldMk cId="3525553709" sldId="2147374156"/>
            <ac:spMk id="37" creationId="{02329496-9A22-D44F-A611-66E498DC48A6}"/>
          </ac:spMkLst>
        </pc:spChg>
        <pc:spChg chg="add mod">
          <ac:chgData name="Nick Robinson" userId="d0c2b313-4ae0-4040-8c6a-fec7a720a7b5" providerId="ADAL" clId="{190131DE-6250-C84F-B491-721E6CF30BCB}" dt="2021-12-21T11:39:12.919" v="22255" actId="2711"/>
          <ac:spMkLst>
            <pc:docMk/>
            <pc:sldMk cId="3525553709" sldId="2147374156"/>
            <ac:spMk id="39" creationId="{51C9481E-75D4-684A-A7C3-1DA8B6EDE3D7}"/>
          </ac:spMkLst>
        </pc:spChg>
        <pc:spChg chg="add del mod">
          <ac:chgData name="Nick Robinson" userId="d0c2b313-4ae0-4040-8c6a-fec7a720a7b5" providerId="ADAL" clId="{190131DE-6250-C84F-B491-721E6CF30BCB}" dt="2021-12-21T11:52:28.682" v="22532" actId="478"/>
          <ac:spMkLst>
            <pc:docMk/>
            <pc:sldMk cId="3525553709" sldId="2147374156"/>
            <ac:spMk id="43" creationId="{DD8299FE-0C44-A540-A6A4-C6CC072B5242}"/>
          </ac:spMkLst>
        </pc:spChg>
        <pc:spChg chg="del">
          <ac:chgData name="Nick Robinson" userId="d0c2b313-4ae0-4040-8c6a-fec7a720a7b5" providerId="ADAL" clId="{190131DE-6250-C84F-B491-721E6CF30BCB}" dt="2021-12-21T11:38:33.472" v="22248" actId="478"/>
          <ac:spMkLst>
            <pc:docMk/>
            <pc:sldMk cId="3525553709" sldId="2147374156"/>
            <ac:spMk id="48" creationId="{29532750-8842-5344-9162-3FDF372411E7}"/>
          </ac:spMkLst>
        </pc:spChg>
        <pc:spChg chg="add del mod">
          <ac:chgData name="Nick Robinson" userId="d0c2b313-4ae0-4040-8c6a-fec7a720a7b5" providerId="ADAL" clId="{190131DE-6250-C84F-B491-721E6CF30BCB}" dt="2021-12-21T11:40:59.350" v="22293" actId="478"/>
          <ac:spMkLst>
            <pc:docMk/>
            <pc:sldMk cId="3525553709" sldId="2147374156"/>
            <ac:spMk id="55" creationId="{26FD1B00-1151-B349-AAFF-458425F7D8DF}"/>
          </ac:spMkLst>
        </pc:spChg>
        <pc:spChg chg="add del mod">
          <ac:chgData name="Nick Robinson" userId="d0c2b313-4ae0-4040-8c6a-fec7a720a7b5" providerId="ADAL" clId="{190131DE-6250-C84F-B491-721E6CF30BCB}" dt="2021-12-21T16:41:38.149" v="24450" actId="478"/>
          <ac:spMkLst>
            <pc:docMk/>
            <pc:sldMk cId="3525553709" sldId="2147374156"/>
            <ac:spMk id="57" creationId="{7B478493-97AF-7649-82B5-318A553CA254}"/>
          </ac:spMkLst>
        </pc:spChg>
        <pc:spChg chg="add mod">
          <ac:chgData name="Nick Robinson" userId="d0c2b313-4ae0-4040-8c6a-fec7a720a7b5" providerId="ADAL" clId="{190131DE-6250-C84F-B491-721E6CF30BCB}" dt="2021-12-22T11:41:03.618" v="25194" actId="1036"/>
          <ac:spMkLst>
            <pc:docMk/>
            <pc:sldMk cId="3525553709" sldId="2147374156"/>
            <ac:spMk id="59" creationId="{A92588A9-9C33-FE40-B673-6F60A26989FF}"/>
          </ac:spMkLst>
        </pc:spChg>
        <pc:spChg chg="del">
          <ac:chgData name="Nick Robinson" userId="d0c2b313-4ae0-4040-8c6a-fec7a720a7b5" providerId="ADAL" clId="{190131DE-6250-C84F-B491-721E6CF30BCB}" dt="2021-12-21T11:38:38.008" v="22250" actId="478"/>
          <ac:spMkLst>
            <pc:docMk/>
            <pc:sldMk cId="3525553709" sldId="2147374156"/>
            <ac:spMk id="60" creationId="{1797CD6C-B388-7F4B-98E5-20CC8E3226B8}"/>
          </ac:spMkLst>
        </pc:spChg>
        <pc:spChg chg="add del mod">
          <ac:chgData name="Nick Robinson" userId="d0c2b313-4ae0-4040-8c6a-fec7a720a7b5" providerId="ADAL" clId="{190131DE-6250-C84F-B491-721E6CF30BCB}" dt="2021-12-21T16:41:38.149" v="24450" actId="478"/>
          <ac:spMkLst>
            <pc:docMk/>
            <pc:sldMk cId="3525553709" sldId="2147374156"/>
            <ac:spMk id="62" creationId="{14B63E0B-EAA7-6F4B-9CAF-C451D1A3C9A0}"/>
          </ac:spMkLst>
        </pc:spChg>
        <pc:spChg chg="del">
          <ac:chgData name="Nick Robinson" userId="d0c2b313-4ae0-4040-8c6a-fec7a720a7b5" providerId="ADAL" clId="{190131DE-6250-C84F-B491-721E6CF30BCB}" dt="2021-12-21T11:38:33.472" v="22248" actId="478"/>
          <ac:spMkLst>
            <pc:docMk/>
            <pc:sldMk cId="3525553709" sldId="2147374156"/>
            <ac:spMk id="64" creationId="{7C87FF8A-9CE4-664F-83A0-2D6953F7ED9C}"/>
          </ac:spMkLst>
        </pc:spChg>
        <pc:spChg chg="add mod">
          <ac:chgData name="Nick Robinson" userId="d0c2b313-4ae0-4040-8c6a-fec7a720a7b5" providerId="ADAL" clId="{190131DE-6250-C84F-B491-721E6CF30BCB}" dt="2021-12-21T12:05:12.926" v="22820" actId="1037"/>
          <ac:spMkLst>
            <pc:docMk/>
            <pc:sldMk cId="3525553709" sldId="2147374156"/>
            <ac:spMk id="69" creationId="{2818EF1A-52C9-BE47-A0AC-9A5437D2999C}"/>
          </ac:spMkLst>
        </pc:spChg>
        <pc:spChg chg="add del mod">
          <ac:chgData name="Nick Robinson" userId="d0c2b313-4ae0-4040-8c6a-fec7a720a7b5" providerId="ADAL" clId="{190131DE-6250-C84F-B491-721E6CF30BCB}" dt="2021-12-21T11:41:15.907" v="22298" actId="478"/>
          <ac:spMkLst>
            <pc:docMk/>
            <pc:sldMk cId="3525553709" sldId="2147374156"/>
            <ac:spMk id="70" creationId="{BD0BF3BC-7C6F-2E4F-A3CF-5926BA16B8DC}"/>
          </ac:spMkLst>
        </pc:spChg>
        <pc:spChg chg="add del mod">
          <ac:chgData name="Nick Robinson" userId="d0c2b313-4ae0-4040-8c6a-fec7a720a7b5" providerId="ADAL" clId="{190131DE-6250-C84F-B491-721E6CF30BCB}" dt="2021-12-21T11:41:15.907" v="22298" actId="478"/>
          <ac:spMkLst>
            <pc:docMk/>
            <pc:sldMk cId="3525553709" sldId="2147374156"/>
            <ac:spMk id="71" creationId="{E5E46DEC-CD3A-9741-9CDF-376602E28CE7}"/>
          </ac:spMkLst>
        </pc:spChg>
        <pc:spChg chg="add del mod">
          <ac:chgData name="Nick Robinson" userId="d0c2b313-4ae0-4040-8c6a-fec7a720a7b5" providerId="ADAL" clId="{190131DE-6250-C84F-B491-721E6CF30BCB}" dt="2021-12-21T11:41:15.907" v="22298" actId="478"/>
          <ac:spMkLst>
            <pc:docMk/>
            <pc:sldMk cId="3525553709" sldId="2147374156"/>
            <ac:spMk id="72" creationId="{7D174FAE-8E94-F749-93C9-8B3DE657ACDA}"/>
          </ac:spMkLst>
        </pc:spChg>
        <pc:spChg chg="add del mod">
          <ac:chgData name="Nick Robinson" userId="d0c2b313-4ae0-4040-8c6a-fec7a720a7b5" providerId="ADAL" clId="{190131DE-6250-C84F-B491-721E6CF30BCB}" dt="2021-12-21T11:41:15.907" v="22298" actId="478"/>
          <ac:spMkLst>
            <pc:docMk/>
            <pc:sldMk cId="3525553709" sldId="2147374156"/>
            <ac:spMk id="73" creationId="{884D4D69-77BC-A641-9F66-822A359599FC}"/>
          </ac:spMkLst>
        </pc:spChg>
        <pc:spChg chg="add del mod">
          <ac:chgData name="Nick Robinson" userId="d0c2b313-4ae0-4040-8c6a-fec7a720a7b5" providerId="ADAL" clId="{190131DE-6250-C84F-B491-721E6CF30BCB}" dt="2021-12-21T11:41:15.907" v="22298" actId="478"/>
          <ac:spMkLst>
            <pc:docMk/>
            <pc:sldMk cId="3525553709" sldId="2147374156"/>
            <ac:spMk id="74" creationId="{5EA21FF6-E468-FB48-9B82-C39644615F3D}"/>
          </ac:spMkLst>
        </pc:spChg>
        <pc:spChg chg="add del mod">
          <ac:chgData name="Nick Robinson" userId="d0c2b313-4ae0-4040-8c6a-fec7a720a7b5" providerId="ADAL" clId="{190131DE-6250-C84F-B491-721E6CF30BCB}" dt="2021-12-21T11:41:15.907" v="22298" actId="478"/>
          <ac:spMkLst>
            <pc:docMk/>
            <pc:sldMk cId="3525553709" sldId="2147374156"/>
            <ac:spMk id="75" creationId="{88259050-0044-FF42-B87D-16E0F5C5C8AB}"/>
          </ac:spMkLst>
        </pc:spChg>
        <pc:spChg chg="add del mod">
          <ac:chgData name="Nick Robinson" userId="d0c2b313-4ae0-4040-8c6a-fec7a720a7b5" providerId="ADAL" clId="{190131DE-6250-C84F-B491-721E6CF30BCB}" dt="2021-12-21T11:42:42.350" v="22361" actId="478"/>
          <ac:spMkLst>
            <pc:docMk/>
            <pc:sldMk cId="3525553709" sldId="2147374156"/>
            <ac:spMk id="76" creationId="{5C3B311A-1C19-6F4A-ABAB-5EEF54952E18}"/>
          </ac:spMkLst>
        </pc:spChg>
        <pc:spChg chg="add del mod">
          <ac:chgData name="Nick Robinson" userId="d0c2b313-4ae0-4040-8c6a-fec7a720a7b5" providerId="ADAL" clId="{190131DE-6250-C84F-B491-721E6CF30BCB}" dt="2021-12-21T11:42:42.350" v="22361" actId="478"/>
          <ac:spMkLst>
            <pc:docMk/>
            <pc:sldMk cId="3525553709" sldId="2147374156"/>
            <ac:spMk id="77" creationId="{4DA7427B-55B1-5D4F-9644-2884CE392287}"/>
          </ac:spMkLst>
        </pc:spChg>
        <pc:spChg chg="add del mod">
          <ac:chgData name="Nick Robinson" userId="d0c2b313-4ae0-4040-8c6a-fec7a720a7b5" providerId="ADAL" clId="{190131DE-6250-C84F-B491-721E6CF30BCB}" dt="2021-12-21T11:42:42.350" v="22361" actId="478"/>
          <ac:spMkLst>
            <pc:docMk/>
            <pc:sldMk cId="3525553709" sldId="2147374156"/>
            <ac:spMk id="78" creationId="{BB145410-132A-274C-8E26-CA066339CA77}"/>
          </ac:spMkLst>
        </pc:spChg>
        <pc:spChg chg="add del mod">
          <ac:chgData name="Nick Robinson" userId="d0c2b313-4ae0-4040-8c6a-fec7a720a7b5" providerId="ADAL" clId="{190131DE-6250-C84F-B491-721E6CF30BCB}" dt="2021-12-21T11:42:42.350" v="22361" actId="478"/>
          <ac:spMkLst>
            <pc:docMk/>
            <pc:sldMk cId="3525553709" sldId="2147374156"/>
            <ac:spMk id="79" creationId="{E71FA3BA-4E4F-6440-A0ED-0AB57CF83765}"/>
          </ac:spMkLst>
        </pc:spChg>
        <pc:spChg chg="add mod">
          <ac:chgData name="Nick Robinson" userId="d0c2b313-4ae0-4040-8c6a-fec7a720a7b5" providerId="ADAL" clId="{190131DE-6250-C84F-B491-721E6CF30BCB}" dt="2021-12-21T16:53:20.212" v="24474" actId="20577"/>
          <ac:spMkLst>
            <pc:docMk/>
            <pc:sldMk cId="3525553709" sldId="2147374156"/>
            <ac:spMk id="81" creationId="{FF582BC1-60E1-544A-BC56-68F85BD0454A}"/>
          </ac:spMkLst>
        </pc:spChg>
        <pc:spChg chg="mod">
          <ac:chgData name="Nick Robinson" userId="d0c2b313-4ae0-4040-8c6a-fec7a720a7b5" providerId="ADAL" clId="{190131DE-6250-C84F-B491-721E6CF30BCB}" dt="2021-12-21T11:39:12.919" v="22255" actId="2711"/>
          <ac:spMkLst>
            <pc:docMk/>
            <pc:sldMk cId="3525553709" sldId="2147374156"/>
            <ac:spMk id="84" creationId="{454E5C84-34CF-1E4C-898F-261FA4B31126}"/>
          </ac:spMkLst>
        </pc:spChg>
        <pc:spChg chg="mod">
          <ac:chgData name="Nick Robinson" userId="d0c2b313-4ae0-4040-8c6a-fec7a720a7b5" providerId="ADAL" clId="{190131DE-6250-C84F-B491-721E6CF30BCB}" dt="2021-12-21T11:39:12.919" v="22255" actId="2711"/>
          <ac:spMkLst>
            <pc:docMk/>
            <pc:sldMk cId="3525553709" sldId="2147374156"/>
            <ac:spMk id="87" creationId="{34179C12-5671-3746-866E-C4E0110EA392}"/>
          </ac:spMkLst>
        </pc:spChg>
        <pc:spChg chg="mod">
          <ac:chgData name="Nick Robinson" userId="d0c2b313-4ae0-4040-8c6a-fec7a720a7b5" providerId="ADAL" clId="{190131DE-6250-C84F-B491-721E6CF30BCB}" dt="2021-12-21T11:39:12.919" v="22255" actId="2711"/>
          <ac:spMkLst>
            <pc:docMk/>
            <pc:sldMk cId="3525553709" sldId="2147374156"/>
            <ac:spMk id="90" creationId="{477C891E-ECA1-E545-9C3D-51DC581C69ED}"/>
          </ac:spMkLst>
        </pc:spChg>
        <pc:spChg chg="mod">
          <ac:chgData name="Nick Robinson" userId="d0c2b313-4ae0-4040-8c6a-fec7a720a7b5" providerId="ADAL" clId="{190131DE-6250-C84F-B491-721E6CF30BCB}" dt="2021-12-21T11:39:12.919" v="22255" actId="2711"/>
          <ac:spMkLst>
            <pc:docMk/>
            <pc:sldMk cId="3525553709" sldId="2147374156"/>
            <ac:spMk id="93" creationId="{64D346C2-2C31-C841-BADA-E948419B6A3E}"/>
          </ac:spMkLst>
        </pc:spChg>
        <pc:spChg chg="mod">
          <ac:chgData name="Nick Robinson" userId="d0c2b313-4ae0-4040-8c6a-fec7a720a7b5" providerId="ADAL" clId="{190131DE-6250-C84F-B491-721E6CF30BCB}" dt="2021-12-21T11:39:12.919" v="22255" actId="2711"/>
          <ac:spMkLst>
            <pc:docMk/>
            <pc:sldMk cId="3525553709" sldId="2147374156"/>
            <ac:spMk id="96" creationId="{EE058A72-D138-F449-AB74-30FD81E7F273}"/>
          </ac:spMkLst>
        </pc:spChg>
        <pc:spChg chg="add mod">
          <ac:chgData name="Nick Robinson" userId="d0c2b313-4ae0-4040-8c6a-fec7a720a7b5" providerId="ADAL" clId="{190131DE-6250-C84F-B491-721E6CF30BCB}" dt="2021-12-22T11:41:23.419" v="25196" actId="1036"/>
          <ac:spMkLst>
            <pc:docMk/>
            <pc:sldMk cId="3525553709" sldId="2147374156"/>
            <ac:spMk id="98" creationId="{F1BE3632-76A1-C04D-8941-1EA3690894BF}"/>
          </ac:spMkLst>
        </pc:spChg>
        <pc:spChg chg="add mod">
          <ac:chgData name="Nick Robinson" userId="d0c2b313-4ae0-4040-8c6a-fec7a720a7b5" providerId="ADAL" clId="{190131DE-6250-C84F-B491-721E6CF30BCB}" dt="2021-12-22T11:41:03.618" v="25194" actId="1036"/>
          <ac:spMkLst>
            <pc:docMk/>
            <pc:sldMk cId="3525553709" sldId="2147374156"/>
            <ac:spMk id="99" creationId="{58DD6421-F21E-FA4D-8CC6-41C6406F9851}"/>
          </ac:spMkLst>
        </pc:spChg>
        <pc:spChg chg="add mod">
          <ac:chgData name="Nick Robinson" userId="d0c2b313-4ae0-4040-8c6a-fec7a720a7b5" providerId="ADAL" clId="{190131DE-6250-C84F-B491-721E6CF30BCB}" dt="2021-12-21T12:04:31.783" v="22815" actId="20577"/>
          <ac:spMkLst>
            <pc:docMk/>
            <pc:sldMk cId="3525553709" sldId="2147374156"/>
            <ac:spMk id="102" creationId="{B115254B-B1CC-4742-A1C8-0B69C939BA86}"/>
          </ac:spMkLst>
        </pc:spChg>
        <pc:spChg chg="add mod">
          <ac:chgData name="Nick Robinson" userId="d0c2b313-4ae0-4040-8c6a-fec7a720a7b5" providerId="ADAL" clId="{190131DE-6250-C84F-B491-721E6CF30BCB}" dt="2021-12-21T11:59:39.953" v="22740" actId="1076"/>
          <ac:spMkLst>
            <pc:docMk/>
            <pc:sldMk cId="3525553709" sldId="2147374156"/>
            <ac:spMk id="103" creationId="{FD7CE5B2-DD92-F64A-B2AA-FC5FC6670789}"/>
          </ac:spMkLst>
        </pc:spChg>
        <pc:spChg chg="add mod">
          <ac:chgData name="Nick Robinson" userId="d0c2b313-4ae0-4040-8c6a-fec7a720a7b5" providerId="ADAL" clId="{190131DE-6250-C84F-B491-721E6CF30BCB}" dt="2021-12-21T11:59:39.953" v="22740" actId="1076"/>
          <ac:spMkLst>
            <pc:docMk/>
            <pc:sldMk cId="3525553709" sldId="2147374156"/>
            <ac:spMk id="104" creationId="{FE5928DF-3F9A-134B-BEF0-A40E7F6D1099}"/>
          </ac:spMkLst>
        </pc:spChg>
        <pc:spChg chg="add mod">
          <ac:chgData name="Nick Robinson" userId="d0c2b313-4ae0-4040-8c6a-fec7a720a7b5" providerId="ADAL" clId="{190131DE-6250-C84F-B491-721E6CF30BCB}" dt="2021-12-21T11:59:39.953" v="22740" actId="1076"/>
          <ac:spMkLst>
            <pc:docMk/>
            <pc:sldMk cId="3525553709" sldId="2147374156"/>
            <ac:spMk id="105" creationId="{9791D4F7-5CDE-6E40-9AC9-B646743DF67E}"/>
          </ac:spMkLst>
        </pc:spChg>
        <pc:spChg chg="add mod">
          <ac:chgData name="Nick Robinson" userId="d0c2b313-4ae0-4040-8c6a-fec7a720a7b5" providerId="ADAL" clId="{190131DE-6250-C84F-B491-721E6CF30BCB}" dt="2021-12-21T11:59:39.953" v="22740" actId="1076"/>
          <ac:spMkLst>
            <pc:docMk/>
            <pc:sldMk cId="3525553709" sldId="2147374156"/>
            <ac:spMk id="106" creationId="{64197FF1-E644-9C4B-9D26-035F7B3785DD}"/>
          </ac:spMkLst>
        </pc:spChg>
        <pc:spChg chg="add mod">
          <ac:chgData name="Nick Robinson" userId="d0c2b313-4ae0-4040-8c6a-fec7a720a7b5" providerId="ADAL" clId="{190131DE-6250-C84F-B491-721E6CF30BCB}" dt="2021-12-21T12:01:44.561" v="22791" actId="1038"/>
          <ac:spMkLst>
            <pc:docMk/>
            <pc:sldMk cId="3525553709" sldId="2147374156"/>
            <ac:spMk id="108" creationId="{6858E431-6832-B946-BD8C-C400295FAA2D}"/>
          </ac:spMkLst>
        </pc:spChg>
        <pc:spChg chg="add mod">
          <ac:chgData name="Nick Robinson" userId="d0c2b313-4ae0-4040-8c6a-fec7a720a7b5" providerId="ADAL" clId="{190131DE-6250-C84F-B491-721E6CF30BCB}" dt="2021-12-21T12:03:14.905" v="22804" actId="1076"/>
          <ac:spMkLst>
            <pc:docMk/>
            <pc:sldMk cId="3525553709" sldId="2147374156"/>
            <ac:spMk id="109" creationId="{2FF11E8E-D1FF-414E-BD89-2263C360593F}"/>
          </ac:spMkLst>
        </pc:spChg>
        <pc:spChg chg="add del mod">
          <ac:chgData name="Nick Robinson" userId="d0c2b313-4ae0-4040-8c6a-fec7a720a7b5" providerId="ADAL" clId="{190131DE-6250-C84F-B491-721E6CF30BCB}" dt="2021-12-21T12:04:02.568" v="22806"/>
          <ac:spMkLst>
            <pc:docMk/>
            <pc:sldMk cId="3525553709" sldId="2147374156"/>
            <ac:spMk id="111" creationId="{0C65E0B9-BC5E-8847-9920-E553EF8619AD}"/>
          </ac:spMkLst>
        </pc:spChg>
        <pc:spChg chg="add del mod">
          <ac:chgData name="Nick Robinson" userId="d0c2b313-4ae0-4040-8c6a-fec7a720a7b5" providerId="ADAL" clId="{190131DE-6250-C84F-B491-721E6CF30BCB}" dt="2021-12-21T12:04:02.568" v="22806"/>
          <ac:spMkLst>
            <pc:docMk/>
            <pc:sldMk cId="3525553709" sldId="2147374156"/>
            <ac:spMk id="112" creationId="{9ACD8BF1-50B8-3848-BB8F-B2CEDF675475}"/>
          </ac:spMkLst>
        </pc:spChg>
        <pc:spChg chg="add del mod">
          <ac:chgData name="Nick Robinson" userId="d0c2b313-4ae0-4040-8c6a-fec7a720a7b5" providerId="ADAL" clId="{190131DE-6250-C84F-B491-721E6CF30BCB}" dt="2021-12-21T12:04:02.568" v="22806"/>
          <ac:spMkLst>
            <pc:docMk/>
            <pc:sldMk cId="3525553709" sldId="2147374156"/>
            <ac:spMk id="113" creationId="{FCF9755D-AEC2-FF46-A708-FE268B294E0B}"/>
          </ac:spMkLst>
        </pc:spChg>
        <pc:spChg chg="add del mod">
          <ac:chgData name="Nick Robinson" userId="d0c2b313-4ae0-4040-8c6a-fec7a720a7b5" providerId="ADAL" clId="{190131DE-6250-C84F-B491-721E6CF30BCB}" dt="2021-12-21T12:36:06.543" v="23088" actId="478"/>
          <ac:spMkLst>
            <pc:docMk/>
            <pc:sldMk cId="3525553709" sldId="2147374156"/>
            <ac:spMk id="114" creationId="{34A68DAC-813E-744D-8152-84E39C9DCA3E}"/>
          </ac:spMkLst>
        </pc:spChg>
        <pc:spChg chg="add del mod">
          <ac:chgData name="Nick Robinson" userId="d0c2b313-4ae0-4040-8c6a-fec7a720a7b5" providerId="ADAL" clId="{190131DE-6250-C84F-B491-721E6CF30BCB}" dt="2021-12-21T12:36:08.370" v="23089" actId="478"/>
          <ac:spMkLst>
            <pc:docMk/>
            <pc:sldMk cId="3525553709" sldId="2147374156"/>
            <ac:spMk id="115" creationId="{76D9F004-4EA3-0D4A-8FE3-5BDD8F2D3424}"/>
          </ac:spMkLst>
        </pc:spChg>
        <pc:spChg chg="add del mod">
          <ac:chgData name="Nick Robinson" userId="d0c2b313-4ae0-4040-8c6a-fec7a720a7b5" providerId="ADAL" clId="{190131DE-6250-C84F-B491-721E6CF30BCB}" dt="2021-12-21T12:35:53.745" v="23085" actId="478"/>
          <ac:spMkLst>
            <pc:docMk/>
            <pc:sldMk cId="3525553709" sldId="2147374156"/>
            <ac:spMk id="116" creationId="{F4FAD26E-06FA-7444-B453-A1343EB86602}"/>
          </ac:spMkLst>
        </pc:spChg>
        <pc:spChg chg="add mod">
          <ac:chgData name="Nick Robinson" userId="d0c2b313-4ae0-4040-8c6a-fec7a720a7b5" providerId="ADAL" clId="{190131DE-6250-C84F-B491-721E6CF30BCB}" dt="2021-12-21T12:40:53.648" v="23353" actId="6549"/>
          <ac:spMkLst>
            <pc:docMk/>
            <pc:sldMk cId="3525553709" sldId="2147374156"/>
            <ac:spMk id="117" creationId="{1DC0CE0F-3D1F-BB4E-8306-8FBFDB3CDA56}"/>
          </ac:spMkLst>
        </pc:spChg>
        <pc:spChg chg="add del mod">
          <ac:chgData name="Nick Robinson" userId="d0c2b313-4ae0-4040-8c6a-fec7a720a7b5" providerId="ADAL" clId="{190131DE-6250-C84F-B491-721E6CF30BCB}" dt="2021-12-21T16:41:38.149" v="24450" actId="478"/>
          <ac:spMkLst>
            <pc:docMk/>
            <pc:sldMk cId="3525553709" sldId="2147374156"/>
            <ac:spMk id="118" creationId="{99ACAD97-9992-B544-B713-FC1228623E60}"/>
          </ac:spMkLst>
        </pc:spChg>
        <pc:spChg chg="add del mod">
          <ac:chgData name="Nick Robinson" userId="d0c2b313-4ae0-4040-8c6a-fec7a720a7b5" providerId="ADAL" clId="{190131DE-6250-C84F-B491-721E6CF30BCB}" dt="2021-12-21T16:41:38.149" v="24450" actId="478"/>
          <ac:spMkLst>
            <pc:docMk/>
            <pc:sldMk cId="3525553709" sldId="2147374156"/>
            <ac:spMk id="119" creationId="{95E9DA34-0721-8A42-8A41-27F6E62E3B2B}"/>
          </ac:spMkLst>
        </pc:spChg>
        <pc:spChg chg="add del mod">
          <ac:chgData name="Nick Robinson" userId="d0c2b313-4ae0-4040-8c6a-fec7a720a7b5" providerId="ADAL" clId="{190131DE-6250-C84F-B491-721E6CF30BCB}" dt="2021-12-21T16:41:38.149" v="24450" actId="478"/>
          <ac:spMkLst>
            <pc:docMk/>
            <pc:sldMk cId="3525553709" sldId="2147374156"/>
            <ac:spMk id="120" creationId="{0CFBD61C-87F7-F541-83ED-1D0B438FF45F}"/>
          </ac:spMkLst>
        </pc:spChg>
        <pc:spChg chg="add del mod">
          <ac:chgData name="Nick Robinson" userId="d0c2b313-4ae0-4040-8c6a-fec7a720a7b5" providerId="ADAL" clId="{190131DE-6250-C84F-B491-721E6CF30BCB}" dt="2021-12-21T16:29:34.704" v="24315" actId="478"/>
          <ac:spMkLst>
            <pc:docMk/>
            <pc:sldMk cId="3525553709" sldId="2147374156"/>
            <ac:spMk id="130" creationId="{7A4DD57B-BA67-B943-8049-AD698A669FC1}"/>
          </ac:spMkLst>
        </pc:spChg>
        <pc:spChg chg="add mod">
          <ac:chgData name="Nick Robinson" userId="d0c2b313-4ae0-4040-8c6a-fec7a720a7b5" providerId="ADAL" clId="{190131DE-6250-C84F-B491-721E6CF30BCB}" dt="2021-12-21T16:41:39.469" v="24451"/>
          <ac:spMkLst>
            <pc:docMk/>
            <pc:sldMk cId="3525553709" sldId="2147374156"/>
            <ac:spMk id="133" creationId="{21AF9618-4149-F24C-91D0-CEC827C77E10}"/>
          </ac:spMkLst>
        </pc:spChg>
        <pc:spChg chg="add mod">
          <ac:chgData name="Nick Robinson" userId="d0c2b313-4ae0-4040-8c6a-fec7a720a7b5" providerId="ADAL" clId="{190131DE-6250-C84F-B491-721E6CF30BCB}" dt="2021-12-21T16:41:39.469" v="24451"/>
          <ac:spMkLst>
            <pc:docMk/>
            <pc:sldMk cId="3525553709" sldId="2147374156"/>
            <ac:spMk id="135" creationId="{34AAB45A-3635-CD4D-A1D2-247B35B1F29A}"/>
          </ac:spMkLst>
        </pc:spChg>
        <pc:spChg chg="add mod">
          <ac:chgData name="Nick Robinson" userId="d0c2b313-4ae0-4040-8c6a-fec7a720a7b5" providerId="ADAL" clId="{190131DE-6250-C84F-B491-721E6CF30BCB}" dt="2021-12-21T16:41:39.469" v="24451"/>
          <ac:spMkLst>
            <pc:docMk/>
            <pc:sldMk cId="3525553709" sldId="2147374156"/>
            <ac:spMk id="145" creationId="{99971CE0-52BF-5B42-8D6E-1108394DB988}"/>
          </ac:spMkLst>
        </pc:spChg>
        <pc:spChg chg="add mod">
          <ac:chgData name="Nick Robinson" userId="d0c2b313-4ae0-4040-8c6a-fec7a720a7b5" providerId="ADAL" clId="{190131DE-6250-C84F-B491-721E6CF30BCB}" dt="2021-12-21T16:41:39.469" v="24451"/>
          <ac:spMkLst>
            <pc:docMk/>
            <pc:sldMk cId="3525553709" sldId="2147374156"/>
            <ac:spMk id="146" creationId="{BEDB025A-05A1-6048-8022-3C78E47D6B09}"/>
          </ac:spMkLst>
        </pc:spChg>
        <pc:spChg chg="add mod">
          <ac:chgData name="Nick Robinson" userId="d0c2b313-4ae0-4040-8c6a-fec7a720a7b5" providerId="ADAL" clId="{190131DE-6250-C84F-B491-721E6CF30BCB}" dt="2021-12-21T16:41:39.469" v="24451"/>
          <ac:spMkLst>
            <pc:docMk/>
            <pc:sldMk cId="3525553709" sldId="2147374156"/>
            <ac:spMk id="147" creationId="{54E835E3-2A7C-3C4F-B5A5-13274EFE232F}"/>
          </ac:spMkLst>
        </pc:spChg>
        <pc:grpChg chg="del">
          <ac:chgData name="Nick Robinson" userId="d0c2b313-4ae0-4040-8c6a-fec7a720a7b5" providerId="ADAL" clId="{190131DE-6250-C84F-B491-721E6CF30BCB}" dt="2021-12-21T11:38:33.472" v="22248" actId="478"/>
          <ac:grpSpMkLst>
            <pc:docMk/>
            <pc:sldMk cId="3525553709" sldId="2147374156"/>
            <ac:grpSpMk id="22" creationId="{820B6BE5-6488-CF45-8C98-2D42E392B2E0}"/>
          </ac:grpSpMkLst>
        </pc:grpChg>
        <pc:grpChg chg="del">
          <ac:chgData name="Nick Robinson" userId="d0c2b313-4ae0-4040-8c6a-fec7a720a7b5" providerId="ADAL" clId="{190131DE-6250-C84F-B491-721E6CF30BCB}" dt="2021-12-21T11:38:33.472" v="22248" actId="478"/>
          <ac:grpSpMkLst>
            <pc:docMk/>
            <pc:sldMk cId="3525553709" sldId="2147374156"/>
            <ac:grpSpMk id="28" creationId="{79D7AD2B-ADC5-7B4F-9217-95E1EFA30C09}"/>
          </ac:grpSpMkLst>
        </pc:grpChg>
        <pc:grpChg chg="del">
          <ac:chgData name="Nick Robinson" userId="d0c2b313-4ae0-4040-8c6a-fec7a720a7b5" providerId="ADAL" clId="{190131DE-6250-C84F-B491-721E6CF30BCB}" dt="2021-12-21T11:38:33.472" v="22248" actId="478"/>
          <ac:grpSpMkLst>
            <pc:docMk/>
            <pc:sldMk cId="3525553709" sldId="2147374156"/>
            <ac:grpSpMk id="32" creationId="{A53ED8DC-0E55-4446-A7D5-4980B54DE494}"/>
          </ac:grpSpMkLst>
        </pc:grpChg>
        <pc:grpChg chg="del">
          <ac:chgData name="Nick Robinson" userId="d0c2b313-4ae0-4040-8c6a-fec7a720a7b5" providerId="ADAL" clId="{190131DE-6250-C84F-B491-721E6CF30BCB}" dt="2021-12-21T11:38:33.472" v="22248" actId="478"/>
          <ac:grpSpMkLst>
            <pc:docMk/>
            <pc:sldMk cId="3525553709" sldId="2147374156"/>
            <ac:grpSpMk id="38" creationId="{73C291D4-03AE-A241-8A39-653A531AB698}"/>
          </ac:grpSpMkLst>
        </pc:grpChg>
        <pc:grpChg chg="del">
          <ac:chgData name="Nick Robinson" userId="d0c2b313-4ae0-4040-8c6a-fec7a720a7b5" providerId="ADAL" clId="{190131DE-6250-C84F-B491-721E6CF30BCB}" dt="2021-12-21T11:38:33.472" v="22248" actId="478"/>
          <ac:grpSpMkLst>
            <pc:docMk/>
            <pc:sldMk cId="3525553709" sldId="2147374156"/>
            <ac:grpSpMk id="46" creationId="{7B217689-E780-B640-A2C0-82EEF081C960}"/>
          </ac:grpSpMkLst>
        </pc:grpChg>
        <pc:grpChg chg="del">
          <ac:chgData name="Nick Robinson" userId="d0c2b313-4ae0-4040-8c6a-fec7a720a7b5" providerId="ADAL" clId="{190131DE-6250-C84F-B491-721E6CF30BCB}" dt="2021-12-21T11:38:33.472" v="22248" actId="478"/>
          <ac:grpSpMkLst>
            <pc:docMk/>
            <pc:sldMk cId="3525553709" sldId="2147374156"/>
            <ac:grpSpMk id="54" creationId="{E54161AF-E48E-E74F-AF30-C7D19EC25976}"/>
          </ac:grpSpMkLst>
        </pc:grpChg>
        <pc:grpChg chg="add del mod">
          <ac:chgData name="Nick Robinson" userId="d0c2b313-4ae0-4040-8c6a-fec7a720a7b5" providerId="ADAL" clId="{190131DE-6250-C84F-B491-721E6CF30BCB}" dt="2021-12-21T11:42:42.350" v="22361" actId="478"/>
          <ac:grpSpMkLst>
            <pc:docMk/>
            <pc:sldMk cId="3525553709" sldId="2147374156"/>
            <ac:grpSpMk id="83" creationId="{AD2CE8BC-F96F-414F-85B5-5BBE653554C0}"/>
          </ac:grpSpMkLst>
        </pc:grpChg>
        <pc:grpChg chg="add del mod">
          <ac:chgData name="Nick Robinson" userId="d0c2b313-4ae0-4040-8c6a-fec7a720a7b5" providerId="ADAL" clId="{190131DE-6250-C84F-B491-721E6CF30BCB}" dt="2021-12-21T11:42:42.350" v="22361" actId="478"/>
          <ac:grpSpMkLst>
            <pc:docMk/>
            <pc:sldMk cId="3525553709" sldId="2147374156"/>
            <ac:grpSpMk id="86" creationId="{9098F290-1C28-8247-8C5B-CF60E754D930}"/>
          </ac:grpSpMkLst>
        </pc:grpChg>
        <pc:grpChg chg="add del mod">
          <ac:chgData name="Nick Robinson" userId="d0c2b313-4ae0-4040-8c6a-fec7a720a7b5" providerId="ADAL" clId="{190131DE-6250-C84F-B491-721E6CF30BCB}" dt="2021-12-21T11:42:42.350" v="22361" actId="478"/>
          <ac:grpSpMkLst>
            <pc:docMk/>
            <pc:sldMk cId="3525553709" sldId="2147374156"/>
            <ac:grpSpMk id="89" creationId="{3EF92F7F-7F28-494F-8D5C-DDD6648B6033}"/>
          </ac:grpSpMkLst>
        </pc:grpChg>
        <pc:grpChg chg="add del mod">
          <ac:chgData name="Nick Robinson" userId="d0c2b313-4ae0-4040-8c6a-fec7a720a7b5" providerId="ADAL" clId="{190131DE-6250-C84F-B491-721E6CF30BCB}" dt="2021-12-21T11:42:42.350" v="22361" actId="478"/>
          <ac:grpSpMkLst>
            <pc:docMk/>
            <pc:sldMk cId="3525553709" sldId="2147374156"/>
            <ac:grpSpMk id="92" creationId="{731EB6D6-4E4C-3E47-A8B2-61D86B6A0C71}"/>
          </ac:grpSpMkLst>
        </pc:grpChg>
        <pc:grpChg chg="add del mod">
          <ac:chgData name="Nick Robinson" userId="d0c2b313-4ae0-4040-8c6a-fec7a720a7b5" providerId="ADAL" clId="{190131DE-6250-C84F-B491-721E6CF30BCB}" dt="2021-12-21T11:42:42.350" v="22361" actId="478"/>
          <ac:grpSpMkLst>
            <pc:docMk/>
            <pc:sldMk cId="3525553709" sldId="2147374156"/>
            <ac:grpSpMk id="95" creationId="{D9CC296B-36AC-7049-BE39-459BC24E9B84}"/>
          </ac:grpSpMkLst>
        </pc:grpChg>
        <pc:graphicFrameChg chg="add mod modGraphic">
          <ac:chgData name="Nick Robinson" userId="d0c2b313-4ae0-4040-8c6a-fec7a720a7b5" providerId="ADAL" clId="{190131DE-6250-C84F-B491-721E6CF30BCB}" dt="2021-12-21T12:39:57.842" v="23338" actId="1036"/>
          <ac:graphicFrameMkLst>
            <pc:docMk/>
            <pc:sldMk cId="3525553709" sldId="2147374156"/>
            <ac:graphicFrameMk id="17" creationId="{56D45B5B-A054-124F-93DB-34F43F43271E}"/>
          </ac:graphicFrameMkLst>
        </pc:graphicFrameChg>
        <pc:graphicFrameChg chg="add del mod modGraphic">
          <ac:chgData name="Nick Robinson" userId="d0c2b313-4ae0-4040-8c6a-fec7a720a7b5" providerId="ADAL" clId="{190131DE-6250-C84F-B491-721E6CF30BCB}" dt="2021-12-21T11:41:11.787" v="22297" actId="478"/>
          <ac:graphicFrameMkLst>
            <pc:docMk/>
            <pc:sldMk cId="3525553709" sldId="2147374156"/>
            <ac:graphicFrameMk id="42" creationId="{74339361-C637-354F-91BC-1C65D424C92D}"/>
          </ac:graphicFrameMkLst>
        </pc:graphicFrameChg>
        <pc:graphicFrameChg chg="add mod">
          <ac:chgData name="Nick Robinson" userId="d0c2b313-4ae0-4040-8c6a-fec7a720a7b5" providerId="ADAL" clId="{190131DE-6250-C84F-B491-721E6CF30BCB}" dt="2021-12-21T11:42:29.205" v="22359"/>
          <ac:graphicFrameMkLst>
            <pc:docMk/>
            <pc:sldMk cId="3525553709" sldId="2147374156"/>
            <ac:graphicFrameMk id="100" creationId="{37F175CC-DBD8-C547-B38A-598918171391}"/>
          </ac:graphicFrameMkLst>
        </pc:graphicFrameChg>
        <pc:graphicFrameChg chg="add del mod">
          <ac:chgData name="Nick Robinson" userId="d0c2b313-4ae0-4040-8c6a-fec7a720a7b5" providerId="ADAL" clId="{190131DE-6250-C84F-B491-721E6CF30BCB}" dt="2021-12-21T11:56:47.561" v="22708" actId="478"/>
          <ac:graphicFrameMkLst>
            <pc:docMk/>
            <pc:sldMk cId="3525553709" sldId="2147374156"/>
            <ac:graphicFrameMk id="107" creationId="{86B78A41-72C5-3346-9011-0365891D2A15}"/>
          </ac:graphicFrameMkLst>
        </pc:graphicFrameChg>
        <pc:graphicFrameChg chg="add del mod modGraphic">
          <ac:chgData name="Nick Robinson" userId="d0c2b313-4ae0-4040-8c6a-fec7a720a7b5" providerId="ADAL" clId="{190131DE-6250-C84F-B491-721E6CF30BCB}" dt="2021-12-21T16:41:38.149" v="24450" actId="478"/>
          <ac:graphicFrameMkLst>
            <pc:docMk/>
            <pc:sldMk cId="3525553709" sldId="2147374156"/>
            <ac:graphicFrameMk id="121" creationId="{3AB314B1-D01D-BF4A-87D2-DCCFDAC3E3D7}"/>
          </ac:graphicFrameMkLst>
        </pc:graphicFrameChg>
        <pc:graphicFrameChg chg="add mod">
          <ac:chgData name="Nick Robinson" userId="d0c2b313-4ae0-4040-8c6a-fec7a720a7b5" providerId="ADAL" clId="{190131DE-6250-C84F-B491-721E6CF30BCB}" dt="2021-12-21T16:41:39.469" v="24451"/>
          <ac:graphicFrameMkLst>
            <pc:docMk/>
            <pc:sldMk cId="3525553709" sldId="2147374156"/>
            <ac:graphicFrameMk id="131" creationId="{7E492D13-22D8-2543-B069-D591F975DA38}"/>
          </ac:graphicFrameMkLst>
        </pc:graphicFrameChg>
        <pc:graphicFrameChg chg="add mod">
          <ac:chgData name="Nick Robinson" userId="d0c2b313-4ae0-4040-8c6a-fec7a720a7b5" providerId="ADAL" clId="{190131DE-6250-C84F-B491-721E6CF30BCB}" dt="2021-12-21T16:41:39.469" v="24451"/>
          <ac:graphicFrameMkLst>
            <pc:docMk/>
            <pc:sldMk cId="3525553709" sldId="2147374156"/>
            <ac:graphicFrameMk id="132" creationId="{42AE60F7-AA81-1F4D-86E2-7EFD03F33D40}"/>
          </ac:graphicFrameMkLst>
        </pc:graphicFrameChg>
        <pc:picChg chg="del">
          <ac:chgData name="Nick Robinson" userId="d0c2b313-4ae0-4040-8c6a-fec7a720a7b5" providerId="ADAL" clId="{190131DE-6250-C84F-B491-721E6CF30BCB}" dt="2021-12-21T11:38:33.472" v="22248" actId="478"/>
          <ac:picMkLst>
            <pc:docMk/>
            <pc:sldMk cId="3525553709" sldId="2147374156"/>
            <ac:picMk id="6" creationId="{471D7D99-3155-5D47-BED8-CFC89E64CD23}"/>
          </ac:picMkLst>
        </pc:picChg>
        <pc:picChg chg="del">
          <ac:chgData name="Nick Robinson" userId="d0c2b313-4ae0-4040-8c6a-fec7a720a7b5" providerId="ADAL" clId="{190131DE-6250-C84F-B491-721E6CF30BCB}" dt="2021-12-21T11:38:33.472" v="22248" actId="478"/>
          <ac:picMkLst>
            <pc:docMk/>
            <pc:sldMk cId="3525553709" sldId="2147374156"/>
            <ac:picMk id="8" creationId="{CDB7893E-5474-7D43-A125-B0CD73E20F24}"/>
          </ac:picMkLst>
        </pc:picChg>
        <pc:picChg chg="add del mod">
          <ac:chgData name="Nick Robinson" userId="d0c2b313-4ae0-4040-8c6a-fec7a720a7b5" providerId="ADAL" clId="{190131DE-6250-C84F-B491-721E6CF30BCB}" dt="2021-12-21T11:49:11.297" v="22503" actId="478"/>
          <ac:picMkLst>
            <pc:docMk/>
            <pc:sldMk cId="3525553709" sldId="2147374156"/>
            <ac:picMk id="9" creationId="{35A37F84-BE90-A84F-B9F9-48B1FB7D525D}"/>
          </ac:picMkLst>
        </pc:picChg>
        <pc:picChg chg="del">
          <ac:chgData name="Nick Robinson" userId="d0c2b313-4ae0-4040-8c6a-fec7a720a7b5" providerId="ADAL" clId="{190131DE-6250-C84F-B491-721E6CF30BCB}" dt="2021-12-21T11:38:33.472" v="22248" actId="478"/>
          <ac:picMkLst>
            <pc:docMk/>
            <pc:sldMk cId="3525553709" sldId="2147374156"/>
            <ac:picMk id="10" creationId="{80337091-4FA3-2442-B291-747DB7B69CD9}"/>
          </ac:picMkLst>
        </pc:picChg>
        <pc:picChg chg="add del mod">
          <ac:chgData name="Nick Robinson" userId="d0c2b313-4ae0-4040-8c6a-fec7a720a7b5" providerId="ADAL" clId="{190131DE-6250-C84F-B491-721E6CF30BCB}" dt="2021-12-21T16:41:38.149" v="24450" actId="478"/>
          <ac:picMkLst>
            <pc:docMk/>
            <pc:sldMk cId="3525553709" sldId="2147374156"/>
            <ac:picMk id="23" creationId="{8FD21471-42EB-5041-86E8-C2F3BA71E794}"/>
          </ac:picMkLst>
        </pc:picChg>
        <pc:picChg chg="add del mod">
          <ac:chgData name="Nick Robinson" userId="d0c2b313-4ae0-4040-8c6a-fec7a720a7b5" providerId="ADAL" clId="{190131DE-6250-C84F-B491-721E6CF30BCB}" dt="2021-12-21T11:41:07.696" v="22295" actId="478"/>
          <ac:picMkLst>
            <pc:docMk/>
            <pc:sldMk cId="3525553709" sldId="2147374156"/>
            <ac:picMk id="44" creationId="{79FE806A-7B90-B94E-B6E4-2D3E20EA233C}"/>
          </ac:picMkLst>
        </pc:picChg>
        <pc:picChg chg="add del mod">
          <ac:chgData name="Nick Robinson" userId="d0c2b313-4ae0-4040-8c6a-fec7a720a7b5" providerId="ADAL" clId="{190131DE-6250-C84F-B491-721E6CF30BCB}" dt="2021-12-21T11:41:07.696" v="22295" actId="478"/>
          <ac:picMkLst>
            <pc:docMk/>
            <pc:sldMk cId="3525553709" sldId="2147374156"/>
            <ac:picMk id="45" creationId="{1609D8DC-C0A9-F848-874C-360635ED1ED1}"/>
          </ac:picMkLst>
        </pc:picChg>
        <pc:picChg chg="add del mod">
          <ac:chgData name="Nick Robinson" userId="d0c2b313-4ae0-4040-8c6a-fec7a720a7b5" providerId="ADAL" clId="{190131DE-6250-C84F-B491-721E6CF30BCB}" dt="2021-12-21T11:41:07.696" v="22295" actId="478"/>
          <ac:picMkLst>
            <pc:docMk/>
            <pc:sldMk cId="3525553709" sldId="2147374156"/>
            <ac:picMk id="47" creationId="{E6FD4E3D-29B7-774B-BD37-BE1674C8709E}"/>
          </ac:picMkLst>
        </pc:picChg>
        <pc:picChg chg="add del mod">
          <ac:chgData name="Nick Robinson" userId="d0c2b313-4ae0-4040-8c6a-fec7a720a7b5" providerId="ADAL" clId="{190131DE-6250-C84F-B491-721E6CF30BCB}" dt="2021-12-21T11:41:07.696" v="22295" actId="478"/>
          <ac:picMkLst>
            <pc:docMk/>
            <pc:sldMk cId="3525553709" sldId="2147374156"/>
            <ac:picMk id="49" creationId="{120ECAE6-5AE8-7A45-B2A5-0C8FCB4EC493}"/>
          </ac:picMkLst>
        </pc:picChg>
        <pc:picChg chg="add del mod">
          <ac:chgData name="Nick Robinson" userId="d0c2b313-4ae0-4040-8c6a-fec7a720a7b5" providerId="ADAL" clId="{190131DE-6250-C84F-B491-721E6CF30BCB}" dt="2021-12-21T11:41:07.696" v="22295" actId="478"/>
          <ac:picMkLst>
            <pc:docMk/>
            <pc:sldMk cId="3525553709" sldId="2147374156"/>
            <ac:picMk id="50" creationId="{8A42AC11-E299-8B4A-B249-EBA734B9EA93}"/>
          </ac:picMkLst>
        </pc:picChg>
        <pc:picChg chg="add del mod">
          <ac:chgData name="Nick Robinson" userId="d0c2b313-4ae0-4040-8c6a-fec7a720a7b5" providerId="ADAL" clId="{190131DE-6250-C84F-B491-721E6CF30BCB}" dt="2021-12-21T11:41:07.696" v="22295" actId="478"/>
          <ac:picMkLst>
            <pc:docMk/>
            <pc:sldMk cId="3525553709" sldId="2147374156"/>
            <ac:picMk id="53" creationId="{86151BBE-7F15-6940-A8F2-10EF70F008B6}"/>
          </ac:picMkLst>
        </pc:picChg>
        <pc:picChg chg="del">
          <ac:chgData name="Nick Robinson" userId="d0c2b313-4ae0-4040-8c6a-fec7a720a7b5" providerId="ADAL" clId="{190131DE-6250-C84F-B491-721E6CF30BCB}" dt="2021-12-21T11:38:33.472" v="22248" actId="478"/>
          <ac:picMkLst>
            <pc:docMk/>
            <pc:sldMk cId="3525553709" sldId="2147374156"/>
            <ac:picMk id="61" creationId="{EC32B241-E891-8447-8A27-0D314F3B2178}"/>
          </ac:picMkLst>
        </pc:picChg>
        <pc:picChg chg="del">
          <ac:chgData name="Nick Robinson" userId="d0c2b313-4ae0-4040-8c6a-fec7a720a7b5" providerId="ADAL" clId="{190131DE-6250-C84F-B491-721E6CF30BCB}" dt="2021-12-21T11:38:33.472" v="22248" actId="478"/>
          <ac:picMkLst>
            <pc:docMk/>
            <pc:sldMk cId="3525553709" sldId="2147374156"/>
            <ac:picMk id="67" creationId="{44084EBF-81C1-9B4E-87F5-94AC6E3FF7CB}"/>
          </ac:picMkLst>
        </pc:picChg>
        <pc:picChg chg="add del mod">
          <ac:chgData name="Nick Robinson" userId="d0c2b313-4ae0-4040-8c6a-fec7a720a7b5" providerId="ADAL" clId="{190131DE-6250-C84F-B491-721E6CF30BCB}" dt="2021-12-21T11:41:17.530" v="22299" actId="478"/>
          <ac:picMkLst>
            <pc:docMk/>
            <pc:sldMk cId="3525553709" sldId="2147374156"/>
            <ac:picMk id="82" creationId="{DF1A0CA5-07DA-F44F-9F8B-38B3A6862EA1}"/>
          </ac:picMkLst>
        </pc:picChg>
        <pc:picChg chg="mod">
          <ac:chgData name="Nick Robinson" userId="d0c2b313-4ae0-4040-8c6a-fec7a720a7b5" providerId="ADAL" clId="{190131DE-6250-C84F-B491-721E6CF30BCB}" dt="2021-12-21T11:38:51.530" v="22252"/>
          <ac:picMkLst>
            <pc:docMk/>
            <pc:sldMk cId="3525553709" sldId="2147374156"/>
            <ac:picMk id="85" creationId="{237D4D45-7463-F342-80BF-E6D597DA15BB}"/>
          </ac:picMkLst>
        </pc:picChg>
        <pc:picChg chg="mod">
          <ac:chgData name="Nick Robinson" userId="d0c2b313-4ae0-4040-8c6a-fec7a720a7b5" providerId="ADAL" clId="{190131DE-6250-C84F-B491-721E6CF30BCB}" dt="2021-12-21T11:38:51.530" v="22252"/>
          <ac:picMkLst>
            <pc:docMk/>
            <pc:sldMk cId="3525553709" sldId="2147374156"/>
            <ac:picMk id="88" creationId="{D5A7DE0B-B833-244F-9262-9E08D410C1FE}"/>
          </ac:picMkLst>
        </pc:picChg>
        <pc:picChg chg="mod">
          <ac:chgData name="Nick Robinson" userId="d0c2b313-4ae0-4040-8c6a-fec7a720a7b5" providerId="ADAL" clId="{190131DE-6250-C84F-B491-721E6CF30BCB}" dt="2021-12-21T11:38:51.530" v="22252"/>
          <ac:picMkLst>
            <pc:docMk/>
            <pc:sldMk cId="3525553709" sldId="2147374156"/>
            <ac:picMk id="91" creationId="{6322DDC8-EF05-9B40-8EE6-8C36089E503F}"/>
          </ac:picMkLst>
        </pc:picChg>
        <pc:picChg chg="mod">
          <ac:chgData name="Nick Robinson" userId="d0c2b313-4ae0-4040-8c6a-fec7a720a7b5" providerId="ADAL" clId="{190131DE-6250-C84F-B491-721E6CF30BCB}" dt="2021-12-21T11:38:51.530" v="22252"/>
          <ac:picMkLst>
            <pc:docMk/>
            <pc:sldMk cId="3525553709" sldId="2147374156"/>
            <ac:picMk id="94" creationId="{FAB4020D-9C0D-7148-8A86-207AC7FE26EA}"/>
          </ac:picMkLst>
        </pc:picChg>
        <pc:picChg chg="mod">
          <ac:chgData name="Nick Robinson" userId="d0c2b313-4ae0-4040-8c6a-fec7a720a7b5" providerId="ADAL" clId="{190131DE-6250-C84F-B491-721E6CF30BCB}" dt="2021-12-21T11:38:51.530" v="22252"/>
          <ac:picMkLst>
            <pc:docMk/>
            <pc:sldMk cId="3525553709" sldId="2147374156"/>
            <ac:picMk id="97" creationId="{361FEF6F-767D-514C-98DF-1268A38A90E1}"/>
          </ac:picMkLst>
        </pc:picChg>
        <pc:picChg chg="add del mod">
          <ac:chgData name="Nick Robinson" userId="d0c2b313-4ae0-4040-8c6a-fec7a720a7b5" providerId="ADAL" clId="{190131DE-6250-C84F-B491-721E6CF30BCB}" dt="2021-12-21T16:41:38.149" v="24450" actId="478"/>
          <ac:picMkLst>
            <pc:docMk/>
            <pc:sldMk cId="3525553709" sldId="2147374156"/>
            <ac:picMk id="122" creationId="{78E207EA-36EB-504D-93ED-3B9703C31322}"/>
          </ac:picMkLst>
        </pc:picChg>
        <pc:picChg chg="add del mod">
          <ac:chgData name="Nick Robinson" userId="d0c2b313-4ae0-4040-8c6a-fec7a720a7b5" providerId="ADAL" clId="{190131DE-6250-C84F-B491-721E6CF30BCB}" dt="2021-12-21T16:41:38.149" v="24450" actId="478"/>
          <ac:picMkLst>
            <pc:docMk/>
            <pc:sldMk cId="3525553709" sldId="2147374156"/>
            <ac:picMk id="123" creationId="{EA29F15E-FF05-C340-8787-C3F6B88343B4}"/>
          </ac:picMkLst>
        </pc:picChg>
        <pc:picChg chg="add del mod">
          <ac:chgData name="Nick Robinson" userId="d0c2b313-4ae0-4040-8c6a-fec7a720a7b5" providerId="ADAL" clId="{190131DE-6250-C84F-B491-721E6CF30BCB}" dt="2021-12-21T16:41:38.149" v="24450" actId="478"/>
          <ac:picMkLst>
            <pc:docMk/>
            <pc:sldMk cId="3525553709" sldId="2147374156"/>
            <ac:picMk id="124" creationId="{2003B5CB-DC98-364A-9073-44502A14C537}"/>
          </ac:picMkLst>
        </pc:picChg>
        <pc:picChg chg="add del mod">
          <ac:chgData name="Nick Robinson" userId="d0c2b313-4ae0-4040-8c6a-fec7a720a7b5" providerId="ADAL" clId="{190131DE-6250-C84F-B491-721E6CF30BCB}" dt="2021-12-21T16:41:38.149" v="24450" actId="478"/>
          <ac:picMkLst>
            <pc:docMk/>
            <pc:sldMk cId="3525553709" sldId="2147374156"/>
            <ac:picMk id="125" creationId="{D2B6D9C9-BCF9-6A4B-9D95-991D125A9165}"/>
          </ac:picMkLst>
        </pc:picChg>
        <pc:picChg chg="add del mod">
          <ac:chgData name="Nick Robinson" userId="d0c2b313-4ae0-4040-8c6a-fec7a720a7b5" providerId="ADAL" clId="{190131DE-6250-C84F-B491-721E6CF30BCB}" dt="2021-12-21T16:41:38.149" v="24450" actId="478"/>
          <ac:picMkLst>
            <pc:docMk/>
            <pc:sldMk cId="3525553709" sldId="2147374156"/>
            <ac:picMk id="126" creationId="{DFC9960D-FB8C-D741-81F4-F3DBDAC532A1}"/>
          </ac:picMkLst>
        </pc:picChg>
        <pc:picChg chg="add del mod">
          <ac:chgData name="Nick Robinson" userId="d0c2b313-4ae0-4040-8c6a-fec7a720a7b5" providerId="ADAL" clId="{190131DE-6250-C84F-B491-721E6CF30BCB}" dt="2021-12-21T16:41:38.149" v="24450" actId="478"/>
          <ac:picMkLst>
            <pc:docMk/>
            <pc:sldMk cId="3525553709" sldId="2147374156"/>
            <ac:picMk id="127" creationId="{3E8112A4-8294-5845-A42B-EF233B425DD6}"/>
          </ac:picMkLst>
        </pc:picChg>
        <pc:picChg chg="add del mod">
          <ac:chgData name="Nick Robinson" userId="d0c2b313-4ae0-4040-8c6a-fec7a720a7b5" providerId="ADAL" clId="{190131DE-6250-C84F-B491-721E6CF30BCB}" dt="2021-12-21T16:41:38.149" v="24450" actId="478"/>
          <ac:picMkLst>
            <pc:docMk/>
            <pc:sldMk cId="3525553709" sldId="2147374156"/>
            <ac:picMk id="128" creationId="{099B0D44-7B3A-0449-B09E-D275383420BD}"/>
          </ac:picMkLst>
        </pc:picChg>
        <pc:picChg chg="add del mod">
          <ac:chgData name="Nick Robinson" userId="d0c2b313-4ae0-4040-8c6a-fec7a720a7b5" providerId="ADAL" clId="{190131DE-6250-C84F-B491-721E6CF30BCB}" dt="2021-12-21T16:41:38.149" v="24450" actId="478"/>
          <ac:picMkLst>
            <pc:docMk/>
            <pc:sldMk cId="3525553709" sldId="2147374156"/>
            <ac:picMk id="129" creationId="{6810602F-4E35-F340-B094-572641872081}"/>
          </ac:picMkLst>
        </pc:picChg>
        <pc:picChg chg="add mod">
          <ac:chgData name="Nick Robinson" userId="d0c2b313-4ae0-4040-8c6a-fec7a720a7b5" providerId="ADAL" clId="{190131DE-6250-C84F-B491-721E6CF30BCB}" dt="2021-12-21T16:41:39.469" v="24451"/>
          <ac:picMkLst>
            <pc:docMk/>
            <pc:sldMk cId="3525553709" sldId="2147374156"/>
            <ac:picMk id="136" creationId="{AA0CBBF0-C49C-1E48-9D5B-B46176810849}"/>
          </ac:picMkLst>
        </pc:picChg>
        <pc:picChg chg="add mod">
          <ac:chgData name="Nick Robinson" userId="d0c2b313-4ae0-4040-8c6a-fec7a720a7b5" providerId="ADAL" clId="{190131DE-6250-C84F-B491-721E6CF30BCB}" dt="2021-12-21T16:41:39.469" v="24451"/>
          <ac:picMkLst>
            <pc:docMk/>
            <pc:sldMk cId="3525553709" sldId="2147374156"/>
            <ac:picMk id="137" creationId="{7E5B9529-2BC7-6341-A951-823343463E20}"/>
          </ac:picMkLst>
        </pc:picChg>
        <pc:picChg chg="add mod">
          <ac:chgData name="Nick Robinson" userId="d0c2b313-4ae0-4040-8c6a-fec7a720a7b5" providerId="ADAL" clId="{190131DE-6250-C84F-B491-721E6CF30BCB}" dt="2021-12-21T16:41:39.469" v="24451"/>
          <ac:picMkLst>
            <pc:docMk/>
            <pc:sldMk cId="3525553709" sldId="2147374156"/>
            <ac:picMk id="138" creationId="{317FFFBD-FF6A-7A43-972C-5D68F02B4BE4}"/>
          </ac:picMkLst>
        </pc:picChg>
        <pc:picChg chg="add mod">
          <ac:chgData name="Nick Robinson" userId="d0c2b313-4ae0-4040-8c6a-fec7a720a7b5" providerId="ADAL" clId="{190131DE-6250-C84F-B491-721E6CF30BCB}" dt="2021-12-21T16:41:39.469" v="24451"/>
          <ac:picMkLst>
            <pc:docMk/>
            <pc:sldMk cId="3525553709" sldId="2147374156"/>
            <ac:picMk id="139" creationId="{215B05B5-87CC-774B-93A5-9D0E69923C92}"/>
          </ac:picMkLst>
        </pc:picChg>
        <pc:picChg chg="add mod">
          <ac:chgData name="Nick Robinson" userId="d0c2b313-4ae0-4040-8c6a-fec7a720a7b5" providerId="ADAL" clId="{190131DE-6250-C84F-B491-721E6CF30BCB}" dt="2021-12-21T16:41:39.469" v="24451"/>
          <ac:picMkLst>
            <pc:docMk/>
            <pc:sldMk cId="3525553709" sldId="2147374156"/>
            <ac:picMk id="140" creationId="{5DA34C50-1F5D-9E40-999A-B7D25D2660AC}"/>
          </ac:picMkLst>
        </pc:picChg>
        <pc:picChg chg="add mod">
          <ac:chgData name="Nick Robinson" userId="d0c2b313-4ae0-4040-8c6a-fec7a720a7b5" providerId="ADAL" clId="{190131DE-6250-C84F-B491-721E6CF30BCB}" dt="2021-12-21T16:41:39.469" v="24451"/>
          <ac:picMkLst>
            <pc:docMk/>
            <pc:sldMk cId="3525553709" sldId="2147374156"/>
            <ac:picMk id="141" creationId="{E2A1D1BC-7E3D-5F41-8C05-8289A5479BC2}"/>
          </ac:picMkLst>
        </pc:picChg>
        <pc:picChg chg="add mod">
          <ac:chgData name="Nick Robinson" userId="d0c2b313-4ae0-4040-8c6a-fec7a720a7b5" providerId="ADAL" clId="{190131DE-6250-C84F-B491-721E6CF30BCB}" dt="2021-12-21T16:41:39.469" v="24451"/>
          <ac:picMkLst>
            <pc:docMk/>
            <pc:sldMk cId="3525553709" sldId="2147374156"/>
            <ac:picMk id="142" creationId="{6B32ADD8-C532-2347-B574-A11CAAD9F9AD}"/>
          </ac:picMkLst>
        </pc:picChg>
        <pc:picChg chg="add mod">
          <ac:chgData name="Nick Robinson" userId="d0c2b313-4ae0-4040-8c6a-fec7a720a7b5" providerId="ADAL" clId="{190131DE-6250-C84F-B491-721E6CF30BCB}" dt="2021-12-21T16:41:39.469" v="24451"/>
          <ac:picMkLst>
            <pc:docMk/>
            <pc:sldMk cId="3525553709" sldId="2147374156"/>
            <ac:picMk id="143" creationId="{D125D2D4-BBF7-494E-96C3-414981D8C92E}"/>
          </ac:picMkLst>
        </pc:picChg>
        <pc:picChg chg="add mod">
          <ac:chgData name="Nick Robinson" userId="d0c2b313-4ae0-4040-8c6a-fec7a720a7b5" providerId="ADAL" clId="{190131DE-6250-C84F-B491-721E6CF30BCB}" dt="2021-12-21T16:41:39.469" v="24451"/>
          <ac:picMkLst>
            <pc:docMk/>
            <pc:sldMk cId="3525553709" sldId="2147374156"/>
            <ac:picMk id="144" creationId="{48FFE603-A573-AF47-B3D9-40C7A8763277}"/>
          </ac:picMkLst>
        </pc:picChg>
        <pc:cxnChg chg="add mod">
          <ac:chgData name="Nick Robinson" userId="d0c2b313-4ae0-4040-8c6a-fec7a720a7b5" providerId="ADAL" clId="{190131DE-6250-C84F-B491-721E6CF30BCB}" dt="2021-12-22T11:40:58.901" v="25190" actId="14100"/>
          <ac:cxnSpMkLst>
            <pc:docMk/>
            <pc:sldMk cId="3525553709" sldId="2147374156"/>
            <ac:cxnSpMk id="63" creationId="{F7F9B363-DA56-944F-8D45-914B00C911FB}"/>
          </ac:cxnSpMkLst>
        </pc:cxnChg>
        <pc:cxnChg chg="add mod">
          <ac:chgData name="Nick Robinson" userId="d0c2b313-4ae0-4040-8c6a-fec7a720a7b5" providerId="ADAL" clId="{190131DE-6250-C84F-B491-721E6CF30BCB}" dt="2021-12-21T12:05:27.053" v="22821" actId="14100"/>
          <ac:cxnSpMkLst>
            <pc:docMk/>
            <pc:sldMk cId="3525553709" sldId="2147374156"/>
            <ac:cxnSpMk id="65" creationId="{A423D2E2-D3CA-AC44-9CE5-1ED0A6E3297A}"/>
          </ac:cxnSpMkLst>
        </pc:cxnChg>
        <pc:cxnChg chg="add mod">
          <ac:chgData name="Nick Robinson" userId="d0c2b313-4ae0-4040-8c6a-fec7a720a7b5" providerId="ADAL" clId="{190131DE-6250-C84F-B491-721E6CF30BCB}" dt="2021-12-22T11:40:51.661" v="25189" actId="1036"/>
          <ac:cxnSpMkLst>
            <pc:docMk/>
            <pc:sldMk cId="3525553709" sldId="2147374156"/>
            <ac:cxnSpMk id="66" creationId="{283D48AE-BF7D-9D42-A326-D7AD953E2257}"/>
          </ac:cxnSpMkLst>
        </pc:cxnChg>
        <pc:cxnChg chg="add del mod">
          <ac:chgData name="Nick Robinson" userId="d0c2b313-4ae0-4040-8c6a-fec7a720a7b5" providerId="ADAL" clId="{190131DE-6250-C84F-B491-721E6CF30BCB}" dt="2021-12-21T11:42:42.350" v="22361" actId="478"/>
          <ac:cxnSpMkLst>
            <pc:docMk/>
            <pc:sldMk cId="3525553709" sldId="2147374156"/>
            <ac:cxnSpMk id="68" creationId="{8BAEDB67-1322-BB44-8843-F91D9B768739}"/>
          </ac:cxnSpMkLst>
        </pc:cxnChg>
        <pc:cxnChg chg="add del mod">
          <ac:chgData name="Nick Robinson" userId="d0c2b313-4ae0-4040-8c6a-fec7a720a7b5" providerId="ADAL" clId="{190131DE-6250-C84F-B491-721E6CF30BCB}" dt="2021-12-21T11:42:42.350" v="22361" actId="478"/>
          <ac:cxnSpMkLst>
            <pc:docMk/>
            <pc:sldMk cId="3525553709" sldId="2147374156"/>
            <ac:cxnSpMk id="80" creationId="{25967961-EB18-B246-9BF7-9218A070288B}"/>
          </ac:cxnSpMkLst>
        </pc:cxnChg>
        <pc:cxnChg chg="add del mod">
          <ac:chgData name="Nick Robinson" userId="d0c2b313-4ae0-4040-8c6a-fec7a720a7b5" providerId="ADAL" clId="{190131DE-6250-C84F-B491-721E6CF30BCB}" dt="2021-12-21T16:41:38.149" v="24450" actId="478"/>
          <ac:cxnSpMkLst>
            <pc:docMk/>
            <pc:sldMk cId="3525553709" sldId="2147374156"/>
            <ac:cxnSpMk id="101" creationId="{1FF658D7-9C48-C940-907F-616D46215D1F}"/>
          </ac:cxnSpMkLst>
        </pc:cxnChg>
        <pc:cxnChg chg="add mod">
          <ac:chgData name="Nick Robinson" userId="d0c2b313-4ae0-4040-8c6a-fec7a720a7b5" providerId="ADAL" clId="{190131DE-6250-C84F-B491-721E6CF30BCB}" dt="2021-12-21T12:01:25.772" v="22784" actId="14100"/>
          <ac:cxnSpMkLst>
            <pc:docMk/>
            <pc:sldMk cId="3525553709" sldId="2147374156"/>
            <ac:cxnSpMk id="110" creationId="{687CD27B-645B-3C42-9825-4FEBFFD7665F}"/>
          </ac:cxnSpMkLst>
        </pc:cxnChg>
        <pc:cxnChg chg="add mod">
          <ac:chgData name="Nick Robinson" userId="d0c2b313-4ae0-4040-8c6a-fec7a720a7b5" providerId="ADAL" clId="{190131DE-6250-C84F-B491-721E6CF30BCB}" dt="2021-12-21T16:41:39.469" v="24451"/>
          <ac:cxnSpMkLst>
            <pc:docMk/>
            <pc:sldMk cId="3525553709" sldId="2147374156"/>
            <ac:cxnSpMk id="134" creationId="{0D3F7014-5808-F14B-830F-68FFF19AF30B}"/>
          </ac:cxnSpMkLst>
        </pc:cxnChg>
      </pc:sldChg>
      <pc:sldChg chg="addSp delSp modSp add mod delCm modCm">
        <pc:chgData name="Nick Robinson" userId="d0c2b313-4ae0-4040-8c6a-fec7a720a7b5" providerId="ADAL" clId="{190131DE-6250-C84F-B491-721E6CF30BCB}" dt="2021-12-23T07:59:46.919" v="36574" actId="1035"/>
        <pc:sldMkLst>
          <pc:docMk/>
          <pc:sldMk cId="2123939920" sldId="2147374157"/>
        </pc:sldMkLst>
        <pc:spChg chg="mod">
          <ac:chgData name="Nick Robinson" userId="d0c2b313-4ae0-4040-8c6a-fec7a720a7b5" providerId="ADAL" clId="{190131DE-6250-C84F-B491-721E6CF30BCB}" dt="2021-12-22T16:11:36.303" v="26610" actId="20577"/>
          <ac:spMkLst>
            <pc:docMk/>
            <pc:sldMk cId="2123939920" sldId="2147374157"/>
            <ac:spMk id="2" creationId="{00000000-0000-0000-0000-000000000000}"/>
          </ac:spMkLst>
        </pc:spChg>
        <pc:spChg chg="mod">
          <ac:chgData name="Nick Robinson" userId="d0c2b313-4ae0-4040-8c6a-fec7a720a7b5" providerId="ADAL" clId="{190131DE-6250-C84F-B491-721E6CF30BCB}" dt="2021-12-23T07:59:41.372" v="36564" actId="404"/>
          <ac:spMkLst>
            <pc:docMk/>
            <pc:sldMk cId="2123939920" sldId="2147374157"/>
            <ac:spMk id="9" creationId="{0E21E275-F6DD-E647-AA25-29499D14E0C6}"/>
          </ac:spMkLst>
        </pc:spChg>
        <pc:spChg chg="add del mod">
          <ac:chgData name="Nick Robinson" userId="d0c2b313-4ae0-4040-8c6a-fec7a720a7b5" providerId="ADAL" clId="{190131DE-6250-C84F-B491-721E6CF30BCB}" dt="2021-12-20T10:13:29.366" v="14125" actId="478"/>
          <ac:spMkLst>
            <pc:docMk/>
            <pc:sldMk cId="2123939920" sldId="2147374157"/>
            <ac:spMk id="12" creationId="{93578CBA-D3E3-E645-BB26-CB00890FF287}"/>
          </ac:spMkLst>
        </pc:spChg>
        <pc:spChg chg="del">
          <ac:chgData name="Nick Robinson" userId="d0c2b313-4ae0-4040-8c6a-fec7a720a7b5" providerId="ADAL" clId="{190131DE-6250-C84F-B491-721E6CF30BCB}" dt="2021-12-17T11:33:00.239" v="7309" actId="478"/>
          <ac:spMkLst>
            <pc:docMk/>
            <pc:sldMk cId="2123939920" sldId="2147374157"/>
            <ac:spMk id="19" creationId="{DB15ECB8-2279-CE47-A403-9D3A71AEDB57}"/>
          </ac:spMkLst>
        </pc:spChg>
        <pc:spChg chg="del">
          <ac:chgData name="Nick Robinson" userId="d0c2b313-4ae0-4040-8c6a-fec7a720a7b5" providerId="ADAL" clId="{190131DE-6250-C84F-B491-721E6CF30BCB}" dt="2021-12-17T11:33:00.239" v="7309" actId="478"/>
          <ac:spMkLst>
            <pc:docMk/>
            <pc:sldMk cId="2123939920" sldId="2147374157"/>
            <ac:spMk id="20" creationId="{6C09C46E-40B0-534F-9084-0587A6F5D8C6}"/>
          </ac:spMkLst>
        </pc:spChg>
        <pc:spChg chg="add mod">
          <ac:chgData name="Nick Robinson" userId="d0c2b313-4ae0-4040-8c6a-fec7a720a7b5" providerId="ADAL" clId="{190131DE-6250-C84F-B491-721E6CF30BCB}" dt="2021-12-23T07:59:46.919" v="36574" actId="1035"/>
          <ac:spMkLst>
            <pc:docMk/>
            <pc:sldMk cId="2123939920" sldId="2147374157"/>
            <ac:spMk id="21" creationId="{72A1BCA6-9EFD-304F-A5E5-7D1213DA6C02}"/>
          </ac:spMkLst>
        </pc:spChg>
        <pc:spChg chg="del">
          <ac:chgData name="Nick Robinson" userId="d0c2b313-4ae0-4040-8c6a-fec7a720a7b5" providerId="ADAL" clId="{190131DE-6250-C84F-B491-721E6CF30BCB}" dt="2021-12-17T11:33:00.239" v="7309" actId="478"/>
          <ac:spMkLst>
            <pc:docMk/>
            <pc:sldMk cId="2123939920" sldId="2147374157"/>
            <ac:spMk id="22" creationId="{776E165A-9C06-7240-B906-461358622D7F}"/>
          </ac:spMkLst>
        </pc:spChg>
        <pc:spChg chg="add mod">
          <ac:chgData name="Nick Robinson" userId="d0c2b313-4ae0-4040-8c6a-fec7a720a7b5" providerId="ADAL" clId="{190131DE-6250-C84F-B491-721E6CF30BCB}" dt="2021-12-23T07:59:46.919" v="36574" actId="1035"/>
          <ac:spMkLst>
            <pc:docMk/>
            <pc:sldMk cId="2123939920" sldId="2147374157"/>
            <ac:spMk id="23" creationId="{2233DD38-FDCF-7D4A-9961-DC5698D24CED}"/>
          </ac:spMkLst>
        </pc:spChg>
        <pc:spChg chg="add mod">
          <ac:chgData name="Nick Robinson" userId="d0c2b313-4ae0-4040-8c6a-fec7a720a7b5" providerId="ADAL" clId="{190131DE-6250-C84F-B491-721E6CF30BCB}" dt="2021-12-23T07:59:46.919" v="36574" actId="1035"/>
          <ac:spMkLst>
            <pc:docMk/>
            <pc:sldMk cId="2123939920" sldId="2147374157"/>
            <ac:spMk id="24" creationId="{30B54731-2875-F94E-A417-1F80D2986AC3}"/>
          </ac:spMkLst>
        </pc:spChg>
        <pc:spChg chg="add mod">
          <ac:chgData name="Nick Robinson" userId="d0c2b313-4ae0-4040-8c6a-fec7a720a7b5" providerId="ADAL" clId="{190131DE-6250-C84F-B491-721E6CF30BCB}" dt="2021-12-23T07:59:46.919" v="36574" actId="1035"/>
          <ac:spMkLst>
            <pc:docMk/>
            <pc:sldMk cId="2123939920" sldId="2147374157"/>
            <ac:spMk id="25" creationId="{05FC20FC-53D7-4741-AFED-EA57729BFC4F}"/>
          </ac:spMkLst>
        </pc:spChg>
        <pc:spChg chg="add mod">
          <ac:chgData name="Nick Robinson" userId="d0c2b313-4ae0-4040-8c6a-fec7a720a7b5" providerId="ADAL" clId="{190131DE-6250-C84F-B491-721E6CF30BCB}" dt="2021-12-23T07:59:46.919" v="36574" actId="1035"/>
          <ac:spMkLst>
            <pc:docMk/>
            <pc:sldMk cId="2123939920" sldId="2147374157"/>
            <ac:spMk id="26" creationId="{3DBEE28B-08BF-1D42-AFDF-4E090D2A561E}"/>
          </ac:spMkLst>
        </pc:spChg>
        <pc:spChg chg="add mod">
          <ac:chgData name="Nick Robinson" userId="d0c2b313-4ae0-4040-8c6a-fec7a720a7b5" providerId="ADAL" clId="{190131DE-6250-C84F-B491-721E6CF30BCB}" dt="2021-12-23T07:59:46.919" v="36574" actId="1035"/>
          <ac:spMkLst>
            <pc:docMk/>
            <pc:sldMk cId="2123939920" sldId="2147374157"/>
            <ac:spMk id="27" creationId="{C2D1AB97-8636-DC4D-8D8D-A3B67CE46BC4}"/>
          </ac:spMkLst>
        </pc:spChg>
        <pc:graphicFrameChg chg="del mod modGraphic">
          <ac:chgData name="Nick Robinson" userId="d0c2b313-4ae0-4040-8c6a-fec7a720a7b5" providerId="ADAL" clId="{190131DE-6250-C84F-B491-721E6CF30BCB}" dt="2021-12-17T11:43:27.931" v="7483" actId="478"/>
          <ac:graphicFrameMkLst>
            <pc:docMk/>
            <pc:sldMk cId="2123939920" sldId="2147374157"/>
            <ac:graphicFrameMk id="7" creationId="{0652C58B-32C6-9446-B4B3-CCE2F64D5CB7}"/>
          </ac:graphicFrameMkLst>
        </pc:graphicFrameChg>
        <pc:graphicFrameChg chg="add mod modGraphic">
          <ac:chgData name="Nick Robinson" userId="d0c2b313-4ae0-4040-8c6a-fec7a720a7b5" providerId="ADAL" clId="{190131DE-6250-C84F-B491-721E6CF30BCB}" dt="2021-12-23T07:59:46.919" v="36574" actId="1035"/>
          <ac:graphicFrameMkLst>
            <pc:docMk/>
            <pc:sldMk cId="2123939920" sldId="2147374157"/>
            <ac:graphicFrameMk id="11" creationId="{35441FE6-AE12-0245-B9F4-8F9D8C92969F}"/>
          </ac:graphicFrameMkLst>
        </pc:graphicFrameChg>
        <pc:graphicFrameChg chg="add mod modGraphic">
          <ac:chgData name="Nick Robinson" userId="d0c2b313-4ae0-4040-8c6a-fec7a720a7b5" providerId="ADAL" clId="{190131DE-6250-C84F-B491-721E6CF30BCB}" dt="2021-12-17T11:35:13.360" v="7331" actId="207"/>
          <ac:graphicFrameMkLst>
            <pc:docMk/>
            <pc:sldMk cId="2123939920" sldId="2147374157"/>
            <ac:graphicFrameMk id="15" creationId="{BC2CEA3F-1AFE-A741-9057-3B32934C32C7}"/>
          </ac:graphicFrameMkLst>
        </pc:graphicFrameChg>
        <pc:picChg chg="del">
          <ac:chgData name="Nick Robinson" userId="d0c2b313-4ae0-4040-8c6a-fec7a720a7b5" providerId="ADAL" clId="{190131DE-6250-C84F-B491-721E6CF30BCB}" dt="2021-12-17T11:33:00.239" v="7309" actId="478"/>
          <ac:picMkLst>
            <pc:docMk/>
            <pc:sldMk cId="2123939920" sldId="2147374157"/>
            <ac:picMk id="16" creationId="{6E452183-EB25-694C-A885-3DBA5CEDB671}"/>
          </ac:picMkLst>
        </pc:picChg>
        <pc:picChg chg="add del mod">
          <ac:chgData name="Nick Robinson" userId="d0c2b313-4ae0-4040-8c6a-fec7a720a7b5" providerId="ADAL" clId="{190131DE-6250-C84F-B491-721E6CF30BCB}" dt="2021-12-17T11:47:28.504" v="7519" actId="478"/>
          <ac:picMkLst>
            <pc:docMk/>
            <pc:sldMk cId="2123939920" sldId="2147374157"/>
            <ac:picMk id="17" creationId="{3AA45BAB-C90E-494E-B1C1-A94EFD890E3A}"/>
          </ac:picMkLst>
        </pc:picChg>
        <pc:cxnChg chg="add mod">
          <ac:chgData name="Nick Robinson" userId="d0c2b313-4ae0-4040-8c6a-fec7a720a7b5" providerId="ADAL" clId="{190131DE-6250-C84F-B491-721E6CF30BCB}" dt="2021-12-23T07:59:46.919" v="36574" actId="1035"/>
          <ac:cxnSpMkLst>
            <pc:docMk/>
            <pc:sldMk cId="2123939920" sldId="2147374157"/>
            <ac:cxnSpMk id="10" creationId="{C3C7D6D3-997B-2C41-BA51-2969A3A4E582}"/>
          </ac:cxnSpMkLst>
        </pc:cxnChg>
      </pc:sldChg>
      <pc:sldChg chg="addSp modSp add mod delCm">
        <pc:chgData name="Nick Robinson" userId="d0c2b313-4ae0-4040-8c6a-fec7a720a7b5" providerId="ADAL" clId="{190131DE-6250-C84F-B491-721E6CF30BCB}" dt="2021-12-23T08:00:11.364" v="36579"/>
        <pc:sldMkLst>
          <pc:docMk/>
          <pc:sldMk cId="581444142" sldId="2147374158"/>
        </pc:sldMkLst>
        <pc:spChg chg="mod">
          <ac:chgData name="Nick Robinson" userId="d0c2b313-4ae0-4040-8c6a-fec7a720a7b5" providerId="ADAL" clId="{190131DE-6250-C84F-B491-721E6CF30BCB}" dt="2021-12-17T11:38:20.519" v="7381" actId="6549"/>
          <ac:spMkLst>
            <pc:docMk/>
            <pc:sldMk cId="581444142" sldId="2147374158"/>
            <ac:spMk id="2" creationId="{00000000-0000-0000-0000-000000000000}"/>
          </ac:spMkLst>
        </pc:spChg>
        <pc:spChg chg="mod">
          <ac:chgData name="Nick Robinson" userId="d0c2b313-4ae0-4040-8c6a-fec7a720a7b5" providerId="ADAL" clId="{190131DE-6250-C84F-B491-721E6CF30BCB}" dt="2021-12-23T08:00:07.874" v="36578" actId="207"/>
          <ac:spMkLst>
            <pc:docMk/>
            <pc:sldMk cId="581444142" sldId="2147374158"/>
            <ac:spMk id="16" creationId="{F715D659-0B3D-3441-8784-EDED0A7173C7}"/>
          </ac:spMkLst>
        </pc:spChg>
        <pc:graphicFrameChg chg="add mod">
          <ac:chgData name="Nick Robinson" userId="d0c2b313-4ae0-4040-8c6a-fec7a720a7b5" providerId="ADAL" clId="{190131DE-6250-C84F-B491-721E6CF30BCB}" dt="2021-12-17T11:35:17.663" v="7332"/>
          <ac:graphicFrameMkLst>
            <pc:docMk/>
            <pc:sldMk cId="581444142" sldId="2147374158"/>
            <ac:graphicFrameMk id="8" creationId="{B0BB455C-2651-4D4F-AE73-7C1F77D594D2}"/>
          </ac:graphicFrameMkLst>
        </pc:graphicFrameChg>
        <pc:graphicFrameChg chg="mod modGraphic">
          <ac:chgData name="Nick Robinson" userId="d0c2b313-4ae0-4040-8c6a-fec7a720a7b5" providerId="ADAL" clId="{190131DE-6250-C84F-B491-721E6CF30BCB}" dt="2021-12-22T20:23:49.542" v="30231" actId="207"/>
          <ac:graphicFrameMkLst>
            <pc:docMk/>
            <pc:sldMk cId="581444142" sldId="2147374158"/>
            <ac:graphicFrameMk id="26" creationId="{B868C0AB-3D2C-4647-A123-6629F1806D7E}"/>
          </ac:graphicFrameMkLst>
        </pc:graphicFrameChg>
      </pc:sldChg>
      <pc:sldChg chg="addSp modSp add del mod">
        <pc:chgData name="Nick Robinson" userId="d0c2b313-4ae0-4040-8c6a-fec7a720a7b5" providerId="ADAL" clId="{190131DE-6250-C84F-B491-721E6CF30BCB}" dt="2021-12-17T11:38:18.543" v="7380" actId="2696"/>
        <pc:sldMkLst>
          <pc:docMk/>
          <pc:sldMk cId="1689749406" sldId="2147374159"/>
        </pc:sldMkLst>
        <pc:graphicFrameChg chg="add mod">
          <ac:chgData name="Nick Robinson" userId="d0c2b313-4ae0-4040-8c6a-fec7a720a7b5" providerId="ADAL" clId="{190131DE-6250-C84F-B491-721E6CF30BCB}" dt="2021-12-17T11:35:20.535" v="7333"/>
          <ac:graphicFrameMkLst>
            <pc:docMk/>
            <pc:sldMk cId="1689749406" sldId="2147374159"/>
            <ac:graphicFrameMk id="8" creationId="{571C062A-5D23-4448-81B0-A1F5B0D1FCB5}"/>
          </ac:graphicFrameMkLst>
        </pc:graphicFrameChg>
        <pc:graphicFrameChg chg="modGraphic">
          <ac:chgData name="Nick Robinson" userId="d0c2b313-4ae0-4040-8c6a-fec7a720a7b5" providerId="ADAL" clId="{190131DE-6250-C84F-B491-721E6CF30BCB}" dt="2021-12-17T11:31:33.650" v="7282" actId="14734"/>
          <ac:graphicFrameMkLst>
            <pc:docMk/>
            <pc:sldMk cId="1689749406" sldId="2147374159"/>
            <ac:graphicFrameMk id="26" creationId="{B868C0AB-3D2C-4647-A123-6629F1806D7E}"/>
          </ac:graphicFrameMkLst>
        </pc:graphicFrameChg>
      </pc:sldChg>
      <pc:sldChg chg="addSp delSp modSp add mod delCm modCm">
        <pc:chgData name="Nick Robinson" userId="d0c2b313-4ae0-4040-8c6a-fec7a720a7b5" providerId="ADAL" clId="{190131DE-6250-C84F-B491-721E6CF30BCB}" dt="2021-12-23T10:57:31.070" v="42287" actId="20577"/>
        <pc:sldMkLst>
          <pc:docMk/>
          <pc:sldMk cId="2988138454" sldId="2147374160"/>
        </pc:sldMkLst>
        <pc:spChg chg="mod">
          <ac:chgData name="Nick Robinson" userId="d0c2b313-4ae0-4040-8c6a-fec7a720a7b5" providerId="ADAL" clId="{190131DE-6250-C84F-B491-721E6CF30BCB}" dt="2021-12-22T16:04:40.302" v="26169" actId="20577"/>
          <ac:spMkLst>
            <pc:docMk/>
            <pc:sldMk cId="2988138454" sldId="2147374160"/>
            <ac:spMk id="2" creationId="{00000000-0000-0000-0000-000000000000}"/>
          </ac:spMkLst>
        </pc:spChg>
        <pc:spChg chg="add mod">
          <ac:chgData name="Nick Robinson" userId="d0c2b313-4ae0-4040-8c6a-fec7a720a7b5" providerId="ADAL" clId="{190131DE-6250-C84F-B491-721E6CF30BCB}" dt="2021-12-23T08:08:21.743" v="36617" actId="20577"/>
          <ac:spMkLst>
            <pc:docMk/>
            <pc:sldMk cId="2988138454" sldId="2147374160"/>
            <ac:spMk id="9" creationId="{DE40300B-B14F-0647-8050-49EE30A1951D}"/>
          </ac:spMkLst>
        </pc:spChg>
        <pc:spChg chg="del mod">
          <ac:chgData name="Nick Robinson" userId="d0c2b313-4ae0-4040-8c6a-fec7a720a7b5" providerId="ADAL" clId="{190131DE-6250-C84F-B491-721E6CF30BCB}" dt="2021-12-23T08:08:05.829" v="36580" actId="478"/>
          <ac:spMkLst>
            <pc:docMk/>
            <pc:sldMk cId="2988138454" sldId="2147374160"/>
            <ac:spMk id="16" creationId="{F715D659-0B3D-3441-8784-EDED0A7173C7}"/>
          </ac:spMkLst>
        </pc:spChg>
        <pc:graphicFrameChg chg="add mod">
          <ac:chgData name="Nick Robinson" userId="d0c2b313-4ae0-4040-8c6a-fec7a720a7b5" providerId="ADAL" clId="{190131DE-6250-C84F-B491-721E6CF30BCB}" dt="2021-12-17T11:35:21.311" v="7334"/>
          <ac:graphicFrameMkLst>
            <pc:docMk/>
            <pc:sldMk cId="2988138454" sldId="2147374160"/>
            <ac:graphicFrameMk id="8" creationId="{BF2AFAC8-D7E1-684A-96D1-F25370D4B650}"/>
          </ac:graphicFrameMkLst>
        </pc:graphicFrameChg>
        <pc:graphicFrameChg chg="mod modGraphic">
          <ac:chgData name="Nick Robinson" userId="d0c2b313-4ae0-4040-8c6a-fec7a720a7b5" providerId="ADAL" clId="{190131DE-6250-C84F-B491-721E6CF30BCB}" dt="2021-12-23T10:57:31.070" v="42287" actId="20577"/>
          <ac:graphicFrameMkLst>
            <pc:docMk/>
            <pc:sldMk cId="2988138454" sldId="2147374160"/>
            <ac:graphicFrameMk id="26" creationId="{B868C0AB-3D2C-4647-A123-6629F1806D7E}"/>
          </ac:graphicFrameMkLst>
        </pc:graphicFrameChg>
      </pc:sldChg>
      <pc:sldChg chg="addSp modSp add del mod">
        <pc:chgData name="Nick Robinson" userId="d0c2b313-4ae0-4040-8c6a-fec7a720a7b5" providerId="ADAL" clId="{190131DE-6250-C84F-B491-721E6CF30BCB}" dt="2021-12-17T11:40:55.783" v="7451" actId="2696"/>
        <pc:sldMkLst>
          <pc:docMk/>
          <pc:sldMk cId="1556113428" sldId="2147374161"/>
        </pc:sldMkLst>
        <pc:graphicFrameChg chg="add mod">
          <ac:chgData name="Nick Robinson" userId="d0c2b313-4ae0-4040-8c6a-fec7a720a7b5" providerId="ADAL" clId="{190131DE-6250-C84F-B491-721E6CF30BCB}" dt="2021-12-17T11:35:22.160" v="7335"/>
          <ac:graphicFrameMkLst>
            <pc:docMk/>
            <pc:sldMk cId="1556113428" sldId="2147374161"/>
            <ac:graphicFrameMk id="8" creationId="{A0D49BC9-85BF-C84A-B778-BD930EE2D4F2}"/>
          </ac:graphicFrameMkLst>
        </pc:graphicFrameChg>
        <pc:graphicFrameChg chg="modGraphic">
          <ac:chgData name="Nick Robinson" userId="d0c2b313-4ae0-4040-8c6a-fec7a720a7b5" providerId="ADAL" clId="{190131DE-6250-C84F-B491-721E6CF30BCB}" dt="2021-12-17T11:31:52.485" v="7286" actId="14734"/>
          <ac:graphicFrameMkLst>
            <pc:docMk/>
            <pc:sldMk cId="1556113428" sldId="2147374161"/>
            <ac:graphicFrameMk id="26" creationId="{B868C0AB-3D2C-4647-A123-6629F1806D7E}"/>
          </ac:graphicFrameMkLst>
        </pc:graphicFrameChg>
      </pc:sldChg>
      <pc:sldChg chg="addSp modSp add del mod">
        <pc:chgData name="Nick Robinson" userId="d0c2b313-4ae0-4040-8c6a-fec7a720a7b5" providerId="ADAL" clId="{190131DE-6250-C84F-B491-721E6CF30BCB}" dt="2021-12-17T11:41:19.097" v="7456" actId="2696"/>
        <pc:sldMkLst>
          <pc:docMk/>
          <pc:sldMk cId="2071859536" sldId="2147374162"/>
        </pc:sldMkLst>
        <pc:graphicFrameChg chg="add mod">
          <ac:chgData name="Nick Robinson" userId="d0c2b313-4ae0-4040-8c6a-fec7a720a7b5" providerId="ADAL" clId="{190131DE-6250-C84F-B491-721E6CF30BCB}" dt="2021-12-17T11:35:22.778" v="7336"/>
          <ac:graphicFrameMkLst>
            <pc:docMk/>
            <pc:sldMk cId="2071859536" sldId="2147374162"/>
            <ac:graphicFrameMk id="8" creationId="{05CA533E-CAC4-CA44-99B0-5237BFF6813B}"/>
          </ac:graphicFrameMkLst>
        </pc:graphicFrameChg>
        <pc:graphicFrameChg chg="modGraphic">
          <ac:chgData name="Nick Robinson" userId="d0c2b313-4ae0-4040-8c6a-fec7a720a7b5" providerId="ADAL" clId="{190131DE-6250-C84F-B491-721E6CF30BCB}" dt="2021-12-17T11:41:17.782" v="7455" actId="21"/>
          <ac:graphicFrameMkLst>
            <pc:docMk/>
            <pc:sldMk cId="2071859536" sldId="2147374162"/>
            <ac:graphicFrameMk id="26" creationId="{B868C0AB-3D2C-4647-A123-6629F1806D7E}"/>
          </ac:graphicFrameMkLst>
        </pc:graphicFrameChg>
      </pc:sldChg>
      <pc:sldChg chg="addSp delSp modSp add mod ord delCm">
        <pc:chgData name="Nick Robinson" userId="d0c2b313-4ae0-4040-8c6a-fec7a720a7b5" providerId="ADAL" clId="{190131DE-6250-C84F-B491-721E6CF30BCB}" dt="2021-12-23T11:55:24.022" v="44004" actId="2085"/>
        <pc:sldMkLst>
          <pc:docMk/>
          <pc:sldMk cId="1776922325" sldId="2147374163"/>
        </pc:sldMkLst>
        <pc:spChg chg="mod">
          <ac:chgData name="Nick Robinson" userId="d0c2b313-4ae0-4040-8c6a-fec7a720a7b5" providerId="ADAL" clId="{190131DE-6250-C84F-B491-721E6CF30BCB}" dt="2021-12-17T11:37:25.832" v="7369" actId="20577"/>
          <ac:spMkLst>
            <pc:docMk/>
            <pc:sldMk cId="1776922325" sldId="2147374163"/>
            <ac:spMk id="2" creationId="{00000000-0000-0000-0000-000000000000}"/>
          </ac:spMkLst>
        </pc:spChg>
        <pc:spChg chg="add del mod">
          <ac:chgData name="Nick Robinson" userId="d0c2b313-4ae0-4040-8c6a-fec7a720a7b5" providerId="ADAL" clId="{190131DE-6250-C84F-B491-721E6CF30BCB}" dt="2021-12-23T11:25:25.225" v="42316" actId="478"/>
          <ac:spMkLst>
            <pc:docMk/>
            <pc:sldMk cId="1776922325" sldId="2147374163"/>
            <ac:spMk id="5" creationId="{EA4A6C30-C81B-C242-879D-7780197EBE67}"/>
          </ac:spMkLst>
        </pc:spChg>
        <pc:spChg chg="add del mod">
          <ac:chgData name="Nick Robinson" userId="d0c2b313-4ae0-4040-8c6a-fec7a720a7b5" providerId="ADAL" clId="{190131DE-6250-C84F-B491-721E6CF30BCB}" dt="2021-12-23T11:55:24.022" v="44004" actId="2085"/>
          <ac:spMkLst>
            <pc:docMk/>
            <pc:sldMk cId="1776922325" sldId="2147374163"/>
            <ac:spMk id="12" creationId="{C2123E69-BD00-EC4E-9DEE-7380A20C6E35}"/>
          </ac:spMkLst>
        </pc:spChg>
        <pc:spChg chg="add mod">
          <ac:chgData name="Nick Robinson" userId="d0c2b313-4ae0-4040-8c6a-fec7a720a7b5" providerId="ADAL" clId="{190131DE-6250-C84F-B491-721E6CF30BCB}" dt="2021-12-23T11:53:07.717" v="43974" actId="20577"/>
          <ac:spMkLst>
            <pc:docMk/>
            <pc:sldMk cId="1776922325" sldId="2147374163"/>
            <ac:spMk id="14" creationId="{0B1C539B-11B5-D548-9272-286ED508473B}"/>
          </ac:spMkLst>
        </pc:spChg>
        <pc:spChg chg="add mod">
          <ac:chgData name="Nick Robinson" userId="d0c2b313-4ae0-4040-8c6a-fec7a720a7b5" providerId="ADAL" clId="{190131DE-6250-C84F-B491-721E6CF30BCB}" dt="2021-12-23T11:55:18.922" v="44003" actId="2085"/>
          <ac:spMkLst>
            <pc:docMk/>
            <pc:sldMk cId="1776922325" sldId="2147374163"/>
            <ac:spMk id="15" creationId="{9B5646B4-0E60-7F43-8198-D232D3D6E9AC}"/>
          </ac:spMkLst>
        </pc:spChg>
        <pc:spChg chg="add mod">
          <ac:chgData name="Nick Robinson" userId="d0c2b313-4ae0-4040-8c6a-fec7a720a7b5" providerId="ADAL" clId="{190131DE-6250-C84F-B491-721E6CF30BCB}" dt="2021-12-23T11:55:24.022" v="44004" actId="2085"/>
          <ac:spMkLst>
            <pc:docMk/>
            <pc:sldMk cId="1776922325" sldId="2147374163"/>
            <ac:spMk id="16" creationId="{47994770-58E3-2147-82B6-665805922250}"/>
          </ac:spMkLst>
        </pc:spChg>
        <pc:spChg chg="del mod">
          <ac:chgData name="Nick Robinson" userId="d0c2b313-4ae0-4040-8c6a-fec7a720a7b5" providerId="ADAL" clId="{190131DE-6250-C84F-B491-721E6CF30BCB}" dt="2021-12-17T11:47:34.833" v="7522" actId="478"/>
          <ac:spMkLst>
            <pc:docMk/>
            <pc:sldMk cId="1776922325" sldId="2147374163"/>
            <ac:spMk id="16" creationId="{F715D659-0B3D-3441-8784-EDED0A7173C7}"/>
          </ac:spMkLst>
        </pc:spChg>
        <pc:spChg chg="add mod">
          <ac:chgData name="Nick Robinson" userId="d0c2b313-4ae0-4040-8c6a-fec7a720a7b5" providerId="ADAL" clId="{190131DE-6250-C84F-B491-721E6CF30BCB}" dt="2021-12-23T11:55:18.922" v="44003" actId="2085"/>
          <ac:spMkLst>
            <pc:docMk/>
            <pc:sldMk cId="1776922325" sldId="2147374163"/>
            <ac:spMk id="17" creationId="{90317DA8-67D0-624E-B206-F37034F4D249}"/>
          </ac:spMkLst>
        </pc:spChg>
        <pc:spChg chg="add mod">
          <ac:chgData name="Nick Robinson" userId="d0c2b313-4ae0-4040-8c6a-fec7a720a7b5" providerId="ADAL" clId="{190131DE-6250-C84F-B491-721E6CF30BCB}" dt="2021-12-23T11:55:24.022" v="44004" actId="2085"/>
          <ac:spMkLst>
            <pc:docMk/>
            <pc:sldMk cId="1776922325" sldId="2147374163"/>
            <ac:spMk id="18" creationId="{3BC1A861-F5FB-7445-90C7-A5F9773060D1}"/>
          </ac:spMkLst>
        </pc:spChg>
        <pc:spChg chg="add mod">
          <ac:chgData name="Nick Robinson" userId="d0c2b313-4ae0-4040-8c6a-fec7a720a7b5" providerId="ADAL" clId="{190131DE-6250-C84F-B491-721E6CF30BCB}" dt="2021-12-23T11:55:18.922" v="44003" actId="2085"/>
          <ac:spMkLst>
            <pc:docMk/>
            <pc:sldMk cId="1776922325" sldId="2147374163"/>
            <ac:spMk id="19" creationId="{06DFB2FC-95CA-0B4B-9DF0-6A90691C1AAF}"/>
          </ac:spMkLst>
        </pc:spChg>
        <pc:spChg chg="add mod">
          <ac:chgData name="Nick Robinson" userId="d0c2b313-4ae0-4040-8c6a-fec7a720a7b5" providerId="ADAL" clId="{190131DE-6250-C84F-B491-721E6CF30BCB}" dt="2021-12-23T11:55:24.022" v="44004" actId="2085"/>
          <ac:spMkLst>
            <pc:docMk/>
            <pc:sldMk cId="1776922325" sldId="2147374163"/>
            <ac:spMk id="20" creationId="{F79E7AF6-D050-9B49-8C47-5F427141F539}"/>
          </ac:spMkLst>
        </pc:spChg>
        <pc:spChg chg="add mod">
          <ac:chgData name="Nick Robinson" userId="d0c2b313-4ae0-4040-8c6a-fec7a720a7b5" providerId="ADAL" clId="{190131DE-6250-C84F-B491-721E6CF30BCB}" dt="2021-12-23T11:55:18.922" v="44003" actId="2085"/>
          <ac:spMkLst>
            <pc:docMk/>
            <pc:sldMk cId="1776922325" sldId="2147374163"/>
            <ac:spMk id="21" creationId="{6300BFAC-9D94-3A4C-B38C-6285B00D63B7}"/>
          </ac:spMkLst>
        </pc:spChg>
        <pc:spChg chg="add mod">
          <ac:chgData name="Nick Robinson" userId="d0c2b313-4ae0-4040-8c6a-fec7a720a7b5" providerId="ADAL" clId="{190131DE-6250-C84F-B491-721E6CF30BCB}" dt="2021-12-23T11:55:24.022" v="44004" actId="2085"/>
          <ac:spMkLst>
            <pc:docMk/>
            <pc:sldMk cId="1776922325" sldId="2147374163"/>
            <ac:spMk id="22" creationId="{FA244FE5-B54A-FA45-9F97-08286B132B33}"/>
          </ac:spMkLst>
        </pc:spChg>
        <pc:spChg chg="add del mod">
          <ac:chgData name="Nick Robinson" userId="d0c2b313-4ae0-4040-8c6a-fec7a720a7b5" providerId="ADAL" clId="{190131DE-6250-C84F-B491-721E6CF30BCB}" dt="2021-12-23T11:41:10.878" v="43852" actId="478"/>
          <ac:spMkLst>
            <pc:docMk/>
            <pc:sldMk cId="1776922325" sldId="2147374163"/>
            <ac:spMk id="23" creationId="{AC0D434C-2ECB-824F-838A-8F896D287E73}"/>
          </ac:spMkLst>
        </pc:spChg>
        <pc:spChg chg="add mod">
          <ac:chgData name="Nick Robinson" userId="d0c2b313-4ae0-4040-8c6a-fec7a720a7b5" providerId="ADAL" clId="{190131DE-6250-C84F-B491-721E6CF30BCB}" dt="2021-12-23T11:55:18.922" v="44003" actId="2085"/>
          <ac:spMkLst>
            <pc:docMk/>
            <pc:sldMk cId="1776922325" sldId="2147374163"/>
            <ac:spMk id="24" creationId="{F2E01983-6D3C-1D4B-BE7A-9226144A9DAC}"/>
          </ac:spMkLst>
        </pc:spChg>
        <pc:spChg chg="add mod">
          <ac:chgData name="Nick Robinson" userId="d0c2b313-4ae0-4040-8c6a-fec7a720a7b5" providerId="ADAL" clId="{190131DE-6250-C84F-B491-721E6CF30BCB}" dt="2021-12-23T11:55:24.022" v="44004" actId="2085"/>
          <ac:spMkLst>
            <pc:docMk/>
            <pc:sldMk cId="1776922325" sldId="2147374163"/>
            <ac:spMk id="25" creationId="{BA1724D7-9CF7-7C4F-BD43-05F065F60F08}"/>
          </ac:spMkLst>
        </pc:spChg>
        <pc:spChg chg="add mod">
          <ac:chgData name="Nick Robinson" userId="d0c2b313-4ae0-4040-8c6a-fec7a720a7b5" providerId="ADAL" clId="{190131DE-6250-C84F-B491-721E6CF30BCB}" dt="2021-12-23T11:55:18.922" v="44003" actId="2085"/>
          <ac:spMkLst>
            <pc:docMk/>
            <pc:sldMk cId="1776922325" sldId="2147374163"/>
            <ac:spMk id="26" creationId="{FB651069-BDE0-1348-8004-AF151BBD4442}"/>
          </ac:spMkLst>
        </pc:spChg>
        <pc:spChg chg="add mod">
          <ac:chgData name="Nick Robinson" userId="d0c2b313-4ae0-4040-8c6a-fec7a720a7b5" providerId="ADAL" clId="{190131DE-6250-C84F-B491-721E6CF30BCB}" dt="2021-12-23T11:55:18.922" v="44003" actId="2085"/>
          <ac:spMkLst>
            <pc:docMk/>
            <pc:sldMk cId="1776922325" sldId="2147374163"/>
            <ac:spMk id="27" creationId="{F1638528-F1EE-1A47-8D7D-031C70C9D51E}"/>
          </ac:spMkLst>
        </pc:spChg>
        <pc:graphicFrameChg chg="add mod">
          <ac:chgData name="Nick Robinson" userId="d0c2b313-4ae0-4040-8c6a-fec7a720a7b5" providerId="ADAL" clId="{190131DE-6250-C84F-B491-721E6CF30BCB}" dt="2021-12-17T11:35:24.530" v="7337"/>
          <ac:graphicFrameMkLst>
            <pc:docMk/>
            <pc:sldMk cId="1776922325" sldId="2147374163"/>
            <ac:graphicFrameMk id="8" creationId="{D90532D5-FC69-1240-84DF-79F74138ACF2}"/>
          </ac:graphicFrameMkLst>
        </pc:graphicFrameChg>
        <pc:graphicFrameChg chg="add del mod modGraphic">
          <ac:chgData name="Nick Robinson" userId="d0c2b313-4ae0-4040-8c6a-fec7a720a7b5" providerId="ADAL" clId="{190131DE-6250-C84F-B491-721E6CF30BCB}" dt="2021-12-23T11:25:25.225" v="42316" actId="478"/>
          <ac:graphicFrameMkLst>
            <pc:docMk/>
            <pc:sldMk cId="1776922325" sldId="2147374163"/>
            <ac:graphicFrameMk id="10" creationId="{18EC0086-D094-1243-B68C-870EE04E7F1F}"/>
          </ac:graphicFrameMkLst>
        </pc:graphicFrameChg>
        <pc:graphicFrameChg chg="del modGraphic">
          <ac:chgData name="Nick Robinson" userId="d0c2b313-4ae0-4040-8c6a-fec7a720a7b5" providerId="ADAL" clId="{190131DE-6250-C84F-B491-721E6CF30BCB}" dt="2021-12-17T11:37:19.139" v="7350" actId="478"/>
          <ac:graphicFrameMkLst>
            <pc:docMk/>
            <pc:sldMk cId="1776922325" sldId="2147374163"/>
            <ac:graphicFrameMk id="26" creationId="{B868C0AB-3D2C-4647-A123-6629F1806D7E}"/>
          </ac:graphicFrameMkLst>
        </pc:graphicFrameChg>
        <pc:picChg chg="add mod modCrop">
          <ac:chgData name="Nick Robinson" userId="d0c2b313-4ae0-4040-8c6a-fec7a720a7b5" providerId="ADAL" clId="{190131DE-6250-C84F-B491-721E6CF30BCB}" dt="2021-12-23T11:55:01.171" v="44000" actId="732"/>
          <ac:picMkLst>
            <pc:docMk/>
            <pc:sldMk cId="1776922325" sldId="2147374163"/>
            <ac:picMk id="9" creationId="{F4AA1760-BB5E-2D4B-B292-BCFF1C2211C1}"/>
          </ac:picMkLst>
        </pc:picChg>
        <pc:picChg chg="add del mod">
          <ac:chgData name="Nick Robinson" userId="d0c2b313-4ae0-4040-8c6a-fec7a720a7b5" providerId="ADAL" clId="{190131DE-6250-C84F-B491-721E6CF30BCB}" dt="2021-12-23T11:25:25.225" v="42316" actId="478"/>
          <ac:picMkLst>
            <pc:docMk/>
            <pc:sldMk cId="1776922325" sldId="2147374163"/>
            <ac:picMk id="11" creationId="{959A01F3-2F2E-604F-852E-A36A4FC80DAD}"/>
          </ac:picMkLst>
        </pc:picChg>
        <pc:picChg chg="add del mod">
          <ac:chgData name="Nick Robinson" userId="d0c2b313-4ae0-4040-8c6a-fec7a720a7b5" providerId="ADAL" clId="{190131DE-6250-C84F-B491-721E6CF30BCB}" dt="2021-12-23T11:25:25.225" v="42316" actId="478"/>
          <ac:picMkLst>
            <pc:docMk/>
            <pc:sldMk cId="1776922325" sldId="2147374163"/>
            <ac:picMk id="13" creationId="{7F1ADE29-4FA0-2A49-9B17-45C03569E81A}"/>
          </ac:picMkLst>
        </pc:picChg>
        <pc:cxnChg chg="add del mod">
          <ac:chgData name="Nick Robinson" userId="d0c2b313-4ae0-4040-8c6a-fec7a720a7b5" providerId="ADAL" clId="{190131DE-6250-C84F-B491-721E6CF30BCB}" dt="2021-12-17T11:47:05.995" v="7515" actId="478"/>
          <ac:cxnSpMkLst>
            <pc:docMk/>
            <pc:sldMk cId="1776922325" sldId="2147374163"/>
            <ac:cxnSpMk id="9" creationId="{B323C454-B763-AA47-8874-29FDFCAF7843}"/>
          </ac:cxnSpMkLst>
        </pc:cxnChg>
        <pc:cxnChg chg="add mod">
          <ac:chgData name="Nick Robinson" userId="d0c2b313-4ae0-4040-8c6a-fec7a720a7b5" providerId="ADAL" clId="{190131DE-6250-C84F-B491-721E6CF30BCB}" dt="2021-12-23T11:54:50.040" v="43999" actId="1035"/>
          <ac:cxnSpMkLst>
            <pc:docMk/>
            <pc:sldMk cId="1776922325" sldId="2147374163"/>
            <ac:cxnSpMk id="29" creationId="{0B1C6789-76C7-2643-B4EE-B4BB92E9FD63}"/>
          </ac:cxnSpMkLst>
        </pc:cxnChg>
        <pc:cxnChg chg="add mod">
          <ac:chgData name="Nick Robinson" userId="d0c2b313-4ae0-4040-8c6a-fec7a720a7b5" providerId="ADAL" clId="{190131DE-6250-C84F-B491-721E6CF30BCB}" dt="2021-12-23T11:55:05.886" v="44002" actId="1035"/>
          <ac:cxnSpMkLst>
            <pc:docMk/>
            <pc:sldMk cId="1776922325" sldId="2147374163"/>
            <ac:cxnSpMk id="30" creationId="{423180AB-186F-B446-8A88-670A3A4F5A2B}"/>
          </ac:cxnSpMkLst>
        </pc:cxnChg>
        <pc:cxnChg chg="add mod">
          <ac:chgData name="Nick Robinson" userId="d0c2b313-4ae0-4040-8c6a-fec7a720a7b5" providerId="ADAL" clId="{190131DE-6250-C84F-B491-721E6CF30BCB}" dt="2021-12-23T11:54:50.040" v="43999" actId="1035"/>
          <ac:cxnSpMkLst>
            <pc:docMk/>
            <pc:sldMk cId="1776922325" sldId="2147374163"/>
            <ac:cxnSpMk id="33" creationId="{E1F1BB4E-63BA-2F4A-AFBF-F25637BC856D}"/>
          </ac:cxnSpMkLst>
        </pc:cxnChg>
        <pc:cxnChg chg="add mod">
          <ac:chgData name="Nick Robinson" userId="d0c2b313-4ae0-4040-8c6a-fec7a720a7b5" providerId="ADAL" clId="{190131DE-6250-C84F-B491-721E6CF30BCB}" dt="2021-12-23T11:54:50.040" v="43999" actId="1035"/>
          <ac:cxnSpMkLst>
            <pc:docMk/>
            <pc:sldMk cId="1776922325" sldId="2147374163"/>
            <ac:cxnSpMk id="36" creationId="{B306803B-E943-A94B-9673-8DBC950436B0}"/>
          </ac:cxnSpMkLst>
        </pc:cxnChg>
        <pc:cxnChg chg="add mod">
          <ac:chgData name="Nick Robinson" userId="d0c2b313-4ae0-4040-8c6a-fec7a720a7b5" providerId="ADAL" clId="{190131DE-6250-C84F-B491-721E6CF30BCB}" dt="2021-12-23T11:54:50.040" v="43999" actId="1035"/>
          <ac:cxnSpMkLst>
            <pc:docMk/>
            <pc:sldMk cId="1776922325" sldId="2147374163"/>
            <ac:cxnSpMk id="39" creationId="{1D5B3665-B1BF-4447-825D-49883C4CF923}"/>
          </ac:cxnSpMkLst>
        </pc:cxnChg>
        <pc:cxnChg chg="add mod">
          <ac:chgData name="Nick Robinson" userId="d0c2b313-4ae0-4040-8c6a-fec7a720a7b5" providerId="ADAL" clId="{190131DE-6250-C84F-B491-721E6CF30BCB}" dt="2021-12-23T11:54:50.040" v="43999" actId="1035"/>
          <ac:cxnSpMkLst>
            <pc:docMk/>
            <pc:sldMk cId="1776922325" sldId="2147374163"/>
            <ac:cxnSpMk id="42" creationId="{1ADD3DA8-E740-0D4E-805F-FA36E72AD403}"/>
          </ac:cxnSpMkLst>
        </pc:cxnChg>
        <pc:cxnChg chg="add mod">
          <ac:chgData name="Nick Robinson" userId="d0c2b313-4ae0-4040-8c6a-fec7a720a7b5" providerId="ADAL" clId="{190131DE-6250-C84F-B491-721E6CF30BCB}" dt="2021-12-23T11:54:50.040" v="43999" actId="1035"/>
          <ac:cxnSpMkLst>
            <pc:docMk/>
            <pc:sldMk cId="1776922325" sldId="2147374163"/>
            <ac:cxnSpMk id="45" creationId="{3685426F-219C-C646-9675-502BA0C8D85A}"/>
          </ac:cxnSpMkLst>
        </pc:cxnChg>
        <pc:cxnChg chg="add mod">
          <ac:chgData name="Nick Robinson" userId="d0c2b313-4ae0-4040-8c6a-fec7a720a7b5" providerId="ADAL" clId="{190131DE-6250-C84F-B491-721E6CF30BCB}" dt="2021-12-23T11:54:50.040" v="43999" actId="1035"/>
          <ac:cxnSpMkLst>
            <pc:docMk/>
            <pc:sldMk cId="1776922325" sldId="2147374163"/>
            <ac:cxnSpMk id="48" creationId="{ED59C27A-720B-3F4C-850F-928CE397FD26}"/>
          </ac:cxnSpMkLst>
        </pc:cxnChg>
        <pc:cxnChg chg="add mod">
          <ac:chgData name="Nick Robinson" userId="d0c2b313-4ae0-4040-8c6a-fec7a720a7b5" providerId="ADAL" clId="{190131DE-6250-C84F-B491-721E6CF30BCB}" dt="2021-12-23T11:55:05.886" v="44002" actId="1035"/>
          <ac:cxnSpMkLst>
            <pc:docMk/>
            <pc:sldMk cId="1776922325" sldId="2147374163"/>
            <ac:cxnSpMk id="51" creationId="{48A34E94-E3E6-9441-B0AF-BBEF3171E8A7}"/>
          </ac:cxnSpMkLst>
        </pc:cxnChg>
        <pc:cxnChg chg="add mod">
          <ac:chgData name="Nick Robinson" userId="d0c2b313-4ae0-4040-8c6a-fec7a720a7b5" providerId="ADAL" clId="{190131DE-6250-C84F-B491-721E6CF30BCB}" dt="2021-12-23T11:55:05.886" v="44002" actId="1035"/>
          <ac:cxnSpMkLst>
            <pc:docMk/>
            <pc:sldMk cId="1776922325" sldId="2147374163"/>
            <ac:cxnSpMk id="54" creationId="{31D8246B-9B98-3141-BAD4-3821EFD7692D}"/>
          </ac:cxnSpMkLst>
        </pc:cxnChg>
        <pc:cxnChg chg="add mod">
          <ac:chgData name="Nick Robinson" userId="d0c2b313-4ae0-4040-8c6a-fec7a720a7b5" providerId="ADAL" clId="{190131DE-6250-C84F-B491-721E6CF30BCB}" dt="2021-12-23T11:55:05.886" v="44002" actId="1035"/>
          <ac:cxnSpMkLst>
            <pc:docMk/>
            <pc:sldMk cId="1776922325" sldId="2147374163"/>
            <ac:cxnSpMk id="57" creationId="{762AC9D9-3156-6946-B738-342DDCC17B2C}"/>
          </ac:cxnSpMkLst>
        </pc:cxnChg>
        <pc:cxnChg chg="add mod">
          <ac:chgData name="Nick Robinson" userId="d0c2b313-4ae0-4040-8c6a-fec7a720a7b5" providerId="ADAL" clId="{190131DE-6250-C84F-B491-721E6CF30BCB}" dt="2021-12-23T11:55:05.886" v="44002" actId="1035"/>
          <ac:cxnSpMkLst>
            <pc:docMk/>
            <pc:sldMk cId="1776922325" sldId="2147374163"/>
            <ac:cxnSpMk id="60" creationId="{47632726-CE22-A84C-A5C3-50268025FA68}"/>
          </ac:cxnSpMkLst>
        </pc:cxnChg>
        <pc:cxnChg chg="add mod">
          <ac:chgData name="Nick Robinson" userId="d0c2b313-4ae0-4040-8c6a-fec7a720a7b5" providerId="ADAL" clId="{190131DE-6250-C84F-B491-721E6CF30BCB}" dt="2021-12-23T11:55:05.886" v="44002" actId="1035"/>
          <ac:cxnSpMkLst>
            <pc:docMk/>
            <pc:sldMk cId="1776922325" sldId="2147374163"/>
            <ac:cxnSpMk id="63" creationId="{7D5B19ED-89ED-B049-BCDF-AA812266A48B}"/>
          </ac:cxnSpMkLst>
        </pc:cxnChg>
      </pc:sldChg>
      <pc:sldChg chg="addSp modSp add del mod">
        <pc:chgData name="Nick Robinson" userId="d0c2b313-4ae0-4040-8c6a-fec7a720a7b5" providerId="ADAL" clId="{190131DE-6250-C84F-B491-721E6CF30BCB}" dt="2021-12-17T11:47:08.936" v="7516" actId="2696"/>
        <pc:sldMkLst>
          <pc:docMk/>
          <pc:sldMk cId="2609370049" sldId="2147374164"/>
        </pc:sldMkLst>
        <pc:graphicFrameChg chg="add mod">
          <ac:chgData name="Nick Robinson" userId="d0c2b313-4ae0-4040-8c6a-fec7a720a7b5" providerId="ADAL" clId="{190131DE-6250-C84F-B491-721E6CF30BCB}" dt="2021-12-17T11:35:28.163" v="7338"/>
          <ac:graphicFrameMkLst>
            <pc:docMk/>
            <pc:sldMk cId="2609370049" sldId="2147374164"/>
            <ac:graphicFrameMk id="8" creationId="{62F6785F-6B61-474A-BCB8-A438469C98FA}"/>
          </ac:graphicFrameMkLst>
        </pc:graphicFrameChg>
        <pc:graphicFrameChg chg="modGraphic">
          <ac:chgData name="Nick Robinson" userId="d0c2b313-4ae0-4040-8c6a-fec7a720a7b5" providerId="ADAL" clId="{190131DE-6250-C84F-B491-721E6CF30BCB}" dt="2021-12-17T11:40:13.847" v="7426" actId="21"/>
          <ac:graphicFrameMkLst>
            <pc:docMk/>
            <pc:sldMk cId="2609370049" sldId="2147374164"/>
            <ac:graphicFrameMk id="26" creationId="{B868C0AB-3D2C-4647-A123-6629F1806D7E}"/>
          </ac:graphicFrameMkLst>
        </pc:graphicFrameChg>
      </pc:sldChg>
      <pc:sldChg chg="addSp modSp add del mod">
        <pc:chgData name="Nick Robinson" userId="d0c2b313-4ae0-4040-8c6a-fec7a720a7b5" providerId="ADAL" clId="{190131DE-6250-C84F-B491-721E6CF30BCB}" dt="2021-12-17T11:47:09.370" v="7517" actId="2696"/>
        <pc:sldMkLst>
          <pc:docMk/>
          <pc:sldMk cId="531277941" sldId="2147374165"/>
        </pc:sldMkLst>
        <pc:graphicFrameChg chg="add mod">
          <ac:chgData name="Nick Robinson" userId="d0c2b313-4ae0-4040-8c6a-fec7a720a7b5" providerId="ADAL" clId="{190131DE-6250-C84F-B491-721E6CF30BCB}" dt="2021-12-17T11:35:29.417" v="7339"/>
          <ac:graphicFrameMkLst>
            <pc:docMk/>
            <pc:sldMk cId="531277941" sldId="2147374165"/>
            <ac:graphicFrameMk id="8" creationId="{C6C614CE-8E87-C649-8298-ADAC4E6A1A4A}"/>
          </ac:graphicFrameMkLst>
        </pc:graphicFrameChg>
        <pc:graphicFrameChg chg="modGraphic">
          <ac:chgData name="Nick Robinson" userId="d0c2b313-4ae0-4040-8c6a-fec7a720a7b5" providerId="ADAL" clId="{190131DE-6250-C84F-B491-721E6CF30BCB}" dt="2021-12-17T11:32:29.142" v="7294" actId="14734"/>
          <ac:graphicFrameMkLst>
            <pc:docMk/>
            <pc:sldMk cId="531277941" sldId="2147374165"/>
            <ac:graphicFrameMk id="26" creationId="{B868C0AB-3D2C-4647-A123-6629F1806D7E}"/>
          </ac:graphicFrameMkLst>
        </pc:graphicFrameChg>
      </pc:sldChg>
      <pc:sldChg chg="add del">
        <pc:chgData name="Nick Robinson" userId="d0c2b313-4ae0-4040-8c6a-fec7a720a7b5" providerId="ADAL" clId="{190131DE-6250-C84F-B491-721E6CF30BCB}" dt="2021-12-17T11:46:06.098" v="7502" actId="2696"/>
        <pc:sldMkLst>
          <pc:docMk/>
          <pc:sldMk cId="2399307039" sldId="2147374166"/>
        </pc:sldMkLst>
      </pc:sldChg>
      <pc:sldChg chg="add del">
        <pc:chgData name="Nick Robinson" userId="d0c2b313-4ae0-4040-8c6a-fec7a720a7b5" providerId="ADAL" clId="{190131DE-6250-C84F-B491-721E6CF30BCB}" dt="2021-12-17T11:32:48.334" v="7296" actId="2696"/>
        <pc:sldMkLst>
          <pc:docMk/>
          <pc:sldMk cId="3789142811" sldId="2147374166"/>
        </pc:sldMkLst>
      </pc:sldChg>
      <pc:sldChg chg="modSp add mod delCm modCm">
        <pc:chgData name="Nick Robinson" userId="d0c2b313-4ae0-4040-8c6a-fec7a720a7b5" providerId="ADAL" clId="{190131DE-6250-C84F-B491-721E6CF30BCB}" dt="2021-12-23T08:14:32.657" v="36857"/>
        <pc:sldMkLst>
          <pc:docMk/>
          <pc:sldMk cId="2512054534" sldId="2147374167"/>
        </pc:sldMkLst>
        <pc:spChg chg="mod">
          <ac:chgData name="Nick Robinson" userId="d0c2b313-4ae0-4040-8c6a-fec7a720a7b5" providerId="ADAL" clId="{190131DE-6250-C84F-B491-721E6CF30BCB}" dt="2021-12-22T16:04:52.517" v="26175" actId="20577"/>
          <ac:spMkLst>
            <pc:docMk/>
            <pc:sldMk cId="2512054534" sldId="2147374167"/>
            <ac:spMk id="2" creationId="{00000000-0000-0000-0000-000000000000}"/>
          </ac:spMkLst>
        </pc:spChg>
        <pc:spChg chg="mod">
          <ac:chgData name="Nick Robinson" userId="d0c2b313-4ae0-4040-8c6a-fec7a720a7b5" providerId="ADAL" clId="{190131DE-6250-C84F-B491-721E6CF30BCB}" dt="2021-12-22T21:50:49.595" v="33580" actId="207"/>
          <ac:spMkLst>
            <pc:docMk/>
            <pc:sldMk cId="2512054534" sldId="2147374167"/>
            <ac:spMk id="16" creationId="{F715D659-0B3D-3441-8784-EDED0A7173C7}"/>
          </ac:spMkLst>
        </pc:spChg>
        <pc:graphicFrameChg chg="mod modGraphic">
          <ac:chgData name="Nick Robinson" userId="d0c2b313-4ae0-4040-8c6a-fec7a720a7b5" providerId="ADAL" clId="{190131DE-6250-C84F-B491-721E6CF30BCB}" dt="2021-12-23T08:14:21.100" v="36854" actId="20577"/>
          <ac:graphicFrameMkLst>
            <pc:docMk/>
            <pc:sldMk cId="2512054534" sldId="2147374167"/>
            <ac:graphicFrameMk id="26" creationId="{B868C0AB-3D2C-4647-A123-6629F1806D7E}"/>
          </ac:graphicFrameMkLst>
        </pc:graphicFrameChg>
      </pc:sldChg>
      <pc:sldChg chg="modSp add mod">
        <pc:chgData name="Nick Robinson" userId="d0c2b313-4ae0-4040-8c6a-fec7a720a7b5" providerId="ADAL" clId="{190131DE-6250-C84F-B491-721E6CF30BCB}" dt="2021-12-17T12:14:30.878" v="7763" actId="207"/>
        <pc:sldMkLst>
          <pc:docMk/>
          <pc:sldMk cId="3250498423" sldId="2147374168"/>
        </pc:sldMkLst>
        <pc:spChg chg="mod">
          <ac:chgData name="Nick Robinson" userId="d0c2b313-4ae0-4040-8c6a-fec7a720a7b5" providerId="ADAL" clId="{190131DE-6250-C84F-B491-721E6CF30BCB}" dt="2021-12-17T12:14:12.353" v="7760" actId="20577"/>
          <ac:spMkLst>
            <pc:docMk/>
            <pc:sldMk cId="3250498423" sldId="2147374168"/>
            <ac:spMk id="2" creationId="{63FE2F85-5478-7B4D-A181-E85728796F24}"/>
          </ac:spMkLst>
        </pc:spChg>
        <pc:graphicFrameChg chg="modGraphic">
          <ac:chgData name="Nick Robinson" userId="d0c2b313-4ae0-4040-8c6a-fec7a720a7b5" providerId="ADAL" clId="{190131DE-6250-C84F-B491-721E6CF30BCB}" dt="2021-12-17T12:14:30.878" v="7763" actId="207"/>
          <ac:graphicFrameMkLst>
            <pc:docMk/>
            <pc:sldMk cId="3250498423" sldId="2147374168"/>
            <ac:graphicFrameMk id="3" creationId="{F27F71C4-F075-1249-973D-91202A2D14F8}"/>
          </ac:graphicFrameMkLst>
        </pc:graphicFrameChg>
      </pc:sldChg>
      <pc:sldChg chg="del">
        <pc:chgData name="Nick Robinson" userId="d0c2b313-4ae0-4040-8c6a-fec7a720a7b5" providerId="ADAL" clId="{190131DE-6250-C84F-B491-721E6CF30BCB}" dt="2021-12-17T11:56:31.278" v="7708" actId="2696"/>
        <pc:sldMkLst>
          <pc:docMk/>
          <pc:sldMk cId="3261431012" sldId="2147374168"/>
        </pc:sldMkLst>
      </pc:sldChg>
      <pc:sldChg chg="modSp add mod">
        <pc:chgData name="Nick Robinson" userId="d0c2b313-4ae0-4040-8c6a-fec7a720a7b5" providerId="ADAL" clId="{190131DE-6250-C84F-B491-721E6CF30BCB}" dt="2021-12-17T12:14:57.585" v="7771" actId="20577"/>
        <pc:sldMkLst>
          <pc:docMk/>
          <pc:sldMk cId="905887873" sldId="2147374169"/>
        </pc:sldMkLst>
        <pc:spChg chg="mod">
          <ac:chgData name="Nick Robinson" userId="d0c2b313-4ae0-4040-8c6a-fec7a720a7b5" providerId="ADAL" clId="{190131DE-6250-C84F-B491-721E6CF30BCB}" dt="2021-12-17T12:14:57.585" v="7771" actId="20577"/>
          <ac:spMkLst>
            <pc:docMk/>
            <pc:sldMk cId="905887873" sldId="2147374169"/>
            <ac:spMk id="2" creationId="{63FE2F85-5478-7B4D-A181-E85728796F24}"/>
          </ac:spMkLst>
        </pc:spChg>
      </pc:sldChg>
      <pc:sldChg chg="modSp add del mod">
        <pc:chgData name="Nick Robinson" userId="d0c2b313-4ae0-4040-8c6a-fec7a720a7b5" providerId="ADAL" clId="{190131DE-6250-C84F-B491-721E6CF30BCB}" dt="2021-12-17T14:43:35.819" v="10269" actId="2696"/>
        <pc:sldMkLst>
          <pc:docMk/>
          <pc:sldMk cId="1901062047" sldId="2147374171"/>
        </pc:sldMkLst>
        <pc:spChg chg="mod">
          <ac:chgData name="Nick Robinson" userId="d0c2b313-4ae0-4040-8c6a-fec7a720a7b5" providerId="ADAL" clId="{190131DE-6250-C84F-B491-721E6CF30BCB}" dt="2021-12-17T14:11:21.186" v="7992" actId="20577"/>
          <ac:spMkLst>
            <pc:docMk/>
            <pc:sldMk cId="1901062047" sldId="2147374171"/>
            <ac:spMk id="49" creationId="{7BF92799-D7FB-0444-92FA-D449483B245E}"/>
          </ac:spMkLst>
        </pc:spChg>
        <pc:spChg chg="mod">
          <ac:chgData name="Nick Robinson" userId="d0c2b313-4ae0-4040-8c6a-fec7a720a7b5" providerId="ADAL" clId="{190131DE-6250-C84F-B491-721E6CF30BCB}" dt="2021-12-17T14:13:44.338" v="8069" actId="20577"/>
          <ac:spMkLst>
            <pc:docMk/>
            <pc:sldMk cId="1901062047" sldId="2147374171"/>
            <ac:spMk id="52" creationId="{7A2C3F5E-892A-D143-BA54-3E5FF70F3E71}"/>
          </ac:spMkLst>
        </pc:spChg>
        <pc:spChg chg="mod">
          <ac:chgData name="Nick Robinson" userId="d0c2b313-4ae0-4040-8c6a-fec7a720a7b5" providerId="ADAL" clId="{190131DE-6250-C84F-B491-721E6CF30BCB}" dt="2021-12-17T14:14:01.052" v="8095" actId="20577"/>
          <ac:spMkLst>
            <pc:docMk/>
            <pc:sldMk cId="1901062047" sldId="2147374171"/>
            <ac:spMk id="54" creationId="{2886909D-E329-5D40-AD55-FF78F95811A0}"/>
          </ac:spMkLst>
        </pc:spChg>
        <pc:spChg chg="mod">
          <ac:chgData name="Nick Robinson" userId="d0c2b313-4ae0-4040-8c6a-fec7a720a7b5" providerId="ADAL" clId="{190131DE-6250-C84F-B491-721E6CF30BCB}" dt="2021-12-17T14:11:15.543" v="7977" actId="20577"/>
          <ac:spMkLst>
            <pc:docMk/>
            <pc:sldMk cId="1901062047" sldId="2147374171"/>
            <ac:spMk id="80" creationId="{807483CA-2A26-AF41-A16B-654CE9B7749F}"/>
          </ac:spMkLst>
        </pc:spChg>
        <pc:spChg chg="mod">
          <ac:chgData name="Nick Robinson" userId="d0c2b313-4ae0-4040-8c6a-fec7a720a7b5" providerId="ADAL" clId="{190131DE-6250-C84F-B491-721E6CF30BCB}" dt="2021-12-17T14:13:56.017" v="8088" actId="20577"/>
          <ac:spMkLst>
            <pc:docMk/>
            <pc:sldMk cId="1901062047" sldId="2147374171"/>
            <ac:spMk id="81" creationId="{18C67AA4-DD1C-4F44-B244-8F3474F2452A}"/>
          </ac:spMkLst>
        </pc:spChg>
        <pc:spChg chg="mod">
          <ac:chgData name="Nick Robinson" userId="d0c2b313-4ae0-4040-8c6a-fec7a720a7b5" providerId="ADAL" clId="{190131DE-6250-C84F-B491-721E6CF30BCB}" dt="2021-12-17T14:13:31.729" v="8046" actId="20577"/>
          <ac:spMkLst>
            <pc:docMk/>
            <pc:sldMk cId="1901062047" sldId="2147374171"/>
            <ac:spMk id="90" creationId="{E8AEB6BE-DEC4-024A-A8B3-0CC5DD19669F}"/>
          </ac:spMkLst>
        </pc:spChg>
      </pc:sldChg>
      <pc:sldChg chg="addSp modSp add del mod ord">
        <pc:chgData name="Nick Robinson" userId="d0c2b313-4ae0-4040-8c6a-fec7a720a7b5" providerId="ADAL" clId="{190131DE-6250-C84F-B491-721E6CF30BCB}" dt="2021-12-23T11:18:28.519" v="42307" actId="2696"/>
        <pc:sldMkLst>
          <pc:docMk/>
          <pc:sldMk cId="3473055835" sldId="2147374172"/>
        </pc:sldMkLst>
        <pc:spChg chg="add mod">
          <ac:chgData name="Nick Robinson" userId="d0c2b313-4ae0-4040-8c6a-fec7a720a7b5" providerId="ADAL" clId="{190131DE-6250-C84F-B491-721E6CF30BCB}" dt="2021-12-17T14:44:17.301" v="10294" actId="20577"/>
          <ac:spMkLst>
            <pc:docMk/>
            <pc:sldMk cId="3473055835" sldId="2147374172"/>
            <ac:spMk id="23" creationId="{D507C86F-F9D8-D94E-8A56-FA56139DB6D6}"/>
          </ac:spMkLst>
        </pc:spChg>
        <pc:spChg chg="mod">
          <ac:chgData name="Nick Robinson" userId="d0c2b313-4ae0-4040-8c6a-fec7a720a7b5" providerId="ADAL" clId="{190131DE-6250-C84F-B491-721E6CF30BCB}" dt="2021-12-20T11:13:49.250" v="15042" actId="1035"/>
          <ac:spMkLst>
            <pc:docMk/>
            <pc:sldMk cId="3473055835" sldId="2147374172"/>
            <ac:spMk id="28" creationId="{EB83BA76-F5D6-F94D-95C7-D729B2EF3A13}"/>
          </ac:spMkLst>
        </pc:spChg>
        <pc:spChg chg="mod">
          <ac:chgData name="Nick Robinson" userId="d0c2b313-4ae0-4040-8c6a-fec7a720a7b5" providerId="ADAL" clId="{190131DE-6250-C84F-B491-721E6CF30BCB}" dt="2021-12-20T11:13:49.250" v="15042" actId="1035"/>
          <ac:spMkLst>
            <pc:docMk/>
            <pc:sldMk cId="3473055835" sldId="2147374172"/>
            <ac:spMk id="32" creationId="{4ECFF3F3-C2A1-4942-B5EC-E2802E4A8844}"/>
          </ac:spMkLst>
        </pc:spChg>
        <pc:spChg chg="mod">
          <ac:chgData name="Nick Robinson" userId="d0c2b313-4ae0-4040-8c6a-fec7a720a7b5" providerId="ADAL" clId="{190131DE-6250-C84F-B491-721E6CF30BCB}" dt="2021-12-20T11:13:49.250" v="15042" actId="1035"/>
          <ac:spMkLst>
            <pc:docMk/>
            <pc:sldMk cId="3473055835" sldId="2147374172"/>
            <ac:spMk id="85" creationId="{BF87E107-9B05-AD4A-BF17-CE66A1FC31B2}"/>
          </ac:spMkLst>
        </pc:spChg>
        <pc:spChg chg="mod">
          <ac:chgData name="Nick Robinson" userId="d0c2b313-4ae0-4040-8c6a-fec7a720a7b5" providerId="ADAL" clId="{190131DE-6250-C84F-B491-721E6CF30BCB}" dt="2021-12-20T11:13:49.250" v="15042" actId="1035"/>
          <ac:spMkLst>
            <pc:docMk/>
            <pc:sldMk cId="3473055835" sldId="2147374172"/>
            <ac:spMk id="87" creationId="{8A070B73-B7B2-C647-9C66-B06000225C2C}"/>
          </ac:spMkLst>
        </pc:spChg>
        <pc:spChg chg="mod">
          <ac:chgData name="Nick Robinson" userId="d0c2b313-4ae0-4040-8c6a-fec7a720a7b5" providerId="ADAL" clId="{190131DE-6250-C84F-B491-721E6CF30BCB}" dt="2021-12-20T11:13:49.250" v="15042" actId="1035"/>
          <ac:spMkLst>
            <pc:docMk/>
            <pc:sldMk cId="3473055835" sldId="2147374172"/>
            <ac:spMk id="88" creationId="{6E5EE1D9-A36C-5243-813A-6134380E8776}"/>
          </ac:spMkLst>
        </pc:spChg>
        <pc:cxnChg chg="mod">
          <ac:chgData name="Nick Robinson" userId="d0c2b313-4ae0-4040-8c6a-fec7a720a7b5" providerId="ADAL" clId="{190131DE-6250-C84F-B491-721E6CF30BCB}" dt="2021-12-20T11:13:49.250" v="15042" actId="1035"/>
          <ac:cxnSpMkLst>
            <pc:docMk/>
            <pc:sldMk cId="3473055835" sldId="2147374172"/>
            <ac:cxnSpMk id="54" creationId="{DC5FEB28-39F0-B54D-84E0-A0836B2DE034}"/>
          </ac:cxnSpMkLst>
        </pc:cxnChg>
        <pc:cxnChg chg="mod">
          <ac:chgData name="Nick Robinson" userId="d0c2b313-4ae0-4040-8c6a-fec7a720a7b5" providerId="ADAL" clId="{190131DE-6250-C84F-B491-721E6CF30BCB}" dt="2021-12-20T11:13:49.250" v="15042" actId="1035"/>
          <ac:cxnSpMkLst>
            <pc:docMk/>
            <pc:sldMk cId="3473055835" sldId="2147374172"/>
            <ac:cxnSpMk id="92" creationId="{00CA843C-C4EA-3B42-B2ED-5312039E36F4}"/>
          </ac:cxnSpMkLst>
        </pc:cxnChg>
      </pc:sldChg>
      <pc:sldChg chg="addSp delSp modSp add mod modShow">
        <pc:chgData name="Nick Robinson" userId="d0c2b313-4ae0-4040-8c6a-fec7a720a7b5" providerId="ADAL" clId="{190131DE-6250-C84F-B491-721E6CF30BCB}" dt="2021-12-21T16:49:36.796" v="24468" actId="478"/>
        <pc:sldMkLst>
          <pc:docMk/>
          <pc:sldMk cId="2926344828" sldId="2147374175"/>
        </pc:sldMkLst>
        <pc:spChg chg="mod">
          <ac:chgData name="Nick Robinson" userId="d0c2b313-4ae0-4040-8c6a-fec7a720a7b5" providerId="ADAL" clId="{190131DE-6250-C84F-B491-721E6CF30BCB}" dt="2021-12-17T14:38:41.421" v="10202" actId="1037"/>
          <ac:spMkLst>
            <pc:docMk/>
            <pc:sldMk cId="2926344828" sldId="2147374175"/>
            <ac:spMk id="3" creationId="{E913216F-775D-E445-B57D-55CC6EA6EAD3}"/>
          </ac:spMkLst>
        </pc:spChg>
        <pc:spChg chg="mod">
          <ac:chgData name="Nick Robinson" userId="d0c2b313-4ae0-4040-8c6a-fec7a720a7b5" providerId="ADAL" clId="{190131DE-6250-C84F-B491-721E6CF30BCB}" dt="2021-12-17T14:38:41.421" v="10202" actId="1037"/>
          <ac:spMkLst>
            <pc:docMk/>
            <pc:sldMk cId="2926344828" sldId="2147374175"/>
            <ac:spMk id="33" creationId="{AB764455-DD30-9347-B13A-9F62E5D9CB1B}"/>
          </ac:spMkLst>
        </pc:spChg>
        <pc:spChg chg="mod">
          <ac:chgData name="Nick Robinson" userId="d0c2b313-4ae0-4040-8c6a-fec7a720a7b5" providerId="ADAL" clId="{190131DE-6250-C84F-B491-721E6CF30BCB}" dt="2021-12-17T14:38:41.421" v="10202" actId="1037"/>
          <ac:spMkLst>
            <pc:docMk/>
            <pc:sldMk cId="2926344828" sldId="2147374175"/>
            <ac:spMk id="34" creationId="{329D3EB0-CA12-E046-8134-689D05E53572}"/>
          </ac:spMkLst>
        </pc:spChg>
        <pc:spChg chg="mod">
          <ac:chgData name="Nick Robinson" userId="d0c2b313-4ae0-4040-8c6a-fec7a720a7b5" providerId="ADAL" clId="{190131DE-6250-C84F-B491-721E6CF30BCB}" dt="2021-12-17T14:38:41.421" v="10202" actId="1037"/>
          <ac:spMkLst>
            <pc:docMk/>
            <pc:sldMk cId="2926344828" sldId="2147374175"/>
            <ac:spMk id="36" creationId="{24FE0935-E8DE-6E4C-A2F6-F7166CE1D47E}"/>
          </ac:spMkLst>
        </pc:spChg>
        <pc:spChg chg="mod">
          <ac:chgData name="Nick Robinson" userId="d0c2b313-4ae0-4040-8c6a-fec7a720a7b5" providerId="ADAL" clId="{190131DE-6250-C84F-B491-721E6CF30BCB}" dt="2021-12-17T14:38:41.421" v="10202" actId="1037"/>
          <ac:spMkLst>
            <pc:docMk/>
            <pc:sldMk cId="2926344828" sldId="2147374175"/>
            <ac:spMk id="38" creationId="{7B7AEABB-BE59-5D45-B59E-CAD0239C38A4}"/>
          </ac:spMkLst>
        </pc:spChg>
        <pc:spChg chg="mod">
          <ac:chgData name="Nick Robinson" userId="d0c2b313-4ae0-4040-8c6a-fec7a720a7b5" providerId="ADAL" clId="{190131DE-6250-C84F-B491-721E6CF30BCB}" dt="2021-12-17T14:38:41.421" v="10202" actId="1037"/>
          <ac:spMkLst>
            <pc:docMk/>
            <pc:sldMk cId="2926344828" sldId="2147374175"/>
            <ac:spMk id="40" creationId="{B81D14B0-9601-284E-929D-24B199033209}"/>
          </ac:spMkLst>
        </pc:spChg>
        <pc:spChg chg="mod">
          <ac:chgData name="Nick Robinson" userId="d0c2b313-4ae0-4040-8c6a-fec7a720a7b5" providerId="ADAL" clId="{190131DE-6250-C84F-B491-721E6CF30BCB}" dt="2021-12-17T14:38:41.421" v="10202" actId="1037"/>
          <ac:spMkLst>
            <pc:docMk/>
            <pc:sldMk cId="2926344828" sldId="2147374175"/>
            <ac:spMk id="42" creationId="{C3D6DC90-0222-F949-BCFD-E24AE0E2A4DA}"/>
          </ac:spMkLst>
        </pc:spChg>
        <pc:spChg chg="mod">
          <ac:chgData name="Nick Robinson" userId="d0c2b313-4ae0-4040-8c6a-fec7a720a7b5" providerId="ADAL" clId="{190131DE-6250-C84F-B491-721E6CF30BCB}" dt="2021-12-17T14:38:41.421" v="10202" actId="1037"/>
          <ac:spMkLst>
            <pc:docMk/>
            <pc:sldMk cId="2926344828" sldId="2147374175"/>
            <ac:spMk id="44" creationId="{32338005-3E53-DF49-9080-C488CB2CA8BB}"/>
          </ac:spMkLst>
        </pc:spChg>
        <pc:spChg chg="mod">
          <ac:chgData name="Nick Robinson" userId="d0c2b313-4ae0-4040-8c6a-fec7a720a7b5" providerId="ADAL" clId="{190131DE-6250-C84F-B491-721E6CF30BCB}" dt="2021-12-17T14:38:41.421" v="10202" actId="1037"/>
          <ac:spMkLst>
            <pc:docMk/>
            <pc:sldMk cId="2926344828" sldId="2147374175"/>
            <ac:spMk id="46" creationId="{FC7C74B0-398F-FF44-BA94-B70E97B7B253}"/>
          </ac:spMkLst>
        </pc:spChg>
        <pc:spChg chg="mod">
          <ac:chgData name="Nick Robinson" userId="d0c2b313-4ae0-4040-8c6a-fec7a720a7b5" providerId="ADAL" clId="{190131DE-6250-C84F-B491-721E6CF30BCB}" dt="2021-12-17T14:38:41.421" v="10202" actId="1037"/>
          <ac:spMkLst>
            <pc:docMk/>
            <pc:sldMk cId="2926344828" sldId="2147374175"/>
            <ac:spMk id="48" creationId="{DB89675B-56D2-8444-B7CC-E2EBD02BF060}"/>
          </ac:spMkLst>
        </pc:spChg>
        <pc:spChg chg="mod">
          <ac:chgData name="Nick Robinson" userId="d0c2b313-4ae0-4040-8c6a-fec7a720a7b5" providerId="ADAL" clId="{190131DE-6250-C84F-B491-721E6CF30BCB}" dt="2021-12-17T14:38:41.421" v="10202" actId="1037"/>
          <ac:spMkLst>
            <pc:docMk/>
            <pc:sldMk cId="2926344828" sldId="2147374175"/>
            <ac:spMk id="49" creationId="{0E28FEB7-CCD9-AF4E-A4A6-016FDA8CB711}"/>
          </ac:spMkLst>
        </pc:spChg>
        <pc:spChg chg="mod">
          <ac:chgData name="Nick Robinson" userId="d0c2b313-4ae0-4040-8c6a-fec7a720a7b5" providerId="ADAL" clId="{190131DE-6250-C84F-B491-721E6CF30BCB}" dt="2021-12-17T14:38:41.421" v="10202" actId="1037"/>
          <ac:spMkLst>
            <pc:docMk/>
            <pc:sldMk cId="2926344828" sldId="2147374175"/>
            <ac:spMk id="50" creationId="{7E420D97-4708-884B-A888-C6B0BC86CB8D}"/>
          </ac:spMkLst>
        </pc:spChg>
        <pc:spChg chg="mod">
          <ac:chgData name="Nick Robinson" userId="d0c2b313-4ae0-4040-8c6a-fec7a720a7b5" providerId="ADAL" clId="{190131DE-6250-C84F-B491-721E6CF30BCB}" dt="2021-12-17T14:38:41.421" v="10202" actId="1037"/>
          <ac:spMkLst>
            <pc:docMk/>
            <pc:sldMk cId="2926344828" sldId="2147374175"/>
            <ac:spMk id="51" creationId="{64A586D4-D1C3-7049-8DD8-35F6B6ABD70D}"/>
          </ac:spMkLst>
        </pc:spChg>
        <pc:spChg chg="mod">
          <ac:chgData name="Nick Robinson" userId="d0c2b313-4ae0-4040-8c6a-fec7a720a7b5" providerId="ADAL" clId="{190131DE-6250-C84F-B491-721E6CF30BCB}" dt="2021-12-17T14:38:41.421" v="10202" actId="1037"/>
          <ac:spMkLst>
            <pc:docMk/>
            <pc:sldMk cId="2926344828" sldId="2147374175"/>
            <ac:spMk id="54" creationId="{042D7FE1-93BD-3E44-859E-FC251794D1FA}"/>
          </ac:spMkLst>
        </pc:spChg>
        <pc:spChg chg="add mod">
          <ac:chgData name="Nick Robinson" userId="d0c2b313-4ae0-4040-8c6a-fec7a720a7b5" providerId="ADAL" clId="{190131DE-6250-C84F-B491-721E6CF30BCB}" dt="2021-12-17T14:21:17.244" v="8617" actId="1035"/>
          <ac:spMkLst>
            <pc:docMk/>
            <pc:sldMk cId="2926344828" sldId="2147374175"/>
            <ac:spMk id="55" creationId="{C47563E4-B1AD-EA45-A3F2-0E6176BCAEA4}"/>
          </ac:spMkLst>
        </pc:spChg>
        <pc:spChg chg="mod">
          <ac:chgData name="Nick Robinson" userId="d0c2b313-4ae0-4040-8c6a-fec7a720a7b5" providerId="ADAL" clId="{190131DE-6250-C84F-B491-721E6CF30BCB}" dt="2021-12-17T14:38:41.421" v="10202" actId="1037"/>
          <ac:spMkLst>
            <pc:docMk/>
            <pc:sldMk cId="2926344828" sldId="2147374175"/>
            <ac:spMk id="56" creationId="{3A6FECF1-DCDC-1F47-AFAF-0ED9FDEFE63A}"/>
          </ac:spMkLst>
        </pc:spChg>
        <pc:spChg chg="mod">
          <ac:chgData name="Nick Robinson" userId="d0c2b313-4ae0-4040-8c6a-fec7a720a7b5" providerId="ADAL" clId="{190131DE-6250-C84F-B491-721E6CF30BCB}" dt="2021-12-17T14:38:41.421" v="10202" actId="1037"/>
          <ac:spMkLst>
            <pc:docMk/>
            <pc:sldMk cId="2926344828" sldId="2147374175"/>
            <ac:spMk id="57" creationId="{2ED74A6C-E1C0-7040-AFEA-1B1495B79D3C}"/>
          </ac:spMkLst>
        </pc:spChg>
        <pc:spChg chg="mod">
          <ac:chgData name="Nick Robinson" userId="d0c2b313-4ae0-4040-8c6a-fec7a720a7b5" providerId="ADAL" clId="{190131DE-6250-C84F-B491-721E6CF30BCB}" dt="2021-12-17T14:38:41.421" v="10202" actId="1037"/>
          <ac:spMkLst>
            <pc:docMk/>
            <pc:sldMk cId="2926344828" sldId="2147374175"/>
            <ac:spMk id="59" creationId="{258619E8-0276-904C-B362-528DEE9825AC}"/>
          </ac:spMkLst>
        </pc:spChg>
        <pc:spChg chg="mod">
          <ac:chgData name="Nick Robinson" userId="d0c2b313-4ae0-4040-8c6a-fec7a720a7b5" providerId="ADAL" clId="{190131DE-6250-C84F-B491-721E6CF30BCB}" dt="2021-12-17T14:38:41.421" v="10202" actId="1037"/>
          <ac:spMkLst>
            <pc:docMk/>
            <pc:sldMk cId="2926344828" sldId="2147374175"/>
            <ac:spMk id="60" creationId="{4F2AB5AD-99A0-E548-B562-37897CD6FF85}"/>
          </ac:spMkLst>
        </pc:spChg>
        <pc:spChg chg="del mod">
          <ac:chgData name="Nick Robinson" userId="d0c2b313-4ae0-4040-8c6a-fec7a720a7b5" providerId="ADAL" clId="{190131DE-6250-C84F-B491-721E6CF30BCB}" dt="2021-12-17T14:17:17.569" v="8285" actId="478"/>
          <ac:spMkLst>
            <pc:docMk/>
            <pc:sldMk cId="2926344828" sldId="2147374175"/>
            <ac:spMk id="61" creationId="{09BB1679-0169-41AB-8FAF-066B8A1FE06D}"/>
          </ac:spMkLst>
        </pc:spChg>
        <pc:spChg chg="mod">
          <ac:chgData name="Nick Robinson" userId="d0c2b313-4ae0-4040-8c6a-fec7a720a7b5" providerId="ADAL" clId="{190131DE-6250-C84F-B491-721E6CF30BCB}" dt="2021-12-17T14:38:41.421" v="10202" actId="1037"/>
          <ac:spMkLst>
            <pc:docMk/>
            <pc:sldMk cId="2926344828" sldId="2147374175"/>
            <ac:spMk id="62" creationId="{AE96C520-56D6-B94B-8117-D35EE18F647D}"/>
          </ac:spMkLst>
        </pc:spChg>
        <pc:spChg chg="mod">
          <ac:chgData name="Nick Robinson" userId="d0c2b313-4ae0-4040-8c6a-fec7a720a7b5" providerId="ADAL" clId="{190131DE-6250-C84F-B491-721E6CF30BCB}" dt="2021-12-17T14:38:41.421" v="10202" actId="1037"/>
          <ac:spMkLst>
            <pc:docMk/>
            <pc:sldMk cId="2926344828" sldId="2147374175"/>
            <ac:spMk id="63" creationId="{BE228614-15E7-D041-8566-F1D7DAFD521C}"/>
          </ac:spMkLst>
        </pc:spChg>
        <pc:spChg chg="mod">
          <ac:chgData name="Nick Robinson" userId="d0c2b313-4ae0-4040-8c6a-fec7a720a7b5" providerId="ADAL" clId="{190131DE-6250-C84F-B491-721E6CF30BCB}" dt="2021-12-17T14:38:41.421" v="10202" actId="1037"/>
          <ac:spMkLst>
            <pc:docMk/>
            <pc:sldMk cId="2926344828" sldId="2147374175"/>
            <ac:spMk id="64" creationId="{F084C3F2-B3B3-F848-B677-24F341A71F40}"/>
          </ac:spMkLst>
        </pc:spChg>
        <pc:spChg chg="mod">
          <ac:chgData name="Nick Robinson" userId="d0c2b313-4ae0-4040-8c6a-fec7a720a7b5" providerId="ADAL" clId="{190131DE-6250-C84F-B491-721E6CF30BCB}" dt="2021-12-17T14:38:53.663" v="10206" actId="1076"/>
          <ac:spMkLst>
            <pc:docMk/>
            <pc:sldMk cId="2926344828" sldId="2147374175"/>
            <ac:spMk id="72" creationId="{AB45019A-6953-C949-828C-45E17EF07D82}"/>
          </ac:spMkLst>
        </pc:spChg>
        <pc:spChg chg="mod">
          <ac:chgData name="Nick Robinson" userId="d0c2b313-4ae0-4040-8c6a-fec7a720a7b5" providerId="ADAL" clId="{190131DE-6250-C84F-B491-721E6CF30BCB}" dt="2021-12-17T14:38:56.263" v="10207" actId="14100"/>
          <ac:spMkLst>
            <pc:docMk/>
            <pc:sldMk cId="2926344828" sldId="2147374175"/>
            <ac:spMk id="73" creationId="{E00C0C20-C74F-564E-9BA4-60051B663B0B}"/>
          </ac:spMkLst>
        </pc:spChg>
        <pc:spChg chg="mod">
          <ac:chgData name="Nick Robinson" userId="d0c2b313-4ae0-4040-8c6a-fec7a720a7b5" providerId="ADAL" clId="{190131DE-6250-C84F-B491-721E6CF30BCB}" dt="2021-12-17T14:38:41.421" v="10202" actId="1037"/>
          <ac:spMkLst>
            <pc:docMk/>
            <pc:sldMk cId="2926344828" sldId="2147374175"/>
            <ac:spMk id="75" creationId="{324CF59E-8C75-C14D-A1E2-F6B0A288B605}"/>
          </ac:spMkLst>
        </pc:spChg>
        <pc:spChg chg="add del mod">
          <ac:chgData name="Nick Robinson" userId="d0c2b313-4ae0-4040-8c6a-fec7a720a7b5" providerId="ADAL" clId="{190131DE-6250-C84F-B491-721E6CF30BCB}" dt="2021-12-21T16:49:36.796" v="24468" actId="478"/>
          <ac:spMkLst>
            <pc:docMk/>
            <pc:sldMk cId="2926344828" sldId="2147374175"/>
            <ac:spMk id="78" creationId="{96A61CFC-E3A5-4041-8065-B4B3059D7868}"/>
          </ac:spMkLst>
        </pc:spChg>
        <pc:spChg chg="mod">
          <ac:chgData name="Nick Robinson" userId="d0c2b313-4ae0-4040-8c6a-fec7a720a7b5" providerId="ADAL" clId="{190131DE-6250-C84F-B491-721E6CF30BCB}" dt="2021-12-17T14:38:41.421" v="10202" actId="1037"/>
          <ac:spMkLst>
            <pc:docMk/>
            <pc:sldMk cId="2926344828" sldId="2147374175"/>
            <ac:spMk id="90" creationId="{88D61C6E-321B-DA40-A96F-B7AAC2E952CC}"/>
          </ac:spMkLst>
        </pc:spChg>
        <pc:spChg chg="mod">
          <ac:chgData name="Nick Robinson" userId="d0c2b313-4ae0-4040-8c6a-fec7a720a7b5" providerId="ADAL" clId="{190131DE-6250-C84F-B491-721E6CF30BCB}" dt="2021-12-17T14:38:41.421" v="10202" actId="1037"/>
          <ac:spMkLst>
            <pc:docMk/>
            <pc:sldMk cId="2926344828" sldId="2147374175"/>
            <ac:spMk id="97" creationId="{1F645D20-8BED-C44F-9784-0062401399CA}"/>
          </ac:spMkLst>
        </pc:spChg>
        <pc:spChg chg="mod">
          <ac:chgData name="Nick Robinson" userId="d0c2b313-4ae0-4040-8c6a-fec7a720a7b5" providerId="ADAL" clId="{190131DE-6250-C84F-B491-721E6CF30BCB}" dt="2021-12-17T14:38:41.421" v="10202" actId="1037"/>
          <ac:spMkLst>
            <pc:docMk/>
            <pc:sldMk cId="2926344828" sldId="2147374175"/>
            <ac:spMk id="99" creationId="{A191B3F3-6E26-FB4A-BA99-A4F3CD7B3221}"/>
          </ac:spMkLst>
        </pc:spChg>
        <pc:spChg chg="del">
          <ac:chgData name="Nick Robinson" userId="d0c2b313-4ae0-4040-8c6a-fec7a720a7b5" providerId="ADAL" clId="{190131DE-6250-C84F-B491-721E6CF30BCB}" dt="2021-12-17T14:16:39.928" v="8267" actId="478"/>
          <ac:spMkLst>
            <pc:docMk/>
            <pc:sldMk cId="2926344828" sldId="2147374175"/>
            <ac:spMk id="100" creationId="{D8103D42-F9C6-D742-BD83-4F31E286871E}"/>
          </ac:spMkLst>
        </pc:spChg>
        <pc:spChg chg="mod">
          <ac:chgData name="Nick Robinson" userId="d0c2b313-4ae0-4040-8c6a-fec7a720a7b5" providerId="ADAL" clId="{190131DE-6250-C84F-B491-721E6CF30BCB}" dt="2021-12-17T14:38:41.421" v="10202" actId="1037"/>
          <ac:spMkLst>
            <pc:docMk/>
            <pc:sldMk cId="2926344828" sldId="2147374175"/>
            <ac:spMk id="103" creationId="{1409A8F4-5551-0149-A93A-52B2E00CA5B9}"/>
          </ac:spMkLst>
        </pc:spChg>
        <pc:spChg chg="mod">
          <ac:chgData name="Nick Robinson" userId="d0c2b313-4ae0-4040-8c6a-fec7a720a7b5" providerId="ADAL" clId="{190131DE-6250-C84F-B491-721E6CF30BCB}" dt="2021-12-17T14:38:41.421" v="10202" actId="1037"/>
          <ac:spMkLst>
            <pc:docMk/>
            <pc:sldMk cId="2926344828" sldId="2147374175"/>
            <ac:spMk id="104" creationId="{3DD50DAF-1C36-0246-95D7-BD75C2A31BAE}"/>
          </ac:spMkLst>
        </pc:spChg>
        <pc:spChg chg="mod">
          <ac:chgData name="Nick Robinson" userId="d0c2b313-4ae0-4040-8c6a-fec7a720a7b5" providerId="ADAL" clId="{190131DE-6250-C84F-B491-721E6CF30BCB}" dt="2021-12-17T14:38:41.421" v="10202" actId="1037"/>
          <ac:spMkLst>
            <pc:docMk/>
            <pc:sldMk cId="2926344828" sldId="2147374175"/>
            <ac:spMk id="105" creationId="{81CE5580-6A5F-1E4E-B7E7-C0EE273C97C0}"/>
          </ac:spMkLst>
        </pc:spChg>
        <pc:spChg chg="mod">
          <ac:chgData name="Nick Robinson" userId="d0c2b313-4ae0-4040-8c6a-fec7a720a7b5" providerId="ADAL" clId="{190131DE-6250-C84F-B491-721E6CF30BCB}" dt="2021-12-17T14:38:41.421" v="10202" actId="1037"/>
          <ac:spMkLst>
            <pc:docMk/>
            <pc:sldMk cId="2926344828" sldId="2147374175"/>
            <ac:spMk id="110" creationId="{254E068F-98C8-B349-859F-3E6103D3A1A1}"/>
          </ac:spMkLst>
        </pc:spChg>
        <pc:spChg chg="mod">
          <ac:chgData name="Nick Robinson" userId="d0c2b313-4ae0-4040-8c6a-fec7a720a7b5" providerId="ADAL" clId="{190131DE-6250-C84F-B491-721E6CF30BCB}" dt="2021-12-17T14:38:41.421" v="10202" actId="1037"/>
          <ac:spMkLst>
            <pc:docMk/>
            <pc:sldMk cId="2926344828" sldId="2147374175"/>
            <ac:spMk id="111" creationId="{C2F03B16-F219-4147-AD63-23C918EFB22A}"/>
          </ac:spMkLst>
        </pc:spChg>
        <pc:spChg chg="mod">
          <ac:chgData name="Nick Robinson" userId="d0c2b313-4ae0-4040-8c6a-fec7a720a7b5" providerId="ADAL" clId="{190131DE-6250-C84F-B491-721E6CF30BCB}" dt="2021-12-17T14:38:41.421" v="10202" actId="1037"/>
          <ac:spMkLst>
            <pc:docMk/>
            <pc:sldMk cId="2926344828" sldId="2147374175"/>
            <ac:spMk id="113" creationId="{962109BA-1F52-2D40-A3C1-3BC6BB3E53F0}"/>
          </ac:spMkLst>
        </pc:spChg>
        <pc:spChg chg="mod">
          <ac:chgData name="Nick Robinson" userId="d0c2b313-4ae0-4040-8c6a-fec7a720a7b5" providerId="ADAL" clId="{190131DE-6250-C84F-B491-721E6CF30BCB}" dt="2021-12-17T14:38:41.421" v="10202" actId="1037"/>
          <ac:spMkLst>
            <pc:docMk/>
            <pc:sldMk cId="2926344828" sldId="2147374175"/>
            <ac:spMk id="117" creationId="{F09A10BC-6D0E-CC48-B267-BB3B6D6850D7}"/>
          </ac:spMkLst>
        </pc:spChg>
        <pc:spChg chg="mod">
          <ac:chgData name="Nick Robinson" userId="d0c2b313-4ae0-4040-8c6a-fec7a720a7b5" providerId="ADAL" clId="{190131DE-6250-C84F-B491-721E6CF30BCB}" dt="2021-12-17T14:38:41.421" v="10202" actId="1037"/>
          <ac:spMkLst>
            <pc:docMk/>
            <pc:sldMk cId="2926344828" sldId="2147374175"/>
            <ac:spMk id="120" creationId="{D705B794-941B-374A-B64E-99DAC32BAFCF}"/>
          </ac:spMkLst>
        </pc:spChg>
        <pc:spChg chg="del">
          <ac:chgData name="Nick Robinson" userId="d0c2b313-4ae0-4040-8c6a-fec7a720a7b5" providerId="ADAL" clId="{190131DE-6250-C84F-B491-721E6CF30BCB}" dt="2021-12-17T14:16:37.443" v="8266" actId="478"/>
          <ac:spMkLst>
            <pc:docMk/>
            <pc:sldMk cId="2926344828" sldId="2147374175"/>
            <ac:spMk id="125" creationId="{23223884-8D3A-F04E-AD0D-DC4187E83302}"/>
          </ac:spMkLst>
        </pc:spChg>
        <pc:spChg chg="mod">
          <ac:chgData name="Nick Robinson" userId="d0c2b313-4ae0-4040-8c6a-fec7a720a7b5" providerId="ADAL" clId="{190131DE-6250-C84F-B491-721E6CF30BCB}" dt="2021-12-17T14:38:41.421" v="10202" actId="1037"/>
          <ac:spMkLst>
            <pc:docMk/>
            <pc:sldMk cId="2926344828" sldId="2147374175"/>
            <ac:spMk id="126" creationId="{2DA23663-D8AD-794C-AA51-68AA610503AF}"/>
          </ac:spMkLst>
        </pc:spChg>
        <pc:spChg chg="del">
          <ac:chgData name="Nick Robinson" userId="d0c2b313-4ae0-4040-8c6a-fec7a720a7b5" providerId="ADAL" clId="{190131DE-6250-C84F-B491-721E6CF30BCB}" dt="2021-12-17T14:16:41.708" v="8268" actId="478"/>
          <ac:spMkLst>
            <pc:docMk/>
            <pc:sldMk cId="2926344828" sldId="2147374175"/>
            <ac:spMk id="127" creationId="{39F5BF6B-82E4-AC42-8095-C3D07AF4D099}"/>
          </ac:spMkLst>
        </pc:spChg>
        <pc:graphicFrameChg chg="del">
          <ac:chgData name="Nick Robinson" userId="d0c2b313-4ae0-4040-8c6a-fec7a720a7b5" providerId="ADAL" clId="{190131DE-6250-C84F-B491-721E6CF30BCB}" dt="2021-12-21T10:40:01.746" v="21963" actId="478"/>
          <ac:graphicFrameMkLst>
            <pc:docMk/>
            <pc:sldMk cId="2926344828" sldId="2147374175"/>
            <ac:graphicFrameMk id="66" creationId="{F98ED38C-3374-584E-B601-81AF17E9D573}"/>
          </ac:graphicFrameMkLst>
        </pc:graphicFrameChg>
        <pc:graphicFrameChg chg="add mod">
          <ac:chgData name="Nick Robinson" userId="d0c2b313-4ae0-4040-8c6a-fec7a720a7b5" providerId="ADAL" clId="{190131DE-6250-C84F-B491-721E6CF30BCB}" dt="2021-12-21T10:40:02.664" v="21964"/>
          <ac:graphicFrameMkLst>
            <pc:docMk/>
            <pc:sldMk cId="2926344828" sldId="2147374175"/>
            <ac:graphicFrameMk id="79" creationId="{217B9420-E417-054B-960D-919336657940}"/>
          </ac:graphicFrameMkLst>
        </pc:graphicFrameChg>
        <pc:picChg chg="add mod">
          <ac:chgData name="Nick Robinson" userId="d0c2b313-4ae0-4040-8c6a-fec7a720a7b5" providerId="ADAL" clId="{190131DE-6250-C84F-B491-721E6CF30BCB}" dt="2021-12-17T14:40:16.619" v="10227" actId="207"/>
          <ac:picMkLst>
            <pc:docMk/>
            <pc:sldMk cId="2926344828" sldId="2147374175"/>
            <ac:picMk id="4" creationId="{A3BFCCD6-9472-7C42-A242-EE1CA3267974}"/>
          </ac:picMkLst>
        </pc:picChg>
        <pc:picChg chg="add mod">
          <ac:chgData name="Nick Robinson" userId="d0c2b313-4ae0-4040-8c6a-fec7a720a7b5" providerId="ADAL" clId="{190131DE-6250-C84F-B491-721E6CF30BCB}" dt="2021-12-17T14:40:29.916" v="10230" actId="1076"/>
          <ac:picMkLst>
            <pc:docMk/>
            <pc:sldMk cId="2926344828" sldId="2147374175"/>
            <ac:picMk id="8" creationId="{F9E5CE87-A7BD-B84E-81FB-C276031622E0}"/>
          </ac:picMkLst>
        </pc:picChg>
        <pc:picChg chg="del mod">
          <ac:chgData name="Nick Robinson" userId="d0c2b313-4ae0-4040-8c6a-fec7a720a7b5" providerId="ADAL" clId="{190131DE-6250-C84F-B491-721E6CF30BCB}" dt="2021-12-17T14:39:05.897" v="10209" actId="478"/>
          <ac:picMkLst>
            <pc:docMk/>
            <pc:sldMk cId="2926344828" sldId="2147374175"/>
            <ac:picMk id="9" creationId="{9043E678-5C25-6543-ACE6-0CE399E20BB8}"/>
          </ac:picMkLst>
        </pc:picChg>
        <pc:picChg chg="add mod">
          <ac:chgData name="Nick Robinson" userId="d0c2b313-4ae0-4040-8c6a-fec7a720a7b5" providerId="ADAL" clId="{190131DE-6250-C84F-B491-721E6CF30BCB}" dt="2021-12-17T14:42:42.666" v="10259" actId="1076"/>
          <ac:picMkLst>
            <pc:docMk/>
            <pc:sldMk cId="2926344828" sldId="2147374175"/>
            <ac:picMk id="11" creationId="{75385A34-C66B-AC4E-AEDD-E6C796AD88A7}"/>
          </ac:picMkLst>
        </pc:picChg>
        <pc:picChg chg="add del mod">
          <ac:chgData name="Nick Robinson" userId="d0c2b313-4ae0-4040-8c6a-fec7a720a7b5" providerId="ADAL" clId="{190131DE-6250-C84F-B491-721E6CF30BCB}" dt="2021-12-17T14:41:12.448" v="10240" actId="478"/>
          <ac:picMkLst>
            <pc:docMk/>
            <pc:sldMk cId="2926344828" sldId="2147374175"/>
            <ac:picMk id="13" creationId="{08A26997-B200-454D-A9BC-038EE2A60A44}"/>
          </ac:picMkLst>
        </pc:picChg>
        <pc:picChg chg="add mod">
          <ac:chgData name="Nick Robinson" userId="d0c2b313-4ae0-4040-8c6a-fec7a720a7b5" providerId="ADAL" clId="{190131DE-6250-C84F-B491-721E6CF30BCB}" dt="2021-12-17T14:41:19.712" v="10243" actId="1076"/>
          <ac:picMkLst>
            <pc:docMk/>
            <pc:sldMk cId="2926344828" sldId="2147374175"/>
            <ac:picMk id="15" creationId="{E093D05A-F599-FF45-A0D1-87952212C1CD}"/>
          </ac:picMkLst>
        </pc:picChg>
        <pc:picChg chg="add mod">
          <ac:chgData name="Nick Robinson" userId="d0c2b313-4ae0-4040-8c6a-fec7a720a7b5" providerId="ADAL" clId="{190131DE-6250-C84F-B491-721E6CF30BCB}" dt="2021-12-17T14:41:44.219" v="10249" actId="1076"/>
          <ac:picMkLst>
            <pc:docMk/>
            <pc:sldMk cId="2926344828" sldId="2147374175"/>
            <ac:picMk id="17" creationId="{B10BC163-566D-8A4C-861A-401C7E67E195}"/>
          </ac:picMkLst>
        </pc:picChg>
        <pc:picChg chg="add mod">
          <ac:chgData name="Nick Robinson" userId="d0c2b313-4ae0-4040-8c6a-fec7a720a7b5" providerId="ADAL" clId="{190131DE-6250-C84F-B491-721E6CF30BCB}" dt="2021-12-17T14:42:02.162" v="10253" actId="1076"/>
          <ac:picMkLst>
            <pc:docMk/>
            <pc:sldMk cId="2926344828" sldId="2147374175"/>
            <ac:picMk id="19" creationId="{3697C91E-AC90-4240-BED2-6E3C9A8F9F1C}"/>
          </ac:picMkLst>
        </pc:picChg>
        <pc:picChg chg="add del mod">
          <ac:chgData name="Nick Robinson" userId="d0c2b313-4ae0-4040-8c6a-fec7a720a7b5" providerId="ADAL" clId="{190131DE-6250-C84F-B491-721E6CF30BCB}" dt="2021-12-17T14:42:38.709" v="10258" actId="478"/>
          <ac:picMkLst>
            <pc:docMk/>
            <pc:sldMk cId="2926344828" sldId="2147374175"/>
            <ac:picMk id="21" creationId="{4126AFDF-5129-7F45-AC41-C64C703A043A}"/>
          </ac:picMkLst>
        </pc:picChg>
        <pc:picChg chg="add mod">
          <ac:chgData name="Nick Robinson" userId="d0c2b313-4ae0-4040-8c6a-fec7a720a7b5" providerId="ADAL" clId="{190131DE-6250-C84F-B491-721E6CF30BCB}" dt="2021-12-17T14:42:59.612" v="10263" actId="1076"/>
          <ac:picMkLst>
            <pc:docMk/>
            <pc:sldMk cId="2926344828" sldId="2147374175"/>
            <ac:picMk id="23" creationId="{5C9A0DA6-B8FC-684F-A603-CD73F9B98AB6}"/>
          </ac:picMkLst>
        </pc:picChg>
        <pc:picChg chg="add mod">
          <ac:chgData name="Nick Robinson" userId="d0c2b313-4ae0-4040-8c6a-fec7a720a7b5" providerId="ADAL" clId="{190131DE-6250-C84F-B491-721E6CF30BCB}" dt="2021-12-17T14:43:26.677" v="10268" actId="1038"/>
          <ac:picMkLst>
            <pc:docMk/>
            <pc:sldMk cId="2926344828" sldId="2147374175"/>
            <ac:picMk id="25" creationId="{A67002E5-A57C-944A-9242-7E01BC5B61B2}"/>
          </ac:picMkLst>
        </pc:picChg>
        <pc:picChg chg="del">
          <ac:chgData name="Nick Robinson" userId="d0c2b313-4ae0-4040-8c6a-fec7a720a7b5" providerId="ADAL" clId="{190131DE-6250-C84F-B491-721E6CF30BCB}" dt="2021-12-17T14:16:36.783" v="8265" actId="478"/>
          <ac:picMkLst>
            <pc:docMk/>
            <pc:sldMk cId="2926344828" sldId="2147374175"/>
            <ac:picMk id="65" creationId="{9F87D394-B64A-6741-8C6D-92A82C29D85A}"/>
          </ac:picMkLst>
        </pc:picChg>
        <pc:picChg chg="del mod">
          <ac:chgData name="Nick Robinson" userId="d0c2b313-4ae0-4040-8c6a-fec7a720a7b5" providerId="ADAL" clId="{190131DE-6250-C84F-B491-721E6CF30BCB}" dt="2021-12-17T14:39:09.280" v="10212" actId="478"/>
          <ac:picMkLst>
            <pc:docMk/>
            <pc:sldMk cId="2926344828" sldId="2147374175"/>
            <ac:picMk id="67" creationId="{8C16B7FC-431E-1B47-9271-6EC4FB064A98}"/>
          </ac:picMkLst>
        </pc:picChg>
        <pc:picChg chg="del mod">
          <ac:chgData name="Nick Robinson" userId="d0c2b313-4ae0-4040-8c6a-fec7a720a7b5" providerId="ADAL" clId="{190131DE-6250-C84F-B491-721E6CF30BCB}" dt="2021-12-17T14:39:07.153" v="10210" actId="478"/>
          <ac:picMkLst>
            <pc:docMk/>
            <pc:sldMk cId="2926344828" sldId="2147374175"/>
            <ac:picMk id="68" creationId="{9FB0CAAA-31C1-E54D-912E-2D418CC1C5ED}"/>
          </ac:picMkLst>
        </pc:picChg>
        <pc:picChg chg="del mod">
          <ac:chgData name="Nick Robinson" userId="d0c2b313-4ae0-4040-8c6a-fec7a720a7b5" providerId="ADAL" clId="{190131DE-6250-C84F-B491-721E6CF30BCB}" dt="2021-12-17T14:39:11.582" v="10214" actId="478"/>
          <ac:picMkLst>
            <pc:docMk/>
            <pc:sldMk cId="2926344828" sldId="2147374175"/>
            <ac:picMk id="69" creationId="{4A56C8B5-97DA-FD4B-ACCD-B5BA4226D2E6}"/>
          </ac:picMkLst>
        </pc:picChg>
        <pc:picChg chg="add del mod">
          <ac:chgData name="Nick Robinson" userId="d0c2b313-4ae0-4040-8c6a-fec7a720a7b5" providerId="ADAL" clId="{190131DE-6250-C84F-B491-721E6CF30BCB}" dt="2021-12-17T14:41:27.613" v="10245" actId="478"/>
          <ac:picMkLst>
            <pc:docMk/>
            <pc:sldMk cId="2926344828" sldId="2147374175"/>
            <ac:picMk id="70" creationId="{5656D3F5-C06B-264A-B580-689F6FAB1716}"/>
          </ac:picMkLst>
        </pc:picChg>
        <pc:picChg chg="del mod">
          <ac:chgData name="Nick Robinson" userId="d0c2b313-4ae0-4040-8c6a-fec7a720a7b5" providerId="ADAL" clId="{190131DE-6250-C84F-B491-721E6CF30BCB}" dt="2021-12-17T14:39:08.224" v="10211" actId="478"/>
          <ac:picMkLst>
            <pc:docMk/>
            <pc:sldMk cId="2926344828" sldId="2147374175"/>
            <ac:picMk id="76" creationId="{38BD8C00-EAB4-1C41-B16B-486D162FB499}"/>
          </ac:picMkLst>
        </pc:picChg>
        <pc:picChg chg="del mod">
          <ac:chgData name="Nick Robinson" userId="d0c2b313-4ae0-4040-8c6a-fec7a720a7b5" providerId="ADAL" clId="{190131DE-6250-C84F-B491-721E6CF30BCB}" dt="2021-12-17T14:39:10.500" v="10213" actId="478"/>
          <ac:picMkLst>
            <pc:docMk/>
            <pc:sldMk cId="2926344828" sldId="2147374175"/>
            <ac:picMk id="77" creationId="{EA8E9DA7-026A-8840-BF8B-918C67FA7731}"/>
          </ac:picMkLst>
        </pc:picChg>
        <pc:picChg chg="del mod">
          <ac:chgData name="Nick Robinson" userId="d0c2b313-4ae0-4040-8c6a-fec7a720a7b5" providerId="ADAL" clId="{190131DE-6250-C84F-B491-721E6CF30BCB}" dt="2021-12-17T14:39:14.963" v="10215" actId="478"/>
          <ac:picMkLst>
            <pc:docMk/>
            <pc:sldMk cId="2926344828" sldId="2147374175"/>
            <ac:picMk id="80" creationId="{9A057607-E930-8E44-A39C-FA3E24E82F5D}"/>
          </ac:picMkLst>
        </pc:picChg>
        <pc:picChg chg="del mod">
          <ac:chgData name="Nick Robinson" userId="d0c2b313-4ae0-4040-8c6a-fec7a720a7b5" providerId="ADAL" clId="{190131DE-6250-C84F-B491-721E6CF30BCB}" dt="2021-12-17T14:39:04.728" v="10208" actId="478"/>
          <ac:picMkLst>
            <pc:docMk/>
            <pc:sldMk cId="2926344828" sldId="2147374175"/>
            <ac:picMk id="82" creationId="{9BDC9542-20DB-854A-B7DB-4EFD1573CD39}"/>
          </ac:picMkLst>
        </pc:picChg>
      </pc:sldChg>
      <pc:sldChg chg="addSp delSp modSp add mod ord delCm">
        <pc:chgData name="Nick Robinson" userId="d0c2b313-4ae0-4040-8c6a-fec7a720a7b5" providerId="ADAL" clId="{190131DE-6250-C84F-B491-721E6CF30BCB}" dt="2021-12-23T09:22:22.233" v="39228" actId="207"/>
        <pc:sldMkLst>
          <pc:docMk/>
          <pc:sldMk cId="726081772" sldId="2147374176"/>
        </pc:sldMkLst>
        <pc:spChg chg="mod">
          <ac:chgData name="Nick Robinson" userId="d0c2b313-4ae0-4040-8c6a-fec7a720a7b5" providerId="ADAL" clId="{190131DE-6250-C84F-B491-721E6CF30BCB}" dt="2021-12-23T07:37:22.868" v="34380" actId="20577"/>
          <ac:spMkLst>
            <pc:docMk/>
            <pc:sldMk cId="726081772" sldId="2147374176"/>
            <ac:spMk id="7" creationId="{057581C4-CC99-2A46-AE18-D0CBC020606C}"/>
          </ac:spMkLst>
        </pc:spChg>
        <pc:spChg chg="del">
          <ac:chgData name="Nick Robinson" userId="d0c2b313-4ae0-4040-8c6a-fec7a720a7b5" providerId="ADAL" clId="{190131DE-6250-C84F-B491-721E6CF30BCB}" dt="2021-12-21T16:48:55.951" v="24464" actId="478"/>
          <ac:spMkLst>
            <pc:docMk/>
            <pc:sldMk cId="726081772" sldId="2147374176"/>
            <ac:spMk id="78" creationId="{96A61CFC-E3A5-4041-8065-B4B3059D7868}"/>
          </ac:spMkLst>
        </pc:spChg>
        <pc:spChg chg="mod">
          <ac:chgData name="Nick Robinson" userId="d0c2b313-4ae0-4040-8c6a-fec7a720a7b5" providerId="ADAL" clId="{190131DE-6250-C84F-B491-721E6CF30BCB}" dt="2021-12-23T08:26:50.804" v="37355" actId="20577"/>
          <ac:spMkLst>
            <pc:docMk/>
            <pc:sldMk cId="726081772" sldId="2147374176"/>
            <ac:spMk id="90" creationId="{88D61C6E-321B-DA40-A96F-B7AAC2E952CC}"/>
          </ac:spMkLst>
        </pc:spChg>
        <pc:graphicFrameChg chg="add mod modGraphic">
          <ac:chgData name="Nick Robinson" userId="d0c2b313-4ae0-4040-8c6a-fec7a720a7b5" providerId="ADAL" clId="{190131DE-6250-C84F-B491-721E6CF30BCB}" dt="2021-12-23T09:22:22.233" v="39228" actId="207"/>
          <ac:graphicFrameMkLst>
            <pc:docMk/>
            <pc:sldMk cId="726081772" sldId="2147374176"/>
            <ac:graphicFrameMk id="52" creationId="{2B75B6D1-F6FF-DD41-B380-B50120C7FC46}"/>
          </ac:graphicFrameMkLst>
        </pc:graphicFrameChg>
        <pc:graphicFrameChg chg="del">
          <ac:chgData name="Nick Robinson" userId="d0c2b313-4ae0-4040-8c6a-fec7a720a7b5" providerId="ADAL" clId="{190131DE-6250-C84F-B491-721E6CF30BCB}" dt="2021-12-21T11:03:52.553" v="22224" actId="478"/>
          <ac:graphicFrameMkLst>
            <pc:docMk/>
            <pc:sldMk cId="726081772" sldId="2147374176"/>
            <ac:graphicFrameMk id="66" creationId="{F98ED38C-3374-584E-B601-81AF17E9D573}"/>
          </ac:graphicFrameMkLst>
        </pc:graphicFrameChg>
      </pc:sldChg>
      <pc:sldChg chg="addSp delSp modSp del mod ord">
        <pc:chgData name="Nick Robinson" userId="d0c2b313-4ae0-4040-8c6a-fec7a720a7b5" providerId="ADAL" clId="{190131DE-6250-C84F-B491-721E6CF30BCB}" dt="2021-12-23T08:22:05.301" v="37157" actId="2696"/>
        <pc:sldMkLst>
          <pc:docMk/>
          <pc:sldMk cId="430981442" sldId="2147374177"/>
        </pc:sldMkLst>
        <pc:spChg chg="mod">
          <ac:chgData name="Nick Robinson" userId="d0c2b313-4ae0-4040-8c6a-fec7a720a7b5" providerId="ADAL" clId="{190131DE-6250-C84F-B491-721E6CF30BCB}" dt="2021-12-20T11:24:00.331" v="15403" actId="20577"/>
          <ac:spMkLst>
            <pc:docMk/>
            <pc:sldMk cId="430981442" sldId="2147374177"/>
            <ac:spMk id="3" creationId="{0A22AF2B-CD1C-8742-ABF2-F47A44879B64}"/>
          </ac:spMkLst>
        </pc:spChg>
        <pc:spChg chg="add del mod">
          <ac:chgData name="Nick Robinson" userId="d0c2b313-4ae0-4040-8c6a-fec7a720a7b5" providerId="ADAL" clId="{190131DE-6250-C84F-B491-721E6CF30BCB}" dt="2021-12-20T11:30:32.418" v="15727"/>
          <ac:spMkLst>
            <pc:docMk/>
            <pc:sldMk cId="430981442" sldId="2147374177"/>
            <ac:spMk id="24" creationId="{121F0AF1-00A1-5742-90BF-AB53065196F1}"/>
          </ac:spMkLst>
        </pc:spChg>
        <pc:spChg chg="mod">
          <ac:chgData name="Nick Robinson" userId="d0c2b313-4ae0-4040-8c6a-fec7a720a7b5" providerId="ADAL" clId="{190131DE-6250-C84F-B491-721E6CF30BCB}" dt="2021-12-20T11:29:58.542" v="15715" actId="1076"/>
          <ac:spMkLst>
            <pc:docMk/>
            <pc:sldMk cId="430981442" sldId="2147374177"/>
            <ac:spMk id="28" creationId="{34D14069-3A78-CB4B-9516-37759BDAF618}"/>
          </ac:spMkLst>
        </pc:spChg>
        <pc:spChg chg="add mod">
          <ac:chgData name="Nick Robinson" userId="d0c2b313-4ae0-4040-8c6a-fec7a720a7b5" providerId="ADAL" clId="{190131DE-6250-C84F-B491-721E6CF30BCB}" dt="2021-12-20T11:32:19.249" v="15932" actId="14100"/>
          <ac:spMkLst>
            <pc:docMk/>
            <pc:sldMk cId="430981442" sldId="2147374177"/>
            <ac:spMk id="32" creationId="{3BBD292D-8616-E54D-B88F-BE687E2F7435}"/>
          </ac:spMkLst>
        </pc:spChg>
        <pc:spChg chg="add mod">
          <ac:chgData name="Nick Robinson" userId="d0c2b313-4ae0-4040-8c6a-fec7a720a7b5" providerId="ADAL" clId="{190131DE-6250-C84F-B491-721E6CF30BCB}" dt="2021-12-20T11:37:02.245" v="16562" actId="20577"/>
          <ac:spMkLst>
            <pc:docMk/>
            <pc:sldMk cId="430981442" sldId="2147374177"/>
            <ac:spMk id="33" creationId="{81F5A627-8908-F449-B98F-F86B18029A50}"/>
          </ac:spMkLst>
        </pc:spChg>
        <pc:spChg chg="mod">
          <ac:chgData name="Nick Robinson" userId="d0c2b313-4ae0-4040-8c6a-fec7a720a7b5" providerId="ADAL" clId="{190131DE-6250-C84F-B491-721E6CF30BCB}" dt="2021-12-23T08:22:00.829" v="37156" actId="113"/>
          <ac:spMkLst>
            <pc:docMk/>
            <pc:sldMk cId="430981442" sldId="2147374177"/>
            <ac:spMk id="36" creationId="{F0613AF4-B5CC-A042-A76D-31B970DEDD1C}"/>
          </ac:spMkLst>
        </pc:spChg>
        <pc:spChg chg="del mod">
          <ac:chgData name="Nick Robinson" userId="d0c2b313-4ae0-4040-8c6a-fec7a720a7b5" providerId="ADAL" clId="{190131DE-6250-C84F-B491-721E6CF30BCB}" dt="2021-12-20T11:28:22.764" v="15666" actId="478"/>
          <ac:spMkLst>
            <pc:docMk/>
            <pc:sldMk cId="430981442" sldId="2147374177"/>
            <ac:spMk id="43" creationId="{9FA2E461-6303-4743-8659-4B95D1076B28}"/>
          </ac:spMkLst>
        </pc:spChg>
        <pc:spChg chg="mod">
          <ac:chgData name="Nick Robinson" userId="d0c2b313-4ae0-4040-8c6a-fec7a720a7b5" providerId="ADAL" clId="{190131DE-6250-C84F-B491-721E6CF30BCB}" dt="2021-12-20T11:37:42.825" v="16585" actId="313"/>
          <ac:spMkLst>
            <pc:docMk/>
            <pc:sldMk cId="430981442" sldId="2147374177"/>
            <ac:spMk id="45" creationId="{82462555-6D83-5F42-B00A-C71F74BA439F}"/>
          </ac:spMkLst>
        </pc:spChg>
        <pc:spChg chg="del mod">
          <ac:chgData name="Nick Robinson" userId="d0c2b313-4ae0-4040-8c6a-fec7a720a7b5" providerId="ADAL" clId="{190131DE-6250-C84F-B491-721E6CF30BCB}" dt="2021-12-20T11:28:20.341" v="15664" actId="478"/>
          <ac:spMkLst>
            <pc:docMk/>
            <pc:sldMk cId="430981442" sldId="2147374177"/>
            <ac:spMk id="47" creationId="{7C7F9D18-3DD2-8947-B99E-74744E3B4921}"/>
          </ac:spMkLst>
        </pc:spChg>
        <pc:spChg chg="del">
          <ac:chgData name="Nick Robinson" userId="d0c2b313-4ae0-4040-8c6a-fec7a720a7b5" providerId="ADAL" clId="{190131DE-6250-C84F-B491-721E6CF30BCB}" dt="2021-12-17T16:31:08.570" v="10709" actId="478"/>
          <ac:spMkLst>
            <pc:docMk/>
            <pc:sldMk cId="430981442" sldId="2147374177"/>
            <ac:spMk id="48" creationId="{1273F835-6474-9543-B3FA-EAC9E523486D}"/>
          </ac:spMkLst>
        </pc:spChg>
        <pc:graphicFrameChg chg="add del mod">
          <ac:chgData name="Nick Robinson" userId="d0c2b313-4ae0-4040-8c6a-fec7a720a7b5" providerId="ADAL" clId="{190131DE-6250-C84F-B491-721E6CF30BCB}" dt="2021-12-17T16:27:42.873" v="10641" actId="478"/>
          <ac:graphicFrameMkLst>
            <pc:docMk/>
            <pc:sldMk cId="430981442" sldId="2147374177"/>
            <ac:graphicFrameMk id="2" creationId="{1AE9E21D-6B46-4447-ACDA-2E70369C779E}"/>
          </ac:graphicFrameMkLst>
        </pc:graphicFrameChg>
        <pc:graphicFrameChg chg="modGraphic">
          <ac:chgData name="Nick Robinson" userId="d0c2b313-4ae0-4040-8c6a-fec7a720a7b5" providerId="ADAL" clId="{190131DE-6250-C84F-B491-721E6CF30BCB}" dt="2021-12-20T15:23:57.448" v="17616" actId="207"/>
          <ac:graphicFrameMkLst>
            <pc:docMk/>
            <pc:sldMk cId="430981442" sldId="2147374177"/>
            <ac:graphicFrameMk id="16" creationId="{2F5FFB69-B118-5D47-8BE4-2AFDA670B99A}"/>
          </ac:graphicFrameMkLst>
        </pc:graphicFrameChg>
        <pc:graphicFrameChg chg="del mod modGraphic">
          <ac:chgData name="Nick Robinson" userId="d0c2b313-4ae0-4040-8c6a-fec7a720a7b5" providerId="ADAL" clId="{190131DE-6250-C84F-B491-721E6CF30BCB}" dt="2021-12-20T11:24:09.141" v="15404" actId="478"/>
          <ac:graphicFrameMkLst>
            <pc:docMk/>
            <pc:sldMk cId="430981442" sldId="2147374177"/>
            <ac:graphicFrameMk id="17" creationId="{7AA6C9EE-A5E6-8845-9153-F6FCC5726785}"/>
          </ac:graphicFrameMkLst>
        </pc:graphicFrameChg>
        <pc:picChg chg="add del mod">
          <ac:chgData name="Nick Robinson" userId="d0c2b313-4ae0-4040-8c6a-fec7a720a7b5" providerId="ADAL" clId="{190131DE-6250-C84F-B491-721E6CF30BCB}" dt="2021-12-20T11:24:11.288" v="15405" actId="478"/>
          <ac:picMkLst>
            <pc:docMk/>
            <pc:sldMk cId="430981442" sldId="2147374177"/>
            <ac:picMk id="4" creationId="{464E35B9-B218-8645-BE8E-F011B1489DA4}"/>
          </ac:picMkLst>
        </pc:picChg>
        <pc:picChg chg="del">
          <ac:chgData name="Nick Robinson" userId="d0c2b313-4ae0-4040-8c6a-fec7a720a7b5" providerId="ADAL" clId="{190131DE-6250-C84F-B491-721E6CF30BCB}" dt="2021-12-17T16:28:27.471" v="10647" actId="478"/>
          <ac:picMkLst>
            <pc:docMk/>
            <pc:sldMk cId="430981442" sldId="2147374177"/>
            <ac:picMk id="4" creationId="{B27D0968-CC00-E346-BACF-E7F5EE72FF50}"/>
          </ac:picMkLst>
        </pc:picChg>
        <pc:picChg chg="add del mod">
          <ac:chgData name="Nick Robinson" userId="d0c2b313-4ae0-4040-8c6a-fec7a720a7b5" providerId="ADAL" clId="{190131DE-6250-C84F-B491-721E6CF30BCB}" dt="2021-12-20T11:28:21.059" v="15665" actId="478"/>
          <ac:picMkLst>
            <pc:docMk/>
            <pc:sldMk cId="430981442" sldId="2147374177"/>
            <ac:picMk id="5" creationId="{6C133EBA-DC7E-AE44-904B-883A3DAB5261}"/>
          </ac:picMkLst>
        </pc:picChg>
        <pc:picChg chg="del">
          <ac:chgData name="Nick Robinson" userId="d0c2b313-4ae0-4040-8c6a-fec7a720a7b5" providerId="ADAL" clId="{190131DE-6250-C84F-B491-721E6CF30BCB}" dt="2021-12-17T16:28:27.471" v="10647" actId="478"/>
          <ac:picMkLst>
            <pc:docMk/>
            <pc:sldMk cId="430981442" sldId="2147374177"/>
            <ac:picMk id="6" creationId="{149790EF-2926-EC4F-88B7-AECC44C944C0}"/>
          </ac:picMkLst>
        </pc:picChg>
        <pc:picChg chg="add del mod">
          <ac:chgData name="Nick Robinson" userId="d0c2b313-4ae0-4040-8c6a-fec7a720a7b5" providerId="ADAL" clId="{190131DE-6250-C84F-B491-721E6CF30BCB}" dt="2021-12-20T11:24:11.288" v="15405" actId="478"/>
          <ac:picMkLst>
            <pc:docMk/>
            <pc:sldMk cId="430981442" sldId="2147374177"/>
            <ac:picMk id="7" creationId="{85CEDD6C-F44A-F648-A839-49AC2A1D2FD3}"/>
          </ac:picMkLst>
        </pc:picChg>
        <pc:picChg chg="del">
          <ac:chgData name="Nick Robinson" userId="d0c2b313-4ae0-4040-8c6a-fec7a720a7b5" providerId="ADAL" clId="{190131DE-6250-C84F-B491-721E6CF30BCB}" dt="2021-12-17T16:28:27.471" v="10647" actId="478"/>
          <ac:picMkLst>
            <pc:docMk/>
            <pc:sldMk cId="430981442" sldId="2147374177"/>
            <ac:picMk id="8" creationId="{CD568252-B5C7-7A43-A838-CCD2AED5C789}"/>
          </ac:picMkLst>
        </pc:picChg>
        <pc:picChg chg="add del mod">
          <ac:chgData name="Nick Robinson" userId="d0c2b313-4ae0-4040-8c6a-fec7a720a7b5" providerId="ADAL" clId="{190131DE-6250-C84F-B491-721E6CF30BCB}" dt="2021-12-20T10:35:40.132" v="14693" actId="478"/>
          <ac:picMkLst>
            <pc:docMk/>
            <pc:sldMk cId="430981442" sldId="2147374177"/>
            <ac:picMk id="9" creationId="{D6D80AEB-374F-DF4A-AEF0-CBEDA3BD095F}"/>
          </ac:picMkLst>
        </pc:picChg>
        <pc:picChg chg="add del mod">
          <ac:chgData name="Nick Robinson" userId="d0c2b313-4ae0-4040-8c6a-fec7a720a7b5" providerId="ADAL" clId="{190131DE-6250-C84F-B491-721E6CF30BCB}" dt="2021-12-20T11:24:11.288" v="15405" actId="478"/>
          <ac:picMkLst>
            <pc:docMk/>
            <pc:sldMk cId="430981442" sldId="2147374177"/>
            <ac:picMk id="11" creationId="{235CA2E5-C380-0A4D-A248-4397F2B73FC5}"/>
          </ac:picMkLst>
        </pc:picChg>
        <pc:picChg chg="del">
          <ac:chgData name="Nick Robinson" userId="d0c2b313-4ae0-4040-8c6a-fec7a720a7b5" providerId="ADAL" clId="{190131DE-6250-C84F-B491-721E6CF30BCB}" dt="2021-12-17T16:28:27.471" v="10647" actId="478"/>
          <ac:picMkLst>
            <pc:docMk/>
            <pc:sldMk cId="430981442" sldId="2147374177"/>
            <ac:picMk id="11" creationId="{60E7DBD3-86EA-7E4B-A8CF-FF3A505DFB24}"/>
          </ac:picMkLst>
        </pc:picChg>
        <pc:picChg chg="add del mod">
          <ac:chgData name="Nick Robinson" userId="d0c2b313-4ae0-4040-8c6a-fec7a720a7b5" providerId="ADAL" clId="{190131DE-6250-C84F-B491-721E6CF30BCB}" dt="2021-12-20T11:24:11.288" v="15405" actId="478"/>
          <ac:picMkLst>
            <pc:docMk/>
            <pc:sldMk cId="430981442" sldId="2147374177"/>
            <ac:picMk id="13" creationId="{34700A13-65A0-7C45-B243-A3F6CF7E8E6A}"/>
          </ac:picMkLst>
        </pc:picChg>
        <pc:picChg chg="add del mod">
          <ac:chgData name="Nick Robinson" userId="d0c2b313-4ae0-4040-8c6a-fec7a720a7b5" providerId="ADAL" clId="{190131DE-6250-C84F-B491-721E6CF30BCB}" dt="2021-12-20T11:24:11.288" v="15405" actId="478"/>
          <ac:picMkLst>
            <pc:docMk/>
            <pc:sldMk cId="430981442" sldId="2147374177"/>
            <ac:picMk id="14" creationId="{E36A3E08-554B-FB4A-85DA-F88D57A62AE9}"/>
          </ac:picMkLst>
        </pc:picChg>
        <pc:picChg chg="add del mod">
          <ac:chgData name="Nick Robinson" userId="d0c2b313-4ae0-4040-8c6a-fec7a720a7b5" providerId="ADAL" clId="{190131DE-6250-C84F-B491-721E6CF30BCB}" dt="2021-12-20T11:24:11.288" v="15405" actId="478"/>
          <ac:picMkLst>
            <pc:docMk/>
            <pc:sldMk cId="430981442" sldId="2147374177"/>
            <ac:picMk id="15" creationId="{A608672C-E288-AC44-97A2-427C55A95854}"/>
          </ac:picMkLst>
        </pc:picChg>
        <pc:picChg chg="add del mod">
          <ac:chgData name="Nick Robinson" userId="d0c2b313-4ae0-4040-8c6a-fec7a720a7b5" providerId="ADAL" clId="{190131DE-6250-C84F-B491-721E6CF30BCB}" dt="2021-12-20T11:24:11.288" v="15405" actId="478"/>
          <ac:picMkLst>
            <pc:docMk/>
            <pc:sldMk cId="430981442" sldId="2147374177"/>
            <ac:picMk id="19" creationId="{FA027022-482B-9F42-84FF-C45766E4D12E}"/>
          </ac:picMkLst>
        </pc:picChg>
        <pc:picChg chg="add del mod">
          <ac:chgData name="Nick Robinson" userId="d0c2b313-4ae0-4040-8c6a-fec7a720a7b5" providerId="ADAL" clId="{190131DE-6250-C84F-B491-721E6CF30BCB}" dt="2021-12-20T11:24:11.288" v="15405" actId="478"/>
          <ac:picMkLst>
            <pc:docMk/>
            <pc:sldMk cId="430981442" sldId="2147374177"/>
            <ac:picMk id="21" creationId="{DDB6B030-3B4E-FE40-B535-3FF09D498857}"/>
          </ac:picMkLst>
        </pc:picChg>
        <pc:picChg chg="add mod">
          <ac:chgData name="Nick Robinson" userId="d0c2b313-4ae0-4040-8c6a-fec7a720a7b5" providerId="ADAL" clId="{190131DE-6250-C84F-B491-721E6CF30BCB}" dt="2021-12-20T11:29:55.542" v="15714" actId="1076"/>
          <ac:picMkLst>
            <pc:docMk/>
            <pc:sldMk cId="430981442" sldId="2147374177"/>
            <ac:picMk id="22" creationId="{2D010E59-437B-2546-AE22-F0849D250FC0}"/>
          </ac:picMkLst>
        </pc:picChg>
        <pc:picChg chg="add mod">
          <ac:chgData name="Nick Robinson" userId="d0c2b313-4ae0-4040-8c6a-fec7a720a7b5" providerId="ADAL" clId="{190131DE-6250-C84F-B491-721E6CF30BCB}" dt="2021-12-20T11:29:48.120" v="15713" actId="1076"/>
          <ac:picMkLst>
            <pc:docMk/>
            <pc:sldMk cId="430981442" sldId="2147374177"/>
            <ac:picMk id="23" creationId="{EB2DB704-5C31-BB4E-91FA-B765E77E468F}"/>
          </ac:picMkLst>
        </pc:picChg>
        <pc:cxnChg chg="mod">
          <ac:chgData name="Nick Robinson" userId="d0c2b313-4ae0-4040-8c6a-fec7a720a7b5" providerId="ADAL" clId="{190131DE-6250-C84F-B491-721E6CF30BCB}" dt="2021-12-22T20:43:15.082" v="30290" actId="208"/>
          <ac:cxnSpMkLst>
            <pc:docMk/>
            <pc:sldMk cId="430981442" sldId="2147374177"/>
            <ac:cxnSpMk id="44" creationId="{0CBE68EF-8C37-444F-9ACF-F60BB8DD6EB2}"/>
          </ac:cxnSpMkLst>
        </pc:cxnChg>
        <pc:cxnChg chg="del mod">
          <ac:chgData name="Nick Robinson" userId="d0c2b313-4ae0-4040-8c6a-fec7a720a7b5" providerId="ADAL" clId="{190131DE-6250-C84F-B491-721E6CF30BCB}" dt="2021-12-20T11:28:23.376" v="15667" actId="478"/>
          <ac:cxnSpMkLst>
            <pc:docMk/>
            <pc:sldMk cId="430981442" sldId="2147374177"/>
            <ac:cxnSpMk id="46" creationId="{FD48E642-115E-8748-97E3-DD8E4689B409}"/>
          </ac:cxnSpMkLst>
        </pc:cxnChg>
      </pc:sldChg>
      <pc:sldChg chg="modSp del mod">
        <pc:chgData name="Nick Robinson" userId="d0c2b313-4ae0-4040-8c6a-fec7a720a7b5" providerId="ADAL" clId="{190131DE-6250-C84F-B491-721E6CF30BCB}" dt="2021-12-20T10:40:45.979" v="14772" actId="2696"/>
        <pc:sldMkLst>
          <pc:docMk/>
          <pc:sldMk cId="654945963" sldId="2147374178"/>
        </pc:sldMkLst>
        <pc:spChg chg="mod">
          <ac:chgData name="Nick Robinson" userId="d0c2b313-4ae0-4040-8c6a-fec7a720a7b5" providerId="ADAL" clId="{190131DE-6250-C84F-B491-721E6CF30BCB}" dt="2021-12-17T16:40:46.026" v="11328" actId="404"/>
          <ac:spMkLst>
            <pc:docMk/>
            <pc:sldMk cId="654945963" sldId="2147374178"/>
            <ac:spMk id="6" creationId="{F4C46C5A-EFC4-EF4D-B867-BBA768987650}"/>
          </ac:spMkLst>
        </pc:spChg>
        <pc:spChg chg="mod">
          <ac:chgData name="Nick Robinson" userId="d0c2b313-4ae0-4040-8c6a-fec7a720a7b5" providerId="ADAL" clId="{190131DE-6250-C84F-B491-721E6CF30BCB}" dt="2021-12-17T16:40:51.320" v="11329" actId="404"/>
          <ac:spMkLst>
            <pc:docMk/>
            <pc:sldMk cId="654945963" sldId="2147374178"/>
            <ac:spMk id="7" creationId="{7B12EFA4-539C-A649-8CC2-21A23EDEE5AE}"/>
          </ac:spMkLst>
        </pc:spChg>
        <pc:spChg chg="mod">
          <ac:chgData name="Nick Robinson" userId="d0c2b313-4ae0-4040-8c6a-fec7a720a7b5" providerId="ADAL" clId="{190131DE-6250-C84F-B491-721E6CF30BCB}" dt="2021-12-17T16:40:51.320" v="11329" actId="404"/>
          <ac:spMkLst>
            <pc:docMk/>
            <pc:sldMk cId="654945963" sldId="2147374178"/>
            <ac:spMk id="15" creationId="{74792645-8042-C146-B44E-9EDC74F71A87}"/>
          </ac:spMkLst>
        </pc:spChg>
        <pc:spChg chg="mod">
          <ac:chgData name="Nick Robinson" userId="d0c2b313-4ae0-4040-8c6a-fec7a720a7b5" providerId="ADAL" clId="{190131DE-6250-C84F-B491-721E6CF30BCB}" dt="2021-12-20T10:40:32.670" v="14771" actId="20577"/>
          <ac:spMkLst>
            <pc:docMk/>
            <pc:sldMk cId="654945963" sldId="2147374178"/>
            <ac:spMk id="18" creationId="{87A0D5BE-92F8-324D-9365-1E344D7A55E4}"/>
          </ac:spMkLst>
        </pc:spChg>
      </pc:sldChg>
      <pc:sldChg chg="addSp delSp modSp add del mod">
        <pc:chgData name="Nick Robinson" userId="d0c2b313-4ae0-4040-8c6a-fec7a720a7b5" providerId="ADAL" clId="{190131DE-6250-C84F-B491-721E6CF30BCB}" dt="2021-12-20T17:09:25.970" v="19916" actId="2696"/>
        <pc:sldMkLst>
          <pc:docMk/>
          <pc:sldMk cId="2325057096" sldId="2147374179"/>
        </pc:sldMkLst>
        <pc:spChg chg="add mod">
          <ac:chgData name="Nick Robinson" userId="d0c2b313-4ae0-4040-8c6a-fec7a720a7b5" providerId="ADAL" clId="{190131DE-6250-C84F-B491-721E6CF30BCB}" dt="2021-12-17T16:30:05.920" v="10685" actId="1076"/>
          <ac:spMkLst>
            <pc:docMk/>
            <pc:sldMk cId="2325057096" sldId="2147374179"/>
            <ac:spMk id="2" creationId="{F9EDF82A-CAB3-F649-95CC-F7B7AE86A7D9}"/>
          </ac:spMkLst>
        </pc:spChg>
        <pc:spChg chg="mod">
          <ac:chgData name="Nick Robinson" userId="d0c2b313-4ae0-4040-8c6a-fec7a720a7b5" providerId="ADAL" clId="{190131DE-6250-C84F-B491-721E6CF30BCB}" dt="2021-12-20T10:40:09.658" v="14767" actId="20577"/>
          <ac:spMkLst>
            <pc:docMk/>
            <pc:sldMk cId="2325057096" sldId="2147374179"/>
            <ac:spMk id="3" creationId="{0A22AF2B-CD1C-8742-ABF2-F47A44879B64}"/>
          </ac:spMkLst>
        </pc:spChg>
        <pc:spChg chg="add mod">
          <ac:chgData name="Nick Robinson" userId="d0c2b313-4ae0-4040-8c6a-fec7a720a7b5" providerId="ADAL" clId="{190131DE-6250-C84F-B491-721E6CF30BCB}" dt="2021-12-20T14:41:11.430" v="17387" actId="20577"/>
          <ac:spMkLst>
            <pc:docMk/>
            <pc:sldMk cId="2325057096" sldId="2147374179"/>
            <ac:spMk id="4" creationId="{4B1B82F5-BE95-7C45-9487-DC54A5A62139}"/>
          </ac:spMkLst>
        </pc:spChg>
        <pc:spChg chg="del">
          <ac:chgData name="Nick Robinson" userId="d0c2b313-4ae0-4040-8c6a-fec7a720a7b5" providerId="ADAL" clId="{190131DE-6250-C84F-B491-721E6CF30BCB}" dt="2021-12-17T16:29:43.221" v="10665" actId="478"/>
          <ac:spMkLst>
            <pc:docMk/>
            <pc:sldMk cId="2325057096" sldId="2147374179"/>
            <ac:spMk id="28" creationId="{34D14069-3A78-CB4B-9516-37759BDAF618}"/>
          </ac:spMkLst>
        </pc:spChg>
        <pc:spChg chg="del">
          <ac:chgData name="Nick Robinson" userId="d0c2b313-4ae0-4040-8c6a-fec7a720a7b5" providerId="ADAL" clId="{190131DE-6250-C84F-B491-721E6CF30BCB}" dt="2021-12-17T16:29:43.221" v="10665" actId="478"/>
          <ac:spMkLst>
            <pc:docMk/>
            <pc:sldMk cId="2325057096" sldId="2147374179"/>
            <ac:spMk id="36" creationId="{F0613AF4-B5CC-A042-A76D-31B970DEDD1C}"/>
          </ac:spMkLst>
        </pc:spChg>
        <pc:spChg chg="del">
          <ac:chgData name="Nick Robinson" userId="d0c2b313-4ae0-4040-8c6a-fec7a720a7b5" providerId="ADAL" clId="{190131DE-6250-C84F-B491-721E6CF30BCB}" dt="2021-12-17T16:29:43.221" v="10665" actId="478"/>
          <ac:spMkLst>
            <pc:docMk/>
            <pc:sldMk cId="2325057096" sldId="2147374179"/>
            <ac:spMk id="43" creationId="{9FA2E461-6303-4743-8659-4B95D1076B28}"/>
          </ac:spMkLst>
        </pc:spChg>
        <pc:spChg chg="del">
          <ac:chgData name="Nick Robinson" userId="d0c2b313-4ae0-4040-8c6a-fec7a720a7b5" providerId="ADAL" clId="{190131DE-6250-C84F-B491-721E6CF30BCB}" dt="2021-12-17T16:29:43.221" v="10665" actId="478"/>
          <ac:spMkLst>
            <pc:docMk/>
            <pc:sldMk cId="2325057096" sldId="2147374179"/>
            <ac:spMk id="45" creationId="{82462555-6D83-5F42-B00A-C71F74BA439F}"/>
          </ac:spMkLst>
        </pc:spChg>
        <pc:spChg chg="del">
          <ac:chgData name="Nick Robinson" userId="d0c2b313-4ae0-4040-8c6a-fec7a720a7b5" providerId="ADAL" clId="{190131DE-6250-C84F-B491-721E6CF30BCB}" dt="2021-12-17T16:29:43.221" v="10665" actId="478"/>
          <ac:spMkLst>
            <pc:docMk/>
            <pc:sldMk cId="2325057096" sldId="2147374179"/>
            <ac:spMk id="47" creationId="{7C7F9D18-3DD2-8947-B99E-74744E3B4921}"/>
          </ac:spMkLst>
        </pc:spChg>
        <pc:spChg chg="del">
          <ac:chgData name="Nick Robinson" userId="d0c2b313-4ae0-4040-8c6a-fec7a720a7b5" providerId="ADAL" clId="{190131DE-6250-C84F-B491-721E6CF30BCB}" dt="2021-12-17T16:29:43.221" v="10665" actId="478"/>
          <ac:spMkLst>
            <pc:docMk/>
            <pc:sldMk cId="2325057096" sldId="2147374179"/>
            <ac:spMk id="48" creationId="{1273F835-6474-9543-B3FA-EAC9E523486D}"/>
          </ac:spMkLst>
        </pc:spChg>
        <pc:graphicFrameChg chg="add mod">
          <ac:chgData name="Nick Robinson" userId="d0c2b313-4ae0-4040-8c6a-fec7a720a7b5" providerId="ADAL" clId="{190131DE-6250-C84F-B491-721E6CF30BCB}" dt="2021-12-17T16:29:56.520" v="10667" actId="1076"/>
          <ac:graphicFrameMkLst>
            <pc:docMk/>
            <pc:sldMk cId="2325057096" sldId="2147374179"/>
            <ac:graphicFrameMk id="13" creationId="{2A94B362-7C67-A64B-A7DA-5C862B04FEBC}"/>
          </ac:graphicFrameMkLst>
        </pc:graphicFrameChg>
        <pc:graphicFrameChg chg="add del mod">
          <ac:chgData name="Nick Robinson" userId="d0c2b313-4ae0-4040-8c6a-fec7a720a7b5" providerId="ADAL" clId="{190131DE-6250-C84F-B491-721E6CF30BCB}" dt="2021-12-20T15:26:59.125" v="17623" actId="478"/>
          <ac:graphicFrameMkLst>
            <pc:docMk/>
            <pc:sldMk cId="2325057096" sldId="2147374179"/>
            <ac:graphicFrameMk id="15" creationId="{0512E50F-4BFC-C640-B386-69C7D896343C}"/>
          </ac:graphicFrameMkLst>
        </pc:graphicFrameChg>
        <pc:graphicFrameChg chg="del">
          <ac:chgData name="Nick Robinson" userId="d0c2b313-4ae0-4040-8c6a-fec7a720a7b5" providerId="ADAL" clId="{190131DE-6250-C84F-B491-721E6CF30BCB}" dt="2021-12-20T14:40:34.475" v="17365" actId="478"/>
          <ac:graphicFrameMkLst>
            <pc:docMk/>
            <pc:sldMk cId="2325057096" sldId="2147374179"/>
            <ac:graphicFrameMk id="16" creationId="{2F5FFB69-B118-5D47-8BE4-2AFDA670B99A}"/>
          </ac:graphicFrameMkLst>
        </pc:graphicFrameChg>
        <pc:graphicFrameChg chg="del">
          <ac:chgData name="Nick Robinson" userId="d0c2b313-4ae0-4040-8c6a-fec7a720a7b5" providerId="ADAL" clId="{190131DE-6250-C84F-B491-721E6CF30BCB}" dt="2021-12-17T16:29:43.221" v="10665" actId="478"/>
          <ac:graphicFrameMkLst>
            <pc:docMk/>
            <pc:sldMk cId="2325057096" sldId="2147374179"/>
            <ac:graphicFrameMk id="17" creationId="{7AA6C9EE-A5E6-8845-9153-F6FCC5726785}"/>
          </ac:graphicFrameMkLst>
        </pc:graphicFrameChg>
        <pc:graphicFrameChg chg="add mod">
          <ac:chgData name="Nick Robinson" userId="d0c2b313-4ae0-4040-8c6a-fec7a720a7b5" providerId="ADAL" clId="{190131DE-6250-C84F-B491-721E6CF30BCB}" dt="2021-12-20T15:26:59.562" v="17624"/>
          <ac:graphicFrameMkLst>
            <pc:docMk/>
            <pc:sldMk cId="2325057096" sldId="2147374179"/>
            <ac:graphicFrameMk id="18" creationId="{77F35205-D01F-8E49-85E8-934F242CF737}"/>
          </ac:graphicFrameMkLst>
        </pc:graphicFrameChg>
        <pc:cxnChg chg="del">
          <ac:chgData name="Nick Robinson" userId="d0c2b313-4ae0-4040-8c6a-fec7a720a7b5" providerId="ADAL" clId="{190131DE-6250-C84F-B491-721E6CF30BCB}" dt="2021-12-17T16:29:43.221" v="10665" actId="478"/>
          <ac:cxnSpMkLst>
            <pc:docMk/>
            <pc:sldMk cId="2325057096" sldId="2147374179"/>
            <ac:cxnSpMk id="44" creationId="{0CBE68EF-8C37-444F-9ACF-F60BB8DD6EB2}"/>
          </ac:cxnSpMkLst>
        </pc:cxnChg>
        <pc:cxnChg chg="del">
          <ac:chgData name="Nick Robinson" userId="d0c2b313-4ae0-4040-8c6a-fec7a720a7b5" providerId="ADAL" clId="{190131DE-6250-C84F-B491-721E6CF30BCB}" dt="2021-12-17T16:29:43.221" v="10665" actId="478"/>
          <ac:cxnSpMkLst>
            <pc:docMk/>
            <pc:sldMk cId="2325057096" sldId="2147374179"/>
            <ac:cxnSpMk id="46" creationId="{FD48E642-115E-8748-97E3-DD8E4689B409}"/>
          </ac:cxnSpMkLst>
        </pc:cxnChg>
      </pc:sldChg>
      <pc:sldChg chg="addSp delSp modSp add del mod">
        <pc:chgData name="Nick Robinson" userId="d0c2b313-4ae0-4040-8c6a-fec7a720a7b5" providerId="ADAL" clId="{190131DE-6250-C84F-B491-721E6CF30BCB}" dt="2021-12-20T11:09:13.140" v="15028" actId="2696"/>
        <pc:sldMkLst>
          <pc:docMk/>
          <pc:sldMk cId="469383022" sldId="2147374180"/>
        </pc:sldMkLst>
        <pc:graphicFrameChg chg="del mod">
          <ac:chgData name="Nick Robinson" userId="d0c2b313-4ae0-4040-8c6a-fec7a720a7b5" providerId="ADAL" clId="{190131DE-6250-C84F-B491-721E6CF30BCB}" dt="2021-12-20T10:56:15.443" v="14902" actId="478"/>
          <ac:graphicFrameMkLst>
            <pc:docMk/>
            <pc:sldMk cId="469383022" sldId="2147374180"/>
            <ac:graphicFrameMk id="4" creationId="{5B85875E-159E-C242-A11A-2F415E56E063}"/>
          </ac:graphicFrameMkLst>
        </pc:graphicFrameChg>
        <pc:graphicFrameChg chg="add mod modGraphic">
          <ac:chgData name="Nick Robinson" userId="d0c2b313-4ae0-4040-8c6a-fec7a720a7b5" providerId="ADAL" clId="{190131DE-6250-C84F-B491-721E6CF30BCB}" dt="2021-12-20T11:00:10.716" v="14971"/>
          <ac:graphicFrameMkLst>
            <pc:docMk/>
            <pc:sldMk cId="469383022" sldId="2147374180"/>
            <ac:graphicFrameMk id="6" creationId="{31F3C3AB-0EBA-E44D-884D-D01386DC1856}"/>
          </ac:graphicFrameMkLst>
        </pc:graphicFrameChg>
      </pc:sldChg>
      <pc:sldChg chg="add del">
        <pc:chgData name="Nick Robinson" userId="d0c2b313-4ae0-4040-8c6a-fec7a720a7b5" providerId="ADAL" clId="{190131DE-6250-C84F-B491-721E6CF30BCB}" dt="2021-12-17T16:31:12.314" v="10711"/>
        <pc:sldMkLst>
          <pc:docMk/>
          <pc:sldMk cId="1510473665" sldId="2147374180"/>
        </pc:sldMkLst>
      </pc:sldChg>
      <pc:sldChg chg="addSp delSp modSp add mod">
        <pc:chgData name="Nick Robinson" userId="d0c2b313-4ae0-4040-8c6a-fec7a720a7b5" providerId="ADAL" clId="{190131DE-6250-C84F-B491-721E6CF30BCB}" dt="2021-12-23T08:18:44.505" v="36977" actId="20577"/>
        <pc:sldMkLst>
          <pc:docMk/>
          <pc:sldMk cId="4222001941" sldId="2147374180"/>
        </pc:sldMkLst>
        <pc:spChg chg="mod">
          <ac:chgData name="Nick Robinson" userId="d0c2b313-4ae0-4040-8c6a-fec7a720a7b5" providerId="ADAL" clId="{190131DE-6250-C84F-B491-721E6CF30BCB}" dt="2021-12-23T07:37:40.518" v="34394" actId="20577"/>
          <ac:spMkLst>
            <pc:docMk/>
            <pc:sldMk cId="4222001941" sldId="2147374180"/>
            <ac:spMk id="2" creationId="{00000000-0000-0000-0000-000000000000}"/>
          </ac:spMkLst>
        </pc:spChg>
        <pc:spChg chg="del mod">
          <ac:chgData name="Nick Robinson" userId="d0c2b313-4ae0-4040-8c6a-fec7a720a7b5" providerId="ADAL" clId="{190131DE-6250-C84F-B491-721E6CF30BCB}" dt="2021-12-21T11:00:42.304" v="22213" actId="478"/>
          <ac:spMkLst>
            <pc:docMk/>
            <pc:sldMk cId="4222001941" sldId="2147374180"/>
            <ac:spMk id="23" creationId="{D507C86F-F9D8-D94E-8A56-FA56139DB6D6}"/>
          </ac:spMkLst>
        </pc:spChg>
        <pc:spChg chg="mod">
          <ac:chgData name="Nick Robinson" userId="d0c2b313-4ae0-4040-8c6a-fec7a720a7b5" providerId="ADAL" clId="{190131DE-6250-C84F-B491-721E6CF30BCB}" dt="2021-12-23T08:18:44.505" v="36977" actId="20577"/>
          <ac:spMkLst>
            <pc:docMk/>
            <pc:sldMk cId="4222001941" sldId="2147374180"/>
            <ac:spMk id="27" creationId="{4EFAD1A4-9034-8448-A693-CCB4220B8B5E}"/>
          </ac:spMkLst>
        </pc:spChg>
        <pc:spChg chg="mod">
          <ac:chgData name="Nick Robinson" userId="d0c2b313-4ae0-4040-8c6a-fec7a720a7b5" providerId="ADAL" clId="{190131DE-6250-C84F-B491-721E6CF30BCB}" dt="2021-12-20T11:13:56.598" v="15055" actId="1035"/>
          <ac:spMkLst>
            <pc:docMk/>
            <pc:sldMk cId="4222001941" sldId="2147374180"/>
            <ac:spMk id="28" creationId="{EB83BA76-F5D6-F94D-95C7-D729B2EF3A13}"/>
          </ac:spMkLst>
        </pc:spChg>
        <pc:spChg chg="add mod">
          <ac:chgData name="Nick Robinson" userId="d0c2b313-4ae0-4040-8c6a-fec7a720a7b5" providerId="ADAL" clId="{190131DE-6250-C84F-B491-721E6CF30BCB}" dt="2021-12-21T11:00:30.454" v="22212" actId="1036"/>
          <ac:spMkLst>
            <pc:docMk/>
            <pc:sldMk cId="4222001941" sldId="2147374180"/>
            <ac:spMk id="30" creationId="{FB434F85-74F0-384B-9D7F-FF2A33898709}"/>
          </ac:spMkLst>
        </pc:spChg>
        <pc:spChg chg="add mod">
          <ac:chgData name="Nick Robinson" userId="d0c2b313-4ae0-4040-8c6a-fec7a720a7b5" providerId="ADAL" clId="{190131DE-6250-C84F-B491-721E6CF30BCB}" dt="2021-12-21T11:00:30.454" v="22212" actId="1036"/>
          <ac:spMkLst>
            <pc:docMk/>
            <pc:sldMk cId="4222001941" sldId="2147374180"/>
            <ac:spMk id="31" creationId="{52EEF356-4F06-7543-9F4E-C9797686F817}"/>
          </ac:spMkLst>
        </pc:spChg>
        <pc:spChg chg="mod">
          <ac:chgData name="Nick Robinson" userId="d0c2b313-4ae0-4040-8c6a-fec7a720a7b5" providerId="ADAL" clId="{190131DE-6250-C84F-B491-721E6CF30BCB}" dt="2021-12-20T11:13:56.598" v="15055" actId="1035"/>
          <ac:spMkLst>
            <pc:docMk/>
            <pc:sldMk cId="4222001941" sldId="2147374180"/>
            <ac:spMk id="32" creationId="{4ECFF3F3-C2A1-4942-B5EC-E2802E4A8844}"/>
          </ac:spMkLst>
        </pc:spChg>
        <pc:spChg chg="add mod">
          <ac:chgData name="Nick Robinson" userId="d0c2b313-4ae0-4040-8c6a-fec7a720a7b5" providerId="ADAL" clId="{190131DE-6250-C84F-B491-721E6CF30BCB}" dt="2021-12-21T11:00:30.454" v="22212" actId="1036"/>
          <ac:spMkLst>
            <pc:docMk/>
            <pc:sldMk cId="4222001941" sldId="2147374180"/>
            <ac:spMk id="33" creationId="{A3D97B83-F595-E648-97CE-CA67B6983869}"/>
          </ac:spMkLst>
        </pc:spChg>
        <pc:spChg chg="add mod">
          <ac:chgData name="Nick Robinson" userId="d0c2b313-4ae0-4040-8c6a-fec7a720a7b5" providerId="ADAL" clId="{190131DE-6250-C84F-B491-721E6CF30BCB}" dt="2021-12-21T11:00:30.454" v="22212" actId="1036"/>
          <ac:spMkLst>
            <pc:docMk/>
            <pc:sldMk cId="4222001941" sldId="2147374180"/>
            <ac:spMk id="34" creationId="{E1A5336B-CF28-9048-AA52-D2B8FB259481}"/>
          </ac:spMkLst>
        </pc:spChg>
        <pc:spChg chg="add mod">
          <ac:chgData name="Nick Robinson" userId="d0c2b313-4ae0-4040-8c6a-fec7a720a7b5" providerId="ADAL" clId="{190131DE-6250-C84F-B491-721E6CF30BCB}" dt="2021-12-21T11:00:30.454" v="22212" actId="1036"/>
          <ac:spMkLst>
            <pc:docMk/>
            <pc:sldMk cId="4222001941" sldId="2147374180"/>
            <ac:spMk id="35" creationId="{A870685A-BCC1-F54D-90AE-9C2101354A9B}"/>
          </ac:spMkLst>
        </pc:spChg>
        <pc:spChg chg="add mod">
          <ac:chgData name="Nick Robinson" userId="d0c2b313-4ae0-4040-8c6a-fec7a720a7b5" providerId="ADAL" clId="{190131DE-6250-C84F-B491-721E6CF30BCB}" dt="2021-12-21T11:08:01.540" v="22240" actId="6549"/>
          <ac:spMkLst>
            <pc:docMk/>
            <pc:sldMk cId="4222001941" sldId="2147374180"/>
            <ac:spMk id="36" creationId="{587F6048-150D-BF44-AFBE-4A02FC8676F2}"/>
          </ac:spMkLst>
        </pc:spChg>
        <pc:spChg chg="mod">
          <ac:chgData name="Nick Robinson" userId="d0c2b313-4ae0-4040-8c6a-fec7a720a7b5" providerId="ADAL" clId="{190131DE-6250-C84F-B491-721E6CF30BCB}" dt="2021-12-22T20:21:05.259" v="30212" actId="207"/>
          <ac:spMkLst>
            <pc:docMk/>
            <pc:sldMk cId="4222001941" sldId="2147374180"/>
            <ac:spMk id="47" creationId="{D9C929F6-41CE-AB46-A900-A92451DD1F9A}"/>
          </ac:spMkLst>
        </pc:spChg>
        <pc:spChg chg="del mod">
          <ac:chgData name="Nick Robinson" userId="d0c2b313-4ae0-4040-8c6a-fec7a720a7b5" providerId="ADAL" clId="{190131DE-6250-C84F-B491-721E6CF30BCB}" dt="2021-12-21T11:00:20.036" v="22208" actId="478"/>
          <ac:spMkLst>
            <pc:docMk/>
            <pc:sldMk cId="4222001941" sldId="2147374180"/>
            <ac:spMk id="57" creationId="{0919CAE7-9390-254E-80AE-675091A2E6BF}"/>
          </ac:spMkLst>
        </pc:spChg>
        <pc:spChg chg="mod">
          <ac:chgData name="Nick Robinson" userId="d0c2b313-4ae0-4040-8c6a-fec7a720a7b5" providerId="ADAL" clId="{190131DE-6250-C84F-B491-721E6CF30BCB}" dt="2021-12-20T11:13:56.598" v="15055" actId="1035"/>
          <ac:spMkLst>
            <pc:docMk/>
            <pc:sldMk cId="4222001941" sldId="2147374180"/>
            <ac:spMk id="85" creationId="{BF87E107-9B05-AD4A-BF17-CE66A1FC31B2}"/>
          </ac:spMkLst>
        </pc:spChg>
        <pc:spChg chg="mod">
          <ac:chgData name="Nick Robinson" userId="d0c2b313-4ae0-4040-8c6a-fec7a720a7b5" providerId="ADAL" clId="{190131DE-6250-C84F-B491-721E6CF30BCB}" dt="2021-12-21T11:00:30.454" v="22212" actId="1036"/>
          <ac:spMkLst>
            <pc:docMk/>
            <pc:sldMk cId="4222001941" sldId="2147374180"/>
            <ac:spMk id="86" creationId="{D8828E80-B7D3-474D-A9F2-7711BEA3B95E}"/>
          </ac:spMkLst>
        </pc:spChg>
        <pc:spChg chg="mod">
          <ac:chgData name="Nick Robinson" userId="d0c2b313-4ae0-4040-8c6a-fec7a720a7b5" providerId="ADAL" clId="{190131DE-6250-C84F-B491-721E6CF30BCB}" dt="2021-12-20T11:24:24.190" v="15406" actId="14100"/>
          <ac:spMkLst>
            <pc:docMk/>
            <pc:sldMk cId="4222001941" sldId="2147374180"/>
            <ac:spMk id="87" creationId="{8A070B73-B7B2-C647-9C66-B06000225C2C}"/>
          </ac:spMkLst>
        </pc:spChg>
        <pc:spChg chg="mod">
          <ac:chgData name="Nick Robinson" userId="d0c2b313-4ae0-4040-8c6a-fec7a720a7b5" providerId="ADAL" clId="{190131DE-6250-C84F-B491-721E6CF30BCB}" dt="2021-12-20T11:13:56.598" v="15055" actId="1035"/>
          <ac:spMkLst>
            <pc:docMk/>
            <pc:sldMk cId="4222001941" sldId="2147374180"/>
            <ac:spMk id="88" creationId="{6E5EE1D9-A36C-5243-813A-6134380E8776}"/>
          </ac:spMkLst>
        </pc:spChg>
        <pc:picChg chg="add mod">
          <ac:chgData name="Nick Robinson" userId="d0c2b313-4ae0-4040-8c6a-fec7a720a7b5" providerId="ADAL" clId="{190131DE-6250-C84F-B491-721E6CF30BCB}" dt="2021-12-21T11:00:30.454" v="22212" actId="1036"/>
          <ac:picMkLst>
            <pc:docMk/>
            <pc:sldMk cId="4222001941" sldId="2147374180"/>
            <ac:picMk id="7" creationId="{B35C041F-C13B-6B44-902A-9200732B6C0B}"/>
          </ac:picMkLst>
        </pc:picChg>
        <pc:picChg chg="add mod">
          <ac:chgData name="Nick Robinson" userId="d0c2b313-4ae0-4040-8c6a-fec7a720a7b5" providerId="ADAL" clId="{190131DE-6250-C84F-B491-721E6CF30BCB}" dt="2021-12-21T11:00:30.454" v="22212" actId="1036"/>
          <ac:picMkLst>
            <pc:docMk/>
            <pc:sldMk cId="4222001941" sldId="2147374180"/>
            <ac:picMk id="8" creationId="{EF66DE1A-BF53-C747-B97A-CDF5D0F89A30}"/>
          </ac:picMkLst>
        </pc:picChg>
        <pc:picChg chg="add mod">
          <ac:chgData name="Nick Robinson" userId="d0c2b313-4ae0-4040-8c6a-fec7a720a7b5" providerId="ADAL" clId="{190131DE-6250-C84F-B491-721E6CF30BCB}" dt="2021-12-21T11:00:30.454" v="22212" actId="1036"/>
          <ac:picMkLst>
            <pc:docMk/>
            <pc:sldMk cId="4222001941" sldId="2147374180"/>
            <ac:picMk id="9" creationId="{546B8D7F-B499-FB41-B7ED-CB859BC8D8F6}"/>
          </ac:picMkLst>
        </pc:picChg>
        <pc:picChg chg="add mod">
          <ac:chgData name="Nick Robinson" userId="d0c2b313-4ae0-4040-8c6a-fec7a720a7b5" providerId="ADAL" clId="{190131DE-6250-C84F-B491-721E6CF30BCB}" dt="2021-12-21T11:00:30.454" v="22212" actId="1036"/>
          <ac:picMkLst>
            <pc:docMk/>
            <pc:sldMk cId="4222001941" sldId="2147374180"/>
            <ac:picMk id="10" creationId="{61E22803-DF9B-664D-AE0E-AEBA73881D53}"/>
          </ac:picMkLst>
        </pc:picChg>
        <pc:picChg chg="add mod">
          <ac:chgData name="Nick Robinson" userId="d0c2b313-4ae0-4040-8c6a-fec7a720a7b5" providerId="ADAL" clId="{190131DE-6250-C84F-B491-721E6CF30BCB}" dt="2021-12-21T11:00:30.454" v="22212" actId="1036"/>
          <ac:picMkLst>
            <pc:docMk/>
            <pc:sldMk cId="4222001941" sldId="2147374180"/>
            <ac:picMk id="11" creationId="{FCA246B5-E1D9-E348-B811-C499AC042802}"/>
          </ac:picMkLst>
        </pc:picChg>
        <pc:picChg chg="add mod">
          <ac:chgData name="Nick Robinson" userId="d0c2b313-4ae0-4040-8c6a-fec7a720a7b5" providerId="ADAL" clId="{190131DE-6250-C84F-B491-721E6CF30BCB}" dt="2021-12-21T11:00:30.454" v="22212" actId="1036"/>
          <ac:picMkLst>
            <pc:docMk/>
            <pc:sldMk cId="4222001941" sldId="2147374180"/>
            <ac:picMk id="12" creationId="{77E0D068-016F-5843-88BD-786D2579090F}"/>
          </ac:picMkLst>
        </pc:picChg>
        <pc:picChg chg="add mod">
          <ac:chgData name="Nick Robinson" userId="d0c2b313-4ae0-4040-8c6a-fec7a720a7b5" providerId="ADAL" clId="{190131DE-6250-C84F-B491-721E6CF30BCB}" dt="2021-12-21T11:00:30.454" v="22212" actId="1036"/>
          <ac:picMkLst>
            <pc:docMk/>
            <pc:sldMk cId="4222001941" sldId="2147374180"/>
            <ac:picMk id="24" creationId="{9BAFCD39-0818-9047-9316-95211C85A151}"/>
          </ac:picMkLst>
        </pc:picChg>
        <pc:cxnChg chg="mod">
          <ac:chgData name="Nick Robinson" userId="d0c2b313-4ae0-4040-8c6a-fec7a720a7b5" providerId="ADAL" clId="{190131DE-6250-C84F-B491-721E6CF30BCB}" dt="2021-12-21T10:58:20.696" v="22104" actId="1038"/>
          <ac:cxnSpMkLst>
            <pc:docMk/>
            <pc:sldMk cId="4222001941" sldId="2147374180"/>
            <ac:cxnSpMk id="29" creationId="{614F206B-05A2-7C4C-95E4-28B2D9B67F64}"/>
          </ac:cxnSpMkLst>
        </pc:cxnChg>
        <pc:cxnChg chg="del mod">
          <ac:chgData name="Nick Robinson" userId="d0c2b313-4ae0-4040-8c6a-fec7a720a7b5" providerId="ADAL" clId="{190131DE-6250-C84F-B491-721E6CF30BCB}" dt="2021-12-20T11:14:02.538" v="15056" actId="478"/>
          <ac:cxnSpMkLst>
            <pc:docMk/>
            <pc:sldMk cId="4222001941" sldId="2147374180"/>
            <ac:cxnSpMk id="49" creationId="{A4BF11B4-33E8-454C-A303-97C800C77196}"/>
          </ac:cxnSpMkLst>
        </pc:cxnChg>
        <pc:cxnChg chg="mod">
          <ac:chgData name="Nick Robinson" userId="d0c2b313-4ae0-4040-8c6a-fec7a720a7b5" providerId="ADAL" clId="{190131DE-6250-C84F-B491-721E6CF30BCB}" dt="2021-12-20T11:13:56.598" v="15055" actId="1035"/>
          <ac:cxnSpMkLst>
            <pc:docMk/>
            <pc:sldMk cId="4222001941" sldId="2147374180"/>
            <ac:cxnSpMk id="54" creationId="{DC5FEB28-39F0-B54D-84E0-A0836B2DE034}"/>
          </ac:cxnSpMkLst>
        </pc:cxnChg>
        <pc:cxnChg chg="mod">
          <ac:chgData name="Nick Robinson" userId="d0c2b313-4ae0-4040-8c6a-fec7a720a7b5" providerId="ADAL" clId="{190131DE-6250-C84F-B491-721E6CF30BCB}" dt="2021-12-20T11:13:56.598" v="15055" actId="1035"/>
          <ac:cxnSpMkLst>
            <pc:docMk/>
            <pc:sldMk cId="4222001941" sldId="2147374180"/>
            <ac:cxnSpMk id="92" creationId="{00CA843C-C4EA-3B42-B2ED-5312039E36F4}"/>
          </ac:cxnSpMkLst>
        </pc:cxnChg>
        <pc:cxnChg chg="del">
          <ac:chgData name="Nick Robinson" userId="d0c2b313-4ae0-4040-8c6a-fec7a720a7b5" providerId="ADAL" clId="{190131DE-6250-C84F-B491-721E6CF30BCB}" dt="2021-12-20T11:14:05.086" v="15057" actId="478"/>
          <ac:cxnSpMkLst>
            <pc:docMk/>
            <pc:sldMk cId="4222001941" sldId="2147374180"/>
            <ac:cxnSpMk id="116" creationId="{4D2CA61E-2902-1E42-A28E-AE2EA3E140D1}"/>
          </ac:cxnSpMkLst>
        </pc:cxnChg>
      </pc:sldChg>
      <pc:sldChg chg="addSp delSp modSp add del mod ord">
        <pc:chgData name="Nick Robinson" userId="d0c2b313-4ae0-4040-8c6a-fec7a720a7b5" providerId="ADAL" clId="{190131DE-6250-C84F-B491-721E6CF30BCB}" dt="2021-12-23T11:18:28.519" v="42307" actId="2696"/>
        <pc:sldMkLst>
          <pc:docMk/>
          <pc:sldMk cId="4259074145" sldId="2147374181"/>
        </pc:sldMkLst>
        <pc:spChg chg="mod">
          <ac:chgData name="Nick Robinson" userId="d0c2b313-4ae0-4040-8c6a-fec7a720a7b5" providerId="ADAL" clId="{190131DE-6250-C84F-B491-721E6CF30BCB}" dt="2021-12-23T08:22:38.052" v="37175" actId="2085"/>
          <ac:spMkLst>
            <pc:docMk/>
            <pc:sldMk cId="4259074145" sldId="2147374181"/>
            <ac:spMk id="36" creationId="{F0613AF4-B5CC-A042-A76D-31B970DEDD1C}"/>
          </ac:spMkLst>
        </pc:spChg>
        <pc:spChg chg="mod">
          <ac:chgData name="Nick Robinson" userId="d0c2b313-4ae0-4040-8c6a-fec7a720a7b5" providerId="ADAL" clId="{190131DE-6250-C84F-B491-721E6CF30BCB}" dt="2021-12-21T10:56:22.399" v="22074" actId="207"/>
          <ac:spMkLst>
            <pc:docMk/>
            <pc:sldMk cId="4259074145" sldId="2147374181"/>
            <ac:spMk id="43" creationId="{9FA2E461-6303-4743-8659-4B95D1076B28}"/>
          </ac:spMkLst>
        </pc:spChg>
        <pc:spChg chg="mod">
          <ac:chgData name="Nick Robinson" userId="d0c2b313-4ae0-4040-8c6a-fec7a720a7b5" providerId="ADAL" clId="{190131DE-6250-C84F-B491-721E6CF30BCB}" dt="2021-12-21T08:38:12.805" v="20159" actId="1076"/>
          <ac:spMkLst>
            <pc:docMk/>
            <pc:sldMk cId="4259074145" sldId="2147374181"/>
            <ac:spMk id="45" creationId="{82462555-6D83-5F42-B00A-C71F74BA439F}"/>
          </ac:spMkLst>
        </pc:spChg>
        <pc:spChg chg="mod">
          <ac:chgData name="Nick Robinson" userId="d0c2b313-4ae0-4040-8c6a-fec7a720a7b5" providerId="ADAL" clId="{190131DE-6250-C84F-B491-721E6CF30BCB}" dt="2021-12-21T08:39:08.379" v="20174" actId="14100"/>
          <ac:spMkLst>
            <pc:docMk/>
            <pc:sldMk cId="4259074145" sldId="2147374181"/>
            <ac:spMk id="47" creationId="{7C7F9D18-3DD2-8947-B99E-74744E3B4921}"/>
          </ac:spMkLst>
        </pc:spChg>
        <pc:graphicFrameChg chg="del">
          <ac:chgData name="Nick Robinson" userId="d0c2b313-4ae0-4040-8c6a-fec7a720a7b5" providerId="ADAL" clId="{190131DE-6250-C84F-B491-721E6CF30BCB}" dt="2021-12-20T14:40:32.128" v="17364" actId="478"/>
          <ac:graphicFrameMkLst>
            <pc:docMk/>
            <pc:sldMk cId="4259074145" sldId="2147374181"/>
            <ac:graphicFrameMk id="16" creationId="{2F5FFB69-B118-5D47-8BE4-2AFDA670B99A}"/>
          </ac:graphicFrameMkLst>
        </pc:graphicFrameChg>
        <pc:graphicFrameChg chg="mod">
          <ac:chgData name="Nick Robinson" userId="d0c2b313-4ae0-4040-8c6a-fec7a720a7b5" providerId="ADAL" clId="{190131DE-6250-C84F-B491-721E6CF30BCB}" dt="2021-12-22T20:44:12.488" v="30295"/>
          <ac:graphicFrameMkLst>
            <pc:docMk/>
            <pc:sldMk cId="4259074145" sldId="2147374181"/>
            <ac:graphicFrameMk id="17" creationId="{7AA6C9EE-A5E6-8845-9153-F6FCC5726785}"/>
          </ac:graphicFrameMkLst>
        </pc:graphicFrameChg>
        <pc:graphicFrameChg chg="add del mod">
          <ac:chgData name="Nick Robinson" userId="d0c2b313-4ae0-4040-8c6a-fec7a720a7b5" providerId="ADAL" clId="{190131DE-6250-C84F-B491-721E6CF30BCB}" dt="2021-12-20T15:26:41.125" v="17619" actId="478"/>
          <ac:graphicFrameMkLst>
            <pc:docMk/>
            <pc:sldMk cId="4259074145" sldId="2147374181"/>
            <ac:graphicFrameMk id="22" creationId="{A842868B-0934-5E49-97AF-B87DF4726126}"/>
          </ac:graphicFrameMkLst>
        </pc:graphicFrameChg>
        <pc:graphicFrameChg chg="add mod modGraphic">
          <ac:chgData name="Nick Robinson" userId="d0c2b313-4ae0-4040-8c6a-fec7a720a7b5" providerId="ADAL" clId="{190131DE-6250-C84F-B491-721E6CF30BCB}" dt="2021-12-20T15:26:52.383" v="17622" actId="207"/>
          <ac:graphicFrameMkLst>
            <pc:docMk/>
            <pc:sldMk cId="4259074145" sldId="2147374181"/>
            <ac:graphicFrameMk id="23" creationId="{E4962D06-07B8-D84D-B05C-F6391D459AD2}"/>
          </ac:graphicFrameMkLst>
        </pc:graphicFrameChg>
        <pc:picChg chg="add mod">
          <ac:chgData name="Nick Robinson" userId="d0c2b313-4ae0-4040-8c6a-fec7a720a7b5" providerId="ADAL" clId="{190131DE-6250-C84F-B491-721E6CF30BCB}" dt="2021-12-21T08:38:56.662" v="20172" actId="1076"/>
          <ac:picMkLst>
            <pc:docMk/>
            <pc:sldMk cId="4259074145" sldId="2147374181"/>
            <ac:picMk id="2" creationId="{8D374137-F713-8A49-89F4-77B68EFD9AC1}"/>
          </ac:picMkLst>
        </pc:picChg>
        <pc:picChg chg="del mod">
          <ac:chgData name="Nick Robinson" userId="d0c2b313-4ae0-4040-8c6a-fec7a720a7b5" providerId="ADAL" clId="{190131DE-6250-C84F-B491-721E6CF30BCB}" dt="2021-12-21T08:38:51.024" v="20171" actId="478"/>
          <ac:picMkLst>
            <pc:docMk/>
            <pc:sldMk cId="4259074145" sldId="2147374181"/>
            <ac:picMk id="5" creationId="{6C133EBA-DC7E-AE44-904B-883A3DAB5261}"/>
          </ac:picMkLst>
        </pc:picChg>
        <pc:cxnChg chg="mod">
          <ac:chgData name="Nick Robinson" userId="d0c2b313-4ae0-4040-8c6a-fec7a720a7b5" providerId="ADAL" clId="{190131DE-6250-C84F-B491-721E6CF30BCB}" dt="2021-12-22T20:44:02.546" v="30294" actId="208"/>
          <ac:cxnSpMkLst>
            <pc:docMk/>
            <pc:sldMk cId="4259074145" sldId="2147374181"/>
            <ac:cxnSpMk id="44" creationId="{0CBE68EF-8C37-444F-9ACF-F60BB8DD6EB2}"/>
          </ac:cxnSpMkLst>
        </pc:cxnChg>
        <pc:cxnChg chg="mod">
          <ac:chgData name="Nick Robinson" userId="d0c2b313-4ae0-4040-8c6a-fec7a720a7b5" providerId="ADAL" clId="{190131DE-6250-C84F-B491-721E6CF30BCB}" dt="2021-12-22T20:44:02.546" v="30294" actId="208"/>
          <ac:cxnSpMkLst>
            <pc:docMk/>
            <pc:sldMk cId="4259074145" sldId="2147374181"/>
            <ac:cxnSpMk id="46" creationId="{FD48E642-115E-8748-97E3-DD8E4689B409}"/>
          </ac:cxnSpMkLst>
        </pc:cxnChg>
      </pc:sldChg>
      <pc:sldChg chg="addSp delSp modSp add mod">
        <pc:chgData name="Nick Robinson" userId="d0c2b313-4ae0-4040-8c6a-fec7a720a7b5" providerId="ADAL" clId="{190131DE-6250-C84F-B491-721E6CF30BCB}" dt="2021-12-23T13:39:42.566" v="44096" actId="1076"/>
        <pc:sldMkLst>
          <pc:docMk/>
          <pc:sldMk cId="2913050491" sldId="2147374182"/>
        </pc:sldMkLst>
        <pc:spChg chg="mod">
          <ac:chgData name="Nick Robinson" userId="d0c2b313-4ae0-4040-8c6a-fec7a720a7b5" providerId="ADAL" clId="{190131DE-6250-C84F-B491-721E6CF30BCB}" dt="2021-12-20T17:12:27.166" v="19949" actId="14100"/>
          <ac:spMkLst>
            <pc:docMk/>
            <pc:sldMk cId="2913050491" sldId="2147374182"/>
            <ac:spMk id="2" creationId="{00000000-0000-0000-0000-000000000000}"/>
          </ac:spMkLst>
        </pc:spChg>
        <pc:spChg chg="del">
          <ac:chgData name="Nick Robinson" userId="d0c2b313-4ae0-4040-8c6a-fec7a720a7b5" providerId="ADAL" clId="{190131DE-6250-C84F-B491-721E6CF30BCB}" dt="2021-12-20T11:49:19.992" v="16733" actId="478"/>
          <ac:spMkLst>
            <pc:docMk/>
            <pc:sldMk cId="2913050491" sldId="2147374182"/>
            <ac:spMk id="10" creationId="{6C0ABE6C-C405-DF44-B2EA-BBCF78C83957}"/>
          </ac:spMkLst>
        </pc:spChg>
        <pc:spChg chg="mod">
          <ac:chgData name="Nick Robinson" userId="d0c2b313-4ae0-4040-8c6a-fec7a720a7b5" providerId="ADAL" clId="{190131DE-6250-C84F-B491-721E6CF30BCB}" dt="2021-12-23T13:39:42.566" v="44096" actId="1076"/>
          <ac:spMkLst>
            <pc:docMk/>
            <pc:sldMk cId="2913050491" sldId="2147374182"/>
            <ac:spMk id="12" creationId="{F19D9738-DFA2-C84F-82CF-6F85573EA287}"/>
          </ac:spMkLst>
        </pc:spChg>
        <pc:spChg chg="mod">
          <ac:chgData name="Nick Robinson" userId="d0c2b313-4ae0-4040-8c6a-fec7a720a7b5" providerId="ADAL" clId="{190131DE-6250-C84F-B491-721E6CF30BCB}" dt="2021-12-23T13:39:38.349" v="44095" actId="108"/>
          <ac:spMkLst>
            <pc:docMk/>
            <pc:sldMk cId="2913050491" sldId="2147374182"/>
            <ac:spMk id="14" creationId="{187D98F4-EB5A-E04B-B1AB-3062BCA3330F}"/>
          </ac:spMkLst>
        </pc:spChg>
        <pc:spChg chg="mod">
          <ac:chgData name="Nick Robinson" userId="d0c2b313-4ae0-4040-8c6a-fec7a720a7b5" providerId="ADAL" clId="{190131DE-6250-C84F-B491-721E6CF30BCB}" dt="2021-12-23T13:39:42.566" v="44096" actId="1076"/>
          <ac:spMkLst>
            <pc:docMk/>
            <pc:sldMk cId="2913050491" sldId="2147374182"/>
            <ac:spMk id="23" creationId="{CB1214F5-503D-D44D-8085-7461DE245F94}"/>
          </ac:spMkLst>
        </pc:spChg>
        <pc:spChg chg="mod">
          <ac:chgData name="Nick Robinson" userId="d0c2b313-4ae0-4040-8c6a-fec7a720a7b5" providerId="ADAL" clId="{190131DE-6250-C84F-B491-721E6CF30BCB}" dt="2021-12-23T13:39:42.566" v="44096" actId="1076"/>
          <ac:spMkLst>
            <pc:docMk/>
            <pc:sldMk cId="2913050491" sldId="2147374182"/>
            <ac:spMk id="24" creationId="{BC3BF939-741A-E546-81CE-0D14DDE2E26C}"/>
          </ac:spMkLst>
        </pc:spChg>
        <pc:spChg chg="mod">
          <ac:chgData name="Nick Robinson" userId="d0c2b313-4ae0-4040-8c6a-fec7a720a7b5" providerId="ADAL" clId="{190131DE-6250-C84F-B491-721E6CF30BCB}" dt="2021-12-23T13:39:42.566" v="44096" actId="1076"/>
          <ac:spMkLst>
            <pc:docMk/>
            <pc:sldMk cId="2913050491" sldId="2147374182"/>
            <ac:spMk id="26" creationId="{E25E26F4-E637-704F-B12F-70168E4D4086}"/>
          </ac:spMkLst>
        </pc:spChg>
        <pc:spChg chg="mod">
          <ac:chgData name="Nick Robinson" userId="d0c2b313-4ae0-4040-8c6a-fec7a720a7b5" providerId="ADAL" clId="{190131DE-6250-C84F-B491-721E6CF30BCB}" dt="2021-12-23T13:39:42.566" v="44096" actId="1076"/>
          <ac:spMkLst>
            <pc:docMk/>
            <pc:sldMk cId="2913050491" sldId="2147374182"/>
            <ac:spMk id="27" creationId="{B9168E8A-7661-C04B-929C-33F806DED5CE}"/>
          </ac:spMkLst>
        </pc:spChg>
        <pc:spChg chg="del mod">
          <ac:chgData name="Nick Robinson" userId="d0c2b313-4ae0-4040-8c6a-fec7a720a7b5" providerId="ADAL" clId="{190131DE-6250-C84F-B491-721E6CF30BCB}" dt="2021-12-20T11:49:00.885" v="16725" actId="478"/>
          <ac:spMkLst>
            <pc:docMk/>
            <pc:sldMk cId="2913050491" sldId="2147374182"/>
            <ac:spMk id="29" creationId="{39022F5C-1E96-1045-952F-DEA81FF7169E}"/>
          </ac:spMkLst>
        </pc:spChg>
        <pc:spChg chg="del mod">
          <ac:chgData name="Nick Robinson" userId="d0c2b313-4ae0-4040-8c6a-fec7a720a7b5" providerId="ADAL" clId="{190131DE-6250-C84F-B491-721E6CF30BCB}" dt="2021-12-20T11:50:31.501" v="16753" actId="478"/>
          <ac:spMkLst>
            <pc:docMk/>
            <pc:sldMk cId="2913050491" sldId="2147374182"/>
            <ac:spMk id="30" creationId="{E6B7EC03-736F-2F4E-BA56-F13F306F08A3}"/>
          </ac:spMkLst>
        </pc:spChg>
        <pc:spChg chg="mod">
          <ac:chgData name="Nick Robinson" userId="d0c2b313-4ae0-4040-8c6a-fec7a720a7b5" providerId="ADAL" clId="{190131DE-6250-C84F-B491-721E6CF30BCB}" dt="2021-12-23T13:39:42.566" v="44096" actId="1076"/>
          <ac:spMkLst>
            <pc:docMk/>
            <pc:sldMk cId="2913050491" sldId="2147374182"/>
            <ac:spMk id="31" creationId="{23CD1CFA-944E-104D-90E5-8186CC062DF7}"/>
          </ac:spMkLst>
        </pc:spChg>
        <pc:spChg chg="mod">
          <ac:chgData name="Nick Robinson" userId="d0c2b313-4ae0-4040-8c6a-fec7a720a7b5" providerId="ADAL" clId="{190131DE-6250-C84F-B491-721E6CF30BCB}" dt="2021-12-23T13:39:42.566" v="44096" actId="1076"/>
          <ac:spMkLst>
            <pc:docMk/>
            <pc:sldMk cId="2913050491" sldId="2147374182"/>
            <ac:spMk id="32" creationId="{FAF789BC-019C-B946-926D-6093AE1A3912}"/>
          </ac:spMkLst>
        </pc:spChg>
        <pc:spChg chg="del">
          <ac:chgData name="Nick Robinson" userId="d0c2b313-4ae0-4040-8c6a-fec7a720a7b5" providerId="ADAL" clId="{190131DE-6250-C84F-B491-721E6CF30BCB}" dt="2021-12-20T11:50:27.310" v="16750" actId="478"/>
          <ac:spMkLst>
            <pc:docMk/>
            <pc:sldMk cId="2913050491" sldId="2147374182"/>
            <ac:spMk id="47" creationId="{866B5872-593A-5E46-84E0-635D18C6279D}"/>
          </ac:spMkLst>
        </pc:spChg>
        <pc:spChg chg="del mod">
          <ac:chgData name="Nick Robinson" userId="d0c2b313-4ae0-4040-8c6a-fec7a720a7b5" providerId="ADAL" clId="{190131DE-6250-C84F-B491-721E6CF30BCB}" dt="2021-12-20T11:52:11.347" v="16819" actId="478"/>
          <ac:spMkLst>
            <pc:docMk/>
            <pc:sldMk cId="2913050491" sldId="2147374182"/>
            <ac:spMk id="49" creationId="{9A666B14-0697-8F4B-9E3B-E6950375039C}"/>
          </ac:spMkLst>
        </pc:spChg>
        <pc:spChg chg="del">
          <ac:chgData name="Nick Robinson" userId="d0c2b313-4ae0-4040-8c6a-fec7a720a7b5" providerId="ADAL" clId="{190131DE-6250-C84F-B491-721E6CF30BCB}" dt="2021-12-20T11:50:57.999" v="16762" actId="478"/>
          <ac:spMkLst>
            <pc:docMk/>
            <pc:sldMk cId="2913050491" sldId="2147374182"/>
            <ac:spMk id="50" creationId="{1AD6DDF0-FA69-A94B-8B65-32E0E86ED81D}"/>
          </ac:spMkLst>
        </pc:spChg>
        <pc:spChg chg="mod">
          <ac:chgData name="Nick Robinson" userId="d0c2b313-4ae0-4040-8c6a-fec7a720a7b5" providerId="ADAL" clId="{190131DE-6250-C84F-B491-721E6CF30BCB}" dt="2021-12-20T11:52:13.341" v="16820" actId="21"/>
          <ac:spMkLst>
            <pc:docMk/>
            <pc:sldMk cId="2913050491" sldId="2147374182"/>
            <ac:spMk id="51" creationId="{23228B87-D8A3-AC4B-8389-4FD6CB03BCB4}"/>
          </ac:spMkLst>
        </pc:spChg>
        <pc:grpChg chg="add mod">
          <ac:chgData name="Nick Robinson" userId="d0c2b313-4ae0-4040-8c6a-fec7a720a7b5" providerId="ADAL" clId="{190131DE-6250-C84F-B491-721E6CF30BCB}" dt="2021-12-23T13:39:42.566" v="44096" actId="1076"/>
          <ac:grpSpMkLst>
            <pc:docMk/>
            <pc:sldMk cId="2913050491" sldId="2147374182"/>
            <ac:grpSpMk id="20" creationId="{856DAFD8-FA0A-4949-9E59-48AAEE3EBE5A}"/>
          </ac:grpSpMkLst>
        </pc:grpChg>
        <pc:grpChg chg="add mod">
          <ac:chgData name="Nick Robinson" userId="d0c2b313-4ae0-4040-8c6a-fec7a720a7b5" providerId="ADAL" clId="{190131DE-6250-C84F-B491-721E6CF30BCB}" dt="2021-12-23T13:39:42.566" v="44096" actId="1076"/>
          <ac:grpSpMkLst>
            <pc:docMk/>
            <pc:sldMk cId="2913050491" sldId="2147374182"/>
            <ac:grpSpMk id="25" creationId="{6E749FC9-89E1-124F-A832-F939520B97F7}"/>
          </ac:grpSpMkLst>
        </pc:grpChg>
        <pc:grpChg chg="add mod">
          <ac:chgData name="Nick Robinson" userId="d0c2b313-4ae0-4040-8c6a-fec7a720a7b5" providerId="ADAL" clId="{190131DE-6250-C84F-B491-721E6CF30BCB}" dt="2021-12-23T13:39:42.566" v="44096" actId="1076"/>
          <ac:grpSpMkLst>
            <pc:docMk/>
            <pc:sldMk cId="2913050491" sldId="2147374182"/>
            <ac:grpSpMk id="28" creationId="{8B771798-42EE-5C4C-84A4-3B741660585C}"/>
          </ac:grpSpMkLst>
        </pc:grpChg>
        <pc:graphicFrameChg chg="del">
          <ac:chgData name="Nick Robinson" userId="d0c2b313-4ae0-4040-8c6a-fec7a720a7b5" providerId="ADAL" clId="{190131DE-6250-C84F-B491-721E6CF30BCB}" dt="2021-12-20T15:27:15.675" v="17629" actId="478"/>
          <ac:graphicFrameMkLst>
            <pc:docMk/>
            <pc:sldMk cId="2913050491" sldId="2147374182"/>
            <ac:graphicFrameMk id="22" creationId="{286EE922-188A-B742-8D1A-F5683BCD10F7}"/>
          </ac:graphicFrameMkLst>
        </pc:graphicFrameChg>
        <pc:graphicFrameChg chg="add mod">
          <ac:chgData name="Nick Robinson" userId="d0c2b313-4ae0-4040-8c6a-fec7a720a7b5" providerId="ADAL" clId="{190131DE-6250-C84F-B491-721E6CF30BCB}" dt="2021-12-20T15:27:16.015" v="17630"/>
          <ac:graphicFrameMkLst>
            <pc:docMk/>
            <pc:sldMk cId="2913050491" sldId="2147374182"/>
            <ac:graphicFrameMk id="29" creationId="{6BB57E49-7E0F-BD47-8F7B-7613CC305F87}"/>
          </ac:graphicFrameMkLst>
        </pc:graphicFrameChg>
        <pc:picChg chg="add mod">
          <ac:chgData name="Nick Robinson" userId="d0c2b313-4ae0-4040-8c6a-fec7a720a7b5" providerId="ADAL" clId="{190131DE-6250-C84F-B491-721E6CF30BCB}" dt="2021-12-20T17:12:30.766" v="19950" actId="1076"/>
          <ac:picMkLst>
            <pc:docMk/>
            <pc:sldMk cId="2913050491" sldId="2147374182"/>
            <ac:picMk id="30" creationId="{8EE84F8B-6048-A94D-BAD6-B9292E8ECACF}"/>
          </ac:picMkLst>
        </pc:picChg>
        <pc:picChg chg="add mod">
          <ac:chgData name="Nick Robinson" userId="d0c2b313-4ae0-4040-8c6a-fec7a720a7b5" providerId="ADAL" clId="{190131DE-6250-C84F-B491-721E6CF30BCB}" dt="2021-12-23T13:39:42.566" v="44096" actId="1076"/>
          <ac:picMkLst>
            <pc:docMk/>
            <pc:sldMk cId="2913050491" sldId="2147374182"/>
            <ac:picMk id="33" creationId="{9E921B10-7E08-F24A-B864-AB0F347D4F8C}"/>
          </ac:picMkLst>
        </pc:picChg>
        <pc:picChg chg="del mod">
          <ac:chgData name="Nick Robinson" userId="d0c2b313-4ae0-4040-8c6a-fec7a720a7b5" providerId="ADAL" clId="{190131DE-6250-C84F-B491-721E6CF30BCB}" dt="2021-12-20T11:52:34.540" v="16835" actId="21"/>
          <ac:picMkLst>
            <pc:docMk/>
            <pc:sldMk cId="2913050491" sldId="2147374182"/>
            <ac:picMk id="33794" creationId="{9CC4BA62-EE95-3A40-8A17-01CB2BCAFC39}"/>
          </ac:picMkLst>
        </pc:picChg>
        <pc:cxnChg chg="del">
          <ac:chgData name="Nick Robinson" userId="d0c2b313-4ae0-4040-8c6a-fec7a720a7b5" providerId="ADAL" clId="{190131DE-6250-C84F-B491-721E6CF30BCB}" dt="2021-12-20T11:50:13.793" v="16746" actId="478"/>
          <ac:cxnSpMkLst>
            <pc:docMk/>
            <pc:sldMk cId="2913050491" sldId="2147374182"/>
            <ac:cxnSpMk id="7" creationId="{9C7CD68F-E26F-2245-A998-571CA36AFC05}"/>
          </ac:cxnSpMkLst>
        </pc:cxnChg>
        <pc:cxnChg chg="del">
          <ac:chgData name="Nick Robinson" userId="d0c2b313-4ae0-4040-8c6a-fec7a720a7b5" providerId="ADAL" clId="{190131DE-6250-C84F-B491-721E6CF30BCB}" dt="2021-12-20T11:51:36.293" v="16783" actId="478"/>
          <ac:cxnSpMkLst>
            <pc:docMk/>
            <pc:sldMk cId="2913050491" sldId="2147374182"/>
            <ac:cxnSpMk id="48" creationId="{20F052DB-9B68-5546-9DDF-FD06514FDED4}"/>
          </ac:cxnSpMkLst>
        </pc:cxnChg>
      </pc:sldChg>
      <pc:sldChg chg="addSp delSp modSp add mod ord">
        <pc:chgData name="Nick Robinson" userId="d0c2b313-4ae0-4040-8c6a-fec7a720a7b5" providerId="ADAL" clId="{190131DE-6250-C84F-B491-721E6CF30BCB}" dt="2021-12-23T13:39:52.894" v="44098" actId="1076"/>
        <pc:sldMkLst>
          <pc:docMk/>
          <pc:sldMk cId="2840902828" sldId="2147374183"/>
        </pc:sldMkLst>
        <pc:spChg chg="mod">
          <ac:chgData name="Nick Robinson" userId="d0c2b313-4ae0-4040-8c6a-fec7a720a7b5" providerId="ADAL" clId="{190131DE-6250-C84F-B491-721E6CF30BCB}" dt="2021-12-20T17:19:30.225" v="20039" actId="1037"/>
          <ac:spMkLst>
            <pc:docMk/>
            <pc:sldMk cId="2840902828" sldId="2147374183"/>
            <ac:spMk id="2" creationId="{00000000-0000-0000-0000-000000000000}"/>
          </ac:spMkLst>
        </pc:spChg>
        <pc:spChg chg="mod">
          <ac:chgData name="Nick Robinson" userId="d0c2b313-4ae0-4040-8c6a-fec7a720a7b5" providerId="ADAL" clId="{190131DE-6250-C84F-B491-721E6CF30BCB}" dt="2021-12-23T13:39:52.894" v="44098" actId="1076"/>
          <ac:spMkLst>
            <pc:docMk/>
            <pc:sldMk cId="2840902828" sldId="2147374183"/>
            <ac:spMk id="12" creationId="{F19D9738-DFA2-C84F-82CF-6F85573EA287}"/>
          </ac:spMkLst>
        </pc:spChg>
        <pc:spChg chg="mod">
          <ac:chgData name="Nick Robinson" userId="d0c2b313-4ae0-4040-8c6a-fec7a720a7b5" providerId="ADAL" clId="{190131DE-6250-C84F-B491-721E6CF30BCB}" dt="2021-12-23T13:39:48.749" v="44097" actId="108"/>
          <ac:spMkLst>
            <pc:docMk/>
            <pc:sldMk cId="2840902828" sldId="2147374183"/>
            <ac:spMk id="14" creationId="{187D98F4-EB5A-E04B-B1AB-3062BCA3330F}"/>
          </ac:spMkLst>
        </pc:spChg>
        <pc:spChg chg="mod">
          <ac:chgData name="Nick Robinson" userId="d0c2b313-4ae0-4040-8c6a-fec7a720a7b5" providerId="ADAL" clId="{190131DE-6250-C84F-B491-721E6CF30BCB}" dt="2021-12-23T13:39:52.894" v="44098" actId="1076"/>
          <ac:spMkLst>
            <pc:docMk/>
            <pc:sldMk cId="2840902828" sldId="2147374183"/>
            <ac:spMk id="23" creationId="{CB1214F5-503D-D44D-8085-7461DE245F94}"/>
          </ac:spMkLst>
        </pc:spChg>
        <pc:spChg chg="mod">
          <ac:chgData name="Nick Robinson" userId="d0c2b313-4ae0-4040-8c6a-fec7a720a7b5" providerId="ADAL" clId="{190131DE-6250-C84F-B491-721E6CF30BCB}" dt="2021-12-23T13:39:52.894" v="44098" actId="1076"/>
          <ac:spMkLst>
            <pc:docMk/>
            <pc:sldMk cId="2840902828" sldId="2147374183"/>
            <ac:spMk id="24" creationId="{BC3BF939-741A-E546-81CE-0D14DDE2E26C}"/>
          </ac:spMkLst>
        </pc:spChg>
        <pc:spChg chg="mod">
          <ac:chgData name="Nick Robinson" userId="d0c2b313-4ae0-4040-8c6a-fec7a720a7b5" providerId="ADAL" clId="{190131DE-6250-C84F-B491-721E6CF30BCB}" dt="2021-12-23T13:39:52.894" v="44098" actId="1076"/>
          <ac:spMkLst>
            <pc:docMk/>
            <pc:sldMk cId="2840902828" sldId="2147374183"/>
            <ac:spMk id="26" creationId="{E25E26F4-E637-704F-B12F-70168E4D4086}"/>
          </ac:spMkLst>
        </pc:spChg>
        <pc:spChg chg="mod">
          <ac:chgData name="Nick Robinson" userId="d0c2b313-4ae0-4040-8c6a-fec7a720a7b5" providerId="ADAL" clId="{190131DE-6250-C84F-B491-721E6CF30BCB}" dt="2021-12-23T13:39:52.894" v="44098" actId="1076"/>
          <ac:spMkLst>
            <pc:docMk/>
            <pc:sldMk cId="2840902828" sldId="2147374183"/>
            <ac:spMk id="27" creationId="{B9168E8A-7661-C04B-929C-33F806DED5CE}"/>
          </ac:spMkLst>
        </pc:spChg>
        <pc:spChg chg="mod">
          <ac:chgData name="Nick Robinson" userId="d0c2b313-4ae0-4040-8c6a-fec7a720a7b5" providerId="ADAL" clId="{190131DE-6250-C84F-B491-721E6CF30BCB}" dt="2021-12-23T13:39:52.894" v="44098" actId="1076"/>
          <ac:spMkLst>
            <pc:docMk/>
            <pc:sldMk cId="2840902828" sldId="2147374183"/>
            <ac:spMk id="31" creationId="{23CD1CFA-944E-104D-90E5-8186CC062DF7}"/>
          </ac:spMkLst>
        </pc:spChg>
        <pc:spChg chg="mod">
          <ac:chgData name="Nick Robinson" userId="d0c2b313-4ae0-4040-8c6a-fec7a720a7b5" providerId="ADAL" clId="{190131DE-6250-C84F-B491-721E6CF30BCB}" dt="2021-12-23T13:39:52.894" v="44098" actId="1076"/>
          <ac:spMkLst>
            <pc:docMk/>
            <pc:sldMk cId="2840902828" sldId="2147374183"/>
            <ac:spMk id="32" creationId="{FAF789BC-019C-B946-926D-6093AE1A3912}"/>
          </ac:spMkLst>
        </pc:spChg>
        <pc:grpChg chg="mod">
          <ac:chgData name="Nick Robinson" userId="d0c2b313-4ae0-4040-8c6a-fec7a720a7b5" providerId="ADAL" clId="{190131DE-6250-C84F-B491-721E6CF30BCB}" dt="2021-12-23T13:39:52.894" v="44098" actId="1076"/>
          <ac:grpSpMkLst>
            <pc:docMk/>
            <pc:sldMk cId="2840902828" sldId="2147374183"/>
            <ac:grpSpMk id="20" creationId="{856DAFD8-FA0A-4949-9E59-48AAEE3EBE5A}"/>
          </ac:grpSpMkLst>
        </pc:grpChg>
        <pc:grpChg chg="mod">
          <ac:chgData name="Nick Robinson" userId="d0c2b313-4ae0-4040-8c6a-fec7a720a7b5" providerId="ADAL" clId="{190131DE-6250-C84F-B491-721E6CF30BCB}" dt="2021-12-23T13:39:52.894" v="44098" actId="1076"/>
          <ac:grpSpMkLst>
            <pc:docMk/>
            <pc:sldMk cId="2840902828" sldId="2147374183"/>
            <ac:grpSpMk id="25" creationId="{6E749FC9-89E1-124F-A832-F939520B97F7}"/>
          </ac:grpSpMkLst>
        </pc:grpChg>
        <pc:grpChg chg="mod">
          <ac:chgData name="Nick Robinson" userId="d0c2b313-4ae0-4040-8c6a-fec7a720a7b5" providerId="ADAL" clId="{190131DE-6250-C84F-B491-721E6CF30BCB}" dt="2021-12-23T13:39:52.894" v="44098" actId="1076"/>
          <ac:grpSpMkLst>
            <pc:docMk/>
            <pc:sldMk cId="2840902828" sldId="2147374183"/>
            <ac:grpSpMk id="28" creationId="{8B771798-42EE-5C4C-84A4-3B741660585C}"/>
          </ac:grpSpMkLst>
        </pc:grpChg>
        <pc:graphicFrameChg chg="del">
          <ac:chgData name="Nick Robinson" userId="d0c2b313-4ae0-4040-8c6a-fec7a720a7b5" providerId="ADAL" clId="{190131DE-6250-C84F-B491-721E6CF30BCB}" dt="2021-12-20T15:27:04.875" v="17625" actId="478"/>
          <ac:graphicFrameMkLst>
            <pc:docMk/>
            <pc:sldMk cId="2840902828" sldId="2147374183"/>
            <ac:graphicFrameMk id="22" creationId="{286EE922-188A-B742-8D1A-F5683BCD10F7}"/>
          </ac:graphicFrameMkLst>
        </pc:graphicFrameChg>
        <pc:graphicFrameChg chg="add mod">
          <ac:chgData name="Nick Robinson" userId="d0c2b313-4ae0-4040-8c6a-fec7a720a7b5" providerId="ADAL" clId="{190131DE-6250-C84F-B491-721E6CF30BCB}" dt="2021-12-20T15:27:05.210" v="17626"/>
          <ac:graphicFrameMkLst>
            <pc:docMk/>
            <pc:sldMk cId="2840902828" sldId="2147374183"/>
            <ac:graphicFrameMk id="34" creationId="{788B3C97-B1AC-D046-B254-A714DBED6FBE}"/>
          </ac:graphicFrameMkLst>
        </pc:graphicFrameChg>
        <pc:picChg chg="add mod">
          <ac:chgData name="Nick Robinson" userId="d0c2b313-4ae0-4040-8c6a-fec7a720a7b5" providerId="ADAL" clId="{190131DE-6250-C84F-B491-721E6CF30BCB}" dt="2021-12-23T13:39:52.894" v="44098" actId="1076"/>
          <ac:picMkLst>
            <pc:docMk/>
            <pc:sldMk cId="2840902828" sldId="2147374183"/>
            <ac:picMk id="29" creationId="{8CC326F4-AB1C-CE4B-9384-159F9C518035}"/>
          </ac:picMkLst>
        </pc:picChg>
        <pc:picChg chg="add mod">
          <ac:chgData name="Nick Robinson" userId="d0c2b313-4ae0-4040-8c6a-fec7a720a7b5" providerId="ADAL" clId="{190131DE-6250-C84F-B491-721E6CF30BCB}" dt="2021-12-23T13:39:52.894" v="44098" actId="1076"/>
          <ac:picMkLst>
            <pc:docMk/>
            <pc:sldMk cId="2840902828" sldId="2147374183"/>
            <ac:picMk id="30" creationId="{B48FDCB8-CB65-AC40-A4B4-377EFD026A31}"/>
          </ac:picMkLst>
        </pc:picChg>
        <pc:picChg chg="del">
          <ac:chgData name="Nick Robinson" userId="d0c2b313-4ae0-4040-8c6a-fec7a720a7b5" providerId="ADAL" clId="{190131DE-6250-C84F-B491-721E6CF30BCB}" dt="2021-12-20T11:56:43.483" v="16885" actId="478"/>
          <ac:picMkLst>
            <pc:docMk/>
            <pc:sldMk cId="2840902828" sldId="2147374183"/>
            <ac:picMk id="33" creationId="{9E921B10-7E08-F24A-B864-AB0F347D4F8C}"/>
          </ac:picMkLst>
        </pc:picChg>
        <pc:picChg chg="add del mod">
          <ac:chgData name="Nick Robinson" userId="d0c2b313-4ae0-4040-8c6a-fec7a720a7b5" providerId="ADAL" clId="{190131DE-6250-C84F-B491-721E6CF30BCB}" dt="2021-12-20T17:19:21.027" v="20031" actId="478"/>
          <ac:picMkLst>
            <pc:docMk/>
            <pc:sldMk cId="2840902828" sldId="2147374183"/>
            <ac:picMk id="35" creationId="{3080C0A7-3534-1A42-B501-946F753D17F4}"/>
          </ac:picMkLst>
        </pc:picChg>
        <pc:picChg chg="add mod">
          <ac:chgData name="Nick Robinson" userId="d0c2b313-4ae0-4040-8c6a-fec7a720a7b5" providerId="ADAL" clId="{190131DE-6250-C84F-B491-721E6CF30BCB}" dt="2021-12-20T17:19:22.013" v="20032"/>
          <ac:picMkLst>
            <pc:docMk/>
            <pc:sldMk cId="2840902828" sldId="2147374183"/>
            <ac:picMk id="36" creationId="{3CA56C95-6811-534A-BCA2-13EE886B1233}"/>
          </ac:picMkLst>
        </pc:picChg>
      </pc:sldChg>
      <pc:sldChg chg="addSp delSp modSp add mod">
        <pc:chgData name="Nick Robinson" userId="d0c2b313-4ae0-4040-8c6a-fec7a720a7b5" providerId="ADAL" clId="{190131DE-6250-C84F-B491-721E6CF30BCB}" dt="2021-12-23T13:39:33.223" v="44094" actId="1076"/>
        <pc:sldMkLst>
          <pc:docMk/>
          <pc:sldMk cId="2382685892" sldId="2147374184"/>
        </pc:sldMkLst>
        <pc:spChg chg="mod">
          <ac:chgData name="Nick Robinson" userId="d0c2b313-4ae0-4040-8c6a-fec7a720a7b5" providerId="ADAL" clId="{190131DE-6250-C84F-B491-721E6CF30BCB}" dt="2021-12-20T17:13:30.259" v="19958" actId="14100"/>
          <ac:spMkLst>
            <pc:docMk/>
            <pc:sldMk cId="2382685892" sldId="2147374184"/>
            <ac:spMk id="2" creationId="{00000000-0000-0000-0000-000000000000}"/>
          </ac:spMkLst>
        </pc:spChg>
        <pc:spChg chg="mod">
          <ac:chgData name="Nick Robinson" userId="d0c2b313-4ae0-4040-8c6a-fec7a720a7b5" providerId="ADAL" clId="{190131DE-6250-C84F-B491-721E6CF30BCB}" dt="2021-12-23T13:39:33.223" v="44094" actId="1076"/>
          <ac:spMkLst>
            <pc:docMk/>
            <pc:sldMk cId="2382685892" sldId="2147374184"/>
            <ac:spMk id="12" creationId="{F19D9738-DFA2-C84F-82CF-6F85573EA287}"/>
          </ac:spMkLst>
        </pc:spChg>
        <pc:spChg chg="mod">
          <ac:chgData name="Nick Robinson" userId="d0c2b313-4ae0-4040-8c6a-fec7a720a7b5" providerId="ADAL" clId="{190131DE-6250-C84F-B491-721E6CF30BCB}" dt="2021-12-23T13:39:29.099" v="44093" actId="108"/>
          <ac:spMkLst>
            <pc:docMk/>
            <pc:sldMk cId="2382685892" sldId="2147374184"/>
            <ac:spMk id="14" creationId="{187D98F4-EB5A-E04B-B1AB-3062BCA3330F}"/>
          </ac:spMkLst>
        </pc:spChg>
        <pc:spChg chg="mod">
          <ac:chgData name="Nick Robinson" userId="d0c2b313-4ae0-4040-8c6a-fec7a720a7b5" providerId="ADAL" clId="{190131DE-6250-C84F-B491-721E6CF30BCB}" dt="2021-12-23T13:39:33.223" v="44094" actId="1076"/>
          <ac:spMkLst>
            <pc:docMk/>
            <pc:sldMk cId="2382685892" sldId="2147374184"/>
            <ac:spMk id="23" creationId="{CB1214F5-503D-D44D-8085-7461DE245F94}"/>
          </ac:spMkLst>
        </pc:spChg>
        <pc:spChg chg="mod">
          <ac:chgData name="Nick Robinson" userId="d0c2b313-4ae0-4040-8c6a-fec7a720a7b5" providerId="ADAL" clId="{190131DE-6250-C84F-B491-721E6CF30BCB}" dt="2021-12-23T13:39:33.223" v="44094" actId="1076"/>
          <ac:spMkLst>
            <pc:docMk/>
            <pc:sldMk cId="2382685892" sldId="2147374184"/>
            <ac:spMk id="24" creationId="{BC3BF939-741A-E546-81CE-0D14DDE2E26C}"/>
          </ac:spMkLst>
        </pc:spChg>
        <pc:spChg chg="mod">
          <ac:chgData name="Nick Robinson" userId="d0c2b313-4ae0-4040-8c6a-fec7a720a7b5" providerId="ADAL" clId="{190131DE-6250-C84F-B491-721E6CF30BCB}" dt="2021-12-23T13:39:33.223" v="44094" actId="1076"/>
          <ac:spMkLst>
            <pc:docMk/>
            <pc:sldMk cId="2382685892" sldId="2147374184"/>
            <ac:spMk id="26" creationId="{E25E26F4-E637-704F-B12F-70168E4D4086}"/>
          </ac:spMkLst>
        </pc:spChg>
        <pc:spChg chg="mod">
          <ac:chgData name="Nick Robinson" userId="d0c2b313-4ae0-4040-8c6a-fec7a720a7b5" providerId="ADAL" clId="{190131DE-6250-C84F-B491-721E6CF30BCB}" dt="2021-12-23T13:39:33.223" v="44094" actId="1076"/>
          <ac:spMkLst>
            <pc:docMk/>
            <pc:sldMk cId="2382685892" sldId="2147374184"/>
            <ac:spMk id="27" creationId="{B9168E8A-7661-C04B-929C-33F806DED5CE}"/>
          </ac:spMkLst>
        </pc:spChg>
        <pc:spChg chg="mod">
          <ac:chgData name="Nick Robinson" userId="d0c2b313-4ae0-4040-8c6a-fec7a720a7b5" providerId="ADAL" clId="{190131DE-6250-C84F-B491-721E6CF30BCB}" dt="2021-12-23T13:39:33.223" v="44094" actId="1076"/>
          <ac:spMkLst>
            <pc:docMk/>
            <pc:sldMk cId="2382685892" sldId="2147374184"/>
            <ac:spMk id="31" creationId="{23CD1CFA-944E-104D-90E5-8186CC062DF7}"/>
          </ac:spMkLst>
        </pc:spChg>
        <pc:spChg chg="mod">
          <ac:chgData name="Nick Robinson" userId="d0c2b313-4ae0-4040-8c6a-fec7a720a7b5" providerId="ADAL" clId="{190131DE-6250-C84F-B491-721E6CF30BCB}" dt="2021-12-23T13:39:33.223" v="44094" actId="1076"/>
          <ac:spMkLst>
            <pc:docMk/>
            <pc:sldMk cId="2382685892" sldId="2147374184"/>
            <ac:spMk id="32" creationId="{FAF789BC-019C-B946-926D-6093AE1A3912}"/>
          </ac:spMkLst>
        </pc:spChg>
        <pc:grpChg chg="mod">
          <ac:chgData name="Nick Robinson" userId="d0c2b313-4ae0-4040-8c6a-fec7a720a7b5" providerId="ADAL" clId="{190131DE-6250-C84F-B491-721E6CF30BCB}" dt="2021-12-23T13:39:33.223" v="44094" actId="1076"/>
          <ac:grpSpMkLst>
            <pc:docMk/>
            <pc:sldMk cId="2382685892" sldId="2147374184"/>
            <ac:grpSpMk id="20" creationId="{856DAFD8-FA0A-4949-9E59-48AAEE3EBE5A}"/>
          </ac:grpSpMkLst>
        </pc:grpChg>
        <pc:grpChg chg="mod">
          <ac:chgData name="Nick Robinson" userId="d0c2b313-4ae0-4040-8c6a-fec7a720a7b5" providerId="ADAL" clId="{190131DE-6250-C84F-B491-721E6CF30BCB}" dt="2021-12-23T13:39:33.223" v="44094" actId="1076"/>
          <ac:grpSpMkLst>
            <pc:docMk/>
            <pc:sldMk cId="2382685892" sldId="2147374184"/>
            <ac:grpSpMk id="25" creationId="{6E749FC9-89E1-124F-A832-F939520B97F7}"/>
          </ac:grpSpMkLst>
        </pc:grpChg>
        <pc:grpChg chg="mod">
          <ac:chgData name="Nick Robinson" userId="d0c2b313-4ae0-4040-8c6a-fec7a720a7b5" providerId="ADAL" clId="{190131DE-6250-C84F-B491-721E6CF30BCB}" dt="2021-12-23T13:39:33.223" v="44094" actId="1076"/>
          <ac:grpSpMkLst>
            <pc:docMk/>
            <pc:sldMk cId="2382685892" sldId="2147374184"/>
            <ac:grpSpMk id="28" creationId="{8B771798-42EE-5C4C-84A4-3B741660585C}"/>
          </ac:grpSpMkLst>
        </pc:grpChg>
        <pc:graphicFrameChg chg="del">
          <ac:chgData name="Nick Robinson" userId="d0c2b313-4ae0-4040-8c6a-fec7a720a7b5" providerId="ADAL" clId="{190131DE-6250-C84F-B491-721E6CF30BCB}" dt="2021-12-20T15:27:31.025" v="17635" actId="478"/>
          <ac:graphicFrameMkLst>
            <pc:docMk/>
            <pc:sldMk cId="2382685892" sldId="2147374184"/>
            <ac:graphicFrameMk id="22" creationId="{286EE922-188A-B742-8D1A-F5683BCD10F7}"/>
          </ac:graphicFrameMkLst>
        </pc:graphicFrameChg>
        <pc:graphicFrameChg chg="add mod">
          <ac:chgData name="Nick Robinson" userId="d0c2b313-4ae0-4040-8c6a-fec7a720a7b5" providerId="ADAL" clId="{190131DE-6250-C84F-B491-721E6CF30BCB}" dt="2021-12-20T15:27:31.337" v="17636"/>
          <ac:graphicFrameMkLst>
            <pc:docMk/>
            <pc:sldMk cId="2382685892" sldId="2147374184"/>
            <ac:graphicFrameMk id="30" creationId="{98B6BB9A-003E-C445-AD6A-2E6A4D0208F1}"/>
          </ac:graphicFrameMkLst>
        </pc:graphicFrameChg>
        <pc:picChg chg="add mod">
          <ac:chgData name="Nick Robinson" userId="d0c2b313-4ae0-4040-8c6a-fec7a720a7b5" providerId="ADAL" clId="{190131DE-6250-C84F-B491-721E6CF30BCB}" dt="2021-12-23T13:39:33.223" v="44094" actId="1076"/>
          <ac:picMkLst>
            <pc:docMk/>
            <pc:sldMk cId="2382685892" sldId="2147374184"/>
            <ac:picMk id="29" creationId="{29B73DA0-4C6B-FD4C-9622-CEED26022C31}"/>
          </ac:picMkLst>
        </pc:picChg>
        <pc:picChg chg="del">
          <ac:chgData name="Nick Robinson" userId="d0c2b313-4ae0-4040-8c6a-fec7a720a7b5" providerId="ADAL" clId="{190131DE-6250-C84F-B491-721E6CF30BCB}" dt="2021-12-20T11:59:27.990" v="16931" actId="478"/>
          <ac:picMkLst>
            <pc:docMk/>
            <pc:sldMk cId="2382685892" sldId="2147374184"/>
            <ac:picMk id="33" creationId="{9E921B10-7E08-F24A-B864-AB0F347D4F8C}"/>
          </ac:picMkLst>
        </pc:picChg>
        <pc:picChg chg="add mod">
          <ac:chgData name="Nick Robinson" userId="d0c2b313-4ae0-4040-8c6a-fec7a720a7b5" providerId="ADAL" clId="{190131DE-6250-C84F-B491-721E6CF30BCB}" dt="2021-12-20T17:13:34.116" v="19959" actId="1076"/>
          <ac:picMkLst>
            <pc:docMk/>
            <pc:sldMk cId="2382685892" sldId="2147374184"/>
            <ac:picMk id="34" creationId="{1AE0F713-7B73-1F4A-A90F-ABAB31293209}"/>
          </ac:picMkLst>
        </pc:picChg>
      </pc:sldChg>
      <pc:sldChg chg="addSp delSp modSp add mod ord setBg">
        <pc:chgData name="Nick Robinson" userId="d0c2b313-4ae0-4040-8c6a-fec7a720a7b5" providerId="ADAL" clId="{190131DE-6250-C84F-B491-721E6CF30BCB}" dt="2021-12-23T13:39:23.960" v="44092" actId="1076"/>
        <pc:sldMkLst>
          <pc:docMk/>
          <pc:sldMk cId="1037162619" sldId="2147374185"/>
        </pc:sldMkLst>
        <pc:spChg chg="mod">
          <ac:chgData name="Nick Robinson" userId="d0c2b313-4ae0-4040-8c6a-fec7a720a7b5" providerId="ADAL" clId="{190131DE-6250-C84F-B491-721E6CF30BCB}" dt="2021-12-20T17:14:24.925" v="19967" actId="14100"/>
          <ac:spMkLst>
            <pc:docMk/>
            <pc:sldMk cId="1037162619" sldId="2147374185"/>
            <ac:spMk id="2" creationId="{00000000-0000-0000-0000-000000000000}"/>
          </ac:spMkLst>
        </pc:spChg>
        <pc:spChg chg="mod">
          <ac:chgData name="Nick Robinson" userId="d0c2b313-4ae0-4040-8c6a-fec7a720a7b5" providerId="ADAL" clId="{190131DE-6250-C84F-B491-721E6CF30BCB}" dt="2021-12-23T13:39:23.960" v="44092" actId="1076"/>
          <ac:spMkLst>
            <pc:docMk/>
            <pc:sldMk cId="1037162619" sldId="2147374185"/>
            <ac:spMk id="12" creationId="{F19D9738-DFA2-C84F-82CF-6F85573EA287}"/>
          </ac:spMkLst>
        </pc:spChg>
        <pc:spChg chg="mod">
          <ac:chgData name="Nick Robinson" userId="d0c2b313-4ae0-4040-8c6a-fec7a720a7b5" providerId="ADAL" clId="{190131DE-6250-C84F-B491-721E6CF30BCB}" dt="2021-12-23T13:39:17.798" v="44091" actId="108"/>
          <ac:spMkLst>
            <pc:docMk/>
            <pc:sldMk cId="1037162619" sldId="2147374185"/>
            <ac:spMk id="14" creationId="{187D98F4-EB5A-E04B-B1AB-3062BCA3330F}"/>
          </ac:spMkLst>
        </pc:spChg>
        <pc:spChg chg="mod">
          <ac:chgData name="Nick Robinson" userId="d0c2b313-4ae0-4040-8c6a-fec7a720a7b5" providerId="ADAL" clId="{190131DE-6250-C84F-B491-721E6CF30BCB}" dt="2021-12-23T13:39:23.960" v="44092" actId="1076"/>
          <ac:spMkLst>
            <pc:docMk/>
            <pc:sldMk cId="1037162619" sldId="2147374185"/>
            <ac:spMk id="23" creationId="{CB1214F5-503D-D44D-8085-7461DE245F94}"/>
          </ac:spMkLst>
        </pc:spChg>
        <pc:spChg chg="mod">
          <ac:chgData name="Nick Robinson" userId="d0c2b313-4ae0-4040-8c6a-fec7a720a7b5" providerId="ADAL" clId="{190131DE-6250-C84F-B491-721E6CF30BCB}" dt="2021-12-23T13:39:23.960" v="44092" actId="1076"/>
          <ac:spMkLst>
            <pc:docMk/>
            <pc:sldMk cId="1037162619" sldId="2147374185"/>
            <ac:spMk id="24" creationId="{BC3BF939-741A-E546-81CE-0D14DDE2E26C}"/>
          </ac:spMkLst>
        </pc:spChg>
        <pc:spChg chg="mod">
          <ac:chgData name="Nick Robinson" userId="d0c2b313-4ae0-4040-8c6a-fec7a720a7b5" providerId="ADAL" clId="{190131DE-6250-C84F-B491-721E6CF30BCB}" dt="2021-12-23T13:39:23.960" v="44092" actId="1076"/>
          <ac:spMkLst>
            <pc:docMk/>
            <pc:sldMk cId="1037162619" sldId="2147374185"/>
            <ac:spMk id="26" creationId="{E25E26F4-E637-704F-B12F-70168E4D4086}"/>
          </ac:spMkLst>
        </pc:spChg>
        <pc:spChg chg="mod">
          <ac:chgData name="Nick Robinson" userId="d0c2b313-4ae0-4040-8c6a-fec7a720a7b5" providerId="ADAL" clId="{190131DE-6250-C84F-B491-721E6CF30BCB}" dt="2021-12-23T13:39:23.960" v="44092" actId="1076"/>
          <ac:spMkLst>
            <pc:docMk/>
            <pc:sldMk cId="1037162619" sldId="2147374185"/>
            <ac:spMk id="27" creationId="{B9168E8A-7661-C04B-929C-33F806DED5CE}"/>
          </ac:spMkLst>
        </pc:spChg>
        <pc:spChg chg="mod">
          <ac:chgData name="Nick Robinson" userId="d0c2b313-4ae0-4040-8c6a-fec7a720a7b5" providerId="ADAL" clId="{190131DE-6250-C84F-B491-721E6CF30BCB}" dt="2021-12-23T13:39:23.960" v="44092" actId="1076"/>
          <ac:spMkLst>
            <pc:docMk/>
            <pc:sldMk cId="1037162619" sldId="2147374185"/>
            <ac:spMk id="31" creationId="{23CD1CFA-944E-104D-90E5-8186CC062DF7}"/>
          </ac:spMkLst>
        </pc:spChg>
        <pc:spChg chg="mod">
          <ac:chgData name="Nick Robinson" userId="d0c2b313-4ae0-4040-8c6a-fec7a720a7b5" providerId="ADAL" clId="{190131DE-6250-C84F-B491-721E6CF30BCB}" dt="2021-12-23T13:39:23.960" v="44092" actId="1076"/>
          <ac:spMkLst>
            <pc:docMk/>
            <pc:sldMk cId="1037162619" sldId="2147374185"/>
            <ac:spMk id="32" creationId="{FAF789BC-019C-B946-926D-6093AE1A3912}"/>
          </ac:spMkLst>
        </pc:spChg>
        <pc:grpChg chg="mod">
          <ac:chgData name="Nick Robinson" userId="d0c2b313-4ae0-4040-8c6a-fec7a720a7b5" providerId="ADAL" clId="{190131DE-6250-C84F-B491-721E6CF30BCB}" dt="2021-12-23T13:39:23.960" v="44092" actId="1076"/>
          <ac:grpSpMkLst>
            <pc:docMk/>
            <pc:sldMk cId="1037162619" sldId="2147374185"/>
            <ac:grpSpMk id="20" creationId="{856DAFD8-FA0A-4949-9E59-48AAEE3EBE5A}"/>
          </ac:grpSpMkLst>
        </pc:grpChg>
        <pc:grpChg chg="mod">
          <ac:chgData name="Nick Robinson" userId="d0c2b313-4ae0-4040-8c6a-fec7a720a7b5" providerId="ADAL" clId="{190131DE-6250-C84F-B491-721E6CF30BCB}" dt="2021-12-23T13:39:23.960" v="44092" actId="1076"/>
          <ac:grpSpMkLst>
            <pc:docMk/>
            <pc:sldMk cId="1037162619" sldId="2147374185"/>
            <ac:grpSpMk id="25" creationId="{6E749FC9-89E1-124F-A832-F939520B97F7}"/>
          </ac:grpSpMkLst>
        </pc:grpChg>
        <pc:grpChg chg="mod">
          <ac:chgData name="Nick Robinson" userId="d0c2b313-4ae0-4040-8c6a-fec7a720a7b5" providerId="ADAL" clId="{190131DE-6250-C84F-B491-721E6CF30BCB}" dt="2021-12-23T13:39:23.960" v="44092" actId="1076"/>
          <ac:grpSpMkLst>
            <pc:docMk/>
            <pc:sldMk cId="1037162619" sldId="2147374185"/>
            <ac:grpSpMk id="28" creationId="{8B771798-42EE-5C4C-84A4-3B741660585C}"/>
          </ac:grpSpMkLst>
        </pc:grpChg>
        <pc:graphicFrameChg chg="del">
          <ac:chgData name="Nick Robinson" userId="d0c2b313-4ae0-4040-8c6a-fec7a720a7b5" providerId="ADAL" clId="{190131DE-6250-C84F-B491-721E6CF30BCB}" dt="2021-12-20T15:27:38.625" v="17639" actId="478"/>
          <ac:graphicFrameMkLst>
            <pc:docMk/>
            <pc:sldMk cId="1037162619" sldId="2147374185"/>
            <ac:graphicFrameMk id="22" creationId="{286EE922-188A-B742-8D1A-F5683BCD10F7}"/>
          </ac:graphicFrameMkLst>
        </pc:graphicFrameChg>
        <pc:graphicFrameChg chg="add mod">
          <ac:chgData name="Nick Robinson" userId="d0c2b313-4ae0-4040-8c6a-fec7a720a7b5" providerId="ADAL" clId="{190131DE-6250-C84F-B491-721E6CF30BCB}" dt="2021-12-20T15:27:38.939" v="17640"/>
          <ac:graphicFrameMkLst>
            <pc:docMk/>
            <pc:sldMk cId="1037162619" sldId="2147374185"/>
            <ac:graphicFrameMk id="33" creationId="{63900EDA-92E5-0C4D-88B7-9D1E3C6B6346}"/>
          </ac:graphicFrameMkLst>
        </pc:graphicFrameChg>
        <pc:picChg chg="del">
          <ac:chgData name="Nick Robinson" userId="d0c2b313-4ae0-4040-8c6a-fec7a720a7b5" providerId="ADAL" clId="{190131DE-6250-C84F-B491-721E6CF30BCB}" dt="2021-12-20T12:02:58.003" v="16986" actId="478"/>
          <ac:picMkLst>
            <pc:docMk/>
            <pc:sldMk cId="1037162619" sldId="2147374185"/>
            <ac:picMk id="29" creationId="{29B73DA0-4C6B-FD4C-9622-CEED26022C31}"/>
          </ac:picMkLst>
        </pc:picChg>
        <pc:picChg chg="add mod">
          <ac:chgData name="Nick Robinson" userId="d0c2b313-4ae0-4040-8c6a-fec7a720a7b5" providerId="ADAL" clId="{190131DE-6250-C84F-B491-721E6CF30BCB}" dt="2021-12-23T13:39:23.960" v="44092" actId="1076"/>
          <ac:picMkLst>
            <pc:docMk/>
            <pc:sldMk cId="1037162619" sldId="2147374185"/>
            <ac:picMk id="30" creationId="{A69A534E-FEA8-2B46-8DEA-BD3BF9C68FD8}"/>
          </ac:picMkLst>
        </pc:picChg>
        <pc:picChg chg="add mod">
          <ac:chgData name="Nick Robinson" userId="d0c2b313-4ae0-4040-8c6a-fec7a720a7b5" providerId="ADAL" clId="{190131DE-6250-C84F-B491-721E6CF30BCB}" dt="2021-12-20T17:14:35.854" v="19971" actId="1035"/>
          <ac:picMkLst>
            <pc:docMk/>
            <pc:sldMk cId="1037162619" sldId="2147374185"/>
            <ac:picMk id="34" creationId="{11967A17-8015-094E-AD9B-75E3F252A0B0}"/>
          </ac:picMkLst>
        </pc:picChg>
      </pc:sldChg>
      <pc:sldChg chg="addSp delSp modSp add mod">
        <pc:chgData name="Nick Robinson" userId="d0c2b313-4ae0-4040-8c6a-fec7a720a7b5" providerId="ADAL" clId="{190131DE-6250-C84F-B491-721E6CF30BCB}" dt="2021-12-23T13:39:05.266" v="44089" actId="1076"/>
        <pc:sldMkLst>
          <pc:docMk/>
          <pc:sldMk cId="3486276355" sldId="2147374186"/>
        </pc:sldMkLst>
        <pc:spChg chg="mod">
          <ac:chgData name="Nick Robinson" userId="d0c2b313-4ae0-4040-8c6a-fec7a720a7b5" providerId="ADAL" clId="{190131DE-6250-C84F-B491-721E6CF30BCB}" dt="2021-12-20T17:16:06.879" v="19978" actId="14100"/>
          <ac:spMkLst>
            <pc:docMk/>
            <pc:sldMk cId="3486276355" sldId="2147374186"/>
            <ac:spMk id="2" creationId="{00000000-0000-0000-0000-000000000000}"/>
          </ac:spMkLst>
        </pc:spChg>
        <pc:spChg chg="mod">
          <ac:chgData name="Nick Robinson" userId="d0c2b313-4ae0-4040-8c6a-fec7a720a7b5" providerId="ADAL" clId="{190131DE-6250-C84F-B491-721E6CF30BCB}" dt="2021-12-23T13:39:05.266" v="44089" actId="1076"/>
          <ac:spMkLst>
            <pc:docMk/>
            <pc:sldMk cId="3486276355" sldId="2147374186"/>
            <ac:spMk id="12" creationId="{F19D9738-DFA2-C84F-82CF-6F85573EA287}"/>
          </ac:spMkLst>
        </pc:spChg>
        <pc:spChg chg="mod">
          <ac:chgData name="Nick Robinson" userId="d0c2b313-4ae0-4040-8c6a-fec7a720a7b5" providerId="ADAL" clId="{190131DE-6250-C84F-B491-721E6CF30BCB}" dt="2021-12-23T13:38:53.300" v="44087" actId="108"/>
          <ac:spMkLst>
            <pc:docMk/>
            <pc:sldMk cId="3486276355" sldId="2147374186"/>
            <ac:spMk id="14" creationId="{187D98F4-EB5A-E04B-B1AB-3062BCA3330F}"/>
          </ac:spMkLst>
        </pc:spChg>
        <pc:spChg chg="mod">
          <ac:chgData name="Nick Robinson" userId="d0c2b313-4ae0-4040-8c6a-fec7a720a7b5" providerId="ADAL" clId="{190131DE-6250-C84F-B491-721E6CF30BCB}" dt="2021-12-23T13:39:05.266" v="44089" actId="1076"/>
          <ac:spMkLst>
            <pc:docMk/>
            <pc:sldMk cId="3486276355" sldId="2147374186"/>
            <ac:spMk id="23" creationId="{CB1214F5-503D-D44D-8085-7461DE245F94}"/>
          </ac:spMkLst>
        </pc:spChg>
        <pc:spChg chg="mod">
          <ac:chgData name="Nick Robinson" userId="d0c2b313-4ae0-4040-8c6a-fec7a720a7b5" providerId="ADAL" clId="{190131DE-6250-C84F-B491-721E6CF30BCB}" dt="2021-12-23T13:39:05.266" v="44089" actId="1076"/>
          <ac:spMkLst>
            <pc:docMk/>
            <pc:sldMk cId="3486276355" sldId="2147374186"/>
            <ac:spMk id="24" creationId="{BC3BF939-741A-E546-81CE-0D14DDE2E26C}"/>
          </ac:spMkLst>
        </pc:spChg>
        <pc:spChg chg="mod">
          <ac:chgData name="Nick Robinson" userId="d0c2b313-4ae0-4040-8c6a-fec7a720a7b5" providerId="ADAL" clId="{190131DE-6250-C84F-B491-721E6CF30BCB}" dt="2021-12-23T13:39:05.266" v="44089" actId="1076"/>
          <ac:spMkLst>
            <pc:docMk/>
            <pc:sldMk cId="3486276355" sldId="2147374186"/>
            <ac:spMk id="26" creationId="{E25E26F4-E637-704F-B12F-70168E4D4086}"/>
          </ac:spMkLst>
        </pc:spChg>
        <pc:spChg chg="mod">
          <ac:chgData name="Nick Robinson" userId="d0c2b313-4ae0-4040-8c6a-fec7a720a7b5" providerId="ADAL" clId="{190131DE-6250-C84F-B491-721E6CF30BCB}" dt="2021-12-23T13:39:05.266" v="44089" actId="1076"/>
          <ac:spMkLst>
            <pc:docMk/>
            <pc:sldMk cId="3486276355" sldId="2147374186"/>
            <ac:spMk id="27" creationId="{B9168E8A-7661-C04B-929C-33F806DED5CE}"/>
          </ac:spMkLst>
        </pc:spChg>
        <pc:spChg chg="mod">
          <ac:chgData name="Nick Robinson" userId="d0c2b313-4ae0-4040-8c6a-fec7a720a7b5" providerId="ADAL" clId="{190131DE-6250-C84F-B491-721E6CF30BCB}" dt="2021-12-23T13:39:05.266" v="44089" actId="1076"/>
          <ac:spMkLst>
            <pc:docMk/>
            <pc:sldMk cId="3486276355" sldId="2147374186"/>
            <ac:spMk id="31" creationId="{23CD1CFA-944E-104D-90E5-8186CC062DF7}"/>
          </ac:spMkLst>
        </pc:spChg>
        <pc:spChg chg="mod">
          <ac:chgData name="Nick Robinson" userId="d0c2b313-4ae0-4040-8c6a-fec7a720a7b5" providerId="ADAL" clId="{190131DE-6250-C84F-B491-721E6CF30BCB}" dt="2021-12-23T13:39:05.266" v="44089" actId="1076"/>
          <ac:spMkLst>
            <pc:docMk/>
            <pc:sldMk cId="3486276355" sldId="2147374186"/>
            <ac:spMk id="32" creationId="{FAF789BC-019C-B946-926D-6093AE1A3912}"/>
          </ac:spMkLst>
        </pc:spChg>
        <pc:grpChg chg="mod">
          <ac:chgData name="Nick Robinson" userId="d0c2b313-4ae0-4040-8c6a-fec7a720a7b5" providerId="ADAL" clId="{190131DE-6250-C84F-B491-721E6CF30BCB}" dt="2021-12-23T13:39:05.266" v="44089" actId="1076"/>
          <ac:grpSpMkLst>
            <pc:docMk/>
            <pc:sldMk cId="3486276355" sldId="2147374186"/>
            <ac:grpSpMk id="20" creationId="{856DAFD8-FA0A-4949-9E59-48AAEE3EBE5A}"/>
          </ac:grpSpMkLst>
        </pc:grpChg>
        <pc:grpChg chg="mod">
          <ac:chgData name="Nick Robinson" userId="d0c2b313-4ae0-4040-8c6a-fec7a720a7b5" providerId="ADAL" clId="{190131DE-6250-C84F-B491-721E6CF30BCB}" dt="2021-12-23T13:39:05.266" v="44089" actId="1076"/>
          <ac:grpSpMkLst>
            <pc:docMk/>
            <pc:sldMk cId="3486276355" sldId="2147374186"/>
            <ac:grpSpMk id="25" creationId="{6E749FC9-89E1-124F-A832-F939520B97F7}"/>
          </ac:grpSpMkLst>
        </pc:grpChg>
        <pc:grpChg chg="mod">
          <ac:chgData name="Nick Robinson" userId="d0c2b313-4ae0-4040-8c6a-fec7a720a7b5" providerId="ADAL" clId="{190131DE-6250-C84F-B491-721E6CF30BCB}" dt="2021-12-23T13:39:05.266" v="44089" actId="1076"/>
          <ac:grpSpMkLst>
            <pc:docMk/>
            <pc:sldMk cId="3486276355" sldId="2147374186"/>
            <ac:grpSpMk id="28" creationId="{8B771798-42EE-5C4C-84A4-3B741660585C}"/>
          </ac:grpSpMkLst>
        </pc:grpChg>
        <pc:graphicFrameChg chg="del">
          <ac:chgData name="Nick Robinson" userId="d0c2b313-4ae0-4040-8c6a-fec7a720a7b5" providerId="ADAL" clId="{190131DE-6250-C84F-B491-721E6CF30BCB}" dt="2021-12-20T15:27:47.625" v="17643" actId="478"/>
          <ac:graphicFrameMkLst>
            <pc:docMk/>
            <pc:sldMk cId="3486276355" sldId="2147374186"/>
            <ac:graphicFrameMk id="22" creationId="{286EE922-188A-B742-8D1A-F5683BCD10F7}"/>
          </ac:graphicFrameMkLst>
        </pc:graphicFrameChg>
        <pc:graphicFrameChg chg="add mod">
          <ac:chgData name="Nick Robinson" userId="d0c2b313-4ae0-4040-8c6a-fec7a720a7b5" providerId="ADAL" clId="{190131DE-6250-C84F-B491-721E6CF30BCB}" dt="2021-12-20T15:27:47.966" v="17644"/>
          <ac:graphicFrameMkLst>
            <pc:docMk/>
            <pc:sldMk cId="3486276355" sldId="2147374186"/>
            <ac:graphicFrameMk id="33" creationId="{21837EBF-7D98-8944-A610-005EBFFAE2F1}"/>
          </ac:graphicFrameMkLst>
        </pc:graphicFrameChg>
        <pc:picChg chg="add mod">
          <ac:chgData name="Nick Robinson" userId="d0c2b313-4ae0-4040-8c6a-fec7a720a7b5" providerId="ADAL" clId="{190131DE-6250-C84F-B491-721E6CF30BCB}" dt="2021-12-23T13:39:05.266" v="44089" actId="1076"/>
          <ac:picMkLst>
            <pc:docMk/>
            <pc:sldMk cId="3486276355" sldId="2147374186"/>
            <ac:picMk id="29" creationId="{A9414BAE-ABF6-584C-9500-320FB717B5CA}"/>
          </ac:picMkLst>
        </pc:picChg>
        <pc:picChg chg="add del">
          <ac:chgData name="Nick Robinson" userId="d0c2b313-4ae0-4040-8c6a-fec7a720a7b5" providerId="ADAL" clId="{190131DE-6250-C84F-B491-721E6CF30BCB}" dt="2021-12-20T12:05:13.031" v="17019" actId="478"/>
          <ac:picMkLst>
            <pc:docMk/>
            <pc:sldMk cId="3486276355" sldId="2147374186"/>
            <ac:picMk id="30" creationId="{A69A534E-FEA8-2B46-8DEA-BD3BF9C68FD8}"/>
          </ac:picMkLst>
        </pc:picChg>
        <pc:picChg chg="add mod">
          <ac:chgData name="Nick Robinson" userId="d0c2b313-4ae0-4040-8c6a-fec7a720a7b5" providerId="ADAL" clId="{190131DE-6250-C84F-B491-721E6CF30BCB}" dt="2021-12-20T17:16:15.366" v="19980" actId="1076"/>
          <ac:picMkLst>
            <pc:docMk/>
            <pc:sldMk cId="3486276355" sldId="2147374186"/>
            <ac:picMk id="34" creationId="{56BE1CB2-EBE4-A740-B841-D07C6922BA6C}"/>
          </ac:picMkLst>
        </pc:picChg>
        <pc:picChg chg="add del mod">
          <ac:chgData name="Nick Robinson" userId="d0c2b313-4ae0-4040-8c6a-fec7a720a7b5" providerId="ADAL" clId="{190131DE-6250-C84F-B491-721E6CF30BCB}" dt="2021-12-20T17:16:47.616" v="19984" actId="478"/>
          <ac:picMkLst>
            <pc:docMk/>
            <pc:sldMk cId="3486276355" sldId="2147374186"/>
            <ac:picMk id="35" creationId="{DB75AC2B-E469-D045-89FE-862F464069DA}"/>
          </ac:picMkLst>
        </pc:picChg>
        <pc:picChg chg="add del mod">
          <ac:chgData name="Nick Robinson" userId="d0c2b313-4ae0-4040-8c6a-fec7a720a7b5" providerId="ADAL" clId="{190131DE-6250-C84F-B491-721E6CF30BCB}" dt="2021-12-20T17:16:47.616" v="19984" actId="478"/>
          <ac:picMkLst>
            <pc:docMk/>
            <pc:sldMk cId="3486276355" sldId="2147374186"/>
            <ac:picMk id="36" creationId="{7D08FAA5-2B7A-9347-ADC2-64975E603B16}"/>
          </ac:picMkLst>
        </pc:picChg>
      </pc:sldChg>
      <pc:sldChg chg="addSp delSp modSp add mod modShow modNotesTx">
        <pc:chgData name="Nick Robinson" userId="d0c2b313-4ae0-4040-8c6a-fec7a720a7b5" providerId="ADAL" clId="{190131DE-6250-C84F-B491-721E6CF30BCB}" dt="2021-12-23T13:38:49.392" v="44086" actId="478"/>
        <pc:sldMkLst>
          <pc:docMk/>
          <pc:sldMk cId="905701638" sldId="2147374187"/>
        </pc:sldMkLst>
        <pc:spChg chg="mod">
          <ac:chgData name="Nick Robinson" userId="d0c2b313-4ae0-4040-8c6a-fec7a720a7b5" providerId="ADAL" clId="{190131DE-6250-C84F-B491-721E6CF30BCB}" dt="2021-12-20T17:17:08.916" v="19988" actId="14100"/>
          <ac:spMkLst>
            <pc:docMk/>
            <pc:sldMk cId="905701638" sldId="2147374187"/>
            <ac:spMk id="2" creationId="{00000000-0000-0000-0000-000000000000}"/>
          </ac:spMkLst>
        </pc:spChg>
        <pc:spChg chg="mod">
          <ac:chgData name="Nick Robinson" userId="d0c2b313-4ae0-4040-8c6a-fec7a720a7b5" providerId="ADAL" clId="{190131DE-6250-C84F-B491-721E6CF30BCB}" dt="2021-12-23T13:38:45.021" v="44085" actId="1076"/>
          <ac:spMkLst>
            <pc:docMk/>
            <pc:sldMk cId="905701638" sldId="2147374187"/>
            <ac:spMk id="12" creationId="{F19D9738-DFA2-C84F-82CF-6F85573EA287}"/>
          </ac:spMkLst>
        </pc:spChg>
        <pc:spChg chg="mod">
          <ac:chgData name="Nick Robinson" userId="d0c2b313-4ae0-4040-8c6a-fec7a720a7b5" providerId="ADAL" clId="{190131DE-6250-C84F-B491-721E6CF30BCB}" dt="2021-12-23T13:38:36.802" v="44084" actId="108"/>
          <ac:spMkLst>
            <pc:docMk/>
            <pc:sldMk cId="905701638" sldId="2147374187"/>
            <ac:spMk id="14" creationId="{187D98F4-EB5A-E04B-B1AB-3062BCA3330F}"/>
          </ac:spMkLst>
        </pc:spChg>
        <pc:spChg chg="del">
          <ac:chgData name="Nick Robinson" userId="d0c2b313-4ae0-4040-8c6a-fec7a720a7b5" providerId="ADAL" clId="{190131DE-6250-C84F-B491-721E6CF30BCB}" dt="2021-12-23T13:38:49.392" v="44086" actId="478"/>
          <ac:spMkLst>
            <pc:docMk/>
            <pc:sldMk cId="905701638" sldId="2147374187"/>
            <ac:spMk id="21" creationId="{FE740462-AEED-0B41-92DC-3A54DEB718C8}"/>
          </ac:spMkLst>
        </pc:spChg>
        <pc:spChg chg="mod">
          <ac:chgData name="Nick Robinson" userId="d0c2b313-4ae0-4040-8c6a-fec7a720a7b5" providerId="ADAL" clId="{190131DE-6250-C84F-B491-721E6CF30BCB}" dt="2021-12-23T13:38:45.021" v="44085" actId="1076"/>
          <ac:spMkLst>
            <pc:docMk/>
            <pc:sldMk cId="905701638" sldId="2147374187"/>
            <ac:spMk id="23" creationId="{CB1214F5-503D-D44D-8085-7461DE245F94}"/>
          </ac:spMkLst>
        </pc:spChg>
        <pc:spChg chg="mod">
          <ac:chgData name="Nick Robinson" userId="d0c2b313-4ae0-4040-8c6a-fec7a720a7b5" providerId="ADAL" clId="{190131DE-6250-C84F-B491-721E6CF30BCB}" dt="2021-12-23T13:38:45.021" v="44085" actId="1076"/>
          <ac:spMkLst>
            <pc:docMk/>
            <pc:sldMk cId="905701638" sldId="2147374187"/>
            <ac:spMk id="24" creationId="{BC3BF939-741A-E546-81CE-0D14DDE2E26C}"/>
          </ac:spMkLst>
        </pc:spChg>
        <pc:spChg chg="mod">
          <ac:chgData name="Nick Robinson" userId="d0c2b313-4ae0-4040-8c6a-fec7a720a7b5" providerId="ADAL" clId="{190131DE-6250-C84F-B491-721E6CF30BCB}" dt="2021-12-23T13:38:45.021" v="44085" actId="1076"/>
          <ac:spMkLst>
            <pc:docMk/>
            <pc:sldMk cId="905701638" sldId="2147374187"/>
            <ac:spMk id="26" creationId="{E25E26F4-E637-704F-B12F-70168E4D4086}"/>
          </ac:spMkLst>
        </pc:spChg>
        <pc:spChg chg="mod">
          <ac:chgData name="Nick Robinson" userId="d0c2b313-4ae0-4040-8c6a-fec7a720a7b5" providerId="ADAL" clId="{190131DE-6250-C84F-B491-721E6CF30BCB}" dt="2021-12-23T13:38:45.021" v="44085" actId="1076"/>
          <ac:spMkLst>
            <pc:docMk/>
            <pc:sldMk cId="905701638" sldId="2147374187"/>
            <ac:spMk id="27" creationId="{B9168E8A-7661-C04B-929C-33F806DED5CE}"/>
          </ac:spMkLst>
        </pc:spChg>
        <pc:spChg chg="mod">
          <ac:chgData name="Nick Robinson" userId="d0c2b313-4ae0-4040-8c6a-fec7a720a7b5" providerId="ADAL" clId="{190131DE-6250-C84F-B491-721E6CF30BCB}" dt="2021-12-23T13:38:45.021" v="44085" actId="1076"/>
          <ac:spMkLst>
            <pc:docMk/>
            <pc:sldMk cId="905701638" sldId="2147374187"/>
            <ac:spMk id="31" creationId="{23CD1CFA-944E-104D-90E5-8186CC062DF7}"/>
          </ac:spMkLst>
        </pc:spChg>
        <pc:spChg chg="mod">
          <ac:chgData name="Nick Robinson" userId="d0c2b313-4ae0-4040-8c6a-fec7a720a7b5" providerId="ADAL" clId="{190131DE-6250-C84F-B491-721E6CF30BCB}" dt="2021-12-23T13:38:45.021" v="44085" actId="1076"/>
          <ac:spMkLst>
            <pc:docMk/>
            <pc:sldMk cId="905701638" sldId="2147374187"/>
            <ac:spMk id="32" creationId="{FAF789BC-019C-B946-926D-6093AE1A3912}"/>
          </ac:spMkLst>
        </pc:spChg>
        <pc:grpChg chg="mod">
          <ac:chgData name="Nick Robinson" userId="d0c2b313-4ae0-4040-8c6a-fec7a720a7b5" providerId="ADAL" clId="{190131DE-6250-C84F-B491-721E6CF30BCB}" dt="2021-12-23T13:38:45.021" v="44085" actId="1076"/>
          <ac:grpSpMkLst>
            <pc:docMk/>
            <pc:sldMk cId="905701638" sldId="2147374187"/>
            <ac:grpSpMk id="20" creationId="{856DAFD8-FA0A-4949-9E59-48AAEE3EBE5A}"/>
          </ac:grpSpMkLst>
        </pc:grpChg>
        <pc:grpChg chg="mod">
          <ac:chgData name="Nick Robinson" userId="d0c2b313-4ae0-4040-8c6a-fec7a720a7b5" providerId="ADAL" clId="{190131DE-6250-C84F-B491-721E6CF30BCB}" dt="2021-12-23T13:38:45.021" v="44085" actId="1076"/>
          <ac:grpSpMkLst>
            <pc:docMk/>
            <pc:sldMk cId="905701638" sldId="2147374187"/>
            <ac:grpSpMk id="25" creationId="{6E749FC9-89E1-124F-A832-F939520B97F7}"/>
          </ac:grpSpMkLst>
        </pc:grpChg>
        <pc:grpChg chg="mod">
          <ac:chgData name="Nick Robinson" userId="d0c2b313-4ae0-4040-8c6a-fec7a720a7b5" providerId="ADAL" clId="{190131DE-6250-C84F-B491-721E6CF30BCB}" dt="2021-12-23T13:38:45.021" v="44085" actId="1076"/>
          <ac:grpSpMkLst>
            <pc:docMk/>
            <pc:sldMk cId="905701638" sldId="2147374187"/>
            <ac:grpSpMk id="28" creationId="{8B771798-42EE-5C4C-84A4-3B741660585C}"/>
          </ac:grpSpMkLst>
        </pc:grpChg>
        <pc:graphicFrameChg chg="del">
          <ac:chgData name="Nick Robinson" userId="d0c2b313-4ae0-4040-8c6a-fec7a720a7b5" providerId="ADAL" clId="{190131DE-6250-C84F-B491-721E6CF30BCB}" dt="2021-12-20T15:27:54.879" v="17647" actId="478"/>
          <ac:graphicFrameMkLst>
            <pc:docMk/>
            <pc:sldMk cId="905701638" sldId="2147374187"/>
            <ac:graphicFrameMk id="22" creationId="{286EE922-188A-B742-8D1A-F5683BCD10F7}"/>
          </ac:graphicFrameMkLst>
        </pc:graphicFrameChg>
        <pc:graphicFrameChg chg="add mod">
          <ac:chgData name="Nick Robinson" userId="d0c2b313-4ae0-4040-8c6a-fec7a720a7b5" providerId="ADAL" clId="{190131DE-6250-C84F-B491-721E6CF30BCB}" dt="2021-12-20T15:27:55.189" v="17648"/>
          <ac:graphicFrameMkLst>
            <pc:docMk/>
            <pc:sldMk cId="905701638" sldId="2147374187"/>
            <ac:graphicFrameMk id="33" creationId="{2CAEA450-E62D-E841-A267-C3518425157E}"/>
          </ac:graphicFrameMkLst>
        </pc:graphicFrameChg>
        <pc:picChg chg="add mod">
          <ac:chgData name="Nick Robinson" userId="d0c2b313-4ae0-4040-8c6a-fec7a720a7b5" providerId="ADAL" clId="{190131DE-6250-C84F-B491-721E6CF30BCB}" dt="2021-12-23T13:38:45.021" v="44085" actId="1076"/>
          <ac:picMkLst>
            <pc:docMk/>
            <pc:sldMk cId="905701638" sldId="2147374187"/>
            <ac:picMk id="29" creationId="{03D3F7FD-4189-2A4C-BC23-495824073648}"/>
          </ac:picMkLst>
        </pc:picChg>
        <pc:picChg chg="del mod">
          <ac:chgData name="Nick Robinson" userId="d0c2b313-4ae0-4040-8c6a-fec7a720a7b5" providerId="ADAL" clId="{190131DE-6250-C84F-B491-721E6CF30BCB}" dt="2021-12-20T12:07:52.003" v="17059" actId="478"/>
          <ac:picMkLst>
            <pc:docMk/>
            <pc:sldMk cId="905701638" sldId="2147374187"/>
            <ac:picMk id="30" creationId="{A69A534E-FEA8-2B46-8DEA-BD3BF9C68FD8}"/>
          </ac:picMkLst>
        </pc:picChg>
        <pc:picChg chg="add mod">
          <ac:chgData name="Nick Robinson" userId="d0c2b313-4ae0-4040-8c6a-fec7a720a7b5" providerId="ADAL" clId="{190131DE-6250-C84F-B491-721E6CF30BCB}" dt="2021-12-20T17:17:12.617" v="19989" actId="1076"/>
          <ac:picMkLst>
            <pc:docMk/>
            <pc:sldMk cId="905701638" sldId="2147374187"/>
            <ac:picMk id="34" creationId="{17A94871-D9ED-3E45-A137-A9C3A8CDFDC5}"/>
          </ac:picMkLst>
        </pc:picChg>
        <pc:picChg chg="add del mod">
          <ac:chgData name="Nick Robinson" userId="d0c2b313-4ae0-4040-8c6a-fec7a720a7b5" providerId="ADAL" clId="{190131DE-6250-C84F-B491-721E6CF30BCB}" dt="2021-12-20T17:17:19.116" v="19990" actId="478"/>
          <ac:picMkLst>
            <pc:docMk/>
            <pc:sldMk cId="905701638" sldId="2147374187"/>
            <ac:picMk id="35" creationId="{174F6B94-09CF-1A4D-8DEF-AC88951E0A6C}"/>
          </ac:picMkLst>
        </pc:picChg>
      </pc:sldChg>
      <pc:sldChg chg="addSp delSp modSp add mod">
        <pc:chgData name="Nick Robinson" userId="d0c2b313-4ae0-4040-8c6a-fec7a720a7b5" providerId="ADAL" clId="{190131DE-6250-C84F-B491-721E6CF30BCB}" dt="2021-12-23T13:38:29.175" v="44083" actId="1076"/>
        <pc:sldMkLst>
          <pc:docMk/>
          <pc:sldMk cId="40366639" sldId="2147374188"/>
        </pc:sldMkLst>
        <pc:spChg chg="mod">
          <ac:chgData name="Nick Robinson" userId="d0c2b313-4ae0-4040-8c6a-fec7a720a7b5" providerId="ADAL" clId="{190131DE-6250-C84F-B491-721E6CF30BCB}" dt="2021-12-20T17:17:50.946" v="20001" actId="14100"/>
          <ac:spMkLst>
            <pc:docMk/>
            <pc:sldMk cId="40366639" sldId="2147374188"/>
            <ac:spMk id="2" creationId="{00000000-0000-0000-0000-000000000000}"/>
          </ac:spMkLst>
        </pc:spChg>
        <pc:spChg chg="mod">
          <ac:chgData name="Nick Robinson" userId="d0c2b313-4ae0-4040-8c6a-fec7a720a7b5" providerId="ADAL" clId="{190131DE-6250-C84F-B491-721E6CF30BCB}" dt="2021-12-23T13:38:29.175" v="44083" actId="1076"/>
          <ac:spMkLst>
            <pc:docMk/>
            <pc:sldMk cId="40366639" sldId="2147374188"/>
            <ac:spMk id="12" creationId="{F19D9738-DFA2-C84F-82CF-6F85573EA287}"/>
          </ac:spMkLst>
        </pc:spChg>
        <pc:spChg chg="mod">
          <ac:chgData name="Nick Robinson" userId="d0c2b313-4ae0-4040-8c6a-fec7a720a7b5" providerId="ADAL" clId="{190131DE-6250-C84F-B491-721E6CF30BCB}" dt="2021-12-23T13:38:19.435" v="44082" actId="108"/>
          <ac:spMkLst>
            <pc:docMk/>
            <pc:sldMk cId="40366639" sldId="2147374188"/>
            <ac:spMk id="14" creationId="{187D98F4-EB5A-E04B-B1AB-3062BCA3330F}"/>
          </ac:spMkLst>
        </pc:spChg>
        <pc:spChg chg="mod">
          <ac:chgData name="Nick Robinson" userId="d0c2b313-4ae0-4040-8c6a-fec7a720a7b5" providerId="ADAL" clId="{190131DE-6250-C84F-B491-721E6CF30BCB}" dt="2021-12-23T13:38:29.175" v="44083" actId="1076"/>
          <ac:spMkLst>
            <pc:docMk/>
            <pc:sldMk cId="40366639" sldId="2147374188"/>
            <ac:spMk id="23" creationId="{CB1214F5-503D-D44D-8085-7461DE245F94}"/>
          </ac:spMkLst>
        </pc:spChg>
        <pc:spChg chg="mod">
          <ac:chgData name="Nick Robinson" userId="d0c2b313-4ae0-4040-8c6a-fec7a720a7b5" providerId="ADAL" clId="{190131DE-6250-C84F-B491-721E6CF30BCB}" dt="2021-12-23T13:38:29.175" v="44083" actId="1076"/>
          <ac:spMkLst>
            <pc:docMk/>
            <pc:sldMk cId="40366639" sldId="2147374188"/>
            <ac:spMk id="24" creationId="{BC3BF939-741A-E546-81CE-0D14DDE2E26C}"/>
          </ac:spMkLst>
        </pc:spChg>
        <pc:spChg chg="mod">
          <ac:chgData name="Nick Robinson" userId="d0c2b313-4ae0-4040-8c6a-fec7a720a7b5" providerId="ADAL" clId="{190131DE-6250-C84F-B491-721E6CF30BCB}" dt="2021-12-23T13:38:29.175" v="44083" actId="1076"/>
          <ac:spMkLst>
            <pc:docMk/>
            <pc:sldMk cId="40366639" sldId="2147374188"/>
            <ac:spMk id="26" creationId="{E25E26F4-E637-704F-B12F-70168E4D4086}"/>
          </ac:spMkLst>
        </pc:spChg>
        <pc:spChg chg="mod">
          <ac:chgData name="Nick Robinson" userId="d0c2b313-4ae0-4040-8c6a-fec7a720a7b5" providerId="ADAL" clId="{190131DE-6250-C84F-B491-721E6CF30BCB}" dt="2021-12-23T13:38:29.175" v="44083" actId="1076"/>
          <ac:spMkLst>
            <pc:docMk/>
            <pc:sldMk cId="40366639" sldId="2147374188"/>
            <ac:spMk id="27" creationId="{B9168E8A-7661-C04B-929C-33F806DED5CE}"/>
          </ac:spMkLst>
        </pc:spChg>
        <pc:spChg chg="mod">
          <ac:chgData name="Nick Robinson" userId="d0c2b313-4ae0-4040-8c6a-fec7a720a7b5" providerId="ADAL" clId="{190131DE-6250-C84F-B491-721E6CF30BCB}" dt="2021-12-23T13:38:29.175" v="44083" actId="1076"/>
          <ac:spMkLst>
            <pc:docMk/>
            <pc:sldMk cId="40366639" sldId="2147374188"/>
            <ac:spMk id="31" creationId="{23CD1CFA-944E-104D-90E5-8186CC062DF7}"/>
          </ac:spMkLst>
        </pc:spChg>
        <pc:spChg chg="mod">
          <ac:chgData name="Nick Robinson" userId="d0c2b313-4ae0-4040-8c6a-fec7a720a7b5" providerId="ADAL" clId="{190131DE-6250-C84F-B491-721E6CF30BCB}" dt="2021-12-23T13:38:29.175" v="44083" actId="1076"/>
          <ac:spMkLst>
            <pc:docMk/>
            <pc:sldMk cId="40366639" sldId="2147374188"/>
            <ac:spMk id="32" creationId="{FAF789BC-019C-B946-926D-6093AE1A3912}"/>
          </ac:spMkLst>
        </pc:spChg>
        <pc:grpChg chg="mod">
          <ac:chgData name="Nick Robinson" userId="d0c2b313-4ae0-4040-8c6a-fec7a720a7b5" providerId="ADAL" clId="{190131DE-6250-C84F-B491-721E6CF30BCB}" dt="2021-12-23T13:38:29.175" v="44083" actId="1076"/>
          <ac:grpSpMkLst>
            <pc:docMk/>
            <pc:sldMk cId="40366639" sldId="2147374188"/>
            <ac:grpSpMk id="20" creationId="{856DAFD8-FA0A-4949-9E59-48AAEE3EBE5A}"/>
          </ac:grpSpMkLst>
        </pc:grpChg>
        <pc:grpChg chg="mod">
          <ac:chgData name="Nick Robinson" userId="d0c2b313-4ae0-4040-8c6a-fec7a720a7b5" providerId="ADAL" clId="{190131DE-6250-C84F-B491-721E6CF30BCB}" dt="2021-12-23T13:38:29.175" v="44083" actId="1076"/>
          <ac:grpSpMkLst>
            <pc:docMk/>
            <pc:sldMk cId="40366639" sldId="2147374188"/>
            <ac:grpSpMk id="25" creationId="{6E749FC9-89E1-124F-A832-F939520B97F7}"/>
          </ac:grpSpMkLst>
        </pc:grpChg>
        <pc:grpChg chg="mod">
          <ac:chgData name="Nick Robinson" userId="d0c2b313-4ae0-4040-8c6a-fec7a720a7b5" providerId="ADAL" clId="{190131DE-6250-C84F-B491-721E6CF30BCB}" dt="2021-12-23T13:38:29.175" v="44083" actId="1076"/>
          <ac:grpSpMkLst>
            <pc:docMk/>
            <pc:sldMk cId="40366639" sldId="2147374188"/>
            <ac:grpSpMk id="28" creationId="{8B771798-42EE-5C4C-84A4-3B741660585C}"/>
          </ac:grpSpMkLst>
        </pc:grpChg>
        <pc:graphicFrameChg chg="del">
          <ac:chgData name="Nick Robinson" userId="d0c2b313-4ae0-4040-8c6a-fec7a720a7b5" providerId="ADAL" clId="{190131DE-6250-C84F-B491-721E6CF30BCB}" dt="2021-12-20T15:28:02.625" v="17651" actId="478"/>
          <ac:graphicFrameMkLst>
            <pc:docMk/>
            <pc:sldMk cId="40366639" sldId="2147374188"/>
            <ac:graphicFrameMk id="22" creationId="{286EE922-188A-B742-8D1A-F5683BCD10F7}"/>
          </ac:graphicFrameMkLst>
        </pc:graphicFrameChg>
        <pc:graphicFrameChg chg="add mod">
          <ac:chgData name="Nick Robinson" userId="d0c2b313-4ae0-4040-8c6a-fec7a720a7b5" providerId="ADAL" clId="{190131DE-6250-C84F-B491-721E6CF30BCB}" dt="2021-12-20T15:28:02.870" v="17652"/>
          <ac:graphicFrameMkLst>
            <pc:docMk/>
            <pc:sldMk cId="40366639" sldId="2147374188"/>
            <ac:graphicFrameMk id="33" creationId="{340EC8DA-1CEE-174D-B094-5C55A04FBAA8}"/>
          </ac:graphicFrameMkLst>
        </pc:graphicFrameChg>
        <pc:picChg chg="add mod">
          <ac:chgData name="Nick Robinson" userId="d0c2b313-4ae0-4040-8c6a-fec7a720a7b5" providerId="ADAL" clId="{190131DE-6250-C84F-B491-721E6CF30BCB}" dt="2021-12-23T13:38:29.175" v="44083" actId="1076"/>
          <ac:picMkLst>
            <pc:docMk/>
            <pc:sldMk cId="40366639" sldId="2147374188"/>
            <ac:picMk id="29" creationId="{03FDB918-8971-A046-942C-7EAEF623588A}"/>
          </ac:picMkLst>
        </pc:picChg>
        <pc:picChg chg="del">
          <ac:chgData name="Nick Robinson" userId="d0c2b313-4ae0-4040-8c6a-fec7a720a7b5" providerId="ADAL" clId="{190131DE-6250-C84F-B491-721E6CF30BCB}" dt="2021-12-20T12:19:15.617" v="17169" actId="478"/>
          <ac:picMkLst>
            <pc:docMk/>
            <pc:sldMk cId="40366639" sldId="2147374188"/>
            <ac:picMk id="30" creationId="{A69A534E-FEA8-2B46-8DEA-BD3BF9C68FD8}"/>
          </ac:picMkLst>
        </pc:picChg>
        <pc:picChg chg="add mod">
          <ac:chgData name="Nick Robinson" userId="d0c2b313-4ae0-4040-8c6a-fec7a720a7b5" providerId="ADAL" clId="{190131DE-6250-C84F-B491-721E6CF30BCB}" dt="2021-12-20T17:17:54.357" v="20002" actId="1076"/>
          <ac:picMkLst>
            <pc:docMk/>
            <pc:sldMk cId="40366639" sldId="2147374188"/>
            <ac:picMk id="34" creationId="{16FEEABD-22D8-EC4B-91E4-F877684C59E8}"/>
          </ac:picMkLst>
        </pc:picChg>
      </pc:sldChg>
      <pc:sldChg chg="addSp delSp modSp add mod">
        <pc:chgData name="Nick Robinson" userId="d0c2b313-4ae0-4040-8c6a-fec7a720a7b5" providerId="ADAL" clId="{190131DE-6250-C84F-B491-721E6CF30BCB}" dt="2021-12-23T13:38:10.554" v="44081" actId="1076"/>
        <pc:sldMkLst>
          <pc:docMk/>
          <pc:sldMk cId="1292775651" sldId="2147374189"/>
        </pc:sldMkLst>
        <pc:spChg chg="mod">
          <ac:chgData name="Nick Robinson" userId="d0c2b313-4ae0-4040-8c6a-fec7a720a7b5" providerId="ADAL" clId="{190131DE-6250-C84F-B491-721E6CF30BCB}" dt="2021-12-20T17:18:24.170" v="20008" actId="14100"/>
          <ac:spMkLst>
            <pc:docMk/>
            <pc:sldMk cId="1292775651" sldId="2147374189"/>
            <ac:spMk id="2" creationId="{00000000-0000-0000-0000-000000000000}"/>
          </ac:spMkLst>
        </pc:spChg>
        <pc:spChg chg="mod">
          <ac:chgData name="Nick Robinson" userId="d0c2b313-4ae0-4040-8c6a-fec7a720a7b5" providerId="ADAL" clId="{190131DE-6250-C84F-B491-721E6CF30BCB}" dt="2021-12-23T13:38:10.554" v="44081" actId="1076"/>
          <ac:spMkLst>
            <pc:docMk/>
            <pc:sldMk cId="1292775651" sldId="2147374189"/>
            <ac:spMk id="12" creationId="{F19D9738-DFA2-C84F-82CF-6F85573EA287}"/>
          </ac:spMkLst>
        </pc:spChg>
        <pc:spChg chg="mod">
          <ac:chgData name="Nick Robinson" userId="d0c2b313-4ae0-4040-8c6a-fec7a720a7b5" providerId="ADAL" clId="{190131DE-6250-C84F-B491-721E6CF30BCB}" dt="2021-12-23T13:37:57.658" v="44080" actId="242"/>
          <ac:spMkLst>
            <pc:docMk/>
            <pc:sldMk cId="1292775651" sldId="2147374189"/>
            <ac:spMk id="14" creationId="{187D98F4-EB5A-E04B-B1AB-3062BCA3330F}"/>
          </ac:spMkLst>
        </pc:spChg>
        <pc:spChg chg="mod">
          <ac:chgData name="Nick Robinson" userId="d0c2b313-4ae0-4040-8c6a-fec7a720a7b5" providerId="ADAL" clId="{190131DE-6250-C84F-B491-721E6CF30BCB}" dt="2021-12-23T13:38:10.554" v="44081" actId="1076"/>
          <ac:spMkLst>
            <pc:docMk/>
            <pc:sldMk cId="1292775651" sldId="2147374189"/>
            <ac:spMk id="23" creationId="{CB1214F5-503D-D44D-8085-7461DE245F94}"/>
          </ac:spMkLst>
        </pc:spChg>
        <pc:spChg chg="mod">
          <ac:chgData name="Nick Robinson" userId="d0c2b313-4ae0-4040-8c6a-fec7a720a7b5" providerId="ADAL" clId="{190131DE-6250-C84F-B491-721E6CF30BCB}" dt="2021-12-23T13:38:10.554" v="44081" actId="1076"/>
          <ac:spMkLst>
            <pc:docMk/>
            <pc:sldMk cId="1292775651" sldId="2147374189"/>
            <ac:spMk id="24" creationId="{BC3BF939-741A-E546-81CE-0D14DDE2E26C}"/>
          </ac:spMkLst>
        </pc:spChg>
        <pc:spChg chg="mod">
          <ac:chgData name="Nick Robinson" userId="d0c2b313-4ae0-4040-8c6a-fec7a720a7b5" providerId="ADAL" clId="{190131DE-6250-C84F-B491-721E6CF30BCB}" dt="2021-12-23T13:38:10.554" v="44081" actId="1076"/>
          <ac:spMkLst>
            <pc:docMk/>
            <pc:sldMk cId="1292775651" sldId="2147374189"/>
            <ac:spMk id="26" creationId="{E25E26F4-E637-704F-B12F-70168E4D4086}"/>
          </ac:spMkLst>
        </pc:spChg>
        <pc:spChg chg="mod">
          <ac:chgData name="Nick Robinson" userId="d0c2b313-4ae0-4040-8c6a-fec7a720a7b5" providerId="ADAL" clId="{190131DE-6250-C84F-B491-721E6CF30BCB}" dt="2021-12-23T13:38:10.554" v="44081" actId="1076"/>
          <ac:spMkLst>
            <pc:docMk/>
            <pc:sldMk cId="1292775651" sldId="2147374189"/>
            <ac:spMk id="27" creationId="{B9168E8A-7661-C04B-929C-33F806DED5CE}"/>
          </ac:spMkLst>
        </pc:spChg>
        <pc:spChg chg="mod">
          <ac:chgData name="Nick Robinson" userId="d0c2b313-4ae0-4040-8c6a-fec7a720a7b5" providerId="ADAL" clId="{190131DE-6250-C84F-B491-721E6CF30BCB}" dt="2021-12-23T13:38:10.554" v="44081" actId="1076"/>
          <ac:spMkLst>
            <pc:docMk/>
            <pc:sldMk cId="1292775651" sldId="2147374189"/>
            <ac:spMk id="31" creationId="{23CD1CFA-944E-104D-90E5-8186CC062DF7}"/>
          </ac:spMkLst>
        </pc:spChg>
        <pc:spChg chg="mod">
          <ac:chgData name="Nick Robinson" userId="d0c2b313-4ae0-4040-8c6a-fec7a720a7b5" providerId="ADAL" clId="{190131DE-6250-C84F-B491-721E6CF30BCB}" dt="2021-12-23T13:38:10.554" v="44081" actId="1076"/>
          <ac:spMkLst>
            <pc:docMk/>
            <pc:sldMk cId="1292775651" sldId="2147374189"/>
            <ac:spMk id="32" creationId="{FAF789BC-019C-B946-926D-6093AE1A3912}"/>
          </ac:spMkLst>
        </pc:spChg>
        <pc:grpChg chg="mod">
          <ac:chgData name="Nick Robinson" userId="d0c2b313-4ae0-4040-8c6a-fec7a720a7b5" providerId="ADAL" clId="{190131DE-6250-C84F-B491-721E6CF30BCB}" dt="2021-12-23T13:38:10.554" v="44081" actId="1076"/>
          <ac:grpSpMkLst>
            <pc:docMk/>
            <pc:sldMk cId="1292775651" sldId="2147374189"/>
            <ac:grpSpMk id="20" creationId="{856DAFD8-FA0A-4949-9E59-48AAEE3EBE5A}"/>
          </ac:grpSpMkLst>
        </pc:grpChg>
        <pc:grpChg chg="mod">
          <ac:chgData name="Nick Robinson" userId="d0c2b313-4ae0-4040-8c6a-fec7a720a7b5" providerId="ADAL" clId="{190131DE-6250-C84F-B491-721E6CF30BCB}" dt="2021-12-23T13:38:10.554" v="44081" actId="1076"/>
          <ac:grpSpMkLst>
            <pc:docMk/>
            <pc:sldMk cId="1292775651" sldId="2147374189"/>
            <ac:grpSpMk id="25" creationId="{6E749FC9-89E1-124F-A832-F939520B97F7}"/>
          </ac:grpSpMkLst>
        </pc:grpChg>
        <pc:grpChg chg="mod">
          <ac:chgData name="Nick Robinson" userId="d0c2b313-4ae0-4040-8c6a-fec7a720a7b5" providerId="ADAL" clId="{190131DE-6250-C84F-B491-721E6CF30BCB}" dt="2021-12-23T13:38:10.554" v="44081" actId="1076"/>
          <ac:grpSpMkLst>
            <pc:docMk/>
            <pc:sldMk cId="1292775651" sldId="2147374189"/>
            <ac:grpSpMk id="28" creationId="{8B771798-42EE-5C4C-84A4-3B741660585C}"/>
          </ac:grpSpMkLst>
        </pc:grpChg>
        <pc:graphicFrameChg chg="del">
          <ac:chgData name="Nick Robinson" userId="d0c2b313-4ae0-4040-8c6a-fec7a720a7b5" providerId="ADAL" clId="{190131DE-6250-C84F-B491-721E6CF30BCB}" dt="2021-12-20T15:28:09.725" v="17655" actId="478"/>
          <ac:graphicFrameMkLst>
            <pc:docMk/>
            <pc:sldMk cId="1292775651" sldId="2147374189"/>
            <ac:graphicFrameMk id="22" creationId="{286EE922-188A-B742-8D1A-F5683BCD10F7}"/>
          </ac:graphicFrameMkLst>
        </pc:graphicFrameChg>
        <pc:graphicFrameChg chg="add mod">
          <ac:chgData name="Nick Robinson" userId="d0c2b313-4ae0-4040-8c6a-fec7a720a7b5" providerId="ADAL" clId="{190131DE-6250-C84F-B491-721E6CF30BCB}" dt="2021-12-20T15:28:09.964" v="17656"/>
          <ac:graphicFrameMkLst>
            <pc:docMk/>
            <pc:sldMk cId="1292775651" sldId="2147374189"/>
            <ac:graphicFrameMk id="33" creationId="{ABBF6F65-97DE-1048-A910-A5A3DAA6D906}"/>
          </ac:graphicFrameMkLst>
        </pc:graphicFrameChg>
        <pc:picChg chg="add mod">
          <ac:chgData name="Nick Robinson" userId="d0c2b313-4ae0-4040-8c6a-fec7a720a7b5" providerId="ADAL" clId="{190131DE-6250-C84F-B491-721E6CF30BCB}" dt="2021-12-23T13:38:10.554" v="44081" actId="1076"/>
          <ac:picMkLst>
            <pc:docMk/>
            <pc:sldMk cId="1292775651" sldId="2147374189"/>
            <ac:picMk id="29" creationId="{8331FEE8-377D-EE4F-A697-1520E3AA31DC}"/>
          </ac:picMkLst>
        </pc:picChg>
        <pc:picChg chg="del">
          <ac:chgData name="Nick Robinson" userId="d0c2b313-4ae0-4040-8c6a-fec7a720a7b5" providerId="ADAL" clId="{190131DE-6250-C84F-B491-721E6CF30BCB}" dt="2021-12-20T12:24:27.476" v="17299" actId="478"/>
          <ac:picMkLst>
            <pc:docMk/>
            <pc:sldMk cId="1292775651" sldId="2147374189"/>
            <ac:picMk id="30" creationId="{A69A534E-FEA8-2B46-8DEA-BD3BF9C68FD8}"/>
          </ac:picMkLst>
        </pc:picChg>
        <pc:picChg chg="add mod">
          <ac:chgData name="Nick Robinson" userId="d0c2b313-4ae0-4040-8c6a-fec7a720a7b5" providerId="ADAL" clId="{190131DE-6250-C84F-B491-721E6CF30BCB}" dt="2021-12-20T17:18:18.905" v="20007" actId="1076"/>
          <ac:picMkLst>
            <pc:docMk/>
            <pc:sldMk cId="1292775651" sldId="2147374189"/>
            <ac:picMk id="34" creationId="{9FCBB765-C13A-BE4A-BC47-C03EA623A356}"/>
          </ac:picMkLst>
        </pc:picChg>
      </pc:sldChg>
      <pc:sldChg chg="modSp del mod">
        <pc:chgData name="Nick Robinson" userId="d0c2b313-4ae0-4040-8c6a-fec7a720a7b5" providerId="ADAL" clId="{190131DE-6250-C84F-B491-721E6CF30BCB}" dt="2021-12-20T14:59:41.487" v="17503" actId="2696"/>
        <pc:sldMkLst>
          <pc:docMk/>
          <pc:sldMk cId="860910270" sldId="2147374190"/>
        </pc:sldMkLst>
        <pc:graphicFrameChg chg="mod modGraphic">
          <ac:chgData name="Nick Robinson" userId="d0c2b313-4ae0-4040-8c6a-fec7a720a7b5" providerId="ADAL" clId="{190131DE-6250-C84F-B491-721E6CF30BCB}" dt="2021-12-20T14:53:51.299" v="17437"/>
          <ac:graphicFrameMkLst>
            <pc:docMk/>
            <pc:sldMk cId="860910270" sldId="2147374190"/>
            <ac:graphicFrameMk id="5" creationId="{1F73E11B-085A-AD47-B820-F62CD6BB7304}"/>
          </ac:graphicFrameMkLst>
        </pc:graphicFrameChg>
      </pc:sldChg>
      <pc:sldChg chg="addSp delSp modSp mod">
        <pc:chgData name="Nick Robinson" userId="d0c2b313-4ae0-4040-8c6a-fec7a720a7b5" providerId="ADAL" clId="{190131DE-6250-C84F-B491-721E6CF30BCB}" dt="2021-12-23T14:01:24.858" v="44433" actId="14734"/>
        <pc:sldMkLst>
          <pc:docMk/>
          <pc:sldMk cId="2139833760" sldId="2147374197"/>
        </pc:sldMkLst>
        <pc:spChg chg="mod">
          <ac:chgData name="Nick Robinson" userId="d0c2b313-4ae0-4040-8c6a-fec7a720a7b5" providerId="ADAL" clId="{190131DE-6250-C84F-B491-721E6CF30BCB}" dt="2021-12-20T17:14:10.616" v="19966" actId="14100"/>
          <ac:spMkLst>
            <pc:docMk/>
            <pc:sldMk cId="2139833760" sldId="2147374197"/>
            <ac:spMk id="2" creationId="{00000000-0000-0000-0000-000000000000}"/>
          </ac:spMkLst>
        </pc:spChg>
        <pc:spChg chg="del mod">
          <ac:chgData name="Nick Robinson" userId="d0c2b313-4ae0-4040-8c6a-fec7a720a7b5" providerId="ADAL" clId="{190131DE-6250-C84F-B491-721E6CF30BCB}" dt="2021-12-23T13:49:48.850" v="44286" actId="478"/>
          <ac:spMkLst>
            <pc:docMk/>
            <pc:sldMk cId="2139833760" sldId="2147374197"/>
            <ac:spMk id="7" creationId="{FD420467-EF1E-C24E-B16A-0060A2106A3D}"/>
          </ac:spMkLst>
        </pc:spChg>
        <pc:spChg chg="del mod">
          <ac:chgData name="Nick Robinson" userId="d0c2b313-4ae0-4040-8c6a-fec7a720a7b5" providerId="ADAL" clId="{190131DE-6250-C84F-B491-721E6CF30BCB}" dt="2021-12-23T13:49:48.850" v="44286" actId="478"/>
          <ac:spMkLst>
            <pc:docMk/>
            <pc:sldMk cId="2139833760" sldId="2147374197"/>
            <ac:spMk id="9" creationId="{778DA2FB-125A-D048-AF48-7846E57B4D5A}"/>
          </ac:spMkLst>
        </pc:spChg>
        <pc:spChg chg="add mod">
          <ac:chgData name="Nick Robinson" userId="d0c2b313-4ae0-4040-8c6a-fec7a720a7b5" providerId="ADAL" clId="{190131DE-6250-C84F-B491-721E6CF30BCB}" dt="2021-12-23T13:50:01.327" v="44297" actId="1076"/>
          <ac:spMkLst>
            <pc:docMk/>
            <pc:sldMk cId="2139833760" sldId="2147374197"/>
            <ac:spMk id="13" creationId="{BF93B9CC-5C6F-FC43-B596-98B44B531E72}"/>
          </ac:spMkLst>
        </pc:spChg>
        <pc:spChg chg="add mod">
          <ac:chgData name="Nick Robinson" userId="d0c2b313-4ae0-4040-8c6a-fec7a720a7b5" providerId="ADAL" clId="{190131DE-6250-C84F-B491-721E6CF30BCB}" dt="2021-12-23T13:49:53.857" v="44294" actId="1038"/>
          <ac:spMkLst>
            <pc:docMk/>
            <pc:sldMk cId="2139833760" sldId="2147374197"/>
            <ac:spMk id="14" creationId="{9AA245E1-D8F4-F74F-8CCE-0876A8A3A534}"/>
          </ac:spMkLst>
        </pc:spChg>
        <pc:graphicFrameChg chg="mod modGraphic">
          <ac:chgData name="Nick Robinson" userId="d0c2b313-4ae0-4040-8c6a-fec7a720a7b5" providerId="ADAL" clId="{190131DE-6250-C84F-B491-721E6CF30BCB}" dt="2021-12-23T14:01:24.858" v="44433" actId="14734"/>
          <ac:graphicFrameMkLst>
            <pc:docMk/>
            <pc:sldMk cId="2139833760" sldId="2147374197"/>
            <ac:graphicFrameMk id="5" creationId="{1F73E11B-085A-AD47-B820-F62CD6BB7304}"/>
          </ac:graphicFrameMkLst>
        </pc:graphicFrameChg>
        <pc:graphicFrameChg chg="add del mod">
          <ac:chgData name="Nick Robinson" userId="d0c2b313-4ae0-4040-8c6a-fec7a720a7b5" providerId="ADAL" clId="{190131DE-6250-C84F-B491-721E6CF30BCB}" dt="2021-12-20T15:27:34.580" v="17637" actId="478"/>
          <ac:graphicFrameMkLst>
            <pc:docMk/>
            <pc:sldMk cId="2139833760" sldId="2147374197"/>
            <ac:graphicFrameMk id="10" creationId="{1FF19670-0039-564A-AB09-9BEAEDDA698E}"/>
          </ac:graphicFrameMkLst>
        </pc:graphicFrameChg>
        <pc:graphicFrameChg chg="add mod">
          <ac:chgData name="Nick Robinson" userId="d0c2b313-4ae0-4040-8c6a-fec7a720a7b5" providerId="ADAL" clId="{190131DE-6250-C84F-B491-721E6CF30BCB}" dt="2021-12-20T15:27:34.912" v="17638"/>
          <ac:graphicFrameMkLst>
            <pc:docMk/>
            <pc:sldMk cId="2139833760" sldId="2147374197"/>
            <ac:graphicFrameMk id="11" creationId="{B472815F-B0D9-7648-A4F5-4A38010E915C}"/>
          </ac:graphicFrameMkLst>
        </pc:graphicFrameChg>
        <pc:picChg chg="add mod">
          <ac:chgData name="Nick Robinson" userId="d0c2b313-4ae0-4040-8c6a-fec7a720a7b5" providerId="ADAL" clId="{190131DE-6250-C84F-B491-721E6CF30BCB}" dt="2021-12-20T17:13:41.343" v="19960"/>
          <ac:picMkLst>
            <pc:docMk/>
            <pc:sldMk cId="2139833760" sldId="2147374197"/>
            <ac:picMk id="12" creationId="{92389303-FF4E-FB4C-8D81-0FE9317FB2BD}"/>
          </ac:picMkLst>
        </pc:picChg>
      </pc:sldChg>
      <pc:sldChg chg="addSp delSp modSp mod">
        <pc:chgData name="Nick Robinson" userId="d0c2b313-4ae0-4040-8c6a-fec7a720a7b5" providerId="ADAL" clId="{190131DE-6250-C84F-B491-721E6CF30BCB}" dt="2021-12-23T14:04:35.553" v="44545"/>
        <pc:sldMkLst>
          <pc:docMk/>
          <pc:sldMk cId="184366594" sldId="2147374203"/>
        </pc:sldMkLst>
        <pc:spChg chg="mod">
          <ac:chgData name="Nick Robinson" userId="d0c2b313-4ae0-4040-8c6a-fec7a720a7b5" providerId="ADAL" clId="{190131DE-6250-C84F-B491-721E6CF30BCB}" dt="2021-12-20T17:14:47.025" v="19972" actId="14100"/>
          <ac:spMkLst>
            <pc:docMk/>
            <pc:sldMk cId="184366594" sldId="2147374203"/>
            <ac:spMk id="2" creationId="{00000000-0000-0000-0000-000000000000}"/>
          </ac:spMkLst>
        </pc:spChg>
        <pc:spChg chg="del">
          <ac:chgData name="Nick Robinson" userId="d0c2b313-4ae0-4040-8c6a-fec7a720a7b5" providerId="ADAL" clId="{190131DE-6250-C84F-B491-721E6CF30BCB}" dt="2021-12-23T13:50:07.697" v="44299" actId="478"/>
          <ac:spMkLst>
            <pc:docMk/>
            <pc:sldMk cId="184366594" sldId="2147374203"/>
            <ac:spMk id="7" creationId="{FD420467-EF1E-C24E-B16A-0060A2106A3D}"/>
          </ac:spMkLst>
        </pc:spChg>
        <pc:spChg chg="del">
          <ac:chgData name="Nick Robinson" userId="d0c2b313-4ae0-4040-8c6a-fec7a720a7b5" providerId="ADAL" clId="{190131DE-6250-C84F-B491-721E6CF30BCB}" dt="2021-12-23T13:50:07.697" v="44299" actId="478"/>
          <ac:spMkLst>
            <pc:docMk/>
            <pc:sldMk cId="184366594" sldId="2147374203"/>
            <ac:spMk id="9" creationId="{13A65F0B-C925-3B45-8003-CD3B3CCB62CE}"/>
          </ac:spMkLst>
        </pc:spChg>
        <pc:spChg chg="add mod">
          <ac:chgData name="Nick Robinson" userId="d0c2b313-4ae0-4040-8c6a-fec7a720a7b5" providerId="ADAL" clId="{190131DE-6250-C84F-B491-721E6CF30BCB}" dt="2021-12-23T13:50:09.066" v="44300"/>
          <ac:spMkLst>
            <pc:docMk/>
            <pc:sldMk cId="184366594" sldId="2147374203"/>
            <ac:spMk id="12" creationId="{CAC6B300-589E-0A41-B079-52E5639A24F1}"/>
          </ac:spMkLst>
        </pc:spChg>
        <pc:spChg chg="add mod">
          <ac:chgData name="Nick Robinson" userId="d0c2b313-4ae0-4040-8c6a-fec7a720a7b5" providerId="ADAL" clId="{190131DE-6250-C84F-B491-721E6CF30BCB}" dt="2021-12-23T13:50:09.066" v="44300"/>
          <ac:spMkLst>
            <pc:docMk/>
            <pc:sldMk cId="184366594" sldId="2147374203"/>
            <ac:spMk id="14" creationId="{AA334784-EE59-2848-87B5-17C8AE60CCDA}"/>
          </ac:spMkLst>
        </pc:spChg>
        <pc:graphicFrameChg chg="mod modGraphic">
          <ac:chgData name="Nick Robinson" userId="d0c2b313-4ae0-4040-8c6a-fec7a720a7b5" providerId="ADAL" clId="{190131DE-6250-C84F-B491-721E6CF30BCB}" dt="2021-12-23T14:04:35.553" v="44545"/>
          <ac:graphicFrameMkLst>
            <pc:docMk/>
            <pc:sldMk cId="184366594" sldId="2147374203"/>
            <ac:graphicFrameMk id="5" creationId="{1F73E11B-085A-AD47-B820-F62CD6BB7304}"/>
          </ac:graphicFrameMkLst>
        </pc:graphicFrameChg>
        <pc:graphicFrameChg chg="add del mod">
          <ac:chgData name="Nick Robinson" userId="d0c2b313-4ae0-4040-8c6a-fec7a720a7b5" providerId="ADAL" clId="{190131DE-6250-C84F-B491-721E6CF30BCB}" dt="2021-12-20T15:27:42.282" v="17641" actId="478"/>
          <ac:graphicFrameMkLst>
            <pc:docMk/>
            <pc:sldMk cId="184366594" sldId="2147374203"/>
            <ac:graphicFrameMk id="10" creationId="{28593BFC-B96B-AF42-A5C7-A9E9A37A7966}"/>
          </ac:graphicFrameMkLst>
        </pc:graphicFrameChg>
        <pc:graphicFrameChg chg="add mod">
          <ac:chgData name="Nick Robinson" userId="d0c2b313-4ae0-4040-8c6a-fec7a720a7b5" providerId="ADAL" clId="{190131DE-6250-C84F-B491-721E6CF30BCB}" dt="2021-12-20T15:27:42.571" v="17642"/>
          <ac:graphicFrameMkLst>
            <pc:docMk/>
            <pc:sldMk cId="184366594" sldId="2147374203"/>
            <ac:graphicFrameMk id="11" creationId="{A8CA4CFD-E2FD-094D-B417-CA4C1C44A4C4}"/>
          </ac:graphicFrameMkLst>
        </pc:graphicFrameChg>
        <pc:picChg chg="add del mod">
          <ac:chgData name="Nick Robinson" userId="d0c2b313-4ae0-4040-8c6a-fec7a720a7b5" providerId="ADAL" clId="{190131DE-6250-C84F-B491-721E6CF30BCB}" dt="2021-12-20T17:15:34.916" v="19974"/>
          <ac:picMkLst>
            <pc:docMk/>
            <pc:sldMk cId="184366594" sldId="2147374203"/>
            <ac:picMk id="12" creationId="{19043060-23F7-4847-AC55-168969ED9359}"/>
          </ac:picMkLst>
        </pc:picChg>
        <pc:picChg chg="add mod">
          <ac:chgData name="Nick Robinson" userId="d0c2b313-4ae0-4040-8c6a-fec7a720a7b5" providerId="ADAL" clId="{190131DE-6250-C84F-B491-721E6CF30BCB}" dt="2021-12-20T17:15:58.313" v="19977"/>
          <ac:picMkLst>
            <pc:docMk/>
            <pc:sldMk cId="184366594" sldId="2147374203"/>
            <ac:picMk id="13" creationId="{27300D11-ED96-AE44-ABFF-91AE9EE5EF5C}"/>
          </ac:picMkLst>
        </pc:picChg>
      </pc:sldChg>
      <pc:sldChg chg="addSp delSp modSp mod">
        <pc:chgData name="Nick Robinson" userId="d0c2b313-4ae0-4040-8c6a-fec7a720a7b5" providerId="ADAL" clId="{190131DE-6250-C84F-B491-721E6CF30BCB}" dt="2021-12-23T14:04:27.888" v="44544"/>
        <pc:sldMkLst>
          <pc:docMk/>
          <pc:sldMk cId="814293231" sldId="2147374208"/>
        </pc:sldMkLst>
        <pc:spChg chg="mod">
          <ac:chgData name="Nick Robinson" userId="d0c2b313-4ae0-4040-8c6a-fec7a720a7b5" providerId="ADAL" clId="{190131DE-6250-C84F-B491-721E6CF30BCB}" dt="2021-12-20T17:16:40.966" v="19983" actId="14100"/>
          <ac:spMkLst>
            <pc:docMk/>
            <pc:sldMk cId="814293231" sldId="2147374208"/>
            <ac:spMk id="2" creationId="{00000000-0000-0000-0000-000000000000}"/>
          </ac:spMkLst>
        </pc:spChg>
        <pc:spChg chg="del">
          <ac:chgData name="Nick Robinson" userId="d0c2b313-4ae0-4040-8c6a-fec7a720a7b5" providerId="ADAL" clId="{190131DE-6250-C84F-B491-721E6CF30BCB}" dt="2021-12-23T13:50:16.897" v="44302" actId="478"/>
          <ac:spMkLst>
            <pc:docMk/>
            <pc:sldMk cId="814293231" sldId="2147374208"/>
            <ac:spMk id="7" creationId="{FD420467-EF1E-C24E-B16A-0060A2106A3D}"/>
          </ac:spMkLst>
        </pc:spChg>
        <pc:spChg chg="del">
          <ac:chgData name="Nick Robinson" userId="d0c2b313-4ae0-4040-8c6a-fec7a720a7b5" providerId="ADAL" clId="{190131DE-6250-C84F-B491-721E6CF30BCB}" dt="2021-12-23T13:50:16.897" v="44302" actId="478"/>
          <ac:spMkLst>
            <pc:docMk/>
            <pc:sldMk cId="814293231" sldId="2147374208"/>
            <ac:spMk id="9" creationId="{56CCB815-E952-2842-AA04-6B411D982F24}"/>
          </ac:spMkLst>
        </pc:spChg>
        <pc:spChg chg="add mod">
          <ac:chgData name="Nick Robinson" userId="d0c2b313-4ae0-4040-8c6a-fec7a720a7b5" providerId="ADAL" clId="{190131DE-6250-C84F-B491-721E6CF30BCB}" dt="2021-12-23T13:50:17.147" v="44303"/>
          <ac:spMkLst>
            <pc:docMk/>
            <pc:sldMk cId="814293231" sldId="2147374208"/>
            <ac:spMk id="13" creationId="{AFACEF91-18E4-7D46-888D-2BB7C3C1AC5F}"/>
          </ac:spMkLst>
        </pc:spChg>
        <pc:spChg chg="add mod">
          <ac:chgData name="Nick Robinson" userId="d0c2b313-4ae0-4040-8c6a-fec7a720a7b5" providerId="ADAL" clId="{190131DE-6250-C84F-B491-721E6CF30BCB}" dt="2021-12-23T13:50:17.147" v="44303"/>
          <ac:spMkLst>
            <pc:docMk/>
            <pc:sldMk cId="814293231" sldId="2147374208"/>
            <ac:spMk id="14" creationId="{1C93665E-EEE5-2C49-A90E-D5F3B0C6B1DC}"/>
          </ac:spMkLst>
        </pc:spChg>
        <pc:graphicFrameChg chg="mod modGraphic">
          <ac:chgData name="Nick Robinson" userId="d0c2b313-4ae0-4040-8c6a-fec7a720a7b5" providerId="ADAL" clId="{190131DE-6250-C84F-B491-721E6CF30BCB}" dt="2021-12-23T14:04:27.888" v="44544"/>
          <ac:graphicFrameMkLst>
            <pc:docMk/>
            <pc:sldMk cId="814293231" sldId="2147374208"/>
            <ac:graphicFrameMk id="5" creationId="{1F73E11B-085A-AD47-B820-F62CD6BB7304}"/>
          </ac:graphicFrameMkLst>
        </pc:graphicFrameChg>
        <pc:graphicFrameChg chg="add del mod">
          <ac:chgData name="Nick Robinson" userId="d0c2b313-4ae0-4040-8c6a-fec7a720a7b5" providerId="ADAL" clId="{190131DE-6250-C84F-B491-721E6CF30BCB}" dt="2021-12-20T15:27:51.525" v="17645" actId="478"/>
          <ac:graphicFrameMkLst>
            <pc:docMk/>
            <pc:sldMk cId="814293231" sldId="2147374208"/>
            <ac:graphicFrameMk id="10" creationId="{95C15099-A6FC-E540-B31E-D626FC5E6995}"/>
          </ac:graphicFrameMkLst>
        </pc:graphicFrameChg>
        <pc:graphicFrameChg chg="add mod">
          <ac:chgData name="Nick Robinson" userId="d0c2b313-4ae0-4040-8c6a-fec7a720a7b5" providerId="ADAL" clId="{190131DE-6250-C84F-B491-721E6CF30BCB}" dt="2021-12-20T15:27:51.880" v="17646"/>
          <ac:graphicFrameMkLst>
            <pc:docMk/>
            <pc:sldMk cId="814293231" sldId="2147374208"/>
            <ac:graphicFrameMk id="11" creationId="{71EB006F-3F33-4E44-8924-9B3BF75C4228}"/>
          </ac:graphicFrameMkLst>
        </pc:graphicFrameChg>
        <pc:picChg chg="add mod">
          <ac:chgData name="Nick Robinson" userId="d0c2b313-4ae0-4040-8c6a-fec7a720a7b5" providerId="ADAL" clId="{190131DE-6250-C84F-B491-721E6CF30BCB}" dt="2021-12-20T17:16:36.587" v="19982"/>
          <ac:picMkLst>
            <pc:docMk/>
            <pc:sldMk cId="814293231" sldId="2147374208"/>
            <ac:picMk id="12" creationId="{404445F0-D96D-624E-8DA0-588102DA333D}"/>
          </ac:picMkLst>
        </pc:picChg>
        <pc:picChg chg="add del mod">
          <ac:chgData name="Nick Robinson" userId="d0c2b313-4ae0-4040-8c6a-fec7a720a7b5" providerId="ADAL" clId="{190131DE-6250-C84F-B491-721E6CF30BCB}" dt="2021-12-20T17:16:55.466" v="19985" actId="21"/>
          <ac:picMkLst>
            <pc:docMk/>
            <pc:sldMk cId="814293231" sldId="2147374208"/>
            <ac:picMk id="13" creationId="{340F5BB0-7662-FB4C-A936-B25298DA033F}"/>
          </ac:picMkLst>
        </pc:picChg>
        <pc:picChg chg="add del mod">
          <ac:chgData name="Nick Robinson" userId="d0c2b313-4ae0-4040-8c6a-fec7a720a7b5" providerId="ADAL" clId="{190131DE-6250-C84F-B491-721E6CF30BCB}" dt="2021-12-20T17:16:55.466" v="19985" actId="21"/>
          <ac:picMkLst>
            <pc:docMk/>
            <pc:sldMk cId="814293231" sldId="2147374208"/>
            <ac:picMk id="14" creationId="{E7FA2108-CADE-354D-AD4F-5A8302B22004}"/>
          </ac:picMkLst>
        </pc:picChg>
      </pc:sldChg>
      <pc:sldChg chg="addSp delSp modSp mod">
        <pc:chgData name="Nick Robinson" userId="d0c2b313-4ae0-4040-8c6a-fec7a720a7b5" providerId="ADAL" clId="{190131DE-6250-C84F-B491-721E6CF30BCB}" dt="2021-12-23T14:04:17.226" v="44541"/>
        <pc:sldMkLst>
          <pc:docMk/>
          <pc:sldMk cId="4058638082" sldId="2147374209"/>
        </pc:sldMkLst>
        <pc:spChg chg="mod">
          <ac:chgData name="Nick Robinson" userId="d0c2b313-4ae0-4040-8c6a-fec7a720a7b5" providerId="ADAL" clId="{190131DE-6250-C84F-B491-721E6CF30BCB}" dt="2021-12-20T17:17:29.817" v="19993" actId="14100"/>
          <ac:spMkLst>
            <pc:docMk/>
            <pc:sldMk cId="4058638082" sldId="2147374209"/>
            <ac:spMk id="2" creationId="{00000000-0000-0000-0000-000000000000}"/>
          </ac:spMkLst>
        </pc:spChg>
        <pc:spChg chg="del">
          <ac:chgData name="Nick Robinson" userId="d0c2b313-4ae0-4040-8c6a-fec7a720a7b5" providerId="ADAL" clId="{190131DE-6250-C84F-B491-721E6CF30BCB}" dt="2021-12-23T13:50:31.151" v="44306" actId="478"/>
          <ac:spMkLst>
            <pc:docMk/>
            <pc:sldMk cId="4058638082" sldId="2147374209"/>
            <ac:spMk id="7" creationId="{FD420467-EF1E-C24E-B16A-0060A2106A3D}"/>
          </ac:spMkLst>
        </pc:spChg>
        <pc:spChg chg="del">
          <ac:chgData name="Nick Robinson" userId="d0c2b313-4ae0-4040-8c6a-fec7a720a7b5" providerId="ADAL" clId="{190131DE-6250-C84F-B491-721E6CF30BCB}" dt="2021-12-23T13:50:31.151" v="44306" actId="478"/>
          <ac:spMkLst>
            <pc:docMk/>
            <pc:sldMk cId="4058638082" sldId="2147374209"/>
            <ac:spMk id="9" creationId="{0920EF85-AD54-FB41-A3E8-8391EF897E97}"/>
          </ac:spMkLst>
        </pc:spChg>
        <pc:spChg chg="add mod">
          <ac:chgData name="Nick Robinson" userId="d0c2b313-4ae0-4040-8c6a-fec7a720a7b5" providerId="ADAL" clId="{190131DE-6250-C84F-B491-721E6CF30BCB}" dt="2021-12-23T13:50:32.035" v="44307"/>
          <ac:spMkLst>
            <pc:docMk/>
            <pc:sldMk cId="4058638082" sldId="2147374209"/>
            <ac:spMk id="13" creationId="{004CB4A5-2935-2B45-BCF7-9D2DCA856830}"/>
          </ac:spMkLst>
        </pc:spChg>
        <pc:spChg chg="add mod">
          <ac:chgData name="Nick Robinson" userId="d0c2b313-4ae0-4040-8c6a-fec7a720a7b5" providerId="ADAL" clId="{190131DE-6250-C84F-B491-721E6CF30BCB}" dt="2021-12-23T13:50:32.035" v="44307"/>
          <ac:spMkLst>
            <pc:docMk/>
            <pc:sldMk cId="4058638082" sldId="2147374209"/>
            <ac:spMk id="14" creationId="{84181E8C-1286-F242-A75A-862975276B5D}"/>
          </ac:spMkLst>
        </pc:spChg>
        <pc:graphicFrameChg chg="mod modGraphic">
          <ac:chgData name="Nick Robinson" userId="d0c2b313-4ae0-4040-8c6a-fec7a720a7b5" providerId="ADAL" clId="{190131DE-6250-C84F-B491-721E6CF30BCB}" dt="2021-12-23T14:04:17.226" v="44541"/>
          <ac:graphicFrameMkLst>
            <pc:docMk/>
            <pc:sldMk cId="4058638082" sldId="2147374209"/>
            <ac:graphicFrameMk id="5" creationId="{1F73E11B-085A-AD47-B820-F62CD6BB7304}"/>
          </ac:graphicFrameMkLst>
        </pc:graphicFrameChg>
        <pc:graphicFrameChg chg="add del mod">
          <ac:chgData name="Nick Robinson" userId="d0c2b313-4ae0-4040-8c6a-fec7a720a7b5" providerId="ADAL" clId="{190131DE-6250-C84F-B491-721E6CF30BCB}" dt="2021-12-20T15:27:58.490" v="17649" actId="478"/>
          <ac:graphicFrameMkLst>
            <pc:docMk/>
            <pc:sldMk cId="4058638082" sldId="2147374209"/>
            <ac:graphicFrameMk id="10" creationId="{F12FA79E-400E-F949-8EA5-75EC0C4DACFE}"/>
          </ac:graphicFrameMkLst>
        </pc:graphicFrameChg>
        <pc:graphicFrameChg chg="add mod">
          <ac:chgData name="Nick Robinson" userId="d0c2b313-4ae0-4040-8c6a-fec7a720a7b5" providerId="ADAL" clId="{190131DE-6250-C84F-B491-721E6CF30BCB}" dt="2021-12-20T15:27:58.769" v="17650"/>
          <ac:graphicFrameMkLst>
            <pc:docMk/>
            <pc:sldMk cId="4058638082" sldId="2147374209"/>
            <ac:graphicFrameMk id="11" creationId="{00BD52CC-2655-B643-82B3-7C2F2DFA4908}"/>
          </ac:graphicFrameMkLst>
        </pc:graphicFrameChg>
        <pc:picChg chg="add mod">
          <ac:chgData name="Nick Robinson" userId="d0c2b313-4ae0-4040-8c6a-fec7a720a7b5" providerId="ADAL" clId="{190131DE-6250-C84F-B491-721E6CF30BCB}" dt="2021-12-20T17:17:21.700" v="19991"/>
          <ac:picMkLst>
            <pc:docMk/>
            <pc:sldMk cId="4058638082" sldId="2147374209"/>
            <ac:picMk id="12" creationId="{F8FAAAAD-95FF-EB4A-B116-9410EC646A12}"/>
          </ac:picMkLst>
        </pc:picChg>
        <pc:picChg chg="add del mod">
          <ac:chgData name="Nick Robinson" userId="d0c2b313-4ae0-4040-8c6a-fec7a720a7b5" providerId="ADAL" clId="{190131DE-6250-C84F-B491-721E6CF30BCB}" dt="2021-12-20T17:17:33.116" v="19994" actId="21"/>
          <ac:picMkLst>
            <pc:docMk/>
            <pc:sldMk cId="4058638082" sldId="2147374209"/>
            <ac:picMk id="13" creationId="{D5CE39D6-ABAD-224D-947B-7FB2E5602EB1}"/>
          </ac:picMkLst>
        </pc:picChg>
      </pc:sldChg>
      <pc:sldChg chg="addSp delSp modSp mod">
        <pc:chgData name="Nick Robinson" userId="d0c2b313-4ae0-4040-8c6a-fec7a720a7b5" providerId="ADAL" clId="{190131DE-6250-C84F-B491-721E6CF30BCB}" dt="2021-12-23T14:04:12.959" v="44540"/>
        <pc:sldMkLst>
          <pc:docMk/>
          <pc:sldMk cId="3810866587" sldId="2147374212"/>
        </pc:sldMkLst>
        <pc:spChg chg="mod">
          <ac:chgData name="Nick Robinson" userId="d0c2b313-4ae0-4040-8c6a-fec7a720a7b5" providerId="ADAL" clId="{190131DE-6250-C84F-B491-721E6CF30BCB}" dt="2021-12-20T17:18:05.303" v="20005" actId="14100"/>
          <ac:spMkLst>
            <pc:docMk/>
            <pc:sldMk cId="3810866587" sldId="2147374212"/>
            <ac:spMk id="2" creationId="{00000000-0000-0000-0000-000000000000}"/>
          </ac:spMkLst>
        </pc:spChg>
        <pc:spChg chg="del">
          <ac:chgData name="Nick Robinson" userId="d0c2b313-4ae0-4040-8c6a-fec7a720a7b5" providerId="ADAL" clId="{190131DE-6250-C84F-B491-721E6CF30BCB}" dt="2021-12-23T13:50:53.273" v="44311" actId="478"/>
          <ac:spMkLst>
            <pc:docMk/>
            <pc:sldMk cId="3810866587" sldId="2147374212"/>
            <ac:spMk id="7" creationId="{FD420467-EF1E-C24E-B16A-0060A2106A3D}"/>
          </ac:spMkLst>
        </pc:spChg>
        <pc:spChg chg="del">
          <ac:chgData name="Nick Robinson" userId="d0c2b313-4ae0-4040-8c6a-fec7a720a7b5" providerId="ADAL" clId="{190131DE-6250-C84F-B491-721E6CF30BCB}" dt="2021-12-23T13:50:53.273" v="44311" actId="478"/>
          <ac:spMkLst>
            <pc:docMk/>
            <pc:sldMk cId="3810866587" sldId="2147374212"/>
            <ac:spMk id="9" creationId="{7338BDE4-1F6F-484B-B4FF-0C6574505359}"/>
          </ac:spMkLst>
        </pc:spChg>
        <pc:spChg chg="add mod">
          <ac:chgData name="Nick Robinson" userId="d0c2b313-4ae0-4040-8c6a-fec7a720a7b5" providerId="ADAL" clId="{190131DE-6250-C84F-B491-721E6CF30BCB}" dt="2021-12-23T13:50:53.594" v="44312"/>
          <ac:spMkLst>
            <pc:docMk/>
            <pc:sldMk cId="3810866587" sldId="2147374212"/>
            <ac:spMk id="13" creationId="{DD55208A-2A86-A242-B446-302F08FCEE7C}"/>
          </ac:spMkLst>
        </pc:spChg>
        <pc:spChg chg="add mod">
          <ac:chgData name="Nick Robinson" userId="d0c2b313-4ae0-4040-8c6a-fec7a720a7b5" providerId="ADAL" clId="{190131DE-6250-C84F-B491-721E6CF30BCB}" dt="2021-12-23T13:50:53.594" v="44312"/>
          <ac:spMkLst>
            <pc:docMk/>
            <pc:sldMk cId="3810866587" sldId="2147374212"/>
            <ac:spMk id="14" creationId="{0B9134BD-40D8-6E4D-811A-FE108E110ECE}"/>
          </ac:spMkLst>
        </pc:spChg>
        <pc:graphicFrameChg chg="mod modGraphic">
          <ac:chgData name="Nick Robinson" userId="d0c2b313-4ae0-4040-8c6a-fec7a720a7b5" providerId="ADAL" clId="{190131DE-6250-C84F-B491-721E6CF30BCB}" dt="2021-12-23T14:04:12.959" v="44540"/>
          <ac:graphicFrameMkLst>
            <pc:docMk/>
            <pc:sldMk cId="3810866587" sldId="2147374212"/>
            <ac:graphicFrameMk id="5" creationId="{1F73E11B-085A-AD47-B820-F62CD6BB7304}"/>
          </ac:graphicFrameMkLst>
        </pc:graphicFrameChg>
        <pc:graphicFrameChg chg="add del mod">
          <ac:chgData name="Nick Robinson" userId="d0c2b313-4ae0-4040-8c6a-fec7a720a7b5" providerId="ADAL" clId="{190131DE-6250-C84F-B491-721E6CF30BCB}" dt="2021-12-20T15:28:05.979" v="17653" actId="478"/>
          <ac:graphicFrameMkLst>
            <pc:docMk/>
            <pc:sldMk cId="3810866587" sldId="2147374212"/>
            <ac:graphicFrameMk id="10" creationId="{592FC552-0E0D-5F47-9A95-5FC1B936F753}"/>
          </ac:graphicFrameMkLst>
        </pc:graphicFrameChg>
        <pc:graphicFrameChg chg="add mod">
          <ac:chgData name="Nick Robinson" userId="d0c2b313-4ae0-4040-8c6a-fec7a720a7b5" providerId="ADAL" clId="{190131DE-6250-C84F-B491-721E6CF30BCB}" dt="2021-12-20T15:28:06.249" v="17654"/>
          <ac:graphicFrameMkLst>
            <pc:docMk/>
            <pc:sldMk cId="3810866587" sldId="2147374212"/>
            <ac:graphicFrameMk id="11" creationId="{9C087DE1-578F-684E-A0AD-C9E00305F5C2}"/>
          </ac:graphicFrameMkLst>
        </pc:graphicFrameChg>
        <pc:picChg chg="add mod">
          <ac:chgData name="Nick Robinson" userId="d0c2b313-4ae0-4040-8c6a-fec7a720a7b5" providerId="ADAL" clId="{190131DE-6250-C84F-B491-721E6CF30BCB}" dt="2021-12-20T17:17:57.908" v="20003"/>
          <ac:picMkLst>
            <pc:docMk/>
            <pc:sldMk cId="3810866587" sldId="2147374212"/>
            <ac:picMk id="12" creationId="{256B76CA-8D45-F54E-9922-0667D452FACD}"/>
          </ac:picMkLst>
        </pc:picChg>
      </pc:sldChg>
      <pc:sldChg chg="addSp delSp modSp mod">
        <pc:chgData name="Nick Robinson" userId="d0c2b313-4ae0-4040-8c6a-fec7a720a7b5" providerId="ADAL" clId="{190131DE-6250-C84F-B491-721E6CF30BCB}" dt="2021-12-23T14:04:07.111" v="44539"/>
        <pc:sldMkLst>
          <pc:docMk/>
          <pc:sldMk cId="901545591" sldId="2147374213"/>
        </pc:sldMkLst>
        <pc:spChg chg="mod">
          <ac:chgData name="Nick Robinson" userId="d0c2b313-4ae0-4040-8c6a-fec7a720a7b5" providerId="ADAL" clId="{190131DE-6250-C84F-B491-721E6CF30BCB}" dt="2021-12-20T17:07:37.516" v="19896" actId="14100"/>
          <ac:spMkLst>
            <pc:docMk/>
            <pc:sldMk cId="901545591" sldId="2147374213"/>
            <ac:spMk id="2" creationId="{00000000-0000-0000-0000-000000000000}"/>
          </ac:spMkLst>
        </pc:spChg>
        <pc:spChg chg="del">
          <ac:chgData name="Nick Robinson" userId="d0c2b313-4ae0-4040-8c6a-fec7a720a7b5" providerId="ADAL" clId="{190131DE-6250-C84F-B491-721E6CF30BCB}" dt="2021-12-23T13:51:03.447" v="44315" actId="478"/>
          <ac:spMkLst>
            <pc:docMk/>
            <pc:sldMk cId="901545591" sldId="2147374213"/>
            <ac:spMk id="7" creationId="{FD420467-EF1E-C24E-B16A-0060A2106A3D}"/>
          </ac:spMkLst>
        </pc:spChg>
        <pc:spChg chg="del">
          <ac:chgData name="Nick Robinson" userId="d0c2b313-4ae0-4040-8c6a-fec7a720a7b5" providerId="ADAL" clId="{190131DE-6250-C84F-B491-721E6CF30BCB}" dt="2021-12-23T13:51:03.447" v="44315" actId="478"/>
          <ac:spMkLst>
            <pc:docMk/>
            <pc:sldMk cId="901545591" sldId="2147374213"/>
            <ac:spMk id="9" creationId="{E5025A8A-8DB0-DA4E-85D6-BBF5F34CF7A8}"/>
          </ac:spMkLst>
        </pc:spChg>
        <pc:spChg chg="add mod">
          <ac:chgData name="Nick Robinson" userId="d0c2b313-4ae0-4040-8c6a-fec7a720a7b5" providerId="ADAL" clId="{190131DE-6250-C84F-B491-721E6CF30BCB}" dt="2021-12-23T13:51:03.750" v="44316"/>
          <ac:spMkLst>
            <pc:docMk/>
            <pc:sldMk cId="901545591" sldId="2147374213"/>
            <ac:spMk id="12" creationId="{C1B9014A-025C-A44B-9C5C-E0D19EECF9B5}"/>
          </ac:spMkLst>
        </pc:spChg>
        <pc:spChg chg="add mod">
          <ac:chgData name="Nick Robinson" userId="d0c2b313-4ae0-4040-8c6a-fec7a720a7b5" providerId="ADAL" clId="{190131DE-6250-C84F-B491-721E6CF30BCB}" dt="2021-12-23T13:51:03.750" v="44316"/>
          <ac:spMkLst>
            <pc:docMk/>
            <pc:sldMk cId="901545591" sldId="2147374213"/>
            <ac:spMk id="14" creationId="{130FEDCA-B5D3-8448-B396-D3D67D03408A}"/>
          </ac:spMkLst>
        </pc:spChg>
        <pc:graphicFrameChg chg="mod modGraphic">
          <ac:chgData name="Nick Robinson" userId="d0c2b313-4ae0-4040-8c6a-fec7a720a7b5" providerId="ADAL" clId="{190131DE-6250-C84F-B491-721E6CF30BCB}" dt="2021-12-23T14:04:07.111" v="44539"/>
          <ac:graphicFrameMkLst>
            <pc:docMk/>
            <pc:sldMk cId="901545591" sldId="2147374213"/>
            <ac:graphicFrameMk id="5" creationId="{1F73E11B-085A-AD47-B820-F62CD6BB7304}"/>
          </ac:graphicFrameMkLst>
        </pc:graphicFrameChg>
        <pc:graphicFrameChg chg="add del mod">
          <ac:chgData name="Nick Robinson" userId="d0c2b313-4ae0-4040-8c6a-fec7a720a7b5" providerId="ADAL" clId="{190131DE-6250-C84F-B491-721E6CF30BCB}" dt="2021-12-20T15:28:12.925" v="17657" actId="478"/>
          <ac:graphicFrameMkLst>
            <pc:docMk/>
            <pc:sldMk cId="901545591" sldId="2147374213"/>
            <ac:graphicFrameMk id="10" creationId="{D3EB0D96-DD81-5844-A8AE-09BB8181148F}"/>
          </ac:graphicFrameMkLst>
        </pc:graphicFrameChg>
        <pc:graphicFrameChg chg="add mod">
          <ac:chgData name="Nick Robinson" userId="d0c2b313-4ae0-4040-8c6a-fec7a720a7b5" providerId="ADAL" clId="{190131DE-6250-C84F-B491-721E6CF30BCB}" dt="2021-12-20T15:28:13.146" v="17658"/>
          <ac:graphicFrameMkLst>
            <pc:docMk/>
            <pc:sldMk cId="901545591" sldId="2147374213"/>
            <ac:graphicFrameMk id="11" creationId="{3FD8C16F-1070-434D-9ACC-08484209CB16}"/>
          </ac:graphicFrameMkLst>
        </pc:graphicFrameChg>
        <pc:picChg chg="add del mod">
          <ac:chgData name="Nick Robinson" userId="d0c2b313-4ae0-4040-8c6a-fec7a720a7b5" providerId="ADAL" clId="{190131DE-6250-C84F-B491-721E6CF30BCB}" dt="2021-12-20T17:18:33.766" v="20010" actId="478"/>
          <ac:picMkLst>
            <pc:docMk/>
            <pc:sldMk cId="901545591" sldId="2147374213"/>
            <ac:picMk id="12" creationId="{A9BC7757-6EF1-524B-A433-51D5B60A62BD}"/>
          </ac:picMkLst>
        </pc:picChg>
        <pc:picChg chg="add mod">
          <ac:chgData name="Nick Robinson" userId="d0c2b313-4ae0-4040-8c6a-fec7a720a7b5" providerId="ADAL" clId="{190131DE-6250-C84F-B491-721E6CF30BCB}" dt="2021-12-20T17:18:38.911" v="20011"/>
          <ac:picMkLst>
            <pc:docMk/>
            <pc:sldMk cId="901545591" sldId="2147374213"/>
            <ac:picMk id="13" creationId="{D1242095-E255-CC49-B1A4-B6FAEE29CE29}"/>
          </ac:picMkLst>
        </pc:picChg>
      </pc:sldChg>
      <pc:sldChg chg="modSp add del mod">
        <pc:chgData name="Nick Robinson" userId="d0c2b313-4ae0-4040-8c6a-fec7a720a7b5" providerId="ADAL" clId="{190131DE-6250-C84F-B491-721E6CF30BCB}" dt="2021-12-20T15:06:25.473" v="17521" actId="2696"/>
        <pc:sldMkLst>
          <pc:docMk/>
          <pc:sldMk cId="554251046" sldId="2147374214"/>
        </pc:sldMkLst>
        <pc:graphicFrameChg chg="mod modGraphic">
          <ac:chgData name="Nick Robinson" userId="d0c2b313-4ae0-4040-8c6a-fec7a720a7b5" providerId="ADAL" clId="{190131DE-6250-C84F-B491-721E6CF30BCB}" dt="2021-12-20T14:54:56.383" v="17450" actId="179"/>
          <ac:graphicFrameMkLst>
            <pc:docMk/>
            <pc:sldMk cId="554251046" sldId="2147374214"/>
            <ac:graphicFrameMk id="5" creationId="{1F73E11B-085A-AD47-B820-F62CD6BB7304}"/>
          </ac:graphicFrameMkLst>
        </pc:graphicFrameChg>
      </pc:sldChg>
      <pc:sldChg chg="addSp delSp modSp add mod delCm">
        <pc:chgData name="Nick Robinson" userId="d0c2b313-4ae0-4040-8c6a-fec7a720a7b5" providerId="ADAL" clId="{190131DE-6250-C84F-B491-721E6CF30BCB}" dt="2021-12-23T14:00:39.411" v="44409" actId="572"/>
        <pc:sldMkLst>
          <pc:docMk/>
          <pc:sldMk cId="1454324657" sldId="2147374215"/>
        </pc:sldMkLst>
        <pc:spChg chg="mod">
          <ac:chgData name="Nick Robinson" userId="d0c2b313-4ae0-4040-8c6a-fec7a720a7b5" providerId="ADAL" clId="{190131DE-6250-C84F-B491-721E6CF30BCB}" dt="2021-12-23T13:49:42.497" v="44284" actId="113"/>
          <ac:spMkLst>
            <pc:docMk/>
            <pc:sldMk cId="1454324657" sldId="2147374215"/>
            <ac:spMk id="2" creationId="{00000000-0000-0000-0000-000000000000}"/>
          </ac:spMkLst>
        </pc:spChg>
        <pc:spChg chg="del">
          <ac:chgData name="Nick Robinson" userId="d0c2b313-4ae0-4040-8c6a-fec7a720a7b5" providerId="ADAL" clId="{190131DE-6250-C84F-B491-721E6CF30BCB}" dt="2021-12-23T13:49:39.162" v="44282" actId="478"/>
          <ac:spMkLst>
            <pc:docMk/>
            <pc:sldMk cId="1454324657" sldId="2147374215"/>
            <ac:spMk id="7" creationId="{FD420467-EF1E-C24E-B16A-0060A2106A3D}"/>
          </ac:spMkLst>
        </pc:spChg>
        <pc:spChg chg="del">
          <ac:chgData name="Nick Robinson" userId="d0c2b313-4ae0-4040-8c6a-fec7a720a7b5" providerId="ADAL" clId="{190131DE-6250-C84F-B491-721E6CF30BCB}" dt="2021-12-23T13:49:39.162" v="44282" actId="478"/>
          <ac:spMkLst>
            <pc:docMk/>
            <pc:sldMk cId="1454324657" sldId="2147374215"/>
            <ac:spMk id="9" creationId="{2ED3A410-1F1A-7D41-A185-7E4C77C9BA06}"/>
          </ac:spMkLst>
        </pc:spChg>
        <pc:spChg chg="add mod">
          <ac:chgData name="Nick Robinson" userId="d0c2b313-4ae0-4040-8c6a-fec7a720a7b5" providerId="ADAL" clId="{190131DE-6250-C84F-B491-721E6CF30BCB}" dt="2021-12-23T13:49:43.335" v="44285"/>
          <ac:spMkLst>
            <pc:docMk/>
            <pc:sldMk cId="1454324657" sldId="2147374215"/>
            <ac:spMk id="13" creationId="{C330F91A-7B2E-DE49-8C64-0C6FD24DEC39}"/>
          </ac:spMkLst>
        </pc:spChg>
        <pc:spChg chg="add mod">
          <ac:chgData name="Nick Robinson" userId="d0c2b313-4ae0-4040-8c6a-fec7a720a7b5" providerId="ADAL" clId="{190131DE-6250-C84F-B491-721E6CF30BCB}" dt="2021-12-23T13:49:43.335" v="44285"/>
          <ac:spMkLst>
            <pc:docMk/>
            <pc:sldMk cId="1454324657" sldId="2147374215"/>
            <ac:spMk id="14" creationId="{C5E57BA6-B90A-244D-B6C0-B6EF8EA125F1}"/>
          </ac:spMkLst>
        </pc:spChg>
        <pc:graphicFrameChg chg="mod modGraphic">
          <ac:chgData name="Nick Robinson" userId="d0c2b313-4ae0-4040-8c6a-fec7a720a7b5" providerId="ADAL" clId="{190131DE-6250-C84F-B491-721E6CF30BCB}" dt="2021-12-23T14:00:39.411" v="44409" actId="572"/>
          <ac:graphicFrameMkLst>
            <pc:docMk/>
            <pc:sldMk cId="1454324657" sldId="2147374215"/>
            <ac:graphicFrameMk id="5" creationId="{1F73E11B-085A-AD47-B820-F62CD6BB7304}"/>
          </ac:graphicFrameMkLst>
        </pc:graphicFrameChg>
        <pc:graphicFrameChg chg="add del mod">
          <ac:chgData name="Nick Robinson" userId="d0c2b313-4ae0-4040-8c6a-fec7a720a7b5" providerId="ADAL" clId="{190131DE-6250-C84F-B491-721E6CF30BCB}" dt="2021-12-20T15:27:25.925" v="17633" actId="478"/>
          <ac:graphicFrameMkLst>
            <pc:docMk/>
            <pc:sldMk cId="1454324657" sldId="2147374215"/>
            <ac:graphicFrameMk id="10" creationId="{9620DB35-E6F8-F349-9B9E-D50C70FB27A1}"/>
          </ac:graphicFrameMkLst>
        </pc:graphicFrameChg>
        <pc:graphicFrameChg chg="add mod">
          <ac:chgData name="Nick Robinson" userId="d0c2b313-4ae0-4040-8c6a-fec7a720a7b5" providerId="ADAL" clId="{190131DE-6250-C84F-B491-721E6CF30BCB}" dt="2021-12-20T15:27:26.215" v="17634"/>
          <ac:graphicFrameMkLst>
            <pc:docMk/>
            <pc:sldMk cId="1454324657" sldId="2147374215"/>
            <ac:graphicFrameMk id="11" creationId="{B24FEF09-15D0-EE49-B073-39F1F89B6819}"/>
          </ac:graphicFrameMkLst>
        </pc:graphicFrameChg>
        <pc:picChg chg="add mod">
          <ac:chgData name="Nick Robinson" userId="d0c2b313-4ae0-4040-8c6a-fec7a720a7b5" providerId="ADAL" clId="{190131DE-6250-C84F-B491-721E6CF30BCB}" dt="2021-12-20T17:12:43.222" v="19952"/>
          <ac:picMkLst>
            <pc:docMk/>
            <pc:sldMk cId="1454324657" sldId="2147374215"/>
            <ac:picMk id="12" creationId="{7AC9BCBC-A11C-294A-89A8-059994132B64}"/>
          </ac:picMkLst>
        </pc:picChg>
      </pc:sldChg>
      <pc:sldChg chg="addSp delSp modSp add del mod">
        <pc:chgData name="Nick Robinson" userId="d0c2b313-4ae0-4040-8c6a-fec7a720a7b5" providerId="ADAL" clId="{190131DE-6250-C84F-B491-721E6CF30BCB}" dt="2021-12-20T15:43:55.280" v="17958" actId="2696"/>
        <pc:sldMkLst>
          <pc:docMk/>
          <pc:sldMk cId="563193967" sldId="2147374216"/>
        </pc:sldMkLst>
        <pc:graphicFrameChg chg="modGraphic">
          <ac:chgData name="Nick Robinson" userId="d0c2b313-4ae0-4040-8c6a-fec7a720a7b5" providerId="ADAL" clId="{190131DE-6250-C84F-B491-721E6CF30BCB}" dt="2021-12-20T15:06:59.570" v="17524" actId="113"/>
          <ac:graphicFrameMkLst>
            <pc:docMk/>
            <pc:sldMk cId="563193967" sldId="2147374216"/>
            <ac:graphicFrameMk id="5" creationId="{1F73E11B-085A-AD47-B820-F62CD6BB7304}"/>
          </ac:graphicFrameMkLst>
        </pc:graphicFrameChg>
        <pc:graphicFrameChg chg="add del mod">
          <ac:chgData name="Nick Robinson" userId="d0c2b313-4ae0-4040-8c6a-fec7a720a7b5" providerId="ADAL" clId="{190131DE-6250-C84F-B491-721E6CF30BCB}" dt="2021-12-20T15:27:21.175" v="17631" actId="478"/>
          <ac:graphicFrameMkLst>
            <pc:docMk/>
            <pc:sldMk cId="563193967" sldId="2147374216"/>
            <ac:graphicFrameMk id="10" creationId="{7CCE3497-EBC5-464C-B510-FB9F616E8AF0}"/>
          </ac:graphicFrameMkLst>
        </pc:graphicFrameChg>
        <pc:graphicFrameChg chg="add mod">
          <ac:chgData name="Nick Robinson" userId="d0c2b313-4ae0-4040-8c6a-fec7a720a7b5" providerId="ADAL" clId="{190131DE-6250-C84F-B491-721E6CF30BCB}" dt="2021-12-20T15:27:21.423" v="17632"/>
          <ac:graphicFrameMkLst>
            <pc:docMk/>
            <pc:sldMk cId="563193967" sldId="2147374216"/>
            <ac:graphicFrameMk id="11" creationId="{F604DCD9-F5FD-5147-B550-35E5EA94D025}"/>
          </ac:graphicFrameMkLst>
        </pc:graphicFrameChg>
      </pc:sldChg>
      <pc:sldChg chg="addSp delSp modSp add del mod">
        <pc:chgData name="Nick Robinson" userId="d0c2b313-4ae0-4040-8c6a-fec7a720a7b5" providerId="ADAL" clId="{190131DE-6250-C84F-B491-721E6CF30BCB}" dt="2021-12-20T16:58:59.126" v="19784" actId="2696"/>
        <pc:sldMkLst>
          <pc:docMk/>
          <pc:sldMk cId="4086539563" sldId="2147374217"/>
        </pc:sldMkLst>
        <pc:spChg chg="add mod">
          <ac:chgData name="Nick Robinson" userId="d0c2b313-4ae0-4040-8c6a-fec7a720a7b5" providerId="ADAL" clId="{190131DE-6250-C84F-B491-721E6CF30BCB}" dt="2021-12-20T16:17:59.535" v="18456" actId="207"/>
          <ac:spMkLst>
            <pc:docMk/>
            <pc:sldMk cId="4086539563" sldId="2147374217"/>
            <ac:spMk id="5" creationId="{054212B5-D670-2A42-9DA3-6F7FA8E4D4ED}"/>
          </ac:spMkLst>
        </pc:spChg>
        <pc:spChg chg="mod topLvl">
          <ac:chgData name="Nick Robinson" userId="d0c2b313-4ae0-4040-8c6a-fec7a720a7b5" providerId="ADAL" clId="{190131DE-6250-C84F-B491-721E6CF30BCB}" dt="2021-12-20T16:47:45.086" v="18759" actId="1035"/>
          <ac:spMkLst>
            <pc:docMk/>
            <pc:sldMk cId="4086539563" sldId="2147374217"/>
            <ac:spMk id="9" creationId="{2CA56A7A-BF44-8B48-B474-D4C2091140FA}"/>
          </ac:spMkLst>
        </pc:spChg>
        <pc:spChg chg="mod">
          <ac:chgData name="Nick Robinson" userId="d0c2b313-4ae0-4040-8c6a-fec7a720a7b5" providerId="ADAL" clId="{190131DE-6250-C84F-B491-721E6CF30BCB}" dt="2021-12-20T15:33:28.440" v="17696" actId="14100"/>
          <ac:spMkLst>
            <pc:docMk/>
            <pc:sldMk cId="4086539563" sldId="2147374217"/>
            <ac:spMk id="12" creationId="{363CD306-A4CF-0045-B748-E29F5A0F9D31}"/>
          </ac:spMkLst>
        </pc:spChg>
        <pc:spChg chg="mod">
          <ac:chgData name="Nick Robinson" userId="d0c2b313-4ae0-4040-8c6a-fec7a720a7b5" providerId="ADAL" clId="{190131DE-6250-C84F-B491-721E6CF30BCB}" dt="2021-12-20T15:33:28.440" v="17696" actId="14100"/>
          <ac:spMkLst>
            <pc:docMk/>
            <pc:sldMk cId="4086539563" sldId="2147374217"/>
            <ac:spMk id="13" creationId="{CB58FA81-B730-8A46-9E2B-6D4DADEAF5A0}"/>
          </ac:spMkLst>
        </pc:spChg>
        <pc:spChg chg="mod">
          <ac:chgData name="Nick Robinson" userId="d0c2b313-4ae0-4040-8c6a-fec7a720a7b5" providerId="ADAL" clId="{190131DE-6250-C84F-B491-721E6CF30BCB}" dt="2021-12-20T15:33:28.440" v="17696" actId="14100"/>
          <ac:spMkLst>
            <pc:docMk/>
            <pc:sldMk cId="4086539563" sldId="2147374217"/>
            <ac:spMk id="14" creationId="{F429D550-A1FA-F747-AEB3-1B00EFCA2E89}"/>
          </ac:spMkLst>
        </pc:spChg>
        <pc:spChg chg="mod">
          <ac:chgData name="Nick Robinson" userId="d0c2b313-4ae0-4040-8c6a-fec7a720a7b5" providerId="ADAL" clId="{190131DE-6250-C84F-B491-721E6CF30BCB}" dt="2021-12-20T15:33:28.440" v="17696" actId="14100"/>
          <ac:spMkLst>
            <pc:docMk/>
            <pc:sldMk cId="4086539563" sldId="2147374217"/>
            <ac:spMk id="15" creationId="{113A1493-C3F7-4D47-938D-ED28CA89D9A1}"/>
          </ac:spMkLst>
        </pc:spChg>
        <pc:spChg chg="mod">
          <ac:chgData name="Nick Robinson" userId="d0c2b313-4ae0-4040-8c6a-fec7a720a7b5" providerId="ADAL" clId="{190131DE-6250-C84F-B491-721E6CF30BCB}" dt="2021-12-20T15:33:28.440" v="17696" actId="14100"/>
          <ac:spMkLst>
            <pc:docMk/>
            <pc:sldMk cId="4086539563" sldId="2147374217"/>
            <ac:spMk id="17" creationId="{E8E35E51-0209-5945-B654-6D60D76F3E81}"/>
          </ac:spMkLst>
        </pc:spChg>
        <pc:spChg chg="mod">
          <ac:chgData name="Nick Robinson" userId="d0c2b313-4ae0-4040-8c6a-fec7a720a7b5" providerId="ADAL" clId="{190131DE-6250-C84F-B491-721E6CF30BCB}" dt="2021-12-20T15:33:28.440" v="17696" actId="14100"/>
          <ac:spMkLst>
            <pc:docMk/>
            <pc:sldMk cId="4086539563" sldId="2147374217"/>
            <ac:spMk id="18" creationId="{9207FCF8-80BA-C042-9F09-82F607D1BD45}"/>
          </ac:spMkLst>
        </pc:spChg>
        <pc:spChg chg="mod">
          <ac:chgData name="Nick Robinson" userId="d0c2b313-4ae0-4040-8c6a-fec7a720a7b5" providerId="ADAL" clId="{190131DE-6250-C84F-B491-721E6CF30BCB}" dt="2021-12-20T15:33:28.440" v="17696" actId="14100"/>
          <ac:spMkLst>
            <pc:docMk/>
            <pc:sldMk cId="4086539563" sldId="2147374217"/>
            <ac:spMk id="19" creationId="{79C4484F-911B-E840-B3D4-C6028EC5299F}"/>
          </ac:spMkLst>
        </pc:spChg>
        <pc:spChg chg="mod">
          <ac:chgData name="Nick Robinson" userId="d0c2b313-4ae0-4040-8c6a-fec7a720a7b5" providerId="ADAL" clId="{190131DE-6250-C84F-B491-721E6CF30BCB}" dt="2021-12-20T15:33:28.440" v="17696" actId="14100"/>
          <ac:spMkLst>
            <pc:docMk/>
            <pc:sldMk cId="4086539563" sldId="2147374217"/>
            <ac:spMk id="20" creationId="{4993CAD8-93A8-E442-9D91-DBA809B62EBE}"/>
          </ac:spMkLst>
        </pc:spChg>
        <pc:spChg chg="mod topLvl">
          <ac:chgData name="Nick Robinson" userId="d0c2b313-4ae0-4040-8c6a-fec7a720a7b5" providerId="ADAL" clId="{190131DE-6250-C84F-B491-721E6CF30BCB}" dt="2021-12-20T16:47:45.086" v="18759" actId="1035"/>
          <ac:spMkLst>
            <pc:docMk/>
            <pc:sldMk cId="4086539563" sldId="2147374217"/>
            <ac:spMk id="24" creationId="{AA51AAB4-B1E8-FF44-9E53-50EDDB3FD9CF}"/>
          </ac:spMkLst>
        </pc:spChg>
        <pc:spChg chg="mod topLvl">
          <ac:chgData name="Nick Robinson" userId="d0c2b313-4ae0-4040-8c6a-fec7a720a7b5" providerId="ADAL" clId="{190131DE-6250-C84F-B491-721E6CF30BCB}" dt="2021-12-20T16:47:45.086" v="18759" actId="1035"/>
          <ac:spMkLst>
            <pc:docMk/>
            <pc:sldMk cId="4086539563" sldId="2147374217"/>
            <ac:spMk id="29" creationId="{97F09A8B-CE80-D54A-ADDD-99DBA9A825ED}"/>
          </ac:spMkLst>
        </pc:spChg>
        <pc:spChg chg="del">
          <ac:chgData name="Nick Robinson" userId="d0c2b313-4ae0-4040-8c6a-fec7a720a7b5" providerId="ADAL" clId="{190131DE-6250-C84F-B491-721E6CF30BCB}" dt="2021-12-20T15:37:07.276" v="17795" actId="478"/>
          <ac:spMkLst>
            <pc:docMk/>
            <pc:sldMk cId="4086539563" sldId="2147374217"/>
            <ac:spMk id="37" creationId="{1431FD1C-10E2-8A45-9EEB-37BF2886A0B0}"/>
          </ac:spMkLst>
        </pc:spChg>
        <pc:spChg chg="mod topLvl">
          <ac:chgData name="Nick Robinson" userId="d0c2b313-4ae0-4040-8c6a-fec7a720a7b5" providerId="ADAL" clId="{190131DE-6250-C84F-B491-721E6CF30BCB}" dt="2021-12-20T15:37:43.600" v="17803" actId="166"/>
          <ac:spMkLst>
            <pc:docMk/>
            <pc:sldMk cId="4086539563" sldId="2147374217"/>
            <ac:spMk id="152" creationId="{B6E381B3-7565-6546-81FE-C9889199F2FD}"/>
          </ac:spMkLst>
        </pc:spChg>
        <pc:spChg chg="mod topLvl">
          <ac:chgData name="Nick Robinson" userId="d0c2b313-4ae0-4040-8c6a-fec7a720a7b5" providerId="ADAL" clId="{190131DE-6250-C84F-B491-721E6CF30BCB}" dt="2021-12-20T16:47:45.086" v="18759" actId="1035"/>
          <ac:spMkLst>
            <pc:docMk/>
            <pc:sldMk cId="4086539563" sldId="2147374217"/>
            <ac:spMk id="156" creationId="{170F0B87-D6B8-174C-B9BC-9144BE7889C3}"/>
          </ac:spMkLst>
        </pc:spChg>
        <pc:spChg chg="mod topLvl">
          <ac:chgData name="Nick Robinson" userId="d0c2b313-4ae0-4040-8c6a-fec7a720a7b5" providerId="ADAL" clId="{190131DE-6250-C84F-B491-721E6CF30BCB}" dt="2021-12-20T16:47:45.086" v="18759" actId="1035"/>
          <ac:spMkLst>
            <pc:docMk/>
            <pc:sldMk cId="4086539563" sldId="2147374217"/>
            <ac:spMk id="175" creationId="{675F741B-C534-024D-9211-4DA607DD8926}"/>
          </ac:spMkLst>
        </pc:spChg>
        <pc:spChg chg="mod topLvl">
          <ac:chgData name="Nick Robinson" userId="d0c2b313-4ae0-4040-8c6a-fec7a720a7b5" providerId="ADAL" clId="{190131DE-6250-C84F-B491-721E6CF30BCB}" dt="2021-12-20T16:47:45.086" v="18759" actId="1035"/>
          <ac:spMkLst>
            <pc:docMk/>
            <pc:sldMk cId="4086539563" sldId="2147374217"/>
            <ac:spMk id="176" creationId="{E552FC48-226B-2D4B-93F6-3BB7B912D372}"/>
          </ac:spMkLst>
        </pc:spChg>
        <pc:spChg chg="mod topLvl">
          <ac:chgData name="Nick Robinson" userId="d0c2b313-4ae0-4040-8c6a-fec7a720a7b5" providerId="ADAL" clId="{190131DE-6250-C84F-B491-721E6CF30BCB}" dt="2021-12-20T16:47:45.086" v="18759" actId="1035"/>
          <ac:spMkLst>
            <pc:docMk/>
            <pc:sldMk cId="4086539563" sldId="2147374217"/>
            <ac:spMk id="177" creationId="{4E5F772C-4B61-D84B-B83C-D81F6502C025}"/>
          </ac:spMkLst>
        </pc:spChg>
        <pc:spChg chg="mod topLvl">
          <ac:chgData name="Nick Robinson" userId="d0c2b313-4ae0-4040-8c6a-fec7a720a7b5" providerId="ADAL" clId="{190131DE-6250-C84F-B491-721E6CF30BCB}" dt="2021-12-20T16:47:45.086" v="18759" actId="1035"/>
          <ac:spMkLst>
            <pc:docMk/>
            <pc:sldMk cId="4086539563" sldId="2147374217"/>
            <ac:spMk id="178" creationId="{6A815AB2-B2FC-6540-B8D4-6B79A7A5D1E8}"/>
          </ac:spMkLst>
        </pc:spChg>
        <pc:spChg chg="mod topLvl">
          <ac:chgData name="Nick Robinson" userId="d0c2b313-4ae0-4040-8c6a-fec7a720a7b5" providerId="ADAL" clId="{190131DE-6250-C84F-B491-721E6CF30BCB}" dt="2021-12-20T16:47:45.086" v="18759" actId="1035"/>
          <ac:spMkLst>
            <pc:docMk/>
            <pc:sldMk cId="4086539563" sldId="2147374217"/>
            <ac:spMk id="180" creationId="{610E70FC-9AD2-7F44-BF0C-FA7B9996EE2B}"/>
          </ac:spMkLst>
        </pc:spChg>
        <pc:spChg chg="mod">
          <ac:chgData name="Nick Robinson" userId="d0c2b313-4ae0-4040-8c6a-fec7a720a7b5" providerId="ADAL" clId="{190131DE-6250-C84F-B491-721E6CF30BCB}" dt="2021-12-20T16:16:55.338" v="18452" actId="1076"/>
          <ac:spMkLst>
            <pc:docMk/>
            <pc:sldMk cId="4086539563" sldId="2147374217"/>
            <ac:spMk id="193" creationId="{BE66D792-D83F-4844-ADEF-A4BD1422887B}"/>
          </ac:spMkLst>
        </pc:spChg>
        <pc:spChg chg="mod">
          <ac:chgData name="Nick Robinson" userId="d0c2b313-4ae0-4040-8c6a-fec7a720a7b5" providerId="ADAL" clId="{190131DE-6250-C84F-B491-721E6CF30BCB}" dt="2021-12-20T15:31:41.800" v="17671" actId="207"/>
          <ac:spMkLst>
            <pc:docMk/>
            <pc:sldMk cId="4086539563" sldId="2147374217"/>
            <ac:spMk id="194" creationId="{EDB0FC32-B142-8048-A0B8-7BBA4B7C3B83}"/>
          </ac:spMkLst>
        </pc:spChg>
        <pc:spChg chg="mod topLvl">
          <ac:chgData name="Nick Robinson" userId="d0c2b313-4ae0-4040-8c6a-fec7a720a7b5" providerId="ADAL" clId="{190131DE-6250-C84F-B491-721E6CF30BCB}" dt="2021-12-20T16:18:11.770" v="18457" actId="207"/>
          <ac:spMkLst>
            <pc:docMk/>
            <pc:sldMk cId="4086539563" sldId="2147374217"/>
            <ac:spMk id="477" creationId="{6C10A7C3-2ED3-5241-8A66-47626E952415}"/>
          </ac:spMkLst>
        </pc:spChg>
        <pc:spChg chg="del">
          <ac:chgData name="Nick Robinson" userId="d0c2b313-4ae0-4040-8c6a-fec7a720a7b5" providerId="ADAL" clId="{190131DE-6250-C84F-B491-721E6CF30BCB}" dt="2021-12-20T15:30:54.163" v="17663" actId="478"/>
          <ac:spMkLst>
            <pc:docMk/>
            <pc:sldMk cId="4086539563" sldId="2147374217"/>
            <ac:spMk id="491" creationId="{4DFD4FDC-ABC8-4740-A27F-4DE31A1A6932}"/>
          </ac:spMkLst>
        </pc:spChg>
        <pc:spChg chg="add mod">
          <ac:chgData name="Nick Robinson" userId="d0c2b313-4ae0-4040-8c6a-fec7a720a7b5" providerId="ADAL" clId="{190131DE-6250-C84F-B491-721E6CF30BCB}" dt="2021-12-20T15:59:55.710" v="18289" actId="1076"/>
          <ac:spMkLst>
            <pc:docMk/>
            <pc:sldMk cId="4086539563" sldId="2147374217"/>
            <ac:spMk id="492" creationId="{B5AF9CFC-E46F-A84A-867D-E8681C6DDDBA}"/>
          </ac:spMkLst>
        </pc:spChg>
        <pc:spChg chg="add mod">
          <ac:chgData name="Nick Robinson" userId="d0c2b313-4ae0-4040-8c6a-fec7a720a7b5" providerId="ADAL" clId="{190131DE-6250-C84F-B491-721E6CF30BCB}" dt="2021-12-20T15:33:41.508" v="17700" actId="14100"/>
          <ac:spMkLst>
            <pc:docMk/>
            <pc:sldMk cId="4086539563" sldId="2147374217"/>
            <ac:spMk id="493" creationId="{4D6912A5-0E11-0F46-A606-04800C7CF220}"/>
          </ac:spMkLst>
        </pc:spChg>
        <pc:spChg chg="add mod">
          <ac:chgData name="Nick Robinson" userId="d0c2b313-4ae0-4040-8c6a-fec7a720a7b5" providerId="ADAL" clId="{190131DE-6250-C84F-B491-721E6CF30BCB}" dt="2021-12-20T15:33:43.742" v="17701" actId="14100"/>
          <ac:spMkLst>
            <pc:docMk/>
            <pc:sldMk cId="4086539563" sldId="2147374217"/>
            <ac:spMk id="494" creationId="{1014B8C1-84C0-3F44-BD05-A22063CFE4FF}"/>
          </ac:spMkLst>
        </pc:spChg>
        <pc:spChg chg="add mod">
          <ac:chgData name="Nick Robinson" userId="d0c2b313-4ae0-4040-8c6a-fec7a720a7b5" providerId="ADAL" clId="{190131DE-6250-C84F-B491-721E6CF30BCB}" dt="2021-12-20T15:33:45.735" v="17702" actId="14100"/>
          <ac:spMkLst>
            <pc:docMk/>
            <pc:sldMk cId="4086539563" sldId="2147374217"/>
            <ac:spMk id="495" creationId="{61076B9F-2B80-174F-ACDA-8DA709C1C586}"/>
          </ac:spMkLst>
        </pc:spChg>
        <pc:spChg chg="add del mod">
          <ac:chgData name="Nick Robinson" userId="d0c2b313-4ae0-4040-8c6a-fec7a720a7b5" providerId="ADAL" clId="{190131DE-6250-C84F-B491-721E6CF30BCB}" dt="2021-12-20T15:33:08.101" v="17692" actId="478"/>
          <ac:spMkLst>
            <pc:docMk/>
            <pc:sldMk cId="4086539563" sldId="2147374217"/>
            <ac:spMk id="496" creationId="{9F09B0C9-61D0-3C4A-9E12-44EEF5C2E493}"/>
          </ac:spMkLst>
        </pc:spChg>
        <pc:spChg chg="mod">
          <ac:chgData name="Nick Robinson" userId="d0c2b313-4ae0-4040-8c6a-fec7a720a7b5" providerId="ADAL" clId="{190131DE-6250-C84F-B491-721E6CF30BCB}" dt="2021-12-20T15:35:35.400" v="17763"/>
          <ac:spMkLst>
            <pc:docMk/>
            <pc:sldMk cId="4086539563" sldId="2147374217"/>
            <ac:spMk id="498" creationId="{11DD29CF-7686-854F-B52A-7461AEE9407B}"/>
          </ac:spMkLst>
        </pc:spChg>
        <pc:spChg chg="mod">
          <ac:chgData name="Nick Robinson" userId="d0c2b313-4ae0-4040-8c6a-fec7a720a7b5" providerId="ADAL" clId="{190131DE-6250-C84F-B491-721E6CF30BCB}" dt="2021-12-20T15:48:01.083" v="18023" actId="20577"/>
          <ac:spMkLst>
            <pc:docMk/>
            <pc:sldMk cId="4086539563" sldId="2147374217"/>
            <ac:spMk id="499" creationId="{A2814C40-EAAD-5041-A47C-B697ECC74F8D}"/>
          </ac:spMkLst>
        </pc:spChg>
        <pc:spChg chg="mod">
          <ac:chgData name="Nick Robinson" userId="d0c2b313-4ae0-4040-8c6a-fec7a720a7b5" providerId="ADAL" clId="{190131DE-6250-C84F-B491-721E6CF30BCB}" dt="2021-12-20T15:35:39.385" v="17769" actId="113"/>
          <ac:spMkLst>
            <pc:docMk/>
            <pc:sldMk cId="4086539563" sldId="2147374217"/>
            <ac:spMk id="501" creationId="{446D2368-0F6D-F74F-8FD5-23D9F364B918}"/>
          </ac:spMkLst>
        </pc:spChg>
        <pc:spChg chg="mod">
          <ac:chgData name="Nick Robinson" userId="d0c2b313-4ae0-4040-8c6a-fec7a720a7b5" providerId="ADAL" clId="{190131DE-6250-C84F-B491-721E6CF30BCB}" dt="2021-12-20T15:48:07.046" v="18026" actId="20577"/>
          <ac:spMkLst>
            <pc:docMk/>
            <pc:sldMk cId="4086539563" sldId="2147374217"/>
            <ac:spMk id="502" creationId="{41762FA0-1155-6D4D-A7B9-1A720D062B2A}"/>
          </ac:spMkLst>
        </pc:spChg>
        <pc:spChg chg="mod">
          <ac:chgData name="Nick Robinson" userId="d0c2b313-4ae0-4040-8c6a-fec7a720a7b5" providerId="ADAL" clId="{190131DE-6250-C84F-B491-721E6CF30BCB}" dt="2021-12-20T15:35:40.454" v="17770"/>
          <ac:spMkLst>
            <pc:docMk/>
            <pc:sldMk cId="4086539563" sldId="2147374217"/>
            <ac:spMk id="504" creationId="{50064547-52AB-1844-8BDA-BE879DAA7A21}"/>
          </ac:spMkLst>
        </pc:spChg>
        <pc:spChg chg="mod">
          <ac:chgData name="Nick Robinson" userId="d0c2b313-4ae0-4040-8c6a-fec7a720a7b5" providerId="ADAL" clId="{190131DE-6250-C84F-B491-721E6CF30BCB}" dt="2021-12-20T15:48:21.776" v="18029" actId="20577"/>
          <ac:spMkLst>
            <pc:docMk/>
            <pc:sldMk cId="4086539563" sldId="2147374217"/>
            <ac:spMk id="505" creationId="{E4C0A6C3-81E3-0846-AC53-39E4C306AD57}"/>
          </ac:spMkLst>
        </pc:spChg>
        <pc:spChg chg="mod">
          <ac:chgData name="Nick Robinson" userId="d0c2b313-4ae0-4040-8c6a-fec7a720a7b5" providerId="ADAL" clId="{190131DE-6250-C84F-B491-721E6CF30BCB}" dt="2021-12-20T15:35:40.676" v="17771"/>
          <ac:spMkLst>
            <pc:docMk/>
            <pc:sldMk cId="4086539563" sldId="2147374217"/>
            <ac:spMk id="507" creationId="{C247A2AB-1FE0-5042-8142-71A0B47DAB61}"/>
          </ac:spMkLst>
        </pc:spChg>
        <pc:spChg chg="mod">
          <ac:chgData name="Nick Robinson" userId="d0c2b313-4ae0-4040-8c6a-fec7a720a7b5" providerId="ADAL" clId="{190131DE-6250-C84F-B491-721E6CF30BCB}" dt="2021-12-20T15:35:40.676" v="17771"/>
          <ac:spMkLst>
            <pc:docMk/>
            <pc:sldMk cId="4086539563" sldId="2147374217"/>
            <ac:spMk id="508" creationId="{022F30E6-9935-C949-BEBA-DBEBF60532FD}"/>
          </ac:spMkLst>
        </pc:spChg>
        <pc:spChg chg="mod">
          <ac:chgData name="Nick Robinson" userId="d0c2b313-4ae0-4040-8c6a-fec7a720a7b5" providerId="ADAL" clId="{190131DE-6250-C84F-B491-721E6CF30BCB}" dt="2021-12-20T16:12:17.320" v="18441" actId="207"/>
          <ac:spMkLst>
            <pc:docMk/>
            <pc:sldMk cId="4086539563" sldId="2147374217"/>
            <ac:spMk id="510" creationId="{80DDBB33-9167-8A46-93FC-DDF381D238E8}"/>
          </ac:spMkLst>
        </pc:spChg>
        <pc:spChg chg="mod">
          <ac:chgData name="Nick Robinson" userId="d0c2b313-4ae0-4040-8c6a-fec7a720a7b5" providerId="ADAL" clId="{190131DE-6250-C84F-B491-721E6CF30BCB}" dt="2021-12-20T16:11:54.225" v="18440" actId="207"/>
          <ac:spMkLst>
            <pc:docMk/>
            <pc:sldMk cId="4086539563" sldId="2147374217"/>
            <ac:spMk id="511" creationId="{2BB6D468-DF72-5D43-A57E-416F4CC757C6}"/>
          </ac:spMkLst>
        </pc:spChg>
        <pc:spChg chg="mod">
          <ac:chgData name="Nick Robinson" userId="d0c2b313-4ae0-4040-8c6a-fec7a720a7b5" providerId="ADAL" clId="{190131DE-6250-C84F-B491-721E6CF30BCB}" dt="2021-12-20T15:35:41.135" v="17773"/>
          <ac:spMkLst>
            <pc:docMk/>
            <pc:sldMk cId="4086539563" sldId="2147374217"/>
            <ac:spMk id="513" creationId="{EEABCD50-6285-2F44-9013-B968072E2A7F}"/>
          </ac:spMkLst>
        </pc:spChg>
        <pc:spChg chg="mod">
          <ac:chgData name="Nick Robinson" userId="d0c2b313-4ae0-4040-8c6a-fec7a720a7b5" providerId="ADAL" clId="{190131DE-6250-C84F-B491-721E6CF30BCB}" dt="2021-12-20T15:47:51.596" v="18016" actId="20577"/>
          <ac:spMkLst>
            <pc:docMk/>
            <pc:sldMk cId="4086539563" sldId="2147374217"/>
            <ac:spMk id="514" creationId="{659C73AD-DA31-4343-B011-815003B761E4}"/>
          </ac:spMkLst>
        </pc:spChg>
        <pc:spChg chg="mod topLvl">
          <ac:chgData name="Nick Robinson" userId="d0c2b313-4ae0-4040-8c6a-fec7a720a7b5" providerId="ADAL" clId="{190131DE-6250-C84F-B491-721E6CF30BCB}" dt="2021-12-20T15:37:39.087" v="17802" actId="165"/>
          <ac:spMkLst>
            <pc:docMk/>
            <pc:sldMk cId="4086539563" sldId="2147374217"/>
            <ac:spMk id="516" creationId="{C523C5CB-EA36-E44A-8848-E82BD7EAC685}"/>
          </ac:spMkLst>
        </pc:spChg>
        <pc:spChg chg="mod topLvl">
          <ac:chgData name="Nick Robinson" userId="d0c2b313-4ae0-4040-8c6a-fec7a720a7b5" providerId="ADAL" clId="{190131DE-6250-C84F-B491-721E6CF30BCB}" dt="2021-12-20T15:37:39.087" v="17802" actId="165"/>
          <ac:spMkLst>
            <pc:docMk/>
            <pc:sldMk cId="4086539563" sldId="2147374217"/>
            <ac:spMk id="517" creationId="{25F90D2F-55C6-4A4B-9208-38946DD8A381}"/>
          </ac:spMkLst>
        </pc:spChg>
        <pc:spChg chg="mod">
          <ac:chgData name="Nick Robinson" userId="d0c2b313-4ae0-4040-8c6a-fec7a720a7b5" providerId="ADAL" clId="{190131DE-6250-C84F-B491-721E6CF30BCB}" dt="2021-12-20T15:38:33.405" v="17816" actId="465"/>
          <ac:spMkLst>
            <pc:docMk/>
            <pc:sldMk cId="4086539563" sldId="2147374217"/>
            <ac:spMk id="519" creationId="{C5684086-52CC-F046-A016-747BE8C9C3B2}"/>
          </ac:spMkLst>
        </pc:spChg>
        <pc:spChg chg="mod">
          <ac:chgData name="Nick Robinson" userId="d0c2b313-4ae0-4040-8c6a-fec7a720a7b5" providerId="ADAL" clId="{190131DE-6250-C84F-B491-721E6CF30BCB}" dt="2021-12-20T15:38:38.799" v="17818" actId="20577"/>
          <ac:spMkLst>
            <pc:docMk/>
            <pc:sldMk cId="4086539563" sldId="2147374217"/>
            <ac:spMk id="520" creationId="{475F467A-84D4-2A49-B87D-D4B708A092E8}"/>
          </ac:spMkLst>
        </pc:spChg>
        <pc:spChg chg="mod">
          <ac:chgData name="Nick Robinson" userId="d0c2b313-4ae0-4040-8c6a-fec7a720a7b5" providerId="ADAL" clId="{190131DE-6250-C84F-B491-721E6CF30BCB}" dt="2021-12-20T15:38:33.405" v="17816" actId="465"/>
          <ac:spMkLst>
            <pc:docMk/>
            <pc:sldMk cId="4086539563" sldId="2147374217"/>
            <ac:spMk id="522" creationId="{D6249FD3-1177-384F-A5A6-6C9854403BC6}"/>
          </ac:spMkLst>
        </pc:spChg>
        <pc:spChg chg="mod">
          <ac:chgData name="Nick Robinson" userId="d0c2b313-4ae0-4040-8c6a-fec7a720a7b5" providerId="ADAL" clId="{190131DE-6250-C84F-B491-721E6CF30BCB}" dt="2021-12-20T15:38:50.378" v="17824" actId="20577"/>
          <ac:spMkLst>
            <pc:docMk/>
            <pc:sldMk cId="4086539563" sldId="2147374217"/>
            <ac:spMk id="523" creationId="{F7825C63-502A-A24A-8FBB-D824BA0C55F9}"/>
          </ac:spMkLst>
        </pc:spChg>
        <pc:spChg chg="mod">
          <ac:chgData name="Nick Robinson" userId="d0c2b313-4ae0-4040-8c6a-fec7a720a7b5" providerId="ADAL" clId="{190131DE-6250-C84F-B491-721E6CF30BCB}" dt="2021-12-20T15:38:33.405" v="17816" actId="465"/>
          <ac:spMkLst>
            <pc:docMk/>
            <pc:sldMk cId="4086539563" sldId="2147374217"/>
            <ac:spMk id="525" creationId="{2078B85A-758F-2F47-87D1-8435015B9A45}"/>
          </ac:spMkLst>
        </pc:spChg>
        <pc:spChg chg="mod">
          <ac:chgData name="Nick Robinson" userId="d0c2b313-4ae0-4040-8c6a-fec7a720a7b5" providerId="ADAL" clId="{190131DE-6250-C84F-B491-721E6CF30BCB}" dt="2021-12-20T15:38:54.858" v="17826" actId="20577"/>
          <ac:spMkLst>
            <pc:docMk/>
            <pc:sldMk cId="4086539563" sldId="2147374217"/>
            <ac:spMk id="526" creationId="{665FFECB-6F90-5445-B555-0F3811D7EFDA}"/>
          </ac:spMkLst>
        </pc:spChg>
        <pc:spChg chg="mod">
          <ac:chgData name="Nick Robinson" userId="d0c2b313-4ae0-4040-8c6a-fec7a720a7b5" providerId="ADAL" clId="{190131DE-6250-C84F-B491-721E6CF30BCB}" dt="2021-12-20T16:04:40.137" v="18358" actId="207"/>
          <ac:spMkLst>
            <pc:docMk/>
            <pc:sldMk cId="4086539563" sldId="2147374217"/>
            <ac:spMk id="528" creationId="{88D85832-01B8-FB43-AF47-272DB5A2093C}"/>
          </ac:spMkLst>
        </pc:spChg>
        <pc:spChg chg="mod">
          <ac:chgData name="Nick Robinson" userId="d0c2b313-4ae0-4040-8c6a-fec7a720a7b5" providerId="ADAL" clId="{190131DE-6250-C84F-B491-721E6CF30BCB}" dt="2021-12-20T15:38:57.684" v="17828" actId="20577"/>
          <ac:spMkLst>
            <pc:docMk/>
            <pc:sldMk cId="4086539563" sldId="2147374217"/>
            <ac:spMk id="529" creationId="{4003B869-C1D4-C544-976D-F88BF8584DA5}"/>
          </ac:spMkLst>
        </pc:spChg>
        <pc:spChg chg="mod">
          <ac:chgData name="Nick Robinson" userId="d0c2b313-4ae0-4040-8c6a-fec7a720a7b5" providerId="ADAL" clId="{190131DE-6250-C84F-B491-721E6CF30BCB}" dt="2021-12-20T15:38:33.405" v="17816" actId="465"/>
          <ac:spMkLst>
            <pc:docMk/>
            <pc:sldMk cId="4086539563" sldId="2147374217"/>
            <ac:spMk id="531" creationId="{77E3FD23-BB15-0E45-9820-953B9CAAD016}"/>
          </ac:spMkLst>
        </pc:spChg>
        <pc:spChg chg="mod">
          <ac:chgData name="Nick Robinson" userId="d0c2b313-4ae0-4040-8c6a-fec7a720a7b5" providerId="ADAL" clId="{190131DE-6250-C84F-B491-721E6CF30BCB}" dt="2021-12-20T15:39:03.621" v="17832" actId="20577"/>
          <ac:spMkLst>
            <pc:docMk/>
            <pc:sldMk cId="4086539563" sldId="2147374217"/>
            <ac:spMk id="532" creationId="{14B55FCE-785E-FA43-8105-1AF32028E958}"/>
          </ac:spMkLst>
        </pc:spChg>
        <pc:spChg chg="mod">
          <ac:chgData name="Nick Robinson" userId="d0c2b313-4ae0-4040-8c6a-fec7a720a7b5" providerId="ADAL" clId="{190131DE-6250-C84F-B491-721E6CF30BCB}" dt="2021-12-20T15:38:33.405" v="17816" actId="465"/>
          <ac:spMkLst>
            <pc:docMk/>
            <pc:sldMk cId="4086539563" sldId="2147374217"/>
            <ac:spMk id="534" creationId="{CF6C2C5A-30D9-8A4C-B8FB-5CB0757D4957}"/>
          </ac:spMkLst>
        </pc:spChg>
        <pc:spChg chg="mod">
          <ac:chgData name="Nick Robinson" userId="d0c2b313-4ae0-4040-8c6a-fec7a720a7b5" providerId="ADAL" clId="{190131DE-6250-C84F-B491-721E6CF30BCB}" dt="2021-12-20T15:39:07.517" v="17834" actId="20577"/>
          <ac:spMkLst>
            <pc:docMk/>
            <pc:sldMk cId="4086539563" sldId="2147374217"/>
            <ac:spMk id="535" creationId="{BE792096-58A1-D54C-B267-2031F6A6A978}"/>
          </ac:spMkLst>
        </pc:spChg>
        <pc:spChg chg="mod">
          <ac:chgData name="Nick Robinson" userId="d0c2b313-4ae0-4040-8c6a-fec7a720a7b5" providerId="ADAL" clId="{190131DE-6250-C84F-B491-721E6CF30BCB}" dt="2021-12-20T15:38:10.850" v="17813"/>
          <ac:spMkLst>
            <pc:docMk/>
            <pc:sldMk cId="4086539563" sldId="2147374217"/>
            <ac:spMk id="537" creationId="{B24BA531-6EC7-244F-9B7F-339470520F40}"/>
          </ac:spMkLst>
        </pc:spChg>
        <pc:spChg chg="mod">
          <ac:chgData name="Nick Robinson" userId="d0c2b313-4ae0-4040-8c6a-fec7a720a7b5" providerId="ADAL" clId="{190131DE-6250-C84F-B491-721E6CF30BCB}" dt="2021-12-20T15:39:10.538" v="17836" actId="20577"/>
          <ac:spMkLst>
            <pc:docMk/>
            <pc:sldMk cId="4086539563" sldId="2147374217"/>
            <ac:spMk id="538" creationId="{D1D66E53-5854-F54C-BBB6-4995A8E24F29}"/>
          </ac:spMkLst>
        </pc:spChg>
        <pc:spChg chg="mod">
          <ac:chgData name="Nick Robinson" userId="d0c2b313-4ae0-4040-8c6a-fec7a720a7b5" providerId="ADAL" clId="{190131DE-6250-C84F-B491-721E6CF30BCB}" dt="2021-12-20T15:40:03.227" v="17846" actId="207"/>
          <ac:spMkLst>
            <pc:docMk/>
            <pc:sldMk cId="4086539563" sldId="2147374217"/>
            <ac:spMk id="540" creationId="{090996AE-987D-CB48-A2EE-3DFFEB8A83AC}"/>
          </ac:spMkLst>
        </pc:spChg>
        <pc:spChg chg="mod">
          <ac:chgData name="Nick Robinson" userId="d0c2b313-4ae0-4040-8c6a-fec7a720a7b5" providerId="ADAL" clId="{190131DE-6250-C84F-B491-721E6CF30BCB}" dt="2021-12-20T15:41:05.588" v="17914" actId="20577"/>
          <ac:spMkLst>
            <pc:docMk/>
            <pc:sldMk cId="4086539563" sldId="2147374217"/>
            <ac:spMk id="541" creationId="{AC4C5605-327B-924A-892D-44810968543A}"/>
          </ac:spMkLst>
        </pc:spChg>
        <pc:spChg chg="add mod">
          <ac:chgData name="Nick Robinson" userId="d0c2b313-4ae0-4040-8c6a-fec7a720a7b5" providerId="ADAL" clId="{190131DE-6250-C84F-B491-721E6CF30BCB}" dt="2021-12-20T16:47:54.644" v="18761" actId="1036"/>
          <ac:spMkLst>
            <pc:docMk/>
            <pc:sldMk cId="4086539563" sldId="2147374217"/>
            <ac:spMk id="542" creationId="{D64D78DB-61BC-5E4A-9DAF-526B88EA6629}"/>
          </ac:spMkLst>
        </pc:spChg>
        <pc:spChg chg="mod">
          <ac:chgData name="Nick Robinson" userId="d0c2b313-4ae0-4040-8c6a-fec7a720a7b5" providerId="ADAL" clId="{190131DE-6250-C84F-B491-721E6CF30BCB}" dt="2021-12-20T15:40:47.526" v="17901" actId="207"/>
          <ac:spMkLst>
            <pc:docMk/>
            <pc:sldMk cId="4086539563" sldId="2147374217"/>
            <ac:spMk id="544" creationId="{97B52F4C-1B49-E34C-BC15-6344F6EEC1D5}"/>
          </ac:spMkLst>
        </pc:spChg>
        <pc:spChg chg="mod">
          <ac:chgData name="Nick Robinson" userId="d0c2b313-4ae0-4040-8c6a-fec7a720a7b5" providerId="ADAL" clId="{190131DE-6250-C84F-B491-721E6CF30BCB}" dt="2021-12-20T15:41:09.571" v="17916" actId="20577"/>
          <ac:spMkLst>
            <pc:docMk/>
            <pc:sldMk cId="4086539563" sldId="2147374217"/>
            <ac:spMk id="545" creationId="{EC311E20-A5B6-D849-9C6E-7E713EA84FAA}"/>
          </ac:spMkLst>
        </pc:spChg>
        <pc:spChg chg="add mod">
          <ac:chgData name="Nick Robinson" userId="d0c2b313-4ae0-4040-8c6a-fec7a720a7b5" providerId="ADAL" clId="{190131DE-6250-C84F-B491-721E6CF30BCB}" dt="2021-12-20T16:47:54.644" v="18761" actId="1036"/>
          <ac:spMkLst>
            <pc:docMk/>
            <pc:sldMk cId="4086539563" sldId="2147374217"/>
            <ac:spMk id="546" creationId="{B5016D46-0924-8A4A-B71C-2D229F05727A}"/>
          </ac:spMkLst>
        </pc:spChg>
        <pc:spChg chg="add mod">
          <ac:chgData name="Nick Robinson" userId="d0c2b313-4ae0-4040-8c6a-fec7a720a7b5" providerId="ADAL" clId="{190131DE-6250-C84F-B491-721E6CF30BCB}" dt="2021-12-20T16:47:54.644" v="18761" actId="1036"/>
          <ac:spMkLst>
            <pc:docMk/>
            <pc:sldMk cId="4086539563" sldId="2147374217"/>
            <ac:spMk id="547" creationId="{8038D820-575B-3D46-8384-476731B368EB}"/>
          </ac:spMkLst>
        </pc:spChg>
        <pc:spChg chg="add mod">
          <ac:chgData name="Nick Robinson" userId="d0c2b313-4ae0-4040-8c6a-fec7a720a7b5" providerId="ADAL" clId="{190131DE-6250-C84F-B491-721E6CF30BCB}" dt="2021-12-20T16:47:54.644" v="18761" actId="1036"/>
          <ac:spMkLst>
            <pc:docMk/>
            <pc:sldMk cId="4086539563" sldId="2147374217"/>
            <ac:spMk id="548" creationId="{1DFE9DF0-026E-9E46-91E6-D0544F289818}"/>
          </ac:spMkLst>
        </pc:spChg>
        <pc:spChg chg="mod">
          <ac:chgData name="Nick Robinson" userId="d0c2b313-4ae0-4040-8c6a-fec7a720a7b5" providerId="ADAL" clId="{190131DE-6250-C84F-B491-721E6CF30BCB}" dt="2021-12-20T15:48:40.057" v="18035"/>
          <ac:spMkLst>
            <pc:docMk/>
            <pc:sldMk cId="4086539563" sldId="2147374217"/>
            <ac:spMk id="550" creationId="{B9BF9A3F-BEE1-BB44-81C4-173F7B09D64A}"/>
          </ac:spMkLst>
        </pc:spChg>
        <pc:spChg chg="mod">
          <ac:chgData name="Nick Robinson" userId="d0c2b313-4ae0-4040-8c6a-fec7a720a7b5" providerId="ADAL" clId="{190131DE-6250-C84F-B491-721E6CF30BCB}" dt="2021-12-20T15:48:47.492" v="18041" actId="20577"/>
          <ac:spMkLst>
            <pc:docMk/>
            <pc:sldMk cId="4086539563" sldId="2147374217"/>
            <ac:spMk id="551" creationId="{B3708F13-B804-4B46-8A95-085CAAC60979}"/>
          </ac:spMkLst>
        </pc:spChg>
        <pc:spChg chg="mod">
          <ac:chgData name="Nick Robinson" userId="d0c2b313-4ae0-4040-8c6a-fec7a720a7b5" providerId="ADAL" clId="{190131DE-6250-C84F-B491-721E6CF30BCB}" dt="2021-12-20T15:48:40.844" v="18036"/>
          <ac:spMkLst>
            <pc:docMk/>
            <pc:sldMk cId="4086539563" sldId="2147374217"/>
            <ac:spMk id="553" creationId="{58B9DC41-4CA5-B443-8952-CFBDA8432820}"/>
          </ac:spMkLst>
        </pc:spChg>
        <pc:spChg chg="mod">
          <ac:chgData name="Nick Robinson" userId="d0c2b313-4ae0-4040-8c6a-fec7a720a7b5" providerId="ADAL" clId="{190131DE-6250-C84F-B491-721E6CF30BCB}" dt="2021-12-20T15:49:04.946" v="18047" actId="20577"/>
          <ac:spMkLst>
            <pc:docMk/>
            <pc:sldMk cId="4086539563" sldId="2147374217"/>
            <ac:spMk id="554" creationId="{C96EE91D-E942-CA41-8595-1852296FF2F9}"/>
          </ac:spMkLst>
        </pc:spChg>
        <pc:spChg chg="mod">
          <ac:chgData name="Nick Robinson" userId="d0c2b313-4ae0-4040-8c6a-fec7a720a7b5" providerId="ADAL" clId="{190131DE-6250-C84F-B491-721E6CF30BCB}" dt="2021-12-20T15:48:41.406" v="18037"/>
          <ac:spMkLst>
            <pc:docMk/>
            <pc:sldMk cId="4086539563" sldId="2147374217"/>
            <ac:spMk id="556" creationId="{9848F12F-B71D-9541-95A5-48CA260B665B}"/>
          </ac:spMkLst>
        </pc:spChg>
        <pc:spChg chg="mod">
          <ac:chgData name="Nick Robinson" userId="d0c2b313-4ae0-4040-8c6a-fec7a720a7b5" providerId="ADAL" clId="{190131DE-6250-C84F-B491-721E6CF30BCB}" dt="2021-12-20T15:48:57.179" v="18044" actId="20577"/>
          <ac:spMkLst>
            <pc:docMk/>
            <pc:sldMk cId="4086539563" sldId="2147374217"/>
            <ac:spMk id="557" creationId="{70D716ED-96B3-0945-AB4C-6857B8924D41}"/>
          </ac:spMkLst>
        </pc:spChg>
        <pc:spChg chg="mod topLvl">
          <ac:chgData name="Nick Robinson" userId="d0c2b313-4ae0-4040-8c6a-fec7a720a7b5" providerId="ADAL" clId="{190131DE-6250-C84F-B491-721E6CF30BCB}" dt="2021-12-20T16:43:53.840" v="18696" actId="207"/>
          <ac:spMkLst>
            <pc:docMk/>
            <pc:sldMk cId="4086539563" sldId="2147374217"/>
            <ac:spMk id="559" creationId="{D4CAB025-5A00-3F40-9E09-72B662164225}"/>
          </ac:spMkLst>
        </pc:spChg>
        <pc:spChg chg="mod topLvl">
          <ac:chgData name="Nick Robinson" userId="d0c2b313-4ae0-4040-8c6a-fec7a720a7b5" providerId="ADAL" clId="{190131DE-6250-C84F-B491-721E6CF30BCB}" dt="2021-12-20T16:44:00.998" v="18698" actId="1035"/>
          <ac:spMkLst>
            <pc:docMk/>
            <pc:sldMk cId="4086539563" sldId="2147374217"/>
            <ac:spMk id="560" creationId="{9FC51946-2CF9-664E-B6D0-54A54ABDDD2E}"/>
          </ac:spMkLst>
        </pc:spChg>
        <pc:spChg chg="mod topLvl">
          <ac:chgData name="Nick Robinson" userId="d0c2b313-4ae0-4040-8c6a-fec7a720a7b5" providerId="ADAL" clId="{190131DE-6250-C84F-B491-721E6CF30BCB}" dt="2021-12-20T15:52:25.129" v="18114" actId="478"/>
          <ac:spMkLst>
            <pc:docMk/>
            <pc:sldMk cId="4086539563" sldId="2147374217"/>
            <ac:spMk id="562" creationId="{75B1AB48-2162-4345-91E9-A684A27434FA}"/>
          </ac:spMkLst>
        </pc:spChg>
        <pc:spChg chg="add del mod topLvl">
          <ac:chgData name="Nick Robinson" userId="d0c2b313-4ae0-4040-8c6a-fec7a720a7b5" providerId="ADAL" clId="{190131DE-6250-C84F-B491-721E6CF30BCB}" dt="2021-12-20T15:52:38.149" v="18120" actId="1037"/>
          <ac:spMkLst>
            <pc:docMk/>
            <pc:sldMk cId="4086539563" sldId="2147374217"/>
            <ac:spMk id="563" creationId="{D5DBF712-D949-E149-AE9D-0C3DF4000354}"/>
          </ac:spMkLst>
        </pc:spChg>
        <pc:spChg chg="mod">
          <ac:chgData name="Nick Robinson" userId="d0c2b313-4ae0-4040-8c6a-fec7a720a7b5" providerId="ADAL" clId="{190131DE-6250-C84F-B491-721E6CF30BCB}" dt="2021-12-20T15:50:29.015" v="18066"/>
          <ac:spMkLst>
            <pc:docMk/>
            <pc:sldMk cId="4086539563" sldId="2147374217"/>
            <ac:spMk id="565" creationId="{20AA627D-F678-3747-9F37-687B75B2F409}"/>
          </ac:spMkLst>
        </pc:spChg>
        <pc:spChg chg="mod">
          <ac:chgData name="Nick Robinson" userId="d0c2b313-4ae0-4040-8c6a-fec7a720a7b5" providerId="ADAL" clId="{190131DE-6250-C84F-B491-721E6CF30BCB}" dt="2021-12-20T15:52:03.776" v="18108" actId="20577"/>
          <ac:spMkLst>
            <pc:docMk/>
            <pc:sldMk cId="4086539563" sldId="2147374217"/>
            <ac:spMk id="566" creationId="{0B65F537-8D76-2141-AB0B-D5F4E133CC3E}"/>
          </ac:spMkLst>
        </pc:spChg>
        <pc:spChg chg="mod">
          <ac:chgData name="Nick Robinson" userId="d0c2b313-4ae0-4040-8c6a-fec7a720a7b5" providerId="ADAL" clId="{190131DE-6250-C84F-B491-721E6CF30BCB}" dt="2021-12-20T15:50:29.576" v="18067"/>
          <ac:spMkLst>
            <pc:docMk/>
            <pc:sldMk cId="4086539563" sldId="2147374217"/>
            <ac:spMk id="568" creationId="{223FF992-5CED-934A-9C23-6F63D269663D}"/>
          </ac:spMkLst>
        </pc:spChg>
        <pc:spChg chg="mod">
          <ac:chgData name="Nick Robinson" userId="d0c2b313-4ae0-4040-8c6a-fec7a720a7b5" providerId="ADAL" clId="{190131DE-6250-C84F-B491-721E6CF30BCB}" dt="2021-12-20T15:51:55.078" v="18103" actId="20577"/>
          <ac:spMkLst>
            <pc:docMk/>
            <pc:sldMk cId="4086539563" sldId="2147374217"/>
            <ac:spMk id="569" creationId="{F105FCB3-681C-264F-9F07-A19C28C84F5B}"/>
          </ac:spMkLst>
        </pc:spChg>
        <pc:spChg chg="mod">
          <ac:chgData name="Nick Robinson" userId="d0c2b313-4ae0-4040-8c6a-fec7a720a7b5" providerId="ADAL" clId="{190131DE-6250-C84F-B491-721E6CF30BCB}" dt="2021-12-20T15:50:30.083" v="18068"/>
          <ac:spMkLst>
            <pc:docMk/>
            <pc:sldMk cId="4086539563" sldId="2147374217"/>
            <ac:spMk id="571" creationId="{E5446B90-1667-344E-8C17-261069009ACD}"/>
          </ac:spMkLst>
        </pc:spChg>
        <pc:spChg chg="mod">
          <ac:chgData name="Nick Robinson" userId="d0c2b313-4ae0-4040-8c6a-fec7a720a7b5" providerId="ADAL" clId="{190131DE-6250-C84F-B491-721E6CF30BCB}" dt="2021-12-20T15:51:44.117" v="18098" actId="20577"/>
          <ac:spMkLst>
            <pc:docMk/>
            <pc:sldMk cId="4086539563" sldId="2147374217"/>
            <ac:spMk id="572" creationId="{DE10E2B9-8419-A741-9EBD-96151E843330}"/>
          </ac:spMkLst>
        </pc:spChg>
        <pc:spChg chg="mod">
          <ac:chgData name="Nick Robinson" userId="d0c2b313-4ae0-4040-8c6a-fec7a720a7b5" providerId="ADAL" clId="{190131DE-6250-C84F-B491-721E6CF30BCB}" dt="2021-12-20T15:50:30.287" v="18069"/>
          <ac:spMkLst>
            <pc:docMk/>
            <pc:sldMk cId="4086539563" sldId="2147374217"/>
            <ac:spMk id="574" creationId="{EB4E0C03-D98C-A24B-AE42-E64488D378F4}"/>
          </ac:spMkLst>
        </pc:spChg>
        <pc:spChg chg="mod">
          <ac:chgData name="Nick Robinson" userId="d0c2b313-4ae0-4040-8c6a-fec7a720a7b5" providerId="ADAL" clId="{190131DE-6250-C84F-B491-721E6CF30BCB}" dt="2021-12-20T15:51:35.145" v="18092" actId="20577"/>
          <ac:spMkLst>
            <pc:docMk/>
            <pc:sldMk cId="4086539563" sldId="2147374217"/>
            <ac:spMk id="575" creationId="{72175242-4DDD-B54B-B450-36ED88AD7A87}"/>
          </ac:spMkLst>
        </pc:spChg>
        <pc:spChg chg="mod">
          <ac:chgData name="Nick Robinson" userId="d0c2b313-4ae0-4040-8c6a-fec7a720a7b5" providerId="ADAL" clId="{190131DE-6250-C84F-B491-721E6CF30BCB}" dt="2021-12-20T15:50:30.482" v="18070"/>
          <ac:spMkLst>
            <pc:docMk/>
            <pc:sldMk cId="4086539563" sldId="2147374217"/>
            <ac:spMk id="577" creationId="{88C47CEC-B604-8D4A-B6C7-39CD96CCCF50}"/>
          </ac:spMkLst>
        </pc:spChg>
        <pc:spChg chg="mod">
          <ac:chgData name="Nick Robinson" userId="d0c2b313-4ae0-4040-8c6a-fec7a720a7b5" providerId="ADAL" clId="{190131DE-6250-C84F-B491-721E6CF30BCB}" dt="2021-12-20T15:51:27.110" v="18089" actId="20577"/>
          <ac:spMkLst>
            <pc:docMk/>
            <pc:sldMk cId="4086539563" sldId="2147374217"/>
            <ac:spMk id="578" creationId="{09C52221-03BB-F449-B147-611AD7E5FD1A}"/>
          </ac:spMkLst>
        </pc:spChg>
        <pc:spChg chg="mod">
          <ac:chgData name="Nick Robinson" userId="d0c2b313-4ae0-4040-8c6a-fec7a720a7b5" providerId="ADAL" clId="{190131DE-6250-C84F-B491-721E6CF30BCB}" dt="2021-12-20T15:50:31.242" v="18071"/>
          <ac:spMkLst>
            <pc:docMk/>
            <pc:sldMk cId="4086539563" sldId="2147374217"/>
            <ac:spMk id="580" creationId="{3522FCDD-A3CA-FA4A-B6D2-3BE5506F16AD}"/>
          </ac:spMkLst>
        </pc:spChg>
        <pc:spChg chg="mod">
          <ac:chgData name="Nick Robinson" userId="d0c2b313-4ae0-4040-8c6a-fec7a720a7b5" providerId="ADAL" clId="{190131DE-6250-C84F-B491-721E6CF30BCB}" dt="2021-12-20T15:51:17.898" v="18086" actId="20577"/>
          <ac:spMkLst>
            <pc:docMk/>
            <pc:sldMk cId="4086539563" sldId="2147374217"/>
            <ac:spMk id="581" creationId="{5D8570BE-E905-BA44-BC19-5D4A1CC1C9C2}"/>
          </ac:spMkLst>
        </pc:spChg>
        <pc:spChg chg="mod">
          <ac:chgData name="Nick Robinson" userId="d0c2b313-4ae0-4040-8c6a-fec7a720a7b5" providerId="ADAL" clId="{190131DE-6250-C84F-B491-721E6CF30BCB}" dt="2021-12-20T15:50:31.459" v="18072"/>
          <ac:spMkLst>
            <pc:docMk/>
            <pc:sldMk cId="4086539563" sldId="2147374217"/>
            <ac:spMk id="583" creationId="{BF8B6FDE-6377-2A4D-AFDA-1FC2ACDD7463}"/>
          </ac:spMkLst>
        </pc:spChg>
        <pc:spChg chg="mod">
          <ac:chgData name="Nick Robinson" userId="d0c2b313-4ae0-4040-8c6a-fec7a720a7b5" providerId="ADAL" clId="{190131DE-6250-C84F-B491-721E6CF30BCB}" dt="2021-12-20T15:50:52.192" v="18079" actId="20577"/>
          <ac:spMkLst>
            <pc:docMk/>
            <pc:sldMk cId="4086539563" sldId="2147374217"/>
            <ac:spMk id="584" creationId="{F4B27743-FA81-434F-9A0F-9CF4C8F9FC26}"/>
          </ac:spMkLst>
        </pc:spChg>
        <pc:spChg chg="mod">
          <ac:chgData name="Nick Robinson" userId="d0c2b313-4ae0-4040-8c6a-fec7a720a7b5" providerId="ADAL" clId="{190131DE-6250-C84F-B491-721E6CF30BCB}" dt="2021-12-20T16:18:18.670" v="18458" actId="207"/>
          <ac:spMkLst>
            <pc:docMk/>
            <pc:sldMk cId="4086539563" sldId="2147374217"/>
            <ac:spMk id="586" creationId="{6318A786-55C5-954A-A2CA-4FE064A2C990}"/>
          </ac:spMkLst>
        </pc:spChg>
        <pc:spChg chg="mod">
          <ac:chgData name="Nick Robinson" userId="d0c2b313-4ae0-4040-8c6a-fec7a720a7b5" providerId="ADAL" clId="{190131DE-6250-C84F-B491-721E6CF30BCB}" dt="2021-12-20T16:17:59.535" v="18456" actId="207"/>
          <ac:spMkLst>
            <pc:docMk/>
            <pc:sldMk cId="4086539563" sldId="2147374217"/>
            <ac:spMk id="587" creationId="{7C76DEA4-1B8A-204A-AD1E-47B282B149F4}"/>
          </ac:spMkLst>
        </pc:spChg>
        <pc:spChg chg="mod">
          <ac:chgData name="Nick Robinson" userId="d0c2b313-4ae0-4040-8c6a-fec7a720a7b5" providerId="ADAL" clId="{190131DE-6250-C84F-B491-721E6CF30BCB}" dt="2021-12-20T15:53:02.810" v="18124"/>
          <ac:spMkLst>
            <pc:docMk/>
            <pc:sldMk cId="4086539563" sldId="2147374217"/>
            <ac:spMk id="589" creationId="{4F181A10-1E05-6546-B59D-6BF1D271EF9D}"/>
          </ac:spMkLst>
        </pc:spChg>
        <pc:spChg chg="mod">
          <ac:chgData name="Nick Robinson" userId="d0c2b313-4ae0-4040-8c6a-fec7a720a7b5" providerId="ADAL" clId="{190131DE-6250-C84F-B491-721E6CF30BCB}" dt="2021-12-20T15:53:02.810" v="18124"/>
          <ac:spMkLst>
            <pc:docMk/>
            <pc:sldMk cId="4086539563" sldId="2147374217"/>
            <ac:spMk id="590" creationId="{90809715-BCE6-7A4D-AA0D-4AB83E669F14}"/>
          </ac:spMkLst>
        </pc:spChg>
        <pc:spChg chg="mod">
          <ac:chgData name="Nick Robinson" userId="d0c2b313-4ae0-4040-8c6a-fec7a720a7b5" providerId="ADAL" clId="{190131DE-6250-C84F-B491-721E6CF30BCB}" dt="2021-12-20T15:53:06.518" v="18127"/>
          <ac:spMkLst>
            <pc:docMk/>
            <pc:sldMk cId="4086539563" sldId="2147374217"/>
            <ac:spMk id="592" creationId="{3250E1E9-5F71-A948-B438-616DF4095236}"/>
          </ac:spMkLst>
        </pc:spChg>
        <pc:spChg chg="mod">
          <ac:chgData name="Nick Robinson" userId="d0c2b313-4ae0-4040-8c6a-fec7a720a7b5" providerId="ADAL" clId="{190131DE-6250-C84F-B491-721E6CF30BCB}" dt="2021-12-20T15:56:53.223" v="18216" actId="20577"/>
          <ac:spMkLst>
            <pc:docMk/>
            <pc:sldMk cId="4086539563" sldId="2147374217"/>
            <ac:spMk id="593" creationId="{908C53DD-0E88-684E-98F9-8F4797A0B0C2}"/>
          </ac:spMkLst>
        </pc:spChg>
        <pc:spChg chg="mod">
          <ac:chgData name="Nick Robinson" userId="d0c2b313-4ae0-4040-8c6a-fec7a720a7b5" providerId="ADAL" clId="{190131DE-6250-C84F-B491-721E6CF30BCB}" dt="2021-12-20T15:53:07.617" v="18128"/>
          <ac:spMkLst>
            <pc:docMk/>
            <pc:sldMk cId="4086539563" sldId="2147374217"/>
            <ac:spMk id="595" creationId="{E05A19AF-A1C8-624A-A500-25D6E03A36A4}"/>
          </ac:spMkLst>
        </pc:spChg>
        <pc:spChg chg="mod">
          <ac:chgData name="Nick Robinson" userId="d0c2b313-4ae0-4040-8c6a-fec7a720a7b5" providerId="ADAL" clId="{190131DE-6250-C84F-B491-721E6CF30BCB}" dt="2021-12-20T15:55:06.908" v="18175" actId="20577"/>
          <ac:spMkLst>
            <pc:docMk/>
            <pc:sldMk cId="4086539563" sldId="2147374217"/>
            <ac:spMk id="596" creationId="{596F3D2A-F1BA-4040-81AA-4D52199577C1}"/>
          </ac:spMkLst>
        </pc:spChg>
        <pc:spChg chg="mod">
          <ac:chgData name="Nick Robinson" userId="d0c2b313-4ae0-4040-8c6a-fec7a720a7b5" providerId="ADAL" clId="{190131DE-6250-C84F-B491-721E6CF30BCB}" dt="2021-12-20T15:53:07.814" v="18129"/>
          <ac:spMkLst>
            <pc:docMk/>
            <pc:sldMk cId="4086539563" sldId="2147374217"/>
            <ac:spMk id="598" creationId="{BBD3B58A-8966-7F42-A7DE-E762FA5C60EA}"/>
          </ac:spMkLst>
        </pc:spChg>
        <pc:spChg chg="mod">
          <ac:chgData name="Nick Robinson" userId="d0c2b313-4ae0-4040-8c6a-fec7a720a7b5" providerId="ADAL" clId="{190131DE-6250-C84F-B491-721E6CF30BCB}" dt="2021-12-20T15:54:55.849" v="18172" actId="20577"/>
          <ac:spMkLst>
            <pc:docMk/>
            <pc:sldMk cId="4086539563" sldId="2147374217"/>
            <ac:spMk id="599" creationId="{458AE319-E88D-014E-BF24-CBC7F8EFB443}"/>
          </ac:spMkLst>
        </pc:spChg>
        <pc:spChg chg="mod">
          <ac:chgData name="Nick Robinson" userId="d0c2b313-4ae0-4040-8c6a-fec7a720a7b5" providerId="ADAL" clId="{190131DE-6250-C84F-B491-721E6CF30BCB}" dt="2021-12-20T15:53:08.639" v="18130"/>
          <ac:spMkLst>
            <pc:docMk/>
            <pc:sldMk cId="4086539563" sldId="2147374217"/>
            <ac:spMk id="601" creationId="{A2FCF461-4E2C-6C42-A4BC-805783785555}"/>
          </ac:spMkLst>
        </pc:spChg>
        <pc:spChg chg="mod">
          <ac:chgData name="Nick Robinson" userId="d0c2b313-4ae0-4040-8c6a-fec7a720a7b5" providerId="ADAL" clId="{190131DE-6250-C84F-B491-721E6CF30BCB}" dt="2021-12-20T15:54:41.705" v="18167" actId="20577"/>
          <ac:spMkLst>
            <pc:docMk/>
            <pc:sldMk cId="4086539563" sldId="2147374217"/>
            <ac:spMk id="602" creationId="{C430DB7F-217A-8048-9CD0-E7CB45944849}"/>
          </ac:spMkLst>
        </pc:spChg>
        <pc:spChg chg="mod">
          <ac:chgData name="Nick Robinson" userId="d0c2b313-4ae0-4040-8c6a-fec7a720a7b5" providerId="ADAL" clId="{190131DE-6250-C84F-B491-721E6CF30BCB}" dt="2021-12-20T15:53:09.453" v="18131"/>
          <ac:spMkLst>
            <pc:docMk/>
            <pc:sldMk cId="4086539563" sldId="2147374217"/>
            <ac:spMk id="604" creationId="{44F0715B-64DC-3843-B2C4-CC5F52E0B0E2}"/>
          </ac:spMkLst>
        </pc:spChg>
        <pc:spChg chg="mod">
          <ac:chgData name="Nick Robinson" userId="d0c2b313-4ae0-4040-8c6a-fec7a720a7b5" providerId="ADAL" clId="{190131DE-6250-C84F-B491-721E6CF30BCB}" dt="2021-12-20T15:54:32.987" v="18164" actId="20577"/>
          <ac:spMkLst>
            <pc:docMk/>
            <pc:sldMk cId="4086539563" sldId="2147374217"/>
            <ac:spMk id="605" creationId="{E8306314-A6B6-4741-8F0A-B51D8614BE6D}"/>
          </ac:spMkLst>
        </pc:spChg>
        <pc:spChg chg="mod">
          <ac:chgData name="Nick Robinson" userId="d0c2b313-4ae0-4040-8c6a-fec7a720a7b5" providerId="ADAL" clId="{190131DE-6250-C84F-B491-721E6CF30BCB}" dt="2021-12-20T15:53:10.098" v="18132"/>
          <ac:spMkLst>
            <pc:docMk/>
            <pc:sldMk cId="4086539563" sldId="2147374217"/>
            <ac:spMk id="607" creationId="{D69C7B8B-1B57-C544-B820-70895CF71E6F}"/>
          </ac:spMkLst>
        </pc:spChg>
        <pc:spChg chg="mod">
          <ac:chgData name="Nick Robinson" userId="d0c2b313-4ae0-4040-8c6a-fec7a720a7b5" providerId="ADAL" clId="{190131DE-6250-C84F-B491-721E6CF30BCB}" dt="2021-12-20T15:54:19.894" v="18161" actId="20577"/>
          <ac:spMkLst>
            <pc:docMk/>
            <pc:sldMk cId="4086539563" sldId="2147374217"/>
            <ac:spMk id="608" creationId="{1B892A0B-658D-FB4B-8F9E-2C5AFA7408B6}"/>
          </ac:spMkLst>
        </pc:spChg>
        <pc:spChg chg="mod">
          <ac:chgData name="Nick Robinson" userId="d0c2b313-4ae0-4040-8c6a-fec7a720a7b5" providerId="ADAL" clId="{190131DE-6250-C84F-B491-721E6CF30BCB}" dt="2021-12-20T15:53:10.740" v="18133"/>
          <ac:spMkLst>
            <pc:docMk/>
            <pc:sldMk cId="4086539563" sldId="2147374217"/>
            <ac:spMk id="610" creationId="{992EEE2F-A12C-A341-A6DD-A24D09E5742E}"/>
          </ac:spMkLst>
        </pc:spChg>
        <pc:spChg chg="mod">
          <ac:chgData name="Nick Robinson" userId="d0c2b313-4ae0-4040-8c6a-fec7a720a7b5" providerId="ADAL" clId="{190131DE-6250-C84F-B491-721E6CF30BCB}" dt="2021-12-20T15:54:10.284" v="18158" actId="20577"/>
          <ac:spMkLst>
            <pc:docMk/>
            <pc:sldMk cId="4086539563" sldId="2147374217"/>
            <ac:spMk id="611" creationId="{A70E80DF-FAD7-6C44-8E3D-A3EB2527F811}"/>
          </ac:spMkLst>
        </pc:spChg>
        <pc:spChg chg="mod">
          <ac:chgData name="Nick Robinson" userId="d0c2b313-4ae0-4040-8c6a-fec7a720a7b5" providerId="ADAL" clId="{190131DE-6250-C84F-B491-721E6CF30BCB}" dt="2021-12-20T15:53:10.930" v="18134"/>
          <ac:spMkLst>
            <pc:docMk/>
            <pc:sldMk cId="4086539563" sldId="2147374217"/>
            <ac:spMk id="613" creationId="{3640BDFA-E34A-B646-9446-654DBABFF07D}"/>
          </ac:spMkLst>
        </pc:spChg>
        <pc:spChg chg="mod">
          <ac:chgData name="Nick Robinson" userId="d0c2b313-4ae0-4040-8c6a-fec7a720a7b5" providerId="ADAL" clId="{190131DE-6250-C84F-B491-721E6CF30BCB}" dt="2021-12-20T15:54:00.109" v="18154" actId="20577"/>
          <ac:spMkLst>
            <pc:docMk/>
            <pc:sldMk cId="4086539563" sldId="2147374217"/>
            <ac:spMk id="614" creationId="{F8DD7814-1BC4-3746-8D4B-4245BC0AF035}"/>
          </ac:spMkLst>
        </pc:spChg>
        <pc:spChg chg="mod">
          <ac:chgData name="Nick Robinson" userId="d0c2b313-4ae0-4040-8c6a-fec7a720a7b5" providerId="ADAL" clId="{190131DE-6250-C84F-B491-721E6CF30BCB}" dt="2021-12-20T15:53:11.523" v="18135"/>
          <ac:spMkLst>
            <pc:docMk/>
            <pc:sldMk cId="4086539563" sldId="2147374217"/>
            <ac:spMk id="616" creationId="{309D28F7-1805-4E4C-A17D-7DB66B5A64F1}"/>
          </ac:spMkLst>
        </pc:spChg>
        <pc:spChg chg="mod">
          <ac:chgData name="Nick Robinson" userId="d0c2b313-4ae0-4040-8c6a-fec7a720a7b5" providerId="ADAL" clId="{190131DE-6250-C84F-B491-721E6CF30BCB}" dt="2021-12-20T15:53:28.517" v="18148" actId="20577"/>
          <ac:spMkLst>
            <pc:docMk/>
            <pc:sldMk cId="4086539563" sldId="2147374217"/>
            <ac:spMk id="617" creationId="{763CAD83-DC7F-4643-9E58-C7919DDD72B7}"/>
          </ac:spMkLst>
        </pc:spChg>
        <pc:spChg chg="mod">
          <ac:chgData name="Nick Robinson" userId="d0c2b313-4ae0-4040-8c6a-fec7a720a7b5" providerId="ADAL" clId="{190131DE-6250-C84F-B491-721E6CF30BCB}" dt="2021-12-20T16:18:24.885" v="18459" actId="207"/>
          <ac:spMkLst>
            <pc:docMk/>
            <pc:sldMk cId="4086539563" sldId="2147374217"/>
            <ac:spMk id="619" creationId="{91031BB4-B6FC-6849-B528-6A7382184471}"/>
          </ac:spMkLst>
        </pc:spChg>
        <pc:spChg chg="mod">
          <ac:chgData name="Nick Robinson" userId="d0c2b313-4ae0-4040-8c6a-fec7a720a7b5" providerId="ADAL" clId="{190131DE-6250-C84F-B491-721E6CF30BCB}" dt="2021-12-20T16:17:59.535" v="18456" actId="207"/>
          <ac:spMkLst>
            <pc:docMk/>
            <pc:sldMk cId="4086539563" sldId="2147374217"/>
            <ac:spMk id="620" creationId="{BC59001C-8B15-3845-BBEC-13C9D4A8B0D4}"/>
          </ac:spMkLst>
        </pc:spChg>
        <pc:spChg chg="mod">
          <ac:chgData name="Nick Robinson" userId="d0c2b313-4ae0-4040-8c6a-fec7a720a7b5" providerId="ADAL" clId="{190131DE-6250-C84F-B491-721E6CF30BCB}" dt="2021-12-20T15:55:13.644" v="18177"/>
          <ac:spMkLst>
            <pc:docMk/>
            <pc:sldMk cId="4086539563" sldId="2147374217"/>
            <ac:spMk id="622" creationId="{1FA650EA-1D02-C24B-A4AB-FE6B1C809F29}"/>
          </ac:spMkLst>
        </pc:spChg>
        <pc:spChg chg="mod">
          <ac:chgData name="Nick Robinson" userId="d0c2b313-4ae0-4040-8c6a-fec7a720a7b5" providerId="ADAL" clId="{190131DE-6250-C84F-B491-721E6CF30BCB}" dt="2021-12-20T15:55:17.726" v="18181" actId="20577"/>
          <ac:spMkLst>
            <pc:docMk/>
            <pc:sldMk cId="4086539563" sldId="2147374217"/>
            <ac:spMk id="623" creationId="{032B2F0D-7F13-A442-AC03-B8A7271CAF04}"/>
          </ac:spMkLst>
        </pc:spChg>
        <pc:spChg chg="mod">
          <ac:chgData name="Nick Robinson" userId="d0c2b313-4ae0-4040-8c6a-fec7a720a7b5" providerId="ADAL" clId="{190131DE-6250-C84F-B491-721E6CF30BCB}" dt="2021-12-20T15:55:47.498" v="18187"/>
          <ac:spMkLst>
            <pc:docMk/>
            <pc:sldMk cId="4086539563" sldId="2147374217"/>
            <ac:spMk id="625" creationId="{FB08585F-E0FE-E646-BD5C-9BCD567D50C4}"/>
          </ac:spMkLst>
        </pc:spChg>
        <pc:spChg chg="mod">
          <ac:chgData name="Nick Robinson" userId="d0c2b313-4ae0-4040-8c6a-fec7a720a7b5" providerId="ADAL" clId="{190131DE-6250-C84F-B491-721E6CF30BCB}" dt="2021-12-20T15:56:45.571" v="18213" actId="20577"/>
          <ac:spMkLst>
            <pc:docMk/>
            <pc:sldMk cId="4086539563" sldId="2147374217"/>
            <ac:spMk id="626" creationId="{8CF610CC-D8B9-FB41-AEBA-92ED1E37B7AB}"/>
          </ac:spMkLst>
        </pc:spChg>
        <pc:spChg chg="mod">
          <ac:chgData name="Nick Robinson" userId="d0c2b313-4ae0-4040-8c6a-fec7a720a7b5" providerId="ADAL" clId="{190131DE-6250-C84F-B491-721E6CF30BCB}" dt="2021-12-20T15:55:47.750" v="18188"/>
          <ac:spMkLst>
            <pc:docMk/>
            <pc:sldMk cId="4086539563" sldId="2147374217"/>
            <ac:spMk id="628" creationId="{210D7FD8-08C9-A04D-89C6-9E06E61F98E7}"/>
          </ac:spMkLst>
        </pc:spChg>
        <pc:spChg chg="mod">
          <ac:chgData name="Nick Robinson" userId="d0c2b313-4ae0-4040-8c6a-fec7a720a7b5" providerId="ADAL" clId="{190131DE-6250-C84F-B491-721E6CF30BCB}" dt="2021-12-20T15:56:37.732" v="18210" actId="20577"/>
          <ac:spMkLst>
            <pc:docMk/>
            <pc:sldMk cId="4086539563" sldId="2147374217"/>
            <ac:spMk id="629" creationId="{A1536580-E448-584B-81D2-53322CD00C5E}"/>
          </ac:spMkLst>
        </pc:spChg>
        <pc:spChg chg="mod">
          <ac:chgData name="Nick Robinson" userId="d0c2b313-4ae0-4040-8c6a-fec7a720a7b5" providerId="ADAL" clId="{190131DE-6250-C84F-B491-721E6CF30BCB}" dt="2021-12-20T15:55:48.343" v="18189"/>
          <ac:spMkLst>
            <pc:docMk/>
            <pc:sldMk cId="4086539563" sldId="2147374217"/>
            <ac:spMk id="631" creationId="{1FE2CE45-758F-0547-B277-6836ECDFC690}"/>
          </ac:spMkLst>
        </pc:spChg>
        <pc:spChg chg="mod">
          <ac:chgData name="Nick Robinson" userId="d0c2b313-4ae0-4040-8c6a-fec7a720a7b5" providerId="ADAL" clId="{190131DE-6250-C84F-B491-721E6CF30BCB}" dt="2021-12-20T15:56:30.025" v="18207" actId="20577"/>
          <ac:spMkLst>
            <pc:docMk/>
            <pc:sldMk cId="4086539563" sldId="2147374217"/>
            <ac:spMk id="632" creationId="{18BD67BA-B1FE-8B4D-A003-AFC55CBBE40D}"/>
          </ac:spMkLst>
        </pc:spChg>
        <pc:spChg chg="mod">
          <ac:chgData name="Nick Robinson" userId="d0c2b313-4ae0-4040-8c6a-fec7a720a7b5" providerId="ADAL" clId="{190131DE-6250-C84F-B491-721E6CF30BCB}" dt="2021-12-20T15:55:49.220" v="18190"/>
          <ac:spMkLst>
            <pc:docMk/>
            <pc:sldMk cId="4086539563" sldId="2147374217"/>
            <ac:spMk id="634" creationId="{C7A74526-115B-CE4E-90B8-2898F1115129}"/>
          </ac:spMkLst>
        </pc:spChg>
        <pc:spChg chg="mod">
          <ac:chgData name="Nick Robinson" userId="d0c2b313-4ae0-4040-8c6a-fec7a720a7b5" providerId="ADAL" clId="{190131DE-6250-C84F-B491-721E6CF30BCB}" dt="2021-12-20T15:56:18.921" v="18203" actId="20577"/>
          <ac:spMkLst>
            <pc:docMk/>
            <pc:sldMk cId="4086539563" sldId="2147374217"/>
            <ac:spMk id="635" creationId="{00008A53-0ADD-4E44-AFF8-ADDE33510289}"/>
          </ac:spMkLst>
        </pc:spChg>
        <pc:spChg chg="mod">
          <ac:chgData name="Nick Robinson" userId="d0c2b313-4ae0-4040-8c6a-fec7a720a7b5" providerId="ADAL" clId="{190131DE-6250-C84F-B491-721E6CF30BCB}" dt="2021-12-20T15:55:49.836" v="18191"/>
          <ac:spMkLst>
            <pc:docMk/>
            <pc:sldMk cId="4086539563" sldId="2147374217"/>
            <ac:spMk id="637" creationId="{3C9BAF49-C2C0-A249-98D0-F5411D001BE4}"/>
          </ac:spMkLst>
        </pc:spChg>
        <pc:spChg chg="mod">
          <ac:chgData name="Nick Robinson" userId="d0c2b313-4ae0-4040-8c6a-fec7a720a7b5" providerId="ADAL" clId="{190131DE-6250-C84F-B491-721E6CF30BCB}" dt="2021-12-20T15:56:10.860" v="18200" actId="20577"/>
          <ac:spMkLst>
            <pc:docMk/>
            <pc:sldMk cId="4086539563" sldId="2147374217"/>
            <ac:spMk id="638" creationId="{0954B6FF-6395-164A-BB94-A48ABA40FEA7}"/>
          </ac:spMkLst>
        </pc:spChg>
        <pc:spChg chg="mod">
          <ac:chgData name="Nick Robinson" userId="d0c2b313-4ae0-4040-8c6a-fec7a720a7b5" providerId="ADAL" clId="{190131DE-6250-C84F-B491-721E6CF30BCB}" dt="2021-12-20T16:12:23.226" v="18442" actId="207"/>
          <ac:spMkLst>
            <pc:docMk/>
            <pc:sldMk cId="4086539563" sldId="2147374217"/>
            <ac:spMk id="640" creationId="{503B1395-390E-CD48-B957-88C5965A61FB}"/>
          </ac:spMkLst>
        </pc:spChg>
        <pc:spChg chg="mod">
          <ac:chgData name="Nick Robinson" userId="d0c2b313-4ae0-4040-8c6a-fec7a720a7b5" providerId="ADAL" clId="{190131DE-6250-C84F-B491-721E6CF30BCB}" dt="2021-12-20T16:11:54.225" v="18440" actId="207"/>
          <ac:spMkLst>
            <pc:docMk/>
            <pc:sldMk cId="4086539563" sldId="2147374217"/>
            <ac:spMk id="641" creationId="{CFC8575A-2D63-0A4C-8C93-5335B0B8452F}"/>
          </ac:spMkLst>
        </pc:spChg>
        <pc:spChg chg="mod">
          <ac:chgData name="Nick Robinson" userId="d0c2b313-4ae0-4040-8c6a-fec7a720a7b5" providerId="ADAL" clId="{190131DE-6250-C84F-B491-721E6CF30BCB}" dt="2021-12-20T16:18:39.677" v="18460" actId="207"/>
          <ac:spMkLst>
            <pc:docMk/>
            <pc:sldMk cId="4086539563" sldId="2147374217"/>
            <ac:spMk id="643" creationId="{25F44993-9CBC-844C-9C52-0F3A1A5EEF41}"/>
          </ac:spMkLst>
        </pc:spChg>
        <pc:spChg chg="mod">
          <ac:chgData name="Nick Robinson" userId="d0c2b313-4ae0-4040-8c6a-fec7a720a7b5" providerId="ADAL" clId="{190131DE-6250-C84F-B491-721E6CF30BCB}" dt="2021-12-20T16:17:59.535" v="18456" actId="207"/>
          <ac:spMkLst>
            <pc:docMk/>
            <pc:sldMk cId="4086539563" sldId="2147374217"/>
            <ac:spMk id="644" creationId="{812EFFDE-7A74-4D4A-957A-116F25772EFD}"/>
          </ac:spMkLst>
        </pc:spChg>
        <pc:spChg chg="mod">
          <ac:chgData name="Nick Robinson" userId="d0c2b313-4ae0-4040-8c6a-fec7a720a7b5" providerId="ADAL" clId="{190131DE-6250-C84F-B491-721E6CF30BCB}" dt="2021-12-20T15:57:25.822" v="18218"/>
          <ac:spMkLst>
            <pc:docMk/>
            <pc:sldMk cId="4086539563" sldId="2147374217"/>
            <ac:spMk id="646" creationId="{BC58A8A0-B7B0-ED4E-9660-40422360C2BD}"/>
          </ac:spMkLst>
        </pc:spChg>
        <pc:spChg chg="mod">
          <ac:chgData name="Nick Robinson" userId="d0c2b313-4ae0-4040-8c6a-fec7a720a7b5" providerId="ADAL" clId="{190131DE-6250-C84F-B491-721E6CF30BCB}" dt="2021-12-20T16:00:06.329" v="18292" actId="20577"/>
          <ac:spMkLst>
            <pc:docMk/>
            <pc:sldMk cId="4086539563" sldId="2147374217"/>
            <ac:spMk id="647" creationId="{F7CE5E58-1043-B645-AD01-E97816D18815}"/>
          </ac:spMkLst>
        </pc:spChg>
        <pc:spChg chg="mod">
          <ac:chgData name="Nick Robinson" userId="d0c2b313-4ae0-4040-8c6a-fec7a720a7b5" providerId="ADAL" clId="{190131DE-6250-C84F-B491-721E6CF30BCB}" dt="2021-12-20T15:57:28.651" v="18220"/>
          <ac:spMkLst>
            <pc:docMk/>
            <pc:sldMk cId="4086539563" sldId="2147374217"/>
            <ac:spMk id="649" creationId="{4670A4AC-5A6F-8049-9136-3C9786F3399B}"/>
          </ac:spMkLst>
        </pc:spChg>
        <pc:spChg chg="mod">
          <ac:chgData name="Nick Robinson" userId="d0c2b313-4ae0-4040-8c6a-fec7a720a7b5" providerId="ADAL" clId="{190131DE-6250-C84F-B491-721E6CF30BCB}" dt="2021-12-20T15:58:38.115" v="18253" actId="20577"/>
          <ac:spMkLst>
            <pc:docMk/>
            <pc:sldMk cId="4086539563" sldId="2147374217"/>
            <ac:spMk id="650" creationId="{C742CD72-A847-234A-806B-F034F020A99F}"/>
          </ac:spMkLst>
        </pc:spChg>
        <pc:spChg chg="mod">
          <ac:chgData name="Nick Robinson" userId="d0c2b313-4ae0-4040-8c6a-fec7a720a7b5" providerId="ADAL" clId="{190131DE-6250-C84F-B491-721E6CF30BCB}" dt="2021-12-20T15:57:29.690" v="18221"/>
          <ac:spMkLst>
            <pc:docMk/>
            <pc:sldMk cId="4086539563" sldId="2147374217"/>
            <ac:spMk id="652" creationId="{739E1100-2070-004B-A503-026EE644B707}"/>
          </ac:spMkLst>
        </pc:spChg>
        <pc:spChg chg="mod">
          <ac:chgData name="Nick Robinson" userId="d0c2b313-4ae0-4040-8c6a-fec7a720a7b5" providerId="ADAL" clId="{190131DE-6250-C84F-B491-721E6CF30BCB}" dt="2021-12-20T15:58:30.644" v="18250" actId="20577"/>
          <ac:spMkLst>
            <pc:docMk/>
            <pc:sldMk cId="4086539563" sldId="2147374217"/>
            <ac:spMk id="653" creationId="{93BF6D9B-5606-AB45-81AB-39F9FB87C61B}"/>
          </ac:spMkLst>
        </pc:spChg>
        <pc:spChg chg="mod">
          <ac:chgData name="Nick Robinson" userId="d0c2b313-4ae0-4040-8c6a-fec7a720a7b5" providerId="ADAL" clId="{190131DE-6250-C84F-B491-721E6CF30BCB}" dt="2021-12-20T15:57:30.368" v="18222"/>
          <ac:spMkLst>
            <pc:docMk/>
            <pc:sldMk cId="4086539563" sldId="2147374217"/>
            <ac:spMk id="655" creationId="{FA48347F-F99E-F142-A214-199177F47A82}"/>
          </ac:spMkLst>
        </pc:spChg>
        <pc:spChg chg="mod">
          <ac:chgData name="Nick Robinson" userId="d0c2b313-4ae0-4040-8c6a-fec7a720a7b5" providerId="ADAL" clId="{190131DE-6250-C84F-B491-721E6CF30BCB}" dt="2021-12-20T15:58:23.231" v="18246" actId="20577"/>
          <ac:spMkLst>
            <pc:docMk/>
            <pc:sldMk cId="4086539563" sldId="2147374217"/>
            <ac:spMk id="656" creationId="{6BAE52D7-7842-A34D-ADAE-39F1353519D5}"/>
          </ac:spMkLst>
        </pc:spChg>
        <pc:spChg chg="mod">
          <ac:chgData name="Nick Robinson" userId="d0c2b313-4ae0-4040-8c6a-fec7a720a7b5" providerId="ADAL" clId="{190131DE-6250-C84F-B491-721E6CF30BCB}" dt="2021-12-20T15:57:30.576" v="18223"/>
          <ac:spMkLst>
            <pc:docMk/>
            <pc:sldMk cId="4086539563" sldId="2147374217"/>
            <ac:spMk id="658" creationId="{B7BE7AF2-61F0-284B-B3EC-8662A47494C9}"/>
          </ac:spMkLst>
        </pc:spChg>
        <pc:spChg chg="mod">
          <ac:chgData name="Nick Robinson" userId="d0c2b313-4ae0-4040-8c6a-fec7a720a7b5" providerId="ADAL" clId="{190131DE-6250-C84F-B491-721E6CF30BCB}" dt="2021-12-20T15:58:04.943" v="18241" actId="20577"/>
          <ac:spMkLst>
            <pc:docMk/>
            <pc:sldMk cId="4086539563" sldId="2147374217"/>
            <ac:spMk id="659" creationId="{0927C99E-5A6F-D547-8AF9-779475AE57E0}"/>
          </ac:spMkLst>
        </pc:spChg>
        <pc:spChg chg="mod">
          <ac:chgData name="Nick Robinson" userId="d0c2b313-4ae0-4040-8c6a-fec7a720a7b5" providerId="ADAL" clId="{190131DE-6250-C84F-B491-721E6CF30BCB}" dt="2021-12-20T16:37:31.022" v="18620" actId="207"/>
          <ac:spMkLst>
            <pc:docMk/>
            <pc:sldMk cId="4086539563" sldId="2147374217"/>
            <ac:spMk id="661" creationId="{44E7FB94-B1CF-5841-A67F-7BEA68F2A9B2}"/>
          </ac:spMkLst>
        </pc:spChg>
        <pc:spChg chg="mod">
          <ac:chgData name="Nick Robinson" userId="d0c2b313-4ae0-4040-8c6a-fec7a720a7b5" providerId="ADAL" clId="{190131DE-6250-C84F-B491-721E6CF30BCB}" dt="2021-12-20T15:57:58.918" v="18238" actId="20577"/>
          <ac:spMkLst>
            <pc:docMk/>
            <pc:sldMk cId="4086539563" sldId="2147374217"/>
            <ac:spMk id="662" creationId="{7E8406CB-02D7-C24C-898D-15E3E3D60D9A}"/>
          </ac:spMkLst>
        </pc:spChg>
        <pc:spChg chg="mod">
          <ac:chgData name="Nick Robinson" userId="d0c2b313-4ae0-4040-8c6a-fec7a720a7b5" providerId="ADAL" clId="{190131DE-6250-C84F-B491-721E6CF30BCB}" dt="2021-12-20T16:17:59.535" v="18456" actId="207"/>
          <ac:spMkLst>
            <pc:docMk/>
            <pc:sldMk cId="4086539563" sldId="2147374217"/>
            <ac:spMk id="664" creationId="{4238E25A-59EE-8649-9916-ADFA7A82D10C}"/>
          </ac:spMkLst>
        </pc:spChg>
        <pc:spChg chg="mod">
          <ac:chgData name="Nick Robinson" userId="d0c2b313-4ae0-4040-8c6a-fec7a720a7b5" providerId="ADAL" clId="{190131DE-6250-C84F-B491-721E6CF30BCB}" dt="2021-12-20T16:17:59.535" v="18456" actId="207"/>
          <ac:spMkLst>
            <pc:docMk/>
            <pc:sldMk cId="4086539563" sldId="2147374217"/>
            <ac:spMk id="665" creationId="{E2D2CCA6-A22D-3A43-B174-10325E76A260}"/>
          </ac:spMkLst>
        </pc:spChg>
        <pc:spChg chg="mod">
          <ac:chgData name="Nick Robinson" userId="d0c2b313-4ae0-4040-8c6a-fec7a720a7b5" providerId="ADAL" clId="{190131DE-6250-C84F-B491-721E6CF30BCB}" dt="2021-12-20T16:12:27.320" v="18443" actId="207"/>
          <ac:spMkLst>
            <pc:docMk/>
            <pc:sldMk cId="4086539563" sldId="2147374217"/>
            <ac:spMk id="667" creationId="{D3FD10E6-BB83-974E-B0F4-33C266FABA6C}"/>
          </ac:spMkLst>
        </pc:spChg>
        <pc:spChg chg="mod">
          <ac:chgData name="Nick Robinson" userId="d0c2b313-4ae0-4040-8c6a-fec7a720a7b5" providerId="ADAL" clId="{190131DE-6250-C84F-B491-721E6CF30BCB}" dt="2021-12-20T16:11:54.225" v="18440" actId="207"/>
          <ac:spMkLst>
            <pc:docMk/>
            <pc:sldMk cId="4086539563" sldId="2147374217"/>
            <ac:spMk id="668" creationId="{E6F75E2E-E00B-2548-82A8-28AB82BAB734}"/>
          </ac:spMkLst>
        </pc:spChg>
        <pc:spChg chg="mod">
          <ac:chgData name="Nick Robinson" userId="d0c2b313-4ae0-4040-8c6a-fec7a720a7b5" providerId="ADAL" clId="{190131DE-6250-C84F-B491-721E6CF30BCB}" dt="2021-12-20T15:59:00.037" v="18261"/>
          <ac:spMkLst>
            <pc:docMk/>
            <pc:sldMk cId="4086539563" sldId="2147374217"/>
            <ac:spMk id="670" creationId="{AFD9EBF2-F0E8-7940-ACD5-664ABEFD57A1}"/>
          </ac:spMkLst>
        </pc:spChg>
        <pc:spChg chg="mod">
          <ac:chgData name="Nick Robinson" userId="d0c2b313-4ae0-4040-8c6a-fec7a720a7b5" providerId="ADAL" clId="{190131DE-6250-C84F-B491-721E6CF30BCB}" dt="2021-12-20T15:59:51.529" v="18287" actId="20577"/>
          <ac:spMkLst>
            <pc:docMk/>
            <pc:sldMk cId="4086539563" sldId="2147374217"/>
            <ac:spMk id="671" creationId="{F9185676-41AC-8544-B50F-E2A498E448B9}"/>
          </ac:spMkLst>
        </pc:spChg>
        <pc:spChg chg="mod">
          <ac:chgData name="Nick Robinson" userId="d0c2b313-4ae0-4040-8c6a-fec7a720a7b5" providerId="ADAL" clId="{190131DE-6250-C84F-B491-721E6CF30BCB}" dt="2021-12-20T15:59:00.849" v="18262"/>
          <ac:spMkLst>
            <pc:docMk/>
            <pc:sldMk cId="4086539563" sldId="2147374217"/>
            <ac:spMk id="673" creationId="{EC255B53-44D8-0A41-ADFF-FE64E060EA54}"/>
          </ac:spMkLst>
        </pc:spChg>
        <pc:spChg chg="mod">
          <ac:chgData name="Nick Robinson" userId="d0c2b313-4ae0-4040-8c6a-fec7a720a7b5" providerId="ADAL" clId="{190131DE-6250-C84F-B491-721E6CF30BCB}" dt="2021-12-20T15:59:45.211" v="18285" actId="20577"/>
          <ac:spMkLst>
            <pc:docMk/>
            <pc:sldMk cId="4086539563" sldId="2147374217"/>
            <ac:spMk id="674" creationId="{9B1CFBB8-6A89-8D4F-8F3C-C13CBD012BFB}"/>
          </ac:spMkLst>
        </pc:spChg>
        <pc:spChg chg="mod">
          <ac:chgData name="Nick Robinson" userId="d0c2b313-4ae0-4040-8c6a-fec7a720a7b5" providerId="ADAL" clId="{190131DE-6250-C84F-B491-721E6CF30BCB}" dt="2021-12-20T15:59:01.051" v="18263"/>
          <ac:spMkLst>
            <pc:docMk/>
            <pc:sldMk cId="4086539563" sldId="2147374217"/>
            <ac:spMk id="676" creationId="{8288897E-7FB2-F241-97B2-94A411EA4D81}"/>
          </ac:spMkLst>
        </pc:spChg>
        <pc:spChg chg="mod">
          <ac:chgData name="Nick Robinson" userId="d0c2b313-4ae0-4040-8c6a-fec7a720a7b5" providerId="ADAL" clId="{190131DE-6250-C84F-B491-721E6CF30BCB}" dt="2021-12-20T15:59:32.805" v="18279" actId="20577"/>
          <ac:spMkLst>
            <pc:docMk/>
            <pc:sldMk cId="4086539563" sldId="2147374217"/>
            <ac:spMk id="677" creationId="{BAB9AAF2-2102-184A-B995-A19AA42C55AB}"/>
          </ac:spMkLst>
        </pc:spChg>
        <pc:spChg chg="mod">
          <ac:chgData name="Nick Robinson" userId="d0c2b313-4ae0-4040-8c6a-fec7a720a7b5" providerId="ADAL" clId="{190131DE-6250-C84F-B491-721E6CF30BCB}" dt="2021-12-20T15:59:01.823" v="18264"/>
          <ac:spMkLst>
            <pc:docMk/>
            <pc:sldMk cId="4086539563" sldId="2147374217"/>
            <ac:spMk id="679" creationId="{150A7A1E-D494-DE4F-AA49-69F28EFD0B36}"/>
          </ac:spMkLst>
        </pc:spChg>
        <pc:spChg chg="mod">
          <ac:chgData name="Nick Robinson" userId="d0c2b313-4ae0-4040-8c6a-fec7a720a7b5" providerId="ADAL" clId="{190131DE-6250-C84F-B491-721E6CF30BCB}" dt="2021-12-20T15:59:27.575" v="18277" actId="20577"/>
          <ac:spMkLst>
            <pc:docMk/>
            <pc:sldMk cId="4086539563" sldId="2147374217"/>
            <ac:spMk id="680" creationId="{4CBFAC5C-26CF-0C4A-AD36-1DD72ED01257}"/>
          </ac:spMkLst>
        </pc:spChg>
        <pc:spChg chg="mod">
          <ac:chgData name="Nick Robinson" userId="d0c2b313-4ae0-4040-8c6a-fec7a720a7b5" providerId="ADAL" clId="{190131DE-6250-C84F-B491-721E6CF30BCB}" dt="2021-12-20T15:59:02.427" v="18265"/>
          <ac:spMkLst>
            <pc:docMk/>
            <pc:sldMk cId="4086539563" sldId="2147374217"/>
            <ac:spMk id="682" creationId="{E27A61AF-17B3-6244-AE5E-80009BC645A6}"/>
          </ac:spMkLst>
        </pc:spChg>
        <pc:spChg chg="mod">
          <ac:chgData name="Nick Robinson" userId="d0c2b313-4ae0-4040-8c6a-fec7a720a7b5" providerId="ADAL" clId="{190131DE-6250-C84F-B491-721E6CF30BCB}" dt="2021-12-20T15:59:20.557" v="18275" actId="20577"/>
          <ac:spMkLst>
            <pc:docMk/>
            <pc:sldMk cId="4086539563" sldId="2147374217"/>
            <ac:spMk id="683" creationId="{7B5A869C-2094-4A44-8621-83F8E606CCC0}"/>
          </ac:spMkLst>
        </pc:spChg>
        <pc:spChg chg="mod">
          <ac:chgData name="Nick Robinson" userId="d0c2b313-4ae0-4040-8c6a-fec7a720a7b5" providerId="ADAL" clId="{190131DE-6250-C84F-B491-721E6CF30BCB}" dt="2021-12-20T15:59:03.093" v="18266"/>
          <ac:spMkLst>
            <pc:docMk/>
            <pc:sldMk cId="4086539563" sldId="2147374217"/>
            <ac:spMk id="685" creationId="{6BC225B7-DD34-9D40-A49C-EE464460B501}"/>
          </ac:spMkLst>
        </pc:spChg>
        <pc:spChg chg="mod">
          <ac:chgData name="Nick Robinson" userId="d0c2b313-4ae0-4040-8c6a-fec7a720a7b5" providerId="ADAL" clId="{190131DE-6250-C84F-B491-721E6CF30BCB}" dt="2021-12-20T15:59:12.813" v="18271" actId="20577"/>
          <ac:spMkLst>
            <pc:docMk/>
            <pc:sldMk cId="4086539563" sldId="2147374217"/>
            <ac:spMk id="686" creationId="{935BFE19-C782-2F4C-B267-B583A8C91D6D}"/>
          </ac:spMkLst>
        </pc:spChg>
        <pc:spChg chg="mod">
          <ac:chgData name="Nick Robinson" userId="d0c2b313-4ae0-4040-8c6a-fec7a720a7b5" providerId="ADAL" clId="{190131DE-6250-C84F-B491-721E6CF30BCB}" dt="2021-12-20T16:19:10.070" v="18461" actId="207"/>
          <ac:spMkLst>
            <pc:docMk/>
            <pc:sldMk cId="4086539563" sldId="2147374217"/>
            <ac:spMk id="688" creationId="{5A839541-9E61-F247-ADA5-F21117996E80}"/>
          </ac:spMkLst>
        </pc:spChg>
        <pc:spChg chg="mod">
          <ac:chgData name="Nick Robinson" userId="d0c2b313-4ae0-4040-8c6a-fec7a720a7b5" providerId="ADAL" clId="{190131DE-6250-C84F-B491-721E6CF30BCB}" dt="2021-12-20T16:17:59.535" v="18456" actId="207"/>
          <ac:spMkLst>
            <pc:docMk/>
            <pc:sldMk cId="4086539563" sldId="2147374217"/>
            <ac:spMk id="689" creationId="{7F35DDB7-3578-BC42-8C49-2B51560B20D7}"/>
          </ac:spMkLst>
        </pc:spChg>
        <pc:spChg chg="mod">
          <ac:chgData name="Nick Robinson" userId="d0c2b313-4ae0-4040-8c6a-fec7a720a7b5" providerId="ADAL" clId="{190131DE-6250-C84F-B491-721E6CF30BCB}" dt="2021-12-20T16:00:25.472" v="18299"/>
          <ac:spMkLst>
            <pc:docMk/>
            <pc:sldMk cId="4086539563" sldId="2147374217"/>
            <ac:spMk id="691" creationId="{93796DB5-FFD5-1848-8BE4-55202FAF597C}"/>
          </ac:spMkLst>
        </pc:spChg>
        <pc:spChg chg="mod">
          <ac:chgData name="Nick Robinson" userId="d0c2b313-4ae0-4040-8c6a-fec7a720a7b5" providerId="ADAL" clId="{190131DE-6250-C84F-B491-721E6CF30BCB}" dt="2021-12-20T16:01:22.229" v="18319" actId="20577"/>
          <ac:spMkLst>
            <pc:docMk/>
            <pc:sldMk cId="4086539563" sldId="2147374217"/>
            <ac:spMk id="692" creationId="{751083AB-980C-DB43-BBA8-CF5B6A6E31B3}"/>
          </ac:spMkLst>
        </pc:spChg>
        <pc:spChg chg="mod">
          <ac:chgData name="Nick Robinson" userId="d0c2b313-4ae0-4040-8c6a-fec7a720a7b5" providerId="ADAL" clId="{190131DE-6250-C84F-B491-721E6CF30BCB}" dt="2021-12-20T16:00:33.416" v="18302"/>
          <ac:spMkLst>
            <pc:docMk/>
            <pc:sldMk cId="4086539563" sldId="2147374217"/>
            <ac:spMk id="694" creationId="{E86264CF-F1DF-154E-8F71-EBB1FD936C64}"/>
          </ac:spMkLst>
        </pc:spChg>
        <pc:spChg chg="mod">
          <ac:chgData name="Nick Robinson" userId="d0c2b313-4ae0-4040-8c6a-fec7a720a7b5" providerId="ADAL" clId="{190131DE-6250-C84F-B491-721E6CF30BCB}" dt="2021-12-20T16:00:55.655" v="18315" actId="20577"/>
          <ac:spMkLst>
            <pc:docMk/>
            <pc:sldMk cId="4086539563" sldId="2147374217"/>
            <ac:spMk id="695" creationId="{41FA0519-25C2-E74F-B0CD-BEF255597EC4}"/>
          </ac:spMkLst>
        </pc:spChg>
        <pc:spChg chg="mod">
          <ac:chgData name="Nick Robinson" userId="d0c2b313-4ae0-4040-8c6a-fec7a720a7b5" providerId="ADAL" clId="{190131DE-6250-C84F-B491-721E6CF30BCB}" dt="2021-12-20T16:00:34.121" v="18303"/>
          <ac:spMkLst>
            <pc:docMk/>
            <pc:sldMk cId="4086539563" sldId="2147374217"/>
            <ac:spMk id="697" creationId="{1101FC78-2B9C-E148-99A6-7A46BCB4A09D}"/>
          </ac:spMkLst>
        </pc:spChg>
        <pc:spChg chg="mod">
          <ac:chgData name="Nick Robinson" userId="d0c2b313-4ae0-4040-8c6a-fec7a720a7b5" providerId="ADAL" clId="{190131DE-6250-C84F-B491-721E6CF30BCB}" dt="2021-12-20T16:00:50.457" v="18313" actId="20577"/>
          <ac:spMkLst>
            <pc:docMk/>
            <pc:sldMk cId="4086539563" sldId="2147374217"/>
            <ac:spMk id="698" creationId="{067DCEFD-CFBC-9B4D-BE15-F02CDE4813D7}"/>
          </ac:spMkLst>
        </pc:spChg>
        <pc:spChg chg="mod">
          <ac:chgData name="Nick Robinson" userId="d0c2b313-4ae0-4040-8c6a-fec7a720a7b5" providerId="ADAL" clId="{190131DE-6250-C84F-B491-721E6CF30BCB}" dt="2021-12-20T16:17:59.535" v="18456" actId="207"/>
          <ac:spMkLst>
            <pc:docMk/>
            <pc:sldMk cId="4086539563" sldId="2147374217"/>
            <ac:spMk id="700" creationId="{A9EF442A-9400-E345-8E3A-DEC93C633B7E}"/>
          </ac:spMkLst>
        </pc:spChg>
        <pc:spChg chg="mod">
          <ac:chgData name="Nick Robinson" userId="d0c2b313-4ae0-4040-8c6a-fec7a720a7b5" providerId="ADAL" clId="{190131DE-6250-C84F-B491-721E6CF30BCB}" dt="2021-12-20T16:17:59.535" v="18456" actId="207"/>
          <ac:spMkLst>
            <pc:docMk/>
            <pc:sldMk cId="4086539563" sldId="2147374217"/>
            <ac:spMk id="701" creationId="{E09173E2-F30C-0C47-84A1-7414068236E9}"/>
          </ac:spMkLst>
        </pc:spChg>
        <pc:spChg chg="mod">
          <ac:chgData name="Nick Robinson" userId="d0c2b313-4ae0-4040-8c6a-fec7a720a7b5" providerId="ADAL" clId="{190131DE-6250-C84F-B491-721E6CF30BCB}" dt="2021-12-20T16:12:33.476" v="18444" actId="207"/>
          <ac:spMkLst>
            <pc:docMk/>
            <pc:sldMk cId="4086539563" sldId="2147374217"/>
            <ac:spMk id="703" creationId="{27DF8035-316E-D94C-9B0B-8FE3BA0C4C01}"/>
          </ac:spMkLst>
        </pc:spChg>
        <pc:spChg chg="mod">
          <ac:chgData name="Nick Robinson" userId="d0c2b313-4ae0-4040-8c6a-fec7a720a7b5" providerId="ADAL" clId="{190131DE-6250-C84F-B491-721E6CF30BCB}" dt="2021-12-20T16:11:54.225" v="18440" actId="207"/>
          <ac:spMkLst>
            <pc:docMk/>
            <pc:sldMk cId="4086539563" sldId="2147374217"/>
            <ac:spMk id="704" creationId="{94DCA97C-033F-3442-BA67-B4D4ECC12285}"/>
          </ac:spMkLst>
        </pc:spChg>
        <pc:spChg chg="mod">
          <ac:chgData name="Nick Robinson" userId="d0c2b313-4ae0-4040-8c6a-fec7a720a7b5" providerId="ADAL" clId="{190131DE-6250-C84F-B491-721E6CF30BCB}" dt="2021-12-20T16:02:01.578" v="18322"/>
          <ac:spMkLst>
            <pc:docMk/>
            <pc:sldMk cId="4086539563" sldId="2147374217"/>
            <ac:spMk id="706" creationId="{B63D7463-419A-2D42-8BEB-753D338E3E53}"/>
          </ac:spMkLst>
        </pc:spChg>
        <pc:spChg chg="mod">
          <ac:chgData name="Nick Robinson" userId="d0c2b313-4ae0-4040-8c6a-fec7a720a7b5" providerId="ADAL" clId="{190131DE-6250-C84F-B491-721E6CF30BCB}" dt="2021-12-20T16:02:06.729" v="18324" actId="20577"/>
          <ac:spMkLst>
            <pc:docMk/>
            <pc:sldMk cId="4086539563" sldId="2147374217"/>
            <ac:spMk id="707" creationId="{D21DA125-DEC9-594D-AB4B-F471882C24F8}"/>
          </ac:spMkLst>
        </pc:spChg>
        <pc:spChg chg="mod">
          <ac:chgData name="Nick Robinson" userId="d0c2b313-4ae0-4040-8c6a-fec7a720a7b5" providerId="ADAL" clId="{190131DE-6250-C84F-B491-721E6CF30BCB}" dt="2021-12-20T16:02:10.650" v="18325"/>
          <ac:spMkLst>
            <pc:docMk/>
            <pc:sldMk cId="4086539563" sldId="2147374217"/>
            <ac:spMk id="709" creationId="{18AA557B-FA2A-474C-84FD-3097712FB6C9}"/>
          </ac:spMkLst>
        </pc:spChg>
        <pc:spChg chg="mod">
          <ac:chgData name="Nick Robinson" userId="d0c2b313-4ae0-4040-8c6a-fec7a720a7b5" providerId="ADAL" clId="{190131DE-6250-C84F-B491-721E6CF30BCB}" dt="2021-12-20T16:02:10.650" v="18325"/>
          <ac:spMkLst>
            <pc:docMk/>
            <pc:sldMk cId="4086539563" sldId="2147374217"/>
            <ac:spMk id="710" creationId="{9AF7639F-F9B3-9244-8656-ACAB2157210C}"/>
          </ac:spMkLst>
        </pc:spChg>
        <pc:spChg chg="mod">
          <ac:chgData name="Nick Robinson" userId="d0c2b313-4ae0-4040-8c6a-fec7a720a7b5" providerId="ADAL" clId="{190131DE-6250-C84F-B491-721E6CF30BCB}" dt="2021-12-20T16:02:11.284" v="18326"/>
          <ac:spMkLst>
            <pc:docMk/>
            <pc:sldMk cId="4086539563" sldId="2147374217"/>
            <ac:spMk id="712" creationId="{8D78CA9D-3D7D-8744-AD2E-60FC293C15FF}"/>
          </ac:spMkLst>
        </pc:spChg>
        <pc:spChg chg="mod">
          <ac:chgData name="Nick Robinson" userId="d0c2b313-4ae0-4040-8c6a-fec7a720a7b5" providerId="ADAL" clId="{190131DE-6250-C84F-B491-721E6CF30BCB}" dt="2021-12-20T16:02:11.284" v="18326"/>
          <ac:spMkLst>
            <pc:docMk/>
            <pc:sldMk cId="4086539563" sldId="2147374217"/>
            <ac:spMk id="713" creationId="{23523A41-BDD9-4D4B-B0A4-B35AAEB10432}"/>
          </ac:spMkLst>
        </pc:spChg>
        <pc:spChg chg="mod">
          <ac:chgData name="Nick Robinson" userId="d0c2b313-4ae0-4040-8c6a-fec7a720a7b5" providerId="ADAL" clId="{190131DE-6250-C84F-B491-721E6CF30BCB}" dt="2021-12-20T16:02:11.885" v="18327"/>
          <ac:spMkLst>
            <pc:docMk/>
            <pc:sldMk cId="4086539563" sldId="2147374217"/>
            <ac:spMk id="715" creationId="{8DDDF375-2D56-3442-9DB4-E63C596C61D4}"/>
          </ac:spMkLst>
        </pc:spChg>
        <pc:spChg chg="mod">
          <ac:chgData name="Nick Robinson" userId="d0c2b313-4ae0-4040-8c6a-fec7a720a7b5" providerId="ADAL" clId="{190131DE-6250-C84F-B491-721E6CF30BCB}" dt="2021-12-20T16:02:11.885" v="18327"/>
          <ac:spMkLst>
            <pc:docMk/>
            <pc:sldMk cId="4086539563" sldId="2147374217"/>
            <ac:spMk id="716" creationId="{6A2AC410-6832-454D-AB07-F28D5886D9BF}"/>
          </ac:spMkLst>
        </pc:spChg>
        <pc:spChg chg="mod">
          <ac:chgData name="Nick Robinson" userId="d0c2b313-4ae0-4040-8c6a-fec7a720a7b5" providerId="ADAL" clId="{190131DE-6250-C84F-B491-721E6CF30BCB}" dt="2021-12-20T16:02:12.081" v="18328"/>
          <ac:spMkLst>
            <pc:docMk/>
            <pc:sldMk cId="4086539563" sldId="2147374217"/>
            <ac:spMk id="718" creationId="{95201A06-6D8B-504A-8179-1DBD485C7721}"/>
          </ac:spMkLst>
        </pc:spChg>
        <pc:spChg chg="mod">
          <ac:chgData name="Nick Robinson" userId="d0c2b313-4ae0-4040-8c6a-fec7a720a7b5" providerId="ADAL" clId="{190131DE-6250-C84F-B491-721E6CF30BCB}" dt="2021-12-20T16:02:12.081" v="18328"/>
          <ac:spMkLst>
            <pc:docMk/>
            <pc:sldMk cId="4086539563" sldId="2147374217"/>
            <ac:spMk id="719" creationId="{77A3F52C-E4E0-6244-BABC-2537D4D1246D}"/>
          </ac:spMkLst>
        </pc:spChg>
        <pc:spChg chg="mod">
          <ac:chgData name="Nick Robinson" userId="d0c2b313-4ae0-4040-8c6a-fec7a720a7b5" providerId="ADAL" clId="{190131DE-6250-C84F-B491-721E6CF30BCB}" dt="2021-12-20T16:02:12.675" v="18329"/>
          <ac:spMkLst>
            <pc:docMk/>
            <pc:sldMk cId="4086539563" sldId="2147374217"/>
            <ac:spMk id="721" creationId="{D1214EC5-A47E-8E42-BA67-ECE9F5949875}"/>
          </ac:spMkLst>
        </pc:spChg>
        <pc:spChg chg="mod">
          <ac:chgData name="Nick Robinson" userId="d0c2b313-4ae0-4040-8c6a-fec7a720a7b5" providerId="ADAL" clId="{190131DE-6250-C84F-B491-721E6CF30BCB}" dt="2021-12-20T16:02:12.675" v="18329"/>
          <ac:spMkLst>
            <pc:docMk/>
            <pc:sldMk cId="4086539563" sldId="2147374217"/>
            <ac:spMk id="722" creationId="{F4FF5A66-BBAD-5448-9345-05485BA50EE2}"/>
          </ac:spMkLst>
        </pc:spChg>
        <pc:spChg chg="mod">
          <ac:chgData name="Nick Robinson" userId="d0c2b313-4ae0-4040-8c6a-fec7a720a7b5" providerId="ADAL" clId="{190131DE-6250-C84F-B491-721E6CF30BCB}" dt="2021-12-20T16:02:12.866" v="18330"/>
          <ac:spMkLst>
            <pc:docMk/>
            <pc:sldMk cId="4086539563" sldId="2147374217"/>
            <ac:spMk id="724" creationId="{A69CB84B-FF59-4A49-BA6A-77A8D95E45B6}"/>
          </ac:spMkLst>
        </pc:spChg>
        <pc:spChg chg="mod">
          <ac:chgData name="Nick Robinson" userId="d0c2b313-4ae0-4040-8c6a-fec7a720a7b5" providerId="ADAL" clId="{190131DE-6250-C84F-B491-721E6CF30BCB}" dt="2021-12-20T16:02:12.866" v="18330"/>
          <ac:spMkLst>
            <pc:docMk/>
            <pc:sldMk cId="4086539563" sldId="2147374217"/>
            <ac:spMk id="725" creationId="{2B41ECCC-F1F9-3546-875A-42E6125560F6}"/>
          </ac:spMkLst>
        </pc:spChg>
        <pc:spChg chg="mod">
          <ac:chgData name="Nick Robinson" userId="d0c2b313-4ae0-4040-8c6a-fec7a720a7b5" providerId="ADAL" clId="{190131DE-6250-C84F-B491-721E6CF30BCB}" dt="2021-12-20T16:02:13.581" v="18331"/>
          <ac:spMkLst>
            <pc:docMk/>
            <pc:sldMk cId="4086539563" sldId="2147374217"/>
            <ac:spMk id="727" creationId="{B6445607-9AE5-E74E-A2F7-0DD3A39CA7D9}"/>
          </ac:spMkLst>
        </pc:spChg>
        <pc:spChg chg="mod">
          <ac:chgData name="Nick Robinson" userId="d0c2b313-4ae0-4040-8c6a-fec7a720a7b5" providerId="ADAL" clId="{190131DE-6250-C84F-B491-721E6CF30BCB}" dt="2021-12-20T16:02:13.581" v="18331"/>
          <ac:spMkLst>
            <pc:docMk/>
            <pc:sldMk cId="4086539563" sldId="2147374217"/>
            <ac:spMk id="728" creationId="{26ABED72-321A-2A40-8055-BD19C91CD748}"/>
          </ac:spMkLst>
        </pc:spChg>
        <pc:spChg chg="mod">
          <ac:chgData name="Nick Robinson" userId="d0c2b313-4ae0-4040-8c6a-fec7a720a7b5" providerId="ADAL" clId="{190131DE-6250-C84F-B491-721E6CF30BCB}" dt="2021-12-20T16:02:13.777" v="18332"/>
          <ac:spMkLst>
            <pc:docMk/>
            <pc:sldMk cId="4086539563" sldId="2147374217"/>
            <ac:spMk id="730" creationId="{AD8E1039-BDF5-2841-9399-8AE6254D1F93}"/>
          </ac:spMkLst>
        </pc:spChg>
        <pc:spChg chg="mod">
          <ac:chgData name="Nick Robinson" userId="d0c2b313-4ae0-4040-8c6a-fec7a720a7b5" providerId="ADAL" clId="{190131DE-6250-C84F-B491-721E6CF30BCB}" dt="2021-12-20T16:02:13.777" v="18332"/>
          <ac:spMkLst>
            <pc:docMk/>
            <pc:sldMk cId="4086539563" sldId="2147374217"/>
            <ac:spMk id="731" creationId="{CF91E2A4-7B6F-A84E-BF9C-B726F7F0013F}"/>
          </ac:spMkLst>
        </pc:spChg>
        <pc:spChg chg="mod">
          <ac:chgData name="Nick Robinson" userId="d0c2b313-4ae0-4040-8c6a-fec7a720a7b5" providerId="ADAL" clId="{190131DE-6250-C84F-B491-721E6CF30BCB}" dt="2021-12-20T16:02:13.965" v="18333"/>
          <ac:spMkLst>
            <pc:docMk/>
            <pc:sldMk cId="4086539563" sldId="2147374217"/>
            <ac:spMk id="733" creationId="{11D9AC2A-0C15-B149-843E-3854D312B15E}"/>
          </ac:spMkLst>
        </pc:spChg>
        <pc:spChg chg="mod">
          <ac:chgData name="Nick Robinson" userId="d0c2b313-4ae0-4040-8c6a-fec7a720a7b5" providerId="ADAL" clId="{190131DE-6250-C84F-B491-721E6CF30BCB}" dt="2021-12-20T16:02:13.965" v="18333"/>
          <ac:spMkLst>
            <pc:docMk/>
            <pc:sldMk cId="4086539563" sldId="2147374217"/>
            <ac:spMk id="734" creationId="{642FC61F-F6E0-6340-AB7F-6148E6BA9193}"/>
          </ac:spMkLst>
        </pc:spChg>
        <pc:spChg chg="mod">
          <ac:chgData name="Nick Robinson" userId="d0c2b313-4ae0-4040-8c6a-fec7a720a7b5" providerId="ADAL" clId="{190131DE-6250-C84F-B491-721E6CF30BCB}" dt="2021-12-20T16:02:14.527" v="18334"/>
          <ac:spMkLst>
            <pc:docMk/>
            <pc:sldMk cId="4086539563" sldId="2147374217"/>
            <ac:spMk id="736" creationId="{32B67908-DD9F-4849-A3D8-EA93792550E7}"/>
          </ac:spMkLst>
        </pc:spChg>
        <pc:spChg chg="mod">
          <ac:chgData name="Nick Robinson" userId="d0c2b313-4ae0-4040-8c6a-fec7a720a7b5" providerId="ADAL" clId="{190131DE-6250-C84F-B491-721E6CF30BCB}" dt="2021-12-20T16:02:33.369" v="18340" actId="20577"/>
          <ac:spMkLst>
            <pc:docMk/>
            <pc:sldMk cId="4086539563" sldId="2147374217"/>
            <ac:spMk id="737" creationId="{58D48CC2-6867-C54D-8E17-767BFBF34877}"/>
          </ac:spMkLst>
        </pc:spChg>
        <pc:spChg chg="mod">
          <ac:chgData name="Nick Robinson" userId="d0c2b313-4ae0-4040-8c6a-fec7a720a7b5" providerId="ADAL" clId="{190131DE-6250-C84F-B491-721E6CF30BCB}" dt="2021-12-20T16:02:14.728" v="18335"/>
          <ac:spMkLst>
            <pc:docMk/>
            <pc:sldMk cId="4086539563" sldId="2147374217"/>
            <ac:spMk id="739" creationId="{9548BBFA-34F5-C344-9F67-D65FBD7A212B}"/>
          </ac:spMkLst>
        </pc:spChg>
        <pc:spChg chg="mod">
          <ac:chgData name="Nick Robinson" userId="d0c2b313-4ae0-4040-8c6a-fec7a720a7b5" providerId="ADAL" clId="{190131DE-6250-C84F-B491-721E6CF30BCB}" dt="2021-12-20T16:02:23.679" v="18337" actId="20577"/>
          <ac:spMkLst>
            <pc:docMk/>
            <pc:sldMk cId="4086539563" sldId="2147374217"/>
            <ac:spMk id="740" creationId="{C61453FA-B903-814E-ACE3-7F55C41D3EBF}"/>
          </ac:spMkLst>
        </pc:spChg>
        <pc:spChg chg="mod">
          <ac:chgData name="Nick Robinson" userId="d0c2b313-4ae0-4040-8c6a-fec7a720a7b5" providerId="ADAL" clId="{190131DE-6250-C84F-B491-721E6CF30BCB}" dt="2021-12-20T16:03:34.565" v="18343"/>
          <ac:spMkLst>
            <pc:docMk/>
            <pc:sldMk cId="4086539563" sldId="2147374217"/>
            <ac:spMk id="742" creationId="{7055533A-72B9-0045-B9B6-4690FDCF3042}"/>
          </ac:spMkLst>
        </pc:spChg>
        <pc:spChg chg="mod">
          <ac:chgData name="Nick Robinson" userId="d0c2b313-4ae0-4040-8c6a-fec7a720a7b5" providerId="ADAL" clId="{190131DE-6250-C84F-B491-721E6CF30BCB}" dt="2021-12-20T16:03:34.565" v="18343"/>
          <ac:spMkLst>
            <pc:docMk/>
            <pc:sldMk cId="4086539563" sldId="2147374217"/>
            <ac:spMk id="743" creationId="{EB1489C0-1A65-1D46-8003-E0509A5985D9}"/>
          </ac:spMkLst>
        </pc:spChg>
        <pc:spChg chg="mod">
          <ac:chgData name="Nick Robinson" userId="d0c2b313-4ae0-4040-8c6a-fec7a720a7b5" providerId="ADAL" clId="{190131DE-6250-C84F-B491-721E6CF30BCB}" dt="2021-12-20T16:04:02.151" v="18349" actId="207"/>
          <ac:spMkLst>
            <pc:docMk/>
            <pc:sldMk cId="4086539563" sldId="2147374217"/>
            <ac:spMk id="745" creationId="{1E011D32-B864-C54C-96E0-EB1ABAC69B5B}"/>
          </ac:spMkLst>
        </pc:spChg>
        <pc:spChg chg="mod">
          <ac:chgData name="Nick Robinson" userId="d0c2b313-4ae0-4040-8c6a-fec7a720a7b5" providerId="ADAL" clId="{190131DE-6250-C84F-B491-721E6CF30BCB}" dt="2021-12-20T16:08:14.490" v="18401" actId="20577"/>
          <ac:spMkLst>
            <pc:docMk/>
            <pc:sldMk cId="4086539563" sldId="2147374217"/>
            <ac:spMk id="746" creationId="{CBEC9963-94AE-7D4D-9F7A-D632177C5BA6}"/>
          </ac:spMkLst>
        </pc:spChg>
        <pc:spChg chg="mod">
          <ac:chgData name="Nick Robinson" userId="d0c2b313-4ae0-4040-8c6a-fec7a720a7b5" providerId="ADAL" clId="{190131DE-6250-C84F-B491-721E6CF30BCB}" dt="2021-12-20T16:05:00.360" v="18359"/>
          <ac:spMkLst>
            <pc:docMk/>
            <pc:sldMk cId="4086539563" sldId="2147374217"/>
            <ac:spMk id="748" creationId="{EA910132-9094-AA40-B0FD-251B807B4BAA}"/>
          </ac:spMkLst>
        </pc:spChg>
        <pc:spChg chg="mod">
          <ac:chgData name="Nick Robinson" userId="d0c2b313-4ae0-4040-8c6a-fec7a720a7b5" providerId="ADAL" clId="{190131DE-6250-C84F-B491-721E6CF30BCB}" dt="2021-12-20T16:07:57.528" v="18397" actId="20577"/>
          <ac:spMkLst>
            <pc:docMk/>
            <pc:sldMk cId="4086539563" sldId="2147374217"/>
            <ac:spMk id="749" creationId="{E4864738-BB9C-7D41-9D44-4BD86D02746B}"/>
          </ac:spMkLst>
        </pc:spChg>
        <pc:spChg chg="mod">
          <ac:chgData name="Nick Robinson" userId="d0c2b313-4ae0-4040-8c6a-fec7a720a7b5" providerId="ADAL" clId="{190131DE-6250-C84F-B491-721E6CF30BCB}" dt="2021-12-20T16:37:15.671" v="18619" actId="207"/>
          <ac:spMkLst>
            <pc:docMk/>
            <pc:sldMk cId="4086539563" sldId="2147374217"/>
            <ac:spMk id="751" creationId="{2DCC644C-6A8D-FD45-B7FB-906271E1C85E}"/>
          </ac:spMkLst>
        </pc:spChg>
        <pc:spChg chg="mod">
          <ac:chgData name="Nick Robinson" userId="d0c2b313-4ae0-4040-8c6a-fec7a720a7b5" providerId="ADAL" clId="{190131DE-6250-C84F-B491-721E6CF30BCB}" dt="2021-12-20T16:06:37.874" v="18381" actId="20577"/>
          <ac:spMkLst>
            <pc:docMk/>
            <pc:sldMk cId="4086539563" sldId="2147374217"/>
            <ac:spMk id="752" creationId="{6F42659B-D553-B04A-9F54-C169A87AA884}"/>
          </ac:spMkLst>
        </pc:spChg>
        <pc:spChg chg="mod">
          <ac:chgData name="Nick Robinson" userId="d0c2b313-4ae0-4040-8c6a-fec7a720a7b5" providerId="ADAL" clId="{190131DE-6250-C84F-B491-721E6CF30BCB}" dt="2021-12-20T16:37:01.821" v="18618" actId="207"/>
          <ac:spMkLst>
            <pc:docMk/>
            <pc:sldMk cId="4086539563" sldId="2147374217"/>
            <ac:spMk id="754" creationId="{FD9F1022-1F9B-7E48-AE3F-E2433E5DD1B4}"/>
          </ac:spMkLst>
        </pc:spChg>
        <pc:spChg chg="mod">
          <ac:chgData name="Nick Robinson" userId="d0c2b313-4ae0-4040-8c6a-fec7a720a7b5" providerId="ADAL" clId="{190131DE-6250-C84F-B491-721E6CF30BCB}" dt="2021-12-20T16:06:12.567" v="18377" actId="20577"/>
          <ac:spMkLst>
            <pc:docMk/>
            <pc:sldMk cId="4086539563" sldId="2147374217"/>
            <ac:spMk id="755" creationId="{16A80C63-37EC-B04A-A5A4-7F869D7646D4}"/>
          </ac:spMkLst>
        </pc:spChg>
        <pc:spChg chg="mod">
          <ac:chgData name="Nick Robinson" userId="d0c2b313-4ae0-4040-8c6a-fec7a720a7b5" providerId="ADAL" clId="{190131DE-6250-C84F-B491-721E6CF30BCB}" dt="2021-12-20T16:36:55.821" v="18617" actId="207"/>
          <ac:spMkLst>
            <pc:docMk/>
            <pc:sldMk cId="4086539563" sldId="2147374217"/>
            <ac:spMk id="757" creationId="{30C12FD8-BE7A-8E40-8F16-A85AFB6BB08A}"/>
          </ac:spMkLst>
        </pc:spChg>
        <pc:spChg chg="mod">
          <ac:chgData name="Nick Robinson" userId="d0c2b313-4ae0-4040-8c6a-fec7a720a7b5" providerId="ADAL" clId="{190131DE-6250-C84F-B491-721E6CF30BCB}" dt="2021-12-20T16:05:51.014" v="18374" actId="20577"/>
          <ac:spMkLst>
            <pc:docMk/>
            <pc:sldMk cId="4086539563" sldId="2147374217"/>
            <ac:spMk id="758" creationId="{52B102D7-6B9C-3144-8026-0FA81B6E0E81}"/>
          </ac:spMkLst>
        </pc:spChg>
        <pc:spChg chg="mod">
          <ac:chgData name="Nick Robinson" userId="d0c2b313-4ae0-4040-8c6a-fec7a720a7b5" providerId="ADAL" clId="{190131DE-6250-C84F-B491-721E6CF30BCB}" dt="2021-12-20T16:17:59.535" v="18456" actId="207"/>
          <ac:spMkLst>
            <pc:docMk/>
            <pc:sldMk cId="4086539563" sldId="2147374217"/>
            <ac:spMk id="760" creationId="{075CC541-C515-3446-BE66-49B80C38F5FE}"/>
          </ac:spMkLst>
        </pc:spChg>
        <pc:spChg chg="mod">
          <ac:chgData name="Nick Robinson" userId="d0c2b313-4ae0-4040-8c6a-fec7a720a7b5" providerId="ADAL" clId="{190131DE-6250-C84F-B491-721E6CF30BCB}" dt="2021-12-20T16:17:59.535" v="18456" actId="207"/>
          <ac:spMkLst>
            <pc:docMk/>
            <pc:sldMk cId="4086539563" sldId="2147374217"/>
            <ac:spMk id="761" creationId="{E476B412-2356-D640-85C8-EAAB6104DDC2}"/>
          </ac:spMkLst>
        </pc:spChg>
        <pc:spChg chg="mod">
          <ac:chgData name="Nick Robinson" userId="d0c2b313-4ae0-4040-8c6a-fec7a720a7b5" providerId="ADAL" clId="{190131DE-6250-C84F-B491-721E6CF30BCB}" dt="2021-12-20T16:05:03.517" v="18364"/>
          <ac:spMkLst>
            <pc:docMk/>
            <pc:sldMk cId="4086539563" sldId="2147374217"/>
            <ac:spMk id="763" creationId="{9A259B75-5F2A-324D-8D97-3C6CBB67D598}"/>
          </ac:spMkLst>
        </pc:spChg>
        <pc:spChg chg="mod">
          <ac:chgData name="Nick Robinson" userId="d0c2b313-4ae0-4040-8c6a-fec7a720a7b5" providerId="ADAL" clId="{190131DE-6250-C84F-B491-721E6CF30BCB}" dt="2021-12-20T16:05:03.517" v="18364"/>
          <ac:spMkLst>
            <pc:docMk/>
            <pc:sldMk cId="4086539563" sldId="2147374217"/>
            <ac:spMk id="764" creationId="{F9352C21-C8EF-3848-B9E2-5FFEA913E65A}"/>
          </ac:spMkLst>
        </pc:spChg>
        <pc:spChg chg="mod">
          <ac:chgData name="Nick Robinson" userId="d0c2b313-4ae0-4040-8c6a-fec7a720a7b5" providerId="ADAL" clId="{190131DE-6250-C84F-B491-721E6CF30BCB}" dt="2021-12-20T16:05:06.943" v="18366"/>
          <ac:spMkLst>
            <pc:docMk/>
            <pc:sldMk cId="4086539563" sldId="2147374217"/>
            <ac:spMk id="766" creationId="{697BB815-ABFF-B142-A152-2A1D6F4CA709}"/>
          </ac:spMkLst>
        </pc:spChg>
        <pc:spChg chg="mod">
          <ac:chgData name="Nick Robinson" userId="d0c2b313-4ae0-4040-8c6a-fec7a720a7b5" providerId="ADAL" clId="{190131DE-6250-C84F-B491-721E6CF30BCB}" dt="2021-12-20T16:05:06.943" v="18366"/>
          <ac:spMkLst>
            <pc:docMk/>
            <pc:sldMk cId="4086539563" sldId="2147374217"/>
            <ac:spMk id="767" creationId="{F206E1A3-7A82-474F-A5BD-206EDAB4A67D}"/>
          </ac:spMkLst>
        </pc:spChg>
        <pc:spChg chg="mod">
          <ac:chgData name="Nick Robinson" userId="d0c2b313-4ae0-4040-8c6a-fec7a720a7b5" providerId="ADAL" clId="{190131DE-6250-C84F-B491-721E6CF30BCB}" dt="2021-12-20T16:05:07.664" v="18367"/>
          <ac:spMkLst>
            <pc:docMk/>
            <pc:sldMk cId="4086539563" sldId="2147374217"/>
            <ac:spMk id="769" creationId="{5C6E0C2B-91AE-EA41-B00C-FE649B980DBD}"/>
          </ac:spMkLst>
        </pc:spChg>
        <pc:spChg chg="mod">
          <ac:chgData name="Nick Robinson" userId="d0c2b313-4ae0-4040-8c6a-fec7a720a7b5" providerId="ADAL" clId="{190131DE-6250-C84F-B491-721E6CF30BCB}" dt="2021-12-20T16:11:14.501" v="18437" actId="20577"/>
          <ac:spMkLst>
            <pc:docMk/>
            <pc:sldMk cId="4086539563" sldId="2147374217"/>
            <ac:spMk id="770" creationId="{12B99D60-37CB-654F-ACA5-C037F0BEBB67}"/>
          </ac:spMkLst>
        </pc:spChg>
        <pc:spChg chg="mod">
          <ac:chgData name="Nick Robinson" userId="d0c2b313-4ae0-4040-8c6a-fec7a720a7b5" providerId="ADAL" clId="{190131DE-6250-C84F-B491-721E6CF30BCB}" dt="2021-12-20T16:05:08.454" v="18368"/>
          <ac:spMkLst>
            <pc:docMk/>
            <pc:sldMk cId="4086539563" sldId="2147374217"/>
            <ac:spMk id="772" creationId="{7280FBD4-6FB5-6343-875E-B8DACDA828E2}"/>
          </ac:spMkLst>
        </pc:spChg>
        <pc:spChg chg="mod">
          <ac:chgData name="Nick Robinson" userId="d0c2b313-4ae0-4040-8c6a-fec7a720a7b5" providerId="ADAL" clId="{190131DE-6250-C84F-B491-721E6CF30BCB}" dt="2021-12-20T16:09:21.551" v="18412" actId="20577"/>
          <ac:spMkLst>
            <pc:docMk/>
            <pc:sldMk cId="4086539563" sldId="2147374217"/>
            <ac:spMk id="773" creationId="{451B7DA9-CDE5-F846-AFC8-5D91996BFEC8}"/>
          </ac:spMkLst>
        </pc:spChg>
        <pc:spChg chg="mod">
          <ac:chgData name="Nick Robinson" userId="d0c2b313-4ae0-4040-8c6a-fec7a720a7b5" providerId="ADAL" clId="{190131DE-6250-C84F-B491-721E6CF30BCB}" dt="2021-12-20T16:05:08.684" v="18369"/>
          <ac:spMkLst>
            <pc:docMk/>
            <pc:sldMk cId="4086539563" sldId="2147374217"/>
            <ac:spMk id="775" creationId="{74F5DA0F-5445-E745-A347-3D28FFD7B259}"/>
          </ac:spMkLst>
        </pc:spChg>
        <pc:spChg chg="mod">
          <ac:chgData name="Nick Robinson" userId="d0c2b313-4ae0-4040-8c6a-fec7a720a7b5" providerId="ADAL" clId="{190131DE-6250-C84F-B491-721E6CF30BCB}" dt="2021-12-20T16:08:41.183" v="18406" actId="20577"/>
          <ac:spMkLst>
            <pc:docMk/>
            <pc:sldMk cId="4086539563" sldId="2147374217"/>
            <ac:spMk id="776" creationId="{C089852E-4DBE-3A43-9DAC-73A366F6A072}"/>
          </ac:spMkLst>
        </pc:spChg>
        <pc:spChg chg="mod">
          <ac:chgData name="Nick Robinson" userId="d0c2b313-4ae0-4040-8c6a-fec7a720a7b5" providerId="ADAL" clId="{190131DE-6250-C84F-B491-721E6CF30BCB}" dt="2021-12-20T16:05:09.437" v="18370"/>
          <ac:spMkLst>
            <pc:docMk/>
            <pc:sldMk cId="4086539563" sldId="2147374217"/>
            <ac:spMk id="778" creationId="{05BD1CC4-BE9E-684C-9A4D-872206DC3CFF}"/>
          </ac:spMkLst>
        </pc:spChg>
        <pc:spChg chg="mod">
          <ac:chgData name="Nick Robinson" userId="d0c2b313-4ae0-4040-8c6a-fec7a720a7b5" providerId="ADAL" clId="{190131DE-6250-C84F-B491-721E6CF30BCB}" dt="2021-12-20T16:07:32.298" v="18391" actId="20577"/>
          <ac:spMkLst>
            <pc:docMk/>
            <pc:sldMk cId="4086539563" sldId="2147374217"/>
            <ac:spMk id="779" creationId="{623FC757-321C-584B-8539-5B8044CB854D}"/>
          </ac:spMkLst>
        </pc:spChg>
        <pc:spChg chg="mod">
          <ac:chgData name="Nick Robinson" userId="d0c2b313-4ae0-4040-8c6a-fec7a720a7b5" providerId="ADAL" clId="{190131DE-6250-C84F-B491-721E6CF30BCB}" dt="2021-12-20T16:10:03.849" v="18427"/>
          <ac:spMkLst>
            <pc:docMk/>
            <pc:sldMk cId="4086539563" sldId="2147374217"/>
            <ac:spMk id="781" creationId="{67CA7164-5843-884F-A85E-1C7AD9F3FB52}"/>
          </ac:spMkLst>
        </pc:spChg>
        <pc:spChg chg="mod">
          <ac:chgData name="Nick Robinson" userId="d0c2b313-4ae0-4040-8c6a-fec7a720a7b5" providerId="ADAL" clId="{190131DE-6250-C84F-B491-721E6CF30BCB}" dt="2021-12-20T16:10:03.849" v="18427"/>
          <ac:spMkLst>
            <pc:docMk/>
            <pc:sldMk cId="4086539563" sldId="2147374217"/>
            <ac:spMk id="782" creationId="{52D58FA1-A417-7E45-B280-E24D53568ABA}"/>
          </ac:spMkLst>
        </pc:spChg>
        <pc:spChg chg="mod">
          <ac:chgData name="Nick Robinson" userId="d0c2b313-4ae0-4040-8c6a-fec7a720a7b5" providerId="ADAL" clId="{190131DE-6250-C84F-B491-721E6CF30BCB}" dt="2021-12-20T16:10:04.056" v="18428"/>
          <ac:spMkLst>
            <pc:docMk/>
            <pc:sldMk cId="4086539563" sldId="2147374217"/>
            <ac:spMk id="784" creationId="{F4E1F100-52AB-B24F-847C-E0FD6F97AFEA}"/>
          </ac:spMkLst>
        </pc:spChg>
        <pc:spChg chg="mod">
          <ac:chgData name="Nick Robinson" userId="d0c2b313-4ae0-4040-8c6a-fec7a720a7b5" providerId="ADAL" clId="{190131DE-6250-C84F-B491-721E6CF30BCB}" dt="2021-12-20T16:10:04.056" v="18428"/>
          <ac:spMkLst>
            <pc:docMk/>
            <pc:sldMk cId="4086539563" sldId="2147374217"/>
            <ac:spMk id="785" creationId="{FD31D89A-0307-E842-9FB3-99108E1B4A35}"/>
          </ac:spMkLst>
        </pc:spChg>
        <pc:spChg chg="add mod">
          <ac:chgData name="Nick Robinson" userId="d0c2b313-4ae0-4040-8c6a-fec7a720a7b5" providerId="ADAL" clId="{190131DE-6250-C84F-B491-721E6CF30BCB}" dt="2021-12-20T16:45:03.112" v="18699"/>
          <ac:spMkLst>
            <pc:docMk/>
            <pc:sldMk cId="4086539563" sldId="2147374217"/>
            <ac:spMk id="786" creationId="{DA088E78-A80C-164A-A146-F35DBE22FCC0}"/>
          </ac:spMkLst>
        </pc:spChg>
        <pc:spChg chg="add mod">
          <ac:chgData name="Nick Robinson" userId="d0c2b313-4ae0-4040-8c6a-fec7a720a7b5" providerId="ADAL" clId="{190131DE-6250-C84F-B491-721E6CF30BCB}" dt="2021-12-20T16:45:18.691" v="18706" actId="20577"/>
          <ac:spMkLst>
            <pc:docMk/>
            <pc:sldMk cId="4086539563" sldId="2147374217"/>
            <ac:spMk id="787" creationId="{A4072B8B-C12B-164B-AE70-4FB552B2F063}"/>
          </ac:spMkLst>
        </pc:spChg>
        <pc:spChg chg="mod">
          <ac:chgData name="Nick Robinson" userId="d0c2b313-4ae0-4040-8c6a-fec7a720a7b5" providerId="ADAL" clId="{190131DE-6250-C84F-B491-721E6CF30BCB}" dt="2021-12-20T16:45:33.991" v="18708"/>
          <ac:spMkLst>
            <pc:docMk/>
            <pc:sldMk cId="4086539563" sldId="2147374217"/>
            <ac:spMk id="789" creationId="{77C44855-1459-F445-872B-567FB01D295C}"/>
          </ac:spMkLst>
        </pc:spChg>
        <pc:spChg chg="mod">
          <ac:chgData name="Nick Robinson" userId="d0c2b313-4ae0-4040-8c6a-fec7a720a7b5" providerId="ADAL" clId="{190131DE-6250-C84F-B491-721E6CF30BCB}" dt="2021-12-20T16:45:39.706" v="18711" actId="20577"/>
          <ac:spMkLst>
            <pc:docMk/>
            <pc:sldMk cId="4086539563" sldId="2147374217"/>
            <ac:spMk id="790" creationId="{C7B6B727-55D4-F542-A2F2-CB3376764498}"/>
          </ac:spMkLst>
        </pc:spChg>
        <pc:spChg chg="mod">
          <ac:chgData name="Nick Robinson" userId="d0c2b313-4ae0-4040-8c6a-fec7a720a7b5" providerId="ADAL" clId="{190131DE-6250-C84F-B491-721E6CF30BCB}" dt="2021-12-20T16:46:27.165" v="18713"/>
          <ac:spMkLst>
            <pc:docMk/>
            <pc:sldMk cId="4086539563" sldId="2147374217"/>
            <ac:spMk id="792" creationId="{79A0975E-D8AB-3048-80B4-D595CD013111}"/>
          </ac:spMkLst>
        </pc:spChg>
        <pc:spChg chg="mod">
          <ac:chgData name="Nick Robinson" userId="d0c2b313-4ae0-4040-8c6a-fec7a720a7b5" providerId="ADAL" clId="{190131DE-6250-C84F-B491-721E6CF30BCB}" dt="2021-12-20T16:46:32.883" v="18716" actId="20577"/>
          <ac:spMkLst>
            <pc:docMk/>
            <pc:sldMk cId="4086539563" sldId="2147374217"/>
            <ac:spMk id="793" creationId="{3A3F7650-FB46-1349-BBC9-C0C7639BA51B}"/>
          </ac:spMkLst>
        </pc:spChg>
        <pc:spChg chg="mod">
          <ac:chgData name="Nick Robinson" userId="d0c2b313-4ae0-4040-8c6a-fec7a720a7b5" providerId="ADAL" clId="{190131DE-6250-C84F-B491-721E6CF30BCB}" dt="2021-12-20T16:46:45.102" v="18719"/>
          <ac:spMkLst>
            <pc:docMk/>
            <pc:sldMk cId="4086539563" sldId="2147374217"/>
            <ac:spMk id="795" creationId="{600B1B29-A92D-3246-A387-FFA8CD3ED4FD}"/>
          </ac:spMkLst>
        </pc:spChg>
        <pc:spChg chg="mod">
          <ac:chgData name="Nick Robinson" userId="d0c2b313-4ae0-4040-8c6a-fec7a720a7b5" providerId="ADAL" clId="{190131DE-6250-C84F-B491-721E6CF30BCB}" dt="2021-12-20T16:46:50.650" v="18723" actId="20577"/>
          <ac:spMkLst>
            <pc:docMk/>
            <pc:sldMk cId="4086539563" sldId="2147374217"/>
            <ac:spMk id="796" creationId="{7AC48E2B-105D-7144-BBA1-4EC5A5F5F06B}"/>
          </ac:spMkLst>
        </pc:spChg>
        <pc:spChg chg="add mod">
          <ac:chgData name="Nick Robinson" userId="d0c2b313-4ae0-4040-8c6a-fec7a720a7b5" providerId="ADAL" clId="{190131DE-6250-C84F-B491-721E6CF30BCB}" dt="2021-12-20T16:47:54.644" v="18761" actId="1036"/>
          <ac:spMkLst>
            <pc:docMk/>
            <pc:sldMk cId="4086539563" sldId="2147374217"/>
            <ac:spMk id="797" creationId="{EF40A5FA-D0A1-164C-914C-DD3E40027848}"/>
          </ac:spMkLst>
        </pc:spChg>
        <pc:grpChg chg="add mod">
          <ac:chgData name="Nick Robinson" userId="d0c2b313-4ae0-4040-8c6a-fec7a720a7b5" providerId="ADAL" clId="{190131DE-6250-C84F-B491-721E6CF30BCB}" dt="2021-12-20T16:17:59.535" v="18456" actId="207"/>
          <ac:grpSpMkLst>
            <pc:docMk/>
            <pc:sldMk cId="4086539563" sldId="2147374217"/>
            <ac:grpSpMk id="7" creationId="{80FDB39A-7AB9-5442-AF3F-2F22A9032F7F}"/>
          </ac:grpSpMkLst>
        </pc:grpChg>
        <pc:grpChg chg="mod">
          <ac:chgData name="Nick Robinson" userId="d0c2b313-4ae0-4040-8c6a-fec7a720a7b5" providerId="ADAL" clId="{190131DE-6250-C84F-B491-721E6CF30BCB}" dt="2021-12-20T16:09:15.941" v="18409" actId="1076"/>
          <ac:grpSpMkLst>
            <pc:docMk/>
            <pc:sldMk cId="4086539563" sldId="2147374217"/>
            <ac:grpSpMk id="10" creationId="{A5873C76-5908-8B41-8526-0CC85835EE20}"/>
          </ac:grpSpMkLst>
        </pc:grpChg>
        <pc:grpChg chg="mod">
          <ac:chgData name="Nick Robinson" userId="d0c2b313-4ae0-4040-8c6a-fec7a720a7b5" providerId="ADAL" clId="{190131DE-6250-C84F-B491-721E6CF30BCB}" dt="2021-12-20T15:33:28.440" v="17696" actId="14100"/>
          <ac:grpSpMkLst>
            <pc:docMk/>
            <pc:sldMk cId="4086539563" sldId="2147374217"/>
            <ac:grpSpMk id="11" creationId="{8C83A67D-F8FE-3A4F-993A-2FD9B5AA8D59}"/>
          </ac:grpSpMkLst>
        </pc:grpChg>
        <pc:grpChg chg="add del mod topLvl">
          <ac:chgData name="Nick Robinson" userId="d0c2b313-4ae0-4040-8c6a-fec7a720a7b5" providerId="ADAL" clId="{190131DE-6250-C84F-B491-721E6CF30BCB}" dt="2021-12-20T15:37:54.776" v="17804" actId="165"/>
          <ac:grpSpMkLst>
            <pc:docMk/>
            <pc:sldMk cId="4086539563" sldId="2147374217"/>
            <ac:grpSpMk id="16" creationId="{80D98770-3856-524E-B4F3-E711083A8FB9}"/>
          </ac:grpSpMkLst>
        </pc:grpChg>
        <pc:grpChg chg="add del mod">
          <ac:chgData name="Nick Robinson" userId="d0c2b313-4ae0-4040-8c6a-fec7a720a7b5" providerId="ADAL" clId="{190131DE-6250-C84F-B491-721E6CF30BCB}" dt="2021-12-20T15:37:39.087" v="17802" actId="165"/>
          <ac:grpSpMkLst>
            <pc:docMk/>
            <pc:sldMk cId="4086539563" sldId="2147374217"/>
            <ac:grpSpMk id="21" creationId="{C8B74992-D702-CF4C-BEBC-5536353900EF}"/>
          </ac:grpSpMkLst>
        </pc:grpChg>
        <pc:grpChg chg="add mod">
          <ac:chgData name="Nick Robinson" userId="d0c2b313-4ae0-4040-8c6a-fec7a720a7b5" providerId="ADAL" clId="{190131DE-6250-C84F-B491-721E6CF30BCB}" dt="2021-12-20T16:47:45.086" v="18759" actId="1035"/>
          <ac:grpSpMkLst>
            <pc:docMk/>
            <pc:sldMk cId="4086539563" sldId="2147374217"/>
            <ac:grpSpMk id="22" creationId="{3660B289-2321-DE48-AAA7-7888C30A7B81}"/>
          </ac:grpSpMkLst>
        </pc:grpChg>
        <pc:grpChg chg="add mod">
          <ac:chgData name="Nick Robinson" userId="d0c2b313-4ae0-4040-8c6a-fec7a720a7b5" providerId="ADAL" clId="{190131DE-6250-C84F-B491-721E6CF30BCB}" dt="2021-12-20T16:45:14.914" v="18702" actId="1076"/>
          <ac:grpSpMkLst>
            <pc:docMk/>
            <pc:sldMk cId="4086539563" sldId="2147374217"/>
            <ac:grpSpMk id="23" creationId="{1D577D7F-2C3E-6C45-94C3-5774A6D5A66A}"/>
          </ac:grpSpMkLst>
        </pc:grpChg>
        <pc:grpChg chg="del">
          <ac:chgData name="Nick Robinson" userId="d0c2b313-4ae0-4040-8c6a-fec7a720a7b5" providerId="ADAL" clId="{190131DE-6250-C84F-B491-721E6CF30BCB}" dt="2021-12-20T15:36:54.426" v="17790" actId="478"/>
          <ac:grpSpMkLst>
            <pc:docMk/>
            <pc:sldMk cId="4086539563" sldId="2147374217"/>
            <ac:grpSpMk id="36" creationId="{BEA3BD2D-51F4-4440-AF3C-B915B415B3BE}"/>
          </ac:grpSpMkLst>
        </pc:grpChg>
        <pc:grpChg chg="del topLvl">
          <ac:chgData name="Nick Robinson" userId="d0c2b313-4ae0-4040-8c6a-fec7a720a7b5" providerId="ADAL" clId="{190131DE-6250-C84F-B491-721E6CF30BCB}" dt="2021-12-20T15:37:57.529" v="17805" actId="478"/>
          <ac:grpSpMkLst>
            <pc:docMk/>
            <pc:sldMk cId="4086539563" sldId="2147374217"/>
            <ac:grpSpMk id="153" creationId="{13AB137A-3171-F649-B0E6-134038B50D9E}"/>
          </ac:grpSpMkLst>
        </pc:grpChg>
        <pc:grpChg chg="del topLvl">
          <ac:chgData name="Nick Robinson" userId="d0c2b313-4ae0-4040-8c6a-fec7a720a7b5" providerId="ADAL" clId="{190131DE-6250-C84F-B491-721E6CF30BCB}" dt="2021-12-20T15:37:57.529" v="17805" actId="478"/>
          <ac:grpSpMkLst>
            <pc:docMk/>
            <pc:sldMk cId="4086539563" sldId="2147374217"/>
            <ac:grpSpMk id="157" creationId="{050C9B5F-69FB-F647-9DA9-B84645F77D3D}"/>
          </ac:grpSpMkLst>
        </pc:grpChg>
        <pc:grpChg chg="del topLvl">
          <ac:chgData name="Nick Robinson" userId="d0c2b313-4ae0-4040-8c6a-fec7a720a7b5" providerId="ADAL" clId="{190131DE-6250-C84F-B491-721E6CF30BCB}" dt="2021-12-20T15:37:57.529" v="17805" actId="478"/>
          <ac:grpSpMkLst>
            <pc:docMk/>
            <pc:sldMk cId="4086539563" sldId="2147374217"/>
            <ac:grpSpMk id="160" creationId="{E0819102-94B4-4246-B181-E30D877D8459}"/>
          </ac:grpSpMkLst>
        </pc:grpChg>
        <pc:grpChg chg="del topLvl">
          <ac:chgData name="Nick Robinson" userId="d0c2b313-4ae0-4040-8c6a-fec7a720a7b5" providerId="ADAL" clId="{190131DE-6250-C84F-B491-721E6CF30BCB}" dt="2021-12-20T15:37:57.529" v="17805" actId="478"/>
          <ac:grpSpMkLst>
            <pc:docMk/>
            <pc:sldMk cId="4086539563" sldId="2147374217"/>
            <ac:grpSpMk id="163" creationId="{226C90E2-1548-8140-9426-8B6BAF0D3D1D}"/>
          </ac:grpSpMkLst>
        </pc:grpChg>
        <pc:grpChg chg="del topLvl">
          <ac:chgData name="Nick Robinson" userId="d0c2b313-4ae0-4040-8c6a-fec7a720a7b5" providerId="ADAL" clId="{190131DE-6250-C84F-B491-721E6CF30BCB}" dt="2021-12-20T15:37:57.529" v="17805" actId="478"/>
          <ac:grpSpMkLst>
            <pc:docMk/>
            <pc:sldMk cId="4086539563" sldId="2147374217"/>
            <ac:grpSpMk id="166" creationId="{03FDBABE-91AD-4942-AEDB-8254B2A43472}"/>
          </ac:grpSpMkLst>
        </pc:grpChg>
        <pc:grpChg chg="del topLvl">
          <ac:chgData name="Nick Robinson" userId="d0c2b313-4ae0-4040-8c6a-fec7a720a7b5" providerId="ADAL" clId="{190131DE-6250-C84F-B491-721E6CF30BCB}" dt="2021-12-20T15:37:57.529" v="17805" actId="478"/>
          <ac:grpSpMkLst>
            <pc:docMk/>
            <pc:sldMk cId="4086539563" sldId="2147374217"/>
            <ac:grpSpMk id="169" creationId="{B30CFACA-2215-C74C-AD5E-6EB46477171F}"/>
          </ac:grpSpMkLst>
        </pc:grpChg>
        <pc:grpChg chg="del topLvl">
          <ac:chgData name="Nick Robinson" userId="d0c2b313-4ae0-4040-8c6a-fec7a720a7b5" providerId="ADAL" clId="{190131DE-6250-C84F-B491-721E6CF30BCB}" dt="2021-12-20T15:37:57.529" v="17805" actId="478"/>
          <ac:grpSpMkLst>
            <pc:docMk/>
            <pc:sldMk cId="4086539563" sldId="2147374217"/>
            <ac:grpSpMk id="172" creationId="{2B716DF9-8666-A444-97A2-0070862FD0CA}"/>
          </ac:grpSpMkLst>
        </pc:grpChg>
        <pc:grpChg chg="del">
          <ac:chgData name="Nick Robinson" userId="d0c2b313-4ae0-4040-8c6a-fec7a720a7b5" providerId="ADAL" clId="{190131DE-6250-C84F-B491-721E6CF30BCB}" dt="2021-12-20T15:30:43.175" v="17661" actId="478"/>
          <ac:grpSpMkLst>
            <pc:docMk/>
            <pc:sldMk cId="4086539563" sldId="2147374217"/>
            <ac:grpSpMk id="242" creationId="{A2A88F59-F5F1-604B-896B-CFE3306BB345}"/>
          </ac:grpSpMkLst>
        </pc:grpChg>
        <pc:grpChg chg="del">
          <ac:chgData name="Nick Robinson" userId="d0c2b313-4ae0-4040-8c6a-fec7a720a7b5" providerId="ADAL" clId="{190131DE-6250-C84F-B491-721E6CF30BCB}" dt="2021-12-20T15:30:43.175" v="17661" actId="478"/>
          <ac:grpSpMkLst>
            <pc:docMk/>
            <pc:sldMk cId="4086539563" sldId="2147374217"/>
            <ac:grpSpMk id="245" creationId="{71653F40-2FF4-374B-807F-04BD8653D633}"/>
          </ac:grpSpMkLst>
        </pc:grpChg>
        <pc:grpChg chg="del">
          <ac:chgData name="Nick Robinson" userId="d0c2b313-4ae0-4040-8c6a-fec7a720a7b5" providerId="ADAL" clId="{190131DE-6250-C84F-B491-721E6CF30BCB}" dt="2021-12-20T15:30:43.175" v="17661" actId="478"/>
          <ac:grpSpMkLst>
            <pc:docMk/>
            <pc:sldMk cId="4086539563" sldId="2147374217"/>
            <ac:grpSpMk id="248" creationId="{C796E9E0-CBAA-154A-B628-B00D9BC7D53D}"/>
          </ac:grpSpMkLst>
        </pc:grpChg>
        <pc:grpChg chg="del">
          <ac:chgData name="Nick Robinson" userId="d0c2b313-4ae0-4040-8c6a-fec7a720a7b5" providerId="ADAL" clId="{190131DE-6250-C84F-B491-721E6CF30BCB}" dt="2021-12-20T15:30:43.175" v="17661" actId="478"/>
          <ac:grpSpMkLst>
            <pc:docMk/>
            <pc:sldMk cId="4086539563" sldId="2147374217"/>
            <ac:grpSpMk id="251" creationId="{2FD615DD-C89B-1E42-99A3-9F942B5E0C72}"/>
          </ac:grpSpMkLst>
        </pc:grpChg>
        <pc:grpChg chg="del">
          <ac:chgData name="Nick Robinson" userId="d0c2b313-4ae0-4040-8c6a-fec7a720a7b5" providerId="ADAL" clId="{190131DE-6250-C84F-B491-721E6CF30BCB}" dt="2021-12-20T15:30:43.175" v="17661" actId="478"/>
          <ac:grpSpMkLst>
            <pc:docMk/>
            <pc:sldMk cId="4086539563" sldId="2147374217"/>
            <ac:grpSpMk id="254" creationId="{F0DDF072-DA24-D545-A47A-9E6C3D28A1A1}"/>
          </ac:grpSpMkLst>
        </pc:grpChg>
        <pc:grpChg chg="del">
          <ac:chgData name="Nick Robinson" userId="d0c2b313-4ae0-4040-8c6a-fec7a720a7b5" providerId="ADAL" clId="{190131DE-6250-C84F-B491-721E6CF30BCB}" dt="2021-12-20T15:30:43.175" v="17661" actId="478"/>
          <ac:grpSpMkLst>
            <pc:docMk/>
            <pc:sldMk cId="4086539563" sldId="2147374217"/>
            <ac:grpSpMk id="257" creationId="{87F1FB8E-C9AA-E74C-BA05-3BE245CCC40C}"/>
          </ac:grpSpMkLst>
        </pc:grpChg>
        <pc:grpChg chg="del">
          <ac:chgData name="Nick Robinson" userId="d0c2b313-4ae0-4040-8c6a-fec7a720a7b5" providerId="ADAL" clId="{190131DE-6250-C84F-B491-721E6CF30BCB}" dt="2021-12-20T15:30:43.175" v="17661" actId="478"/>
          <ac:grpSpMkLst>
            <pc:docMk/>
            <pc:sldMk cId="4086539563" sldId="2147374217"/>
            <ac:grpSpMk id="260" creationId="{266CDA6D-FD6D-514D-9ED1-97B9D4919EF2}"/>
          </ac:grpSpMkLst>
        </pc:grpChg>
        <pc:grpChg chg="del">
          <ac:chgData name="Nick Robinson" userId="d0c2b313-4ae0-4040-8c6a-fec7a720a7b5" providerId="ADAL" clId="{190131DE-6250-C84F-B491-721E6CF30BCB}" dt="2021-12-20T15:30:43.175" v="17661" actId="478"/>
          <ac:grpSpMkLst>
            <pc:docMk/>
            <pc:sldMk cId="4086539563" sldId="2147374217"/>
            <ac:grpSpMk id="263" creationId="{E8D265EC-2E01-A94B-AE2F-B16751299FEE}"/>
          </ac:grpSpMkLst>
        </pc:grpChg>
        <pc:grpChg chg="del">
          <ac:chgData name="Nick Robinson" userId="d0c2b313-4ae0-4040-8c6a-fec7a720a7b5" providerId="ADAL" clId="{190131DE-6250-C84F-B491-721E6CF30BCB}" dt="2021-12-20T15:30:43.175" v="17661" actId="478"/>
          <ac:grpSpMkLst>
            <pc:docMk/>
            <pc:sldMk cId="4086539563" sldId="2147374217"/>
            <ac:grpSpMk id="266" creationId="{EB27F0D6-D83B-B846-AF99-B9E76732D25A}"/>
          </ac:grpSpMkLst>
        </pc:grpChg>
        <pc:grpChg chg="del">
          <ac:chgData name="Nick Robinson" userId="d0c2b313-4ae0-4040-8c6a-fec7a720a7b5" providerId="ADAL" clId="{190131DE-6250-C84F-B491-721E6CF30BCB}" dt="2021-12-20T15:30:43.175" v="17661" actId="478"/>
          <ac:grpSpMkLst>
            <pc:docMk/>
            <pc:sldMk cId="4086539563" sldId="2147374217"/>
            <ac:grpSpMk id="269" creationId="{71CF6874-6214-1148-9BD2-63EF98E8803F}"/>
          </ac:grpSpMkLst>
        </pc:grpChg>
        <pc:grpChg chg="del">
          <ac:chgData name="Nick Robinson" userId="d0c2b313-4ae0-4040-8c6a-fec7a720a7b5" providerId="ADAL" clId="{190131DE-6250-C84F-B491-721E6CF30BCB}" dt="2021-12-20T15:30:43.175" v="17661" actId="478"/>
          <ac:grpSpMkLst>
            <pc:docMk/>
            <pc:sldMk cId="4086539563" sldId="2147374217"/>
            <ac:grpSpMk id="272" creationId="{0F4F2383-C75B-194E-95A2-930890F3E37D}"/>
          </ac:grpSpMkLst>
        </pc:grpChg>
        <pc:grpChg chg="del">
          <ac:chgData name="Nick Robinson" userId="d0c2b313-4ae0-4040-8c6a-fec7a720a7b5" providerId="ADAL" clId="{190131DE-6250-C84F-B491-721E6CF30BCB}" dt="2021-12-20T15:30:43.175" v="17661" actId="478"/>
          <ac:grpSpMkLst>
            <pc:docMk/>
            <pc:sldMk cId="4086539563" sldId="2147374217"/>
            <ac:grpSpMk id="275" creationId="{BF7C1512-013F-B448-AB0A-74C5DD598BC0}"/>
          </ac:grpSpMkLst>
        </pc:grpChg>
        <pc:grpChg chg="del">
          <ac:chgData name="Nick Robinson" userId="d0c2b313-4ae0-4040-8c6a-fec7a720a7b5" providerId="ADAL" clId="{190131DE-6250-C84F-B491-721E6CF30BCB}" dt="2021-12-20T15:30:43.175" v="17661" actId="478"/>
          <ac:grpSpMkLst>
            <pc:docMk/>
            <pc:sldMk cId="4086539563" sldId="2147374217"/>
            <ac:grpSpMk id="278" creationId="{0D91AEFC-7B40-9845-903A-79FAD2395023}"/>
          </ac:grpSpMkLst>
        </pc:grpChg>
        <pc:grpChg chg="del">
          <ac:chgData name="Nick Robinson" userId="d0c2b313-4ae0-4040-8c6a-fec7a720a7b5" providerId="ADAL" clId="{190131DE-6250-C84F-B491-721E6CF30BCB}" dt="2021-12-20T15:30:43.175" v="17661" actId="478"/>
          <ac:grpSpMkLst>
            <pc:docMk/>
            <pc:sldMk cId="4086539563" sldId="2147374217"/>
            <ac:grpSpMk id="281" creationId="{C8335749-BD3E-3D4F-9C77-67DD8CC6E959}"/>
          </ac:grpSpMkLst>
        </pc:grpChg>
        <pc:grpChg chg="del">
          <ac:chgData name="Nick Robinson" userId="d0c2b313-4ae0-4040-8c6a-fec7a720a7b5" providerId="ADAL" clId="{190131DE-6250-C84F-B491-721E6CF30BCB}" dt="2021-12-20T15:30:43.175" v="17661" actId="478"/>
          <ac:grpSpMkLst>
            <pc:docMk/>
            <pc:sldMk cId="4086539563" sldId="2147374217"/>
            <ac:grpSpMk id="284" creationId="{E155B00D-E76E-DF4D-8601-579111A1039D}"/>
          </ac:grpSpMkLst>
        </pc:grpChg>
        <pc:grpChg chg="del">
          <ac:chgData name="Nick Robinson" userId="d0c2b313-4ae0-4040-8c6a-fec7a720a7b5" providerId="ADAL" clId="{190131DE-6250-C84F-B491-721E6CF30BCB}" dt="2021-12-20T15:30:43.175" v="17661" actId="478"/>
          <ac:grpSpMkLst>
            <pc:docMk/>
            <pc:sldMk cId="4086539563" sldId="2147374217"/>
            <ac:grpSpMk id="287" creationId="{3DCDFB90-38A7-3F40-90BD-28B895F3EB08}"/>
          </ac:grpSpMkLst>
        </pc:grpChg>
        <pc:grpChg chg="del">
          <ac:chgData name="Nick Robinson" userId="d0c2b313-4ae0-4040-8c6a-fec7a720a7b5" providerId="ADAL" clId="{190131DE-6250-C84F-B491-721E6CF30BCB}" dt="2021-12-20T15:30:43.175" v="17661" actId="478"/>
          <ac:grpSpMkLst>
            <pc:docMk/>
            <pc:sldMk cId="4086539563" sldId="2147374217"/>
            <ac:grpSpMk id="290" creationId="{C015EB16-4FF8-4C43-84C6-ABD7B18B85AD}"/>
          </ac:grpSpMkLst>
        </pc:grpChg>
        <pc:grpChg chg="del">
          <ac:chgData name="Nick Robinson" userId="d0c2b313-4ae0-4040-8c6a-fec7a720a7b5" providerId="ADAL" clId="{190131DE-6250-C84F-B491-721E6CF30BCB}" dt="2021-12-20T15:30:43.175" v="17661" actId="478"/>
          <ac:grpSpMkLst>
            <pc:docMk/>
            <pc:sldMk cId="4086539563" sldId="2147374217"/>
            <ac:grpSpMk id="293" creationId="{7BFAA29A-03E4-654F-A582-DC06EA19CE1F}"/>
          </ac:grpSpMkLst>
        </pc:grpChg>
        <pc:grpChg chg="del">
          <ac:chgData name="Nick Robinson" userId="d0c2b313-4ae0-4040-8c6a-fec7a720a7b5" providerId="ADAL" clId="{190131DE-6250-C84F-B491-721E6CF30BCB}" dt="2021-12-20T15:30:43.175" v="17661" actId="478"/>
          <ac:grpSpMkLst>
            <pc:docMk/>
            <pc:sldMk cId="4086539563" sldId="2147374217"/>
            <ac:grpSpMk id="296" creationId="{CFFB062C-32B0-6F4E-83C9-E5B04FA82F45}"/>
          </ac:grpSpMkLst>
        </pc:grpChg>
        <pc:grpChg chg="del">
          <ac:chgData name="Nick Robinson" userId="d0c2b313-4ae0-4040-8c6a-fec7a720a7b5" providerId="ADAL" clId="{190131DE-6250-C84F-B491-721E6CF30BCB}" dt="2021-12-20T15:30:43.175" v="17661" actId="478"/>
          <ac:grpSpMkLst>
            <pc:docMk/>
            <pc:sldMk cId="4086539563" sldId="2147374217"/>
            <ac:grpSpMk id="299" creationId="{C267653B-3681-0345-A929-CCC0A4C606DF}"/>
          </ac:grpSpMkLst>
        </pc:grpChg>
        <pc:grpChg chg="del">
          <ac:chgData name="Nick Robinson" userId="d0c2b313-4ae0-4040-8c6a-fec7a720a7b5" providerId="ADAL" clId="{190131DE-6250-C84F-B491-721E6CF30BCB}" dt="2021-12-20T15:30:43.175" v="17661" actId="478"/>
          <ac:grpSpMkLst>
            <pc:docMk/>
            <pc:sldMk cId="4086539563" sldId="2147374217"/>
            <ac:grpSpMk id="302" creationId="{0CAA7B2B-F9F2-5F4D-A865-C7D53C3AD5E1}"/>
          </ac:grpSpMkLst>
        </pc:grpChg>
        <pc:grpChg chg="del">
          <ac:chgData name="Nick Robinson" userId="d0c2b313-4ae0-4040-8c6a-fec7a720a7b5" providerId="ADAL" clId="{190131DE-6250-C84F-B491-721E6CF30BCB}" dt="2021-12-20T15:30:43.175" v="17661" actId="478"/>
          <ac:grpSpMkLst>
            <pc:docMk/>
            <pc:sldMk cId="4086539563" sldId="2147374217"/>
            <ac:grpSpMk id="305" creationId="{9D5C087C-E9B4-DA44-B299-E49EA21F5C64}"/>
          </ac:grpSpMkLst>
        </pc:grpChg>
        <pc:grpChg chg="del">
          <ac:chgData name="Nick Robinson" userId="d0c2b313-4ae0-4040-8c6a-fec7a720a7b5" providerId="ADAL" clId="{190131DE-6250-C84F-B491-721E6CF30BCB}" dt="2021-12-20T15:30:43.175" v="17661" actId="478"/>
          <ac:grpSpMkLst>
            <pc:docMk/>
            <pc:sldMk cId="4086539563" sldId="2147374217"/>
            <ac:grpSpMk id="308" creationId="{85D99128-79DE-7041-9C08-808E0251E422}"/>
          </ac:grpSpMkLst>
        </pc:grpChg>
        <pc:grpChg chg="del">
          <ac:chgData name="Nick Robinson" userId="d0c2b313-4ae0-4040-8c6a-fec7a720a7b5" providerId="ADAL" clId="{190131DE-6250-C84F-B491-721E6CF30BCB}" dt="2021-12-20T15:30:43.175" v="17661" actId="478"/>
          <ac:grpSpMkLst>
            <pc:docMk/>
            <pc:sldMk cId="4086539563" sldId="2147374217"/>
            <ac:grpSpMk id="311" creationId="{198F89C6-2860-F944-8C97-201F01439EC6}"/>
          </ac:grpSpMkLst>
        </pc:grpChg>
        <pc:grpChg chg="del">
          <ac:chgData name="Nick Robinson" userId="d0c2b313-4ae0-4040-8c6a-fec7a720a7b5" providerId="ADAL" clId="{190131DE-6250-C84F-B491-721E6CF30BCB}" dt="2021-12-20T15:30:43.175" v="17661" actId="478"/>
          <ac:grpSpMkLst>
            <pc:docMk/>
            <pc:sldMk cId="4086539563" sldId="2147374217"/>
            <ac:grpSpMk id="314" creationId="{42D93189-8D12-5849-8562-B8CAA57776F2}"/>
          </ac:grpSpMkLst>
        </pc:grpChg>
        <pc:grpChg chg="del">
          <ac:chgData name="Nick Robinson" userId="d0c2b313-4ae0-4040-8c6a-fec7a720a7b5" providerId="ADAL" clId="{190131DE-6250-C84F-B491-721E6CF30BCB}" dt="2021-12-20T15:30:43.175" v="17661" actId="478"/>
          <ac:grpSpMkLst>
            <pc:docMk/>
            <pc:sldMk cId="4086539563" sldId="2147374217"/>
            <ac:grpSpMk id="317" creationId="{76BEEE72-8BC0-284E-9BE8-41DD367925BE}"/>
          </ac:grpSpMkLst>
        </pc:grpChg>
        <pc:grpChg chg="del">
          <ac:chgData name="Nick Robinson" userId="d0c2b313-4ae0-4040-8c6a-fec7a720a7b5" providerId="ADAL" clId="{190131DE-6250-C84F-B491-721E6CF30BCB}" dt="2021-12-20T15:30:43.175" v="17661" actId="478"/>
          <ac:grpSpMkLst>
            <pc:docMk/>
            <pc:sldMk cId="4086539563" sldId="2147374217"/>
            <ac:grpSpMk id="320" creationId="{0F67B21E-87BE-6942-9F5F-326508ABA105}"/>
          </ac:grpSpMkLst>
        </pc:grpChg>
        <pc:grpChg chg="del">
          <ac:chgData name="Nick Robinson" userId="d0c2b313-4ae0-4040-8c6a-fec7a720a7b5" providerId="ADAL" clId="{190131DE-6250-C84F-B491-721E6CF30BCB}" dt="2021-12-20T15:30:43.175" v="17661" actId="478"/>
          <ac:grpSpMkLst>
            <pc:docMk/>
            <pc:sldMk cId="4086539563" sldId="2147374217"/>
            <ac:grpSpMk id="323" creationId="{29B60F3D-1D04-BA47-B336-B393A99EFD84}"/>
          </ac:grpSpMkLst>
        </pc:grpChg>
        <pc:grpChg chg="del">
          <ac:chgData name="Nick Robinson" userId="d0c2b313-4ae0-4040-8c6a-fec7a720a7b5" providerId="ADAL" clId="{190131DE-6250-C84F-B491-721E6CF30BCB}" dt="2021-12-20T15:30:43.175" v="17661" actId="478"/>
          <ac:grpSpMkLst>
            <pc:docMk/>
            <pc:sldMk cId="4086539563" sldId="2147374217"/>
            <ac:grpSpMk id="326" creationId="{FD32EBA7-C617-3A41-AC3F-98F55E3CB658}"/>
          </ac:grpSpMkLst>
        </pc:grpChg>
        <pc:grpChg chg="del">
          <ac:chgData name="Nick Robinson" userId="d0c2b313-4ae0-4040-8c6a-fec7a720a7b5" providerId="ADAL" clId="{190131DE-6250-C84F-B491-721E6CF30BCB}" dt="2021-12-20T15:30:43.175" v="17661" actId="478"/>
          <ac:grpSpMkLst>
            <pc:docMk/>
            <pc:sldMk cId="4086539563" sldId="2147374217"/>
            <ac:grpSpMk id="329" creationId="{90C2403D-DD45-FC47-8883-603479FC8118}"/>
          </ac:grpSpMkLst>
        </pc:grpChg>
        <pc:grpChg chg="del">
          <ac:chgData name="Nick Robinson" userId="d0c2b313-4ae0-4040-8c6a-fec7a720a7b5" providerId="ADAL" clId="{190131DE-6250-C84F-B491-721E6CF30BCB}" dt="2021-12-20T15:30:43.175" v="17661" actId="478"/>
          <ac:grpSpMkLst>
            <pc:docMk/>
            <pc:sldMk cId="4086539563" sldId="2147374217"/>
            <ac:grpSpMk id="332" creationId="{0707538A-4610-134B-ACD8-CA23FFCB8116}"/>
          </ac:grpSpMkLst>
        </pc:grpChg>
        <pc:grpChg chg="del">
          <ac:chgData name="Nick Robinson" userId="d0c2b313-4ae0-4040-8c6a-fec7a720a7b5" providerId="ADAL" clId="{190131DE-6250-C84F-B491-721E6CF30BCB}" dt="2021-12-20T15:30:43.175" v="17661" actId="478"/>
          <ac:grpSpMkLst>
            <pc:docMk/>
            <pc:sldMk cId="4086539563" sldId="2147374217"/>
            <ac:grpSpMk id="335" creationId="{6B33F47A-56CC-A146-8F29-7223DD5F5528}"/>
          </ac:grpSpMkLst>
        </pc:grpChg>
        <pc:grpChg chg="del">
          <ac:chgData name="Nick Robinson" userId="d0c2b313-4ae0-4040-8c6a-fec7a720a7b5" providerId="ADAL" clId="{190131DE-6250-C84F-B491-721E6CF30BCB}" dt="2021-12-20T15:30:43.175" v="17661" actId="478"/>
          <ac:grpSpMkLst>
            <pc:docMk/>
            <pc:sldMk cId="4086539563" sldId="2147374217"/>
            <ac:grpSpMk id="338" creationId="{3FD072B1-1578-ED44-ACA9-2D4660E0B537}"/>
          </ac:grpSpMkLst>
        </pc:grpChg>
        <pc:grpChg chg="del">
          <ac:chgData name="Nick Robinson" userId="d0c2b313-4ae0-4040-8c6a-fec7a720a7b5" providerId="ADAL" clId="{190131DE-6250-C84F-B491-721E6CF30BCB}" dt="2021-12-20T15:30:43.175" v="17661" actId="478"/>
          <ac:grpSpMkLst>
            <pc:docMk/>
            <pc:sldMk cId="4086539563" sldId="2147374217"/>
            <ac:grpSpMk id="341" creationId="{8664ECC1-E4C4-8B43-9DBC-C23270F4322C}"/>
          </ac:grpSpMkLst>
        </pc:grpChg>
        <pc:grpChg chg="del">
          <ac:chgData name="Nick Robinson" userId="d0c2b313-4ae0-4040-8c6a-fec7a720a7b5" providerId="ADAL" clId="{190131DE-6250-C84F-B491-721E6CF30BCB}" dt="2021-12-20T15:30:43.175" v="17661" actId="478"/>
          <ac:grpSpMkLst>
            <pc:docMk/>
            <pc:sldMk cId="4086539563" sldId="2147374217"/>
            <ac:grpSpMk id="344" creationId="{2D74535E-B7B8-B746-96AD-BDD7FE8A6A08}"/>
          </ac:grpSpMkLst>
        </pc:grpChg>
        <pc:grpChg chg="del">
          <ac:chgData name="Nick Robinson" userId="d0c2b313-4ae0-4040-8c6a-fec7a720a7b5" providerId="ADAL" clId="{190131DE-6250-C84F-B491-721E6CF30BCB}" dt="2021-12-20T15:30:43.175" v="17661" actId="478"/>
          <ac:grpSpMkLst>
            <pc:docMk/>
            <pc:sldMk cId="4086539563" sldId="2147374217"/>
            <ac:grpSpMk id="347" creationId="{07579CF9-F510-2E48-A47D-C15B3BE52B53}"/>
          </ac:grpSpMkLst>
        </pc:grpChg>
        <pc:grpChg chg="del">
          <ac:chgData name="Nick Robinson" userId="d0c2b313-4ae0-4040-8c6a-fec7a720a7b5" providerId="ADAL" clId="{190131DE-6250-C84F-B491-721E6CF30BCB}" dt="2021-12-20T15:30:43.175" v="17661" actId="478"/>
          <ac:grpSpMkLst>
            <pc:docMk/>
            <pc:sldMk cId="4086539563" sldId="2147374217"/>
            <ac:grpSpMk id="350" creationId="{9D3A034D-CC0A-944C-A472-CB31502DCFBC}"/>
          </ac:grpSpMkLst>
        </pc:grpChg>
        <pc:grpChg chg="del">
          <ac:chgData name="Nick Robinson" userId="d0c2b313-4ae0-4040-8c6a-fec7a720a7b5" providerId="ADAL" clId="{190131DE-6250-C84F-B491-721E6CF30BCB}" dt="2021-12-20T15:30:43.175" v="17661" actId="478"/>
          <ac:grpSpMkLst>
            <pc:docMk/>
            <pc:sldMk cId="4086539563" sldId="2147374217"/>
            <ac:grpSpMk id="353" creationId="{6093E8BF-A796-6D48-B826-63D9CF70BD8A}"/>
          </ac:grpSpMkLst>
        </pc:grpChg>
        <pc:grpChg chg="del">
          <ac:chgData name="Nick Robinson" userId="d0c2b313-4ae0-4040-8c6a-fec7a720a7b5" providerId="ADAL" clId="{190131DE-6250-C84F-B491-721E6CF30BCB}" dt="2021-12-20T15:30:43.175" v="17661" actId="478"/>
          <ac:grpSpMkLst>
            <pc:docMk/>
            <pc:sldMk cId="4086539563" sldId="2147374217"/>
            <ac:grpSpMk id="356" creationId="{BA168A54-8436-354C-8D73-7DC29F962452}"/>
          </ac:grpSpMkLst>
        </pc:grpChg>
        <pc:grpChg chg="del">
          <ac:chgData name="Nick Robinson" userId="d0c2b313-4ae0-4040-8c6a-fec7a720a7b5" providerId="ADAL" clId="{190131DE-6250-C84F-B491-721E6CF30BCB}" dt="2021-12-20T15:30:43.175" v="17661" actId="478"/>
          <ac:grpSpMkLst>
            <pc:docMk/>
            <pc:sldMk cId="4086539563" sldId="2147374217"/>
            <ac:grpSpMk id="359" creationId="{0D35054C-C2A9-E142-BC80-EAA13CA07181}"/>
          </ac:grpSpMkLst>
        </pc:grpChg>
        <pc:grpChg chg="del">
          <ac:chgData name="Nick Robinson" userId="d0c2b313-4ae0-4040-8c6a-fec7a720a7b5" providerId="ADAL" clId="{190131DE-6250-C84F-B491-721E6CF30BCB}" dt="2021-12-20T15:30:51.191" v="17662" actId="478"/>
          <ac:grpSpMkLst>
            <pc:docMk/>
            <pc:sldMk cId="4086539563" sldId="2147374217"/>
            <ac:grpSpMk id="362" creationId="{4AB62128-1056-934C-B1DA-F2FA71B3F323}"/>
          </ac:grpSpMkLst>
        </pc:grpChg>
        <pc:grpChg chg="del">
          <ac:chgData name="Nick Robinson" userId="d0c2b313-4ae0-4040-8c6a-fec7a720a7b5" providerId="ADAL" clId="{190131DE-6250-C84F-B491-721E6CF30BCB}" dt="2021-12-20T15:30:43.175" v="17661" actId="478"/>
          <ac:grpSpMkLst>
            <pc:docMk/>
            <pc:sldMk cId="4086539563" sldId="2147374217"/>
            <ac:grpSpMk id="365" creationId="{3BCBC39E-B443-A24F-80E3-C13A66C0A53B}"/>
          </ac:grpSpMkLst>
        </pc:grpChg>
        <pc:grpChg chg="del">
          <ac:chgData name="Nick Robinson" userId="d0c2b313-4ae0-4040-8c6a-fec7a720a7b5" providerId="ADAL" clId="{190131DE-6250-C84F-B491-721E6CF30BCB}" dt="2021-12-20T15:30:43.175" v="17661" actId="478"/>
          <ac:grpSpMkLst>
            <pc:docMk/>
            <pc:sldMk cId="4086539563" sldId="2147374217"/>
            <ac:grpSpMk id="368" creationId="{FE26B2A7-7751-854E-9C50-5B036115544B}"/>
          </ac:grpSpMkLst>
        </pc:grpChg>
        <pc:grpChg chg="del">
          <ac:chgData name="Nick Robinson" userId="d0c2b313-4ae0-4040-8c6a-fec7a720a7b5" providerId="ADAL" clId="{190131DE-6250-C84F-B491-721E6CF30BCB}" dt="2021-12-20T15:30:43.175" v="17661" actId="478"/>
          <ac:grpSpMkLst>
            <pc:docMk/>
            <pc:sldMk cId="4086539563" sldId="2147374217"/>
            <ac:grpSpMk id="371" creationId="{739D7B6E-3ED7-D543-ACB2-8559294C449E}"/>
          </ac:grpSpMkLst>
        </pc:grpChg>
        <pc:grpChg chg="del">
          <ac:chgData name="Nick Robinson" userId="d0c2b313-4ae0-4040-8c6a-fec7a720a7b5" providerId="ADAL" clId="{190131DE-6250-C84F-B491-721E6CF30BCB}" dt="2021-12-20T15:30:43.175" v="17661" actId="478"/>
          <ac:grpSpMkLst>
            <pc:docMk/>
            <pc:sldMk cId="4086539563" sldId="2147374217"/>
            <ac:grpSpMk id="374" creationId="{074C29E6-CAD9-9144-9E01-8425D2E455B1}"/>
          </ac:grpSpMkLst>
        </pc:grpChg>
        <pc:grpChg chg="del">
          <ac:chgData name="Nick Robinson" userId="d0c2b313-4ae0-4040-8c6a-fec7a720a7b5" providerId="ADAL" clId="{190131DE-6250-C84F-B491-721E6CF30BCB}" dt="2021-12-20T15:30:43.175" v="17661" actId="478"/>
          <ac:grpSpMkLst>
            <pc:docMk/>
            <pc:sldMk cId="4086539563" sldId="2147374217"/>
            <ac:grpSpMk id="377" creationId="{175DCD8F-C796-3E4E-8A5C-2A96F8D5531F}"/>
          </ac:grpSpMkLst>
        </pc:grpChg>
        <pc:grpChg chg="del">
          <ac:chgData name="Nick Robinson" userId="d0c2b313-4ae0-4040-8c6a-fec7a720a7b5" providerId="ADAL" clId="{190131DE-6250-C84F-B491-721E6CF30BCB}" dt="2021-12-20T15:30:43.175" v="17661" actId="478"/>
          <ac:grpSpMkLst>
            <pc:docMk/>
            <pc:sldMk cId="4086539563" sldId="2147374217"/>
            <ac:grpSpMk id="380" creationId="{10C73416-721D-014C-B148-61ACC7FC7D76}"/>
          </ac:grpSpMkLst>
        </pc:grpChg>
        <pc:grpChg chg="del">
          <ac:chgData name="Nick Robinson" userId="d0c2b313-4ae0-4040-8c6a-fec7a720a7b5" providerId="ADAL" clId="{190131DE-6250-C84F-B491-721E6CF30BCB}" dt="2021-12-20T15:30:43.175" v="17661" actId="478"/>
          <ac:grpSpMkLst>
            <pc:docMk/>
            <pc:sldMk cId="4086539563" sldId="2147374217"/>
            <ac:grpSpMk id="383" creationId="{B45B25C7-2958-8947-B2AA-EB6C318CC79E}"/>
          </ac:grpSpMkLst>
        </pc:grpChg>
        <pc:grpChg chg="del">
          <ac:chgData name="Nick Robinson" userId="d0c2b313-4ae0-4040-8c6a-fec7a720a7b5" providerId="ADAL" clId="{190131DE-6250-C84F-B491-721E6CF30BCB}" dt="2021-12-20T15:30:43.175" v="17661" actId="478"/>
          <ac:grpSpMkLst>
            <pc:docMk/>
            <pc:sldMk cId="4086539563" sldId="2147374217"/>
            <ac:grpSpMk id="386" creationId="{CF022310-F623-9B4C-BCE5-58E8F944F348}"/>
          </ac:grpSpMkLst>
        </pc:grpChg>
        <pc:grpChg chg="del">
          <ac:chgData name="Nick Robinson" userId="d0c2b313-4ae0-4040-8c6a-fec7a720a7b5" providerId="ADAL" clId="{190131DE-6250-C84F-B491-721E6CF30BCB}" dt="2021-12-20T15:30:43.175" v="17661" actId="478"/>
          <ac:grpSpMkLst>
            <pc:docMk/>
            <pc:sldMk cId="4086539563" sldId="2147374217"/>
            <ac:grpSpMk id="389" creationId="{87AC4744-031B-5E40-B853-1D88B94E347C}"/>
          </ac:grpSpMkLst>
        </pc:grpChg>
        <pc:grpChg chg="del">
          <ac:chgData name="Nick Robinson" userId="d0c2b313-4ae0-4040-8c6a-fec7a720a7b5" providerId="ADAL" clId="{190131DE-6250-C84F-B491-721E6CF30BCB}" dt="2021-12-20T15:30:51.191" v="17662" actId="478"/>
          <ac:grpSpMkLst>
            <pc:docMk/>
            <pc:sldMk cId="4086539563" sldId="2147374217"/>
            <ac:grpSpMk id="392" creationId="{979CC574-512F-5C4D-9797-4AA406C5CC8F}"/>
          </ac:grpSpMkLst>
        </pc:grpChg>
        <pc:grpChg chg="del">
          <ac:chgData name="Nick Robinson" userId="d0c2b313-4ae0-4040-8c6a-fec7a720a7b5" providerId="ADAL" clId="{190131DE-6250-C84F-B491-721E6CF30BCB}" dt="2021-12-20T15:30:51.191" v="17662" actId="478"/>
          <ac:grpSpMkLst>
            <pc:docMk/>
            <pc:sldMk cId="4086539563" sldId="2147374217"/>
            <ac:grpSpMk id="395" creationId="{3D4023E0-BCAB-124C-82BE-580A5511E533}"/>
          </ac:grpSpMkLst>
        </pc:grpChg>
        <pc:grpChg chg="del">
          <ac:chgData name="Nick Robinson" userId="d0c2b313-4ae0-4040-8c6a-fec7a720a7b5" providerId="ADAL" clId="{190131DE-6250-C84F-B491-721E6CF30BCB}" dt="2021-12-20T15:30:51.191" v="17662" actId="478"/>
          <ac:grpSpMkLst>
            <pc:docMk/>
            <pc:sldMk cId="4086539563" sldId="2147374217"/>
            <ac:grpSpMk id="398" creationId="{E2D2B353-A948-1F43-A6FC-C92EBEF7E490}"/>
          </ac:grpSpMkLst>
        </pc:grpChg>
        <pc:grpChg chg="del">
          <ac:chgData name="Nick Robinson" userId="d0c2b313-4ae0-4040-8c6a-fec7a720a7b5" providerId="ADAL" clId="{190131DE-6250-C84F-B491-721E6CF30BCB}" dt="2021-12-20T15:30:51.191" v="17662" actId="478"/>
          <ac:grpSpMkLst>
            <pc:docMk/>
            <pc:sldMk cId="4086539563" sldId="2147374217"/>
            <ac:grpSpMk id="401" creationId="{942676A1-2B73-6F4A-B5F4-F0DD5971A2B6}"/>
          </ac:grpSpMkLst>
        </pc:grpChg>
        <pc:grpChg chg="del">
          <ac:chgData name="Nick Robinson" userId="d0c2b313-4ae0-4040-8c6a-fec7a720a7b5" providerId="ADAL" clId="{190131DE-6250-C84F-B491-721E6CF30BCB}" dt="2021-12-20T15:30:51.191" v="17662" actId="478"/>
          <ac:grpSpMkLst>
            <pc:docMk/>
            <pc:sldMk cId="4086539563" sldId="2147374217"/>
            <ac:grpSpMk id="404" creationId="{CB6FAB60-74C5-1446-8267-AC962E2FF6C3}"/>
          </ac:grpSpMkLst>
        </pc:grpChg>
        <pc:grpChg chg="del">
          <ac:chgData name="Nick Robinson" userId="d0c2b313-4ae0-4040-8c6a-fec7a720a7b5" providerId="ADAL" clId="{190131DE-6250-C84F-B491-721E6CF30BCB}" dt="2021-12-20T15:30:51.191" v="17662" actId="478"/>
          <ac:grpSpMkLst>
            <pc:docMk/>
            <pc:sldMk cId="4086539563" sldId="2147374217"/>
            <ac:grpSpMk id="407" creationId="{E86F96E5-E50C-6445-9548-020FA2DEFEA0}"/>
          </ac:grpSpMkLst>
        </pc:grpChg>
        <pc:grpChg chg="del">
          <ac:chgData name="Nick Robinson" userId="d0c2b313-4ae0-4040-8c6a-fec7a720a7b5" providerId="ADAL" clId="{190131DE-6250-C84F-B491-721E6CF30BCB}" dt="2021-12-20T15:30:51.191" v="17662" actId="478"/>
          <ac:grpSpMkLst>
            <pc:docMk/>
            <pc:sldMk cId="4086539563" sldId="2147374217"/>
            <ac:grpSpMk id="410" creationId="{074FDDD8-D350-2640-BFBA-B32C3EBA3AEC}"/>
          </ac:grpSpMkLst>
        </pc:grpChg>
        <pc:grpChg chg="del">
          <ac:chgData name="Nick Robinson" userId="d0c2b313-4ae0-4040-8c6a-fec7a720a7b5" providerId="ADAL" clId="{190131DE-6250-C84F-B491-721E6CF30BCB}" dt="2021-12-20T15:30:51.191" v="17662" actId="478"/>
          <ac:grpSpMkLst>
            <pc:docMk/>
            <pc:sldMk cId="4086539563" sldId="2147374217"/>
            <ac:grpSpMk id="413" creationId="{15F8B970-CDE0-F948-9EFD-5CDA86625A67}"/>
          </ac:grpSpMkLst>
        </pc:grpChg>
        <pc:grpChg chg="del">
          <ac:chgData name="Nick Robinson" userId="d0c2b313-4ae0-4040-8c6a-fec7a720a7b5" providerId="ADAL" clId="{190131DE-6250-C84F-B491-721E6CF30BCB}" dt="2021-12-20T15:30:51.191" v="17662" actId="478"/>
          <ac:grpSpMkLst>
            <pc:docMk/>
            <pc:sldMk cId="4086539563" sldId="2147374217"/>
            <ac:grpSpMk id="416" creationId="{5740C3EB-80F8-5C45-BC31-3FC41A377F95}"/>
          </ac:grpSpMkLst>
        </pc:grpChg>
        <pc:grpChg chg="del">
          <ac:chgData name="Nick Robinson" userId="d0c2b313-4ae0-4040-8c6a-fec7a720a7b5" providerId="ADAL" clId="{190131DE-6250-C84F-B491-721E6CF30BCB}" dt="2021-12-20T15:30:51.191" v="17662" actId="478"/>
          <ac:grpSpMkLst>
            <pc:docMk/>
            <pc:sldMk cId="4086539563" sldId="2147374217"/>
            <ac:grpSpMk id="419" creationId="{B8E25459-D8B3-2945-89BC-DA553F1B0A7D}"/>
          </ac:grpSpMkLst>
        </pc:grpChg>
        <pc:grpChg chg="del">
          <ac:chgData name="Nick Robinson" userId="d0c2b313-4ae0-4040-8c6a-fec7a720a7b5" providerId="ADAL" clId="{190131DE-6250-C84F-B491-721E6CF30BCB}" dt="2021-12-20T15:30:51.191" v="17662" actId="478"/>
          <ac:grpSpMkLst>
            <pc:docMk/>
            <pc:sldMk cId="4086539563" sldId="2147374217"/>
            <ac:grpSpMk id="422" creationId="{70652935-979A-D545-8A32-4632AACCD0C2}"/>
          </ac:grpSpMkLst>
        </pc:grpChg>
        <pc:grpChg chg="del">
          <ac:chgData name="Nick Robinson" userId="d0c2b313-4ae0-4040-8c6a-fec7a720a7b5" providerId="ADAL" clId="{190131DE-6250-C84F-B491-721E6CF30BCB}" dt="2021-12-20T15:30:51.191" v="17662" actId="478"/>
          <ac:grpSpMkLst>
            <pc:docMk/>
            <pc:sldMk cId="4086539563" sldId="2147374217"/>
            <ac:grpSpMk id="425" creationId="{16D06D1C-3843-CE4D-9F94-D91BE7049611}"/>
          </ac:grpSpMkLst>
        </pc:grpChg>
        <pc:grpChg chg="del">
          <ac:chgData name="Nick Robinson" userId="d0c2b313-4ae0-4040-8c6a-fec7a720a7b5" providerId="ADAL" clId="{190131DE-6250-C84F-B491-721E6CF30BCB}" dt="2021-12-20T15:30:51.191" v="17662" actId="478"/>
          <ac:grpSpMkLst>
            <pc:docMk/>
            <pc:sldMk cId="4086539563" sldId="2147374217"/>
            <ac:grpSpMk id="428" creationId="{89AF2D6E-2A25-D64E-9EBB-B12E00848BB4}"/>
          </ac:grpSpMkLst>
        </pc:grpChg>
        <pc:grpChg chg="del">
          <ac:chgData name="Nick Robinson" userId="d0c2b313-4ae0-4040-8c6a-fec7a720a7b5" providerId="ADAL" clId="{190131DE-6250-C84F-B491-721E6CF30BCB}" dt="2021-12-20T15:30:51.191" v="17662" actId="478"/>
          <ac:grpSpMkLst>
            <pc:docMk/>
            <pc:sldMk cId="4086539563" sldId="2147374217"/>
            <ac:grpSpMk id="431" creationId="{1CEDA02F-238B-E840-AEBF-36D45A383B77}"/>
          </ac:grpSpMkLst>
        </pc:grpChg>
        <pc:grpChg chg="del">
          <ac:chgData name="Nick Robinson" userId="d0c2b313-4ae0-4040-8c6a-fec7a720a7b5" providerId="ADAL" clId="{190131DE-6250-C84F-B491-721E6CF30BCB}" dt="2021-12-20T15:30:51.191" v="17662" actId="478"/>
          <ac:grpSpMkLst>
            <pc:docMk/>
            <pc:sldMk cId="4086539563" sldId="2147374217"/>
            <ac:grpSpMk id="434" creationId="{C4F5C3F6-12CB-294B-89BB-214B7ECA2F4D}"/>
          </ac:grpSpMkLst>
        </pc:grpChg>
        <pc:grpChg chg="del">
          <ac:chgData name="Nick Robinson" userId="d0c2b313-4ae0-4040-8c6a-fec7a720a7b5" providerId="ADAL" clId="{190131DE-6250-C84F-B491-721E6CF30BCB}" dt="2021-12-20T15:30:51.191" v="17662" actId="478"/>
          <ac:grpSpMkLst>
            <pc:docMk/>
            <pc:sldMk cId="4086539563" sldId="2147374217"/>
            <ac:grpSpMk id="437" creationId="{852C0100-E9F9-AE43-84CE-3D767B058D4A}"/>
          </ac:grpSpMkLst>
        </pc:grpChg>
        <pc:grpChg chg="del">
          <ac:chgData name="Nick Robinson" userId="d0c2b313-4ae0-4040-8c6a-fec7a720a7b5" providerId="ADAL" clId="{190131DE-6250-C84F-B491-721E6CF30BCB}" dt="2021-12-20T15:30:51.191" v="17662" actId="478"/>
          <ac:grpSpMkLst>
            <pc:docMk/>
            <pc:sldMk cId="4086539563" sldId="2147374217"/>
            <ac:grpSpMk id="440" creationId="{3C09AB6E-692E-6B49-BEC1-708239E35323}"/>
          </ac:grpSpMkLst>
        </pc:grpChg>
        <pc:grpChg chg="del">
          <ac:chgData name="Nick Robinson" userId="d0c2b313-4ae0-4040-8c6a-fec7a720a7b5" providerId="ADAL" clId="{190131DE-6250-C84F-B491-721E6CF30BCB}" dt="2021-12-20T15:30:51.191" v="17662" actId="478"/>
          <ac:grpSpMkLst>
            <pc:docMk/>
            <pc:sldMk cId="4086539563" sldId="2147374217"/>
            <ac:grpSpMk id="443" creationId="{14E0E437-6BB3-1D48-AA5C-26FB1DDF63BF}"/>
          </ac:grpSpMkLst>
        </pc:grpChg>
        <pc:grpChg chg="del">
          <ac:chgData name="Nick Robinson" userId="d0c2b313-4ae0-4040-8c6a-fec7a720a7b5" providerId="ADAL" clId="{190131DE-6250-C84F-B491-721E6CF30BCB}" dt="2021-12-20T15:30:51.191" v="17662" actId="478"/>
          <ac:grpSpMkLst>
            <pc:docMk/>
            <pc:sldMk cId="4086539563" sldId="2147374217"/>
            <ac:grpSpMk id="446" creationId="{E3291444-7BFF-374A-BA0B-14E51A4D1D12}"/>
          </ac:grpSpMkLst>
        </pc:grpChg>
        <pc:grpChg chg="del">
          <ac:chgData name="Nick Robinson" userId="d0c2b313-4ae0-4040-8c6a-fec7a720a7b5" providerId="ADAL" clId="{190131DE-6250-C84F-B491-721E6CF30BCB}" dt="2021-12-20T15:30:51.191" v="17662" actId="478"/>
          <ac:grpSpMkLst>
            <pc:docMk/>
            <pc:sldMk cId="4086539563" sldId="2147374217"/>
            <ac:grpSpMk id="449" creationId="{611187BC-35DA-E145-A3A0-0CBF3DE448AD}"/>
          </ac:grpSpMkLst>
        </pc:grpChg>
        <pc:grpChg chg="del">
          <ac:chgData name="Nick Robinson" userId="d0c2b313-4ae0-4040-8c6a-fec7a720a7b5" providerId="ADAL" clId="{190131DE-6250-C84F-B491-721E6CF30BCB}" dt="2021-12-20T15:30:51.191" v="17662" actId="478"/>
          <ac:grpSpMkLst>
            <pc:docMk/>
            <pc:sldMk cId="4086539563" sldId="2147374217"/>
            <ac:grpSpMk id="452" creationId="{149DA429-A54B-C541-AE2B-4F59996FEE79}"/>
          </ac:grpSpMkLst>
        </pc:grpChg>
        <pc:grpChg chg="del">
          <ac:chgData name="Nick Robinson" userId="d0c2b313-4ae0-4040-8c6a-fec7a720a7b5" providerId="ADAL" clId="{190131DE-6250-C84F-B491-721E6CF30BCB}" dt="2021-12-20T15:30:51.191" v="17662" actId="478"/>
          <ac:grpSpMkLst>
            <pc:docMk/>
            <pc:sldMk cId="4086539563" sldId="2147374217"/>
            <ac:grpSpMk id="455" creationId="{8B53942F-6D58-3241-9FC6-F31619619163}"/>
          </ac:grpSpMkLst>
        </pc:grpChg>
        <pc:grpChg chg="del">
          <ac:chgData name="Nick Robinson" userId="d0c2b313-4ae0-4040-8c6a-fec7a720a7b5" providerId="ADAL" clId="{190131DE-6250-C84F-B491-721E6CF30BCB}" dt="2021-12-20T15:30:51.191" v="17662" actId="478"/>
          <ac:grpSpMkLst>
            <pc:docMk/>
            <pc:sldMk cId="4086539563" sldId="2147374217"/>
            <ac:grpSpMk id="458" creationId="{44B13701-3ECE-7545-B98E-00165A711226}"/>
          </ac:grpSpMkLst>
        </pc:grpChg>
        <pc:grpChg chg="del">
          <ac:chgData name="Nick Robinson" userId="d0c2b313-4ae0-4040-8c6a-fec7a720a7b5" providerId="ADAL" clId="{190131DE-6250-C84F-B491-721E6CF30BCB}" dt="2021-12-20T15:30:51.191" v="17662" actId="478"/>
          <ac:grpSpMkLst>
            <pc:docMk/>
            <pc:sldMk cId="4086539563" sldId="2147374217"/>
            <ac:grpSpMk id="461" creationId="{FFEEE199-F2A1-424A-8F06-F33D3516C7E3}"/>
          </ac:grpSpMkLst>
        </pc:grpChg>
        <pc:grpChg chg="del">
          <ac:chgData name="Nick Robinson" userId="d0c2b313-4ae0-4040-8c6a-fec7a720a7b5" providerId="ADAL" clId="{190131DE-6250-C84F-B491-721E6CF30BCB}" dt="2021-12-20T15:30:51.191" v="17662" actId="478"/>
          <ac:grpSpMkLst>
            <pc:docMk/>
            <pc:sldMk cId="4086539563" sldId="2147374217"/>
            <ac:grpSpMk id="464" creationId="{5F937D77-DD9F-CE45-9EED-C4BECCACF667}"/>
          </ac:grpSpMkLst>
        </pc:grpChg>
        <pc:grpChg chg="del">
          <ac:chgData name="Nick Robinson" userId="d0c2b313-4ae0-4040-8c6a-fec7a720a7b5" providerId="ADAL" clId="{190131DE-6250-C84F-B491-721E6CF30BCB}" dt="2021-12-20T15:30:51.191" v="17662" actId="478"/>
          <ac:grpSpMkLst>
            <pc:docMk/>
            <pc:sldMk cId="4086539563" sldId="2147374217"/>
            <ac:grpSpMk id="467" creationId="{9044BF49-D61D-6F41-A4C0-D68AA203FFB0}"/>
          </ac:grpSpMkLst>
        </pc:grpChg>
        <pc:grpChg chg="del">
          <ac:chgData name="Nick Robinson" userId="d0c2b313-4ae0-4040-8c6a-fec7a720a7b5" providerId="ADAL" clId="{190131DE-6250-C84F-B491-721E6CF30BCB}" dt="2021-12-20T15:30:51.191" v="17662" actId="478"/>
          <ac:grpSpMkLst>
            <pc:docMk/>
            <pc:sldMk cId="4086539563" sldId="2147374217"/>
            <ac:grpSpMk id="470" creationId="{65202F6B-CA5C-DA4A-AC9B-C9D5374E60D8}"/>
          </ac:grpSpMkLst>
        </pc:grpChg>
        <pc:grpChg chg="del">
          <ac:chgData name="Nick Robinson" userId="d0c2b313-4ae0-4040-8c6a-fec7a720a7b5" providerId="ADAL" clId="{190131DE-6250-C84F-B491-721E6CF30BCB}" dt="2021-12-20T15:30:43.175" v="17661" actId="478"/>
          <ac:grpSpMkLst>
            <pc:docMk/>
            <pc:sldMk cId="4086539563" sldId="2147374217"/>
            <ac:grpSpMk id="473" creationId="{A1A0BADE-4D90-824D-89C0-8D89A2C6C6B6}"/>
          </ac:grpSpMkLst>
        </pc:grpChg>
        <pc:grpChg chg="del mod">
          <ac:chgData name="Nick Robinson" userId="d0c2b313-4ae0-4040-8c6a-fec7a720a7b5" providerId="ADAL" clId="{190131DE-6250-C84F-B491-721E6CF30BCB}" dt="2021-12-20T15:34:09.873" v="17705" actId="478"/>
          <ac:grpSpMkLst>
            <pc:docMk/>
            <pc:sldMk cId="4086539563" sldId="2147374217"/>
            <ac:grpSpMk id="476" creationId="{F4F93A62-4357-D442-AF27-FB4006F05E7E}"/>
          </ac:grpSpMkLst>
        </pc:grpChg>
        <pc:grpChg chg="del">
          <ac:chgData name="Nick Robinson" userId="d0c2b313-4ae0-4040-8c6a-fec7a720a7b5" providerId="ADAL" clId="{190131DE-6250-C84F-B491-721E6CF30BCB}" dt="2021-12-20T15:30:51.191" v="17662" actId="478"/>
          <ac:grpSpMkLst>
            <pc:docMk/>
            <pc:sldMk cId="4086539563" sldId="2147374217"/>
            <ac:grpSpMk id="479" creationId="{FD2D1C8A-7C60-8946-8727-3FE9FD1E5598}"/>
          </ac:grpSpMkLst>
        </pc:grpChg>
        <pc:grpChg chg="del">
          <ac:chgData name="Nick Robinson" userId="d0c2b313-4ae0-4040-8c6a-fec7a720a7b5" providerId="ADAL" clId="{190131DE-6250-C84F-B491-721E6CF30BCB}" dt="2021-12-20T15:30:51.191" v="17662" actId="478"/>
          <ac:grpSpMkLst>
            <pc:docMk/>
            <pc:sldMk cId="4086539563" sldId="2147374217"/>
            <ac:grpSpMk id="482" creationId="{FFB3B415-85E0-EA47-80A3-369A08F212F1}"/>
          </ac:grpSpMkLst>
        </pc:grpChg>
        <pc:grpChg chg="del">
          <ac:chgData name="Nick Robinson" userId="d0c2b313-4ae0-4040-8c6a-fec7a720a7b5" providerId="ADAL" clId="{190131DE-6250-C84F-B491-721E6CF30BCB}" dt="2021-12-20T15:30:51.191" v="17662" actId="478"/>
          <ac:grpSpMkLst>
            <pc:docMk/>
            <pc:sldMk cId="4086539563" sldId="2147374217"/>
            <ac:grpSpMk id="485" creationId="{D78A9F45-5071-DD4B-B643-8B4855E9C7F1}"/>
          </ac:grpSpMkLst>
        </pc:grpChg>
        <pc:grpChg chg="del">
          <ac:chgData name="Nick Robinson" userId="d0c2b313-4ae0-4040-8c6a-fec7a720a7b5" providerId="ADAL" clId="{190131DE-6250-C84F-B491-721E6CF30BCB}" dt="2021-12-20T15:30:51.191" v="17662" actId="478"/>
          <ac:grpSpMkLst>
            <pc:docMk/>
            <pc:sldMk cId="4086539563" sldId="2147374217"/>
            <ac:grpSpMk id="488" creationId="{19A6EEEE-A47A-D94B-AC35-A65150AC6CFB}"/>
          </ac:grpSpMkLst>
        </pc:grpChg>
        <pc:grpChg chg="add mod">
          <ac:chgData name="Nick Robinson" userId="d0c2b313-4ae0-4040-8c6a-fec7a720a7b5" providerId="ADAL" clId="{190131DE-6250-C84F-B491-721E6CF30BCB}" dt="2021-12-20T15:49:48.077" v="18053" actId="1076"/>
          <ac:grpSpMkLst>
            <pc:docMk/>
            <pc:sldMk cId="4086539563" sldId="2147374217"/>
            <ac:grpSpMk id="497" creationId="{F90E03B8-7A69-E540-AF03-FD9BE34A66B6}"/>
          </ac:grpSpMkLst>
        </pc:grpChg>
        <pc:grpChg chg="add mod">
          <ac:chgData name="Nick Robinson" userId="d0c2b313-4ae0-4040-8c6a-fec7a720a7b5" providerId="ADAL" clId="{190131DE-6250-C84F-B491-721E6CF30BCB}" dt="2021-12-20T15:50:07.561" v="18061" actId="1076"/>
          <ac:grpSpMkLst>
            <pc:docMk/>
            <pc:sldMk cId="4086539563" sldId="2147374217"/>
            <ac:grpSpMk id="500" creationId="{BCD26321-2AC6-C545-8B57-598526463049}"/>
          </ac:grpSpMkLst>
        </pc:grpChg>
        <pc:grpChg chg="add mod">
          <ac:chgData name="Nick Robinson" userId="d0c2b313-4ae0-4040-8c6a-fec7a720a7b5" providerId="ADAL" clId="{190131DE-6250-C84F-B491-721E6CF30BCB}" dt="2021-12-20T15:49:53.139" v="18055" actId="1076"/>
          <ac:grpSpMkLst>
            <pc:docMk/>
            <pc:sldMk cId="4086539563" sldId="2147374217"/>
            <ac:grpSpMk id="503" creationId="{1FADDB06-58C5-0D4E-816D-8F914C2FADB4}"/>
          </ac:grpSpMkLst>
        </pc:grpChg>
        <pc:grpChg chg="add del mod">
          <ac:chgData name="Nick Robinson" userId="d0c2b313-4ae0-4040-8c6a-fec7a720a7b5" providerId="ADAL" clId="{190131DE-6250-C84F-B491-721E6CF30BCB}" dt="2021-12-20T15:47:45.678" v="18012" actId="478"/>
          <ac:grpSpMkLst>
            <pc:docMk/>
            <pc:sldMk cId="4086539563" sldId="2147374217"/>
            <ac:grpSpMk id="506" creationId="{65A65F65-D58D-5C43-914F-D32CB942F5A9}"/>
          </ac:grpSpMkLst>
        </pc:grpChg>
        <pc:grpChg chg="add del mod">
          <ac:chgData name="Nick Robinson" userId="d0c2b313-4ae0-4040-8c6a-fec7a720a7b5" providerId="ADAL" clId="{190131DE-6250-C84F-B491-721E6CF30BCB}" dt="2021-12-20T16:11:54.225" v="18440" actId="207"/>
          <ac:grpSpMkLst>
            <pc:docMk/>
            <pc:sldMk cId="4086539563" sldId="2147374217"/>
            <ac:grpSpMk id="509" creationId="{414A8093-3486-5B4A-A5B2-4C4247FE1046}"/>
          </ac:grpSpMkLst>
        </pc:grpChg>
        <pc:grpChg chg="add mod">
          <ac:chgData name="Nick Robinson" userId="d0c2b313-4ae0-4040-8c6a-fec7a720a7b5" providerId="ADAL" clId="{190131DE-6250-C84F-B491-721E6CF30BCB}" dt="2021-12-20T15:49:45.528" v="18052" actId="1076"/>
          <ac:grpSpMkLst>
            <pc:docMk/>
            <pc:sldMk cId="4086539563" sldId="2147374217"/>
            <ac:grpSpMk id="512" creationId="{BD45A7B6-B727-8F46-A69A-5ABC871A0030}"/>
          </ac:grpSpMkLst>
        </pc:grpChg>
        <pc:grpChg chg="add del mod">
          <ac:chgData name="Nick Robinson" userId="d0c2b313-4ae0-4040-8c6a-fec7a720a7b5" providerId="ADAL" clId="{190131DE-6250-C84F-B491-721E6CF30BCB}" dt="2021-12-20T15:37:39.087" v="17802" actId="165"/>
          <ac:grpSpMkLst>
            <pc:docMk/>
            <pc:sldMk cId="4086539563" sldId="2147374217"/>
            <ac:grpSpMk id="515" creationId="{119E9910-8962-5847-81B5-60A5412945F7}"/>
          </ac:grpSpMkLst>
        </pc:grpChg>
        <pc:grpChg chg="add mod">
          <ac:chgData name="Nick Robinson" userId="d0c2b313-4ae0-4040-8c6a-fec7a720a7b5" providerId="ADAL" clId="{190131DE-6250-C84F-B491-721E6CF30BCB}" dt="2021-12-20T16:47:45.086" v="18759" actId="1035"/>
          <ac:grpSpMkLst>
            <pc:docMk/>
            <pc:sldMk cId="4086539563" sldId="2147374217"/>
            <ac:grpSpMk id="518" creationId="{58653B4C-9405-764D-96A1-AA795486B136}"/>
          </ac:grpSpMkLst>
        </pc:grpChg>
        <pc:grpChg chg="add mod">
          <ac:chgData name="Nick Robinson" userId="d0c2b313-4ae0-4040-8c6a-fec7a720a7b5" providerId="ADAL" clId="{190131DE-6250-C84F-B491-721E6CF30BCB}" dt="2021-12-20T16:47:45.086" v="18759" actId="1035"/>
          <ac:grpSpMkLst>
            <pc:docMk/>
            <pc:sldMk cId="4086539563" sldId="2147374217"/>
            <ac:grpSpMk id="521" creationId="{799E6934-BA51-5F41-9B7B-7CADBD26A43C}"/>
          </ac:grpSpMkLst>
        </pc:grpChg>
        <pc:grpChg chg="add mod">
          <ac:chgData name="Nick Robinson" userId="d0c2b313-4ae0-4040-8c6a-fec7a720a7b5" providerId="ADAL" clId="{190131DE-6250-C84F-B491-721E6CF30BCB}" dt="2021-12-20T16:47:45.086" v="18759" actId="1035"/>
          <ac:grpSpMkLst>
            <pc:docMk/>
            <pc:sldMk cId="4086539563" sldId="2147374217"/>
            <ac:grpSpMk id="524" creationId="{94AB2A68-2BC2-2746-BED8-14993BCAE77E}"/>
          </ac:grpSpMkLst>
        </pc:grpChg>
        <pc:grpChg chg="add mod">
          <ac:chgData name="Nick Robinson" userId="d0c2b313-4ae0-4040-8c6a-fec7a720a7b5" providerId="ADAL" clId="{190131DE-6250-C84F-B491-721E6CF30BCB}" dt="2021-12-20T16:47:45.086" v="18759" actId="1035"/>
          <ac:grpSpMkLst>
            <pc:docMk/>
            <pc:sldMk cId="4086539563" sldId="2147374217"/>
            <ac:grpSpMk id="527" creationId="{3B58E207-9BCB-1545-A038-211D21B119DF}"/>
          </ac:grpSpMkLst>
        </pc:grpChg>
        <pc:grpChg chg="add mod">
          <ac:chgData name="Nick Robinson" userId="d0c2b313-4ae0-4040-8c6a-fec7a720a7b5" providerId="ADAL" clId="{190131DE-6250-C84F-B491-721E6CF30BCB}" dt="2021-12-20T16:47:45.086" v="18759" actId="1035"/>
          <ac:grpSpMkLst>
            <pc:docMk/>
            <pc:sldMk cId="4086539563" sldId="2147374217"/>
            <ac:grpSpMk id="530" creationId="{1E3C939E-5BEA-814B-AFCA-6CEBF1C1380F}"/>
          </ac:grpSpMkLst>
        </pc:grpChg>
        <pc:grpChg chg="add mod">
          <ac:chgData name="Nick Robinson" userId="d0c2b313-4ae0-4040-8c6a-fec7a720a7b5" providerId="ADAL" clId="{190131DE-6250-C84F-B491-721E6CF30BCB}" dt="2021-12-20T16:47:45.086" v="18759" actId="1035"/>
          <ac:grpSpMkLst>
            <pc:docMk/>
            <pc:sldMk cId="4086539563" sldId="2147374217"/>
            <ac:grpSpMk id="533" creationId="{245ED9AE-25BA-C942-B474-CA8C3BBBE31F}"/>
          </ac:grpSpMkLst>
        </pc:grpChg>
        <pc:grpChg chg="add mod">
          <ac:chgData name="Nick Robinson" userId="d0c2b313-4ae0-4040-8c6a-fec7a720a7b5" providerId="ADAL" clId="{190131DE-6250-C84F-B491-721E6CF30BCB}" dt="2021-12-20T16:47:45.086" v="18759" actId="1035"/>
          <ac:grpSpMkLst>
            <pc:docMk/>
            <pc:sldMk cId="4086539563" sldId="2147374217"/>
            <ac:grpSpMk id="536" creationId="{373277F9-AC9F-E043-914A-5295E0BB45B8}"/>
          </ac:grpSpMkLst>
        </pc:grpChg>
        <pc:grpChg chg="add mod">
          <ac:chgData name="Nick Robinson" userId="d0c2b313-4ae0-4040-8c6a-fec7a720a7b5" providerId="ADAL" clId="{190131DE-6250-C84F-B491-721E6CF30BCB}" dt="2021-12-20T16:47:54.644" v="18761" actId="1036"/>
          <ac:grpSpMkLst>
            <pc:docMk/>
            <pc:sldMk cId="4086539563" sldId="2147374217"/>
            <ac:grpSpMk id="539" creationId="{0A8C90B0-B80C-3D4D-AE94-CF6665593B67}"/>
          </ac:grpSpMkLst>
        </pc:grpChg>
        <pc:grpChg chg="add mod">
          <ac:chgData name="Nick Robinson" userId="d0c2b313-4ae0-4040-8c6a-fec7a720a7b5" providerId="ADAL" clId="{190131DE-6250-C84F-B491-721E6CF30BCB}" dt="2021-12-20T16:47:54.644" v="18761" actId="1036"/>
          <ac:grpSpMkLst>
            <pc:docMk/>
            <pc:sldMk cId="4086539563" sldId="2147374217"/>
            <ac:grpSpMk id="543" creationId="{B8013FC1-C98D-FE41-BD2E-A378255BB07D}"/>
          </ac:grpSpMkLst>
        </pc:grpChg>
        <pc:grpChg chg="add mod">
          <ac:chgData name="Nick Robinson" userId="d0c2b313-4ae0-4040-8c6a-fec7a720a7b5" providerId="ADAL" clId="{190131DE-6250-C84F-B491-721E6CF30BCB}" dt="2021-12-20T15:49:55.633" v="18056" actId="1076"/>
          <ac:grpSpMkLst>
            <pc:docMk/>
            <pc:sldMk cId="4086539563" sldId="2147374217"/>
            <ac:grpSpMk id="549" creationId="{7D133B50-1CA5-4645-B0DE-27287A69AB03}"/>
          </ac:grpSpMkLst>
        </pc:grpChg>
        <pc:grpChg chg="add mod">
          <ac:chgData name="Nick Robinson" userId="d0c2b313-4ae0-4040-8c6a-fec7a720a7b5" providerId="ADAL" clId="{190131DE-6250-C84F-B491-721E6CF30BCB}" dt="2021-12-20T15:50:00.046" v="18058" actId="1076"/>
          <ac:grpSpMkLst>
            <pc:docMk/>
            <pc:sldMk cId="4086539563" sldId="2147374217"/>
            <ac:grpSpMk id="552" creationId="{4AB496B8-8EBE-BD43-8002-7E401B7A0200}"/>
          </ac:grpSpMkLst>
        </pc:grpChg>
        <pc:grpChg chg="add mod">
          <ac:chgData name="Nick Robinson" userId="d0c2b313-4ae0-4040-8c6a-fec7a720a7b5" providerId="ADAL" clId="{190131DE-6250-C84F-B491-721E6CF30BCB}" dt="2021-12-20T16:07:49.720" v="18393" actId="1076"/>
          <ac:grpSpMkLst>
            <pc:docMk/>
            <pc:sldMk cId="4086539563" sldId="2147374217"/>
            <ac:grpSpMk id="555" creationId="{FD27D65B-85BE-974D-A5D2-96CABADE13BB}"/>
          </ac:grpSpMkLst>
        </pc:grpChg>
        <pc:grpChg chg="add del mod">
          <ac:chgData name="Nick Robinson" userId="d0c2b313-4ae0-4040-8c6a-fec7a720a7b5" providerId="ADAL" clId="{190131DE-6250-C84F-B491-721E6CF30BCB}" dt="2021-12-20T16:43:11.421" v="18687" actId="165"/>
          <ac:grpSpMkLst>
            <pc:docMk/>
            <pc:sldMk cId="4086539563" sldId="2147374217"/>
            <ac:grpSpMk id="558" creationId="{2B3D9657-EB45-9745-987F-1C7074E51921}"/>
          </ac:grpSpMkLst>
        </pc:grpChg>
        <pc:grpChg chg="add del mod">
          <ac:chgData name="Nick Robinson" userId="d0c2b313-4ae0-4040-8c6a-fec7a720a7b5" providerId="ADAL" clId="{190131DE-6250-C84F-B491-721E6CF30BCB}" dt="2021-12-20T15:52:45.328" v="18121" actId="1076"/>
          <ac:grpSpMkLst>
            <pc:docMk/>
            <pc:sldMk cId="4086539563" sldId="2147374217"/>
            <ac:grpSpMk id="561" creationId="{2C28106E-A1BA-3D4F-8801-DE6AB04EC415}"/>
          </ac:grpSpMkLst>
        </pc:grpChg>
        <pc:grpChg chg="add mod">
          <ac:chgData name="Nick Robinson" userId="d0c2b313-4ae0-4040-8c6a-fec7a720a7b5" providerId="ADAL" clId="{190131DE-6250-C84F-B491-721E6CF30BCB}" dt="2021-12-20T15:52:14.828" v="18109" actId="1076"/>
          <ac:grpSpMkLst>
            <pc:docMk/>
            <pc:sldMk cId="4086539563" sldId="2147374217"/>
            <ac:grpSpMk id="564" creationId="{D92D8193-3828-2646-B203-67FFA79ACF1D}"/>
          </ac:grpSpMkLst>
        </pc:grpChg>
        <pc:grpChg chg="add mod">
          <ac:chgData name="Nick Robinson" userId="d0c2b313-4ae0-4040-8c6a-fec7a720a7b5" providerId="ADAL" clId="{190131DE-6250-C84F-B491-721E6CF30BCB}" dt="2021-12-20T16:09:18.661" v="18410" actId="1076"/>
          <ac:grpSpMkLst>
            <pc:docMk/>
            <pc:sldMk cId="4086539563" sldId="2147374217"/>
            <ac:grpSpMk id="567" creationId="{76069F71-31D2-C842-961C-FA1C7F1B066B}"/>
          </ac:grpSpMkLst>
        </pc:grpChg>
        <pc:grpChg chg="add mod">
          <ac:chgData name="Nick Robinson" userId="d0c2b313-4ae0-4040-8c6a-fec7a720a7b5" providerId="ADAL" clId="{190131DE-6250-C84F-B491-721E6CF30BCB}" dt="2021-12-20T15:51:50.978" v="18101" actId="1076"/>
          <ac:grpSpMkLst>
            <pc:docMk/>
            <pc:sldMk cId="4086539563" sldId="2147374217"/>
            <ac:grpSpMk id="570" creationId="{18F7E406-D8A6-314E-9BBE-EC34EC5D971D}"/>
          </ac:grpSpMkLst>
        </pc:grpChg>
        <pc:grpChg chg="add mod">
          <ac:chgData name="Nick Robinson" userId="d0c2b313-4ae0-4040-8c6a-fec7a720a7b5" providerId="ADAL" clId="{190131DE-6250-C84F-B491-721E6CF30BCB}" dt="2021-12-20T16:07:18.679" v="18385" actId="1076"/>
          <ac:grpSpMkLst>
            <pc:docMk/>
            <pc:sldMk cId="4086539563" sldId="2147374217"/>
            <ac:grpSpMk id="573" creationId="{FEC2FEF6-5226-294D-A13E-3CFABB2F9DBA}"/>
          </ac:grpSpMkLst>
        </pc:grpChg>
        <pc:grpChg chg="add mod">
          <ac:chgData name="Nick Robinson" userId="d0c2b313-4ae0-4040-8c6a-fec7a720a7b5" providerId="ADAL" clId="{190131DE-6250-C84F-B491-721E6CF30BCB}" dt="2021-12-20T16:07:21.160" v="18386" actId="1076"/>
          <ac:grpSpMkLst>
            <pc:docMk/>
            <pc:sldMk cId="4086539563" sldId="2147374217"/>
            <ac:grpSpMk id="576" creationId="{DA5C55AC-65C2-1D46-A772-62B7987E8F33}"/>
          </ac:grpSpMkLst>
        </pc:grpChg>
        <pc:grpChg chg="add mod">
          <ac:chgData name="Nick Robinson" userId="d0c2b313-4ae0-4040-8c6a-fec7a720a7b5" providerId="ADAL" clId="{190131DE-6250-C84F-B491-721E6CF30BCB}" dt="2021-12-20T15:51:22.728" v="18087" actId="1076"/>
          <ac:grpSpMkLst>
            <pc:docMk/>
            <pc:sldMk cId="4086539563" sldId="2147374217"/>
            <ac:grpSpMk id="579" creationId="{273A3CFC-F2A0-5D45-832E-AC24DF5A5ACE}"/>
          </ac:grpSpMkLst>
        </pc:grpChg>
        <pc:grpChg chg="add mod">
          <ac:chgData name="Nick Robinson" userId="d0c2b313-4ae0-4040-8c6a-fec7a720a7b5" providerId="ADAL" clId="{190131DE-6250-C84F-B491-721E6CF30BCB}" dt="2021-12-20T15:52:19.960" v="18112" actId="1076"/>
          <ac:grpSpMkLst>
            <pc:docMk/>
            <pc:sldMk cId="4086539563" sldId="2147374217"/>
            <ac:grpSpMk id="582" creationId="{3AF5CE05-4272-5747-BB70-05633DEAA1C5}"/>
          </ac:grpSpMkLst>
        </pc:grpChg>
        <pc:grpChg chg="add mod">
          <ac:chgData name="Nick Robinson" userId="d0c2b313-4ae0-4040-8c6a-fec7a720a7b5" providerId="ADAL" clId="{190131DE-6250-C84F-B491-721E6CF30BCB}" dt="2021-12-20T16:17:59.535" v="18456" actId="207"/>
          <ac:grpSpMkLst>
            <pc:docMk/>
            <pc:sldMk cId="4086539563" sldId="2147374217"/>
            <ac:grpSpMk id="585" creationId="{6F25DF8D-62D7-9B4C-A9FB-CAFBCEBC18D8}"/>
          </ac:grpSpMkLst>
        </pc:grpChg>
        <pc:grpChg chg="add del mod">
          <ac:chgData name="Nick Robinson" userId="d0c2b313-4ae0-4040-8c6a-fec7a720a7b5" providerId="ADAL" clId="{190131DE-6250-C84F-B491-721E6CF30BCB}" dt="2021-12-20T15:53:04.935" v="18126" actId="21"/>
          <ac:grpSpMkLst>
            <pc:docMk/>
            <pc:sldMk cId="4086539563" sldId="2147374217"/>
            <ac:grpSpMk id="588" creationId="{5CF90029-80E6-2944-842B-FD6933237B19}"/>
          </ac:grpSpMkLst>
        </pc:grpChg>
        <pc:grpChg chg="add mod">
          <ac:chgData name="Nick Robinson" userId="d0c2b313-4ae0-4040-8c6a-fec7a720a7b5" providerId="ADAL" clId="{190131DE-6250-C84F-B491-721E6CF30BCB}" dt="2021-12-20T15:56:58.878" v="18217" actId="1076"/>
          <ac:grpSpMkLst>
            <pc:docMk/>
            <pc:sldMk cId="4086539563" sldId="2147374217"/>
            <ac:grpSpMk id="591" creationId="{47BF5209-9014-3649-90AF-BBA54DCB16E2}"/>
          </ac:grpSpMkLst>
        </pc:grpChg>
        <pc:grpChg chg="add mod">
          <ac:chgData name="Nick Robinson" userId="d0c2b313-4ae0-4040-8c6a-fec7a720a7b5" providerId="ADAL" clId="{190131DE-6250-C84F-B491-721E6CF30BCB}" dt="2021-12-20T15:55:23.706" v="18183" actId="1076"/>
          <ac:grpSpMkLst>
            <pc:docMk/>
            <pc:sldMk cId="4086539563" sldId="2147374217"/>
            <ac:grpSpMk id="594" creationId="{624775B1-6CCF-4547-9A3F-503C48C0CD5F}"/>
          </ac:grpSpMkLst>
        </pc:grpChg>
        <pc:grpChg chg="add mod">
          <ac:chgData name="Nick Robinson" userId="d0c2b313-4ae0-4040-8c6a-fec7a720a7b5" providerId="ADAL" clId="{190131DE-6250-C84F-B491-721E6CF30BCB}" dt="2021-12-20T15:55:02.228" v="18173" actId="1076"/>
          <ac:grpSpMkLst>
            <pc:docMk/>
            <pc:sldMk cId="4086539563" sldId="2147374217"/>
            <ac:grpSpMk id="597" creationId="{3F286EE6-1E67-E649-B34D-DEEEA7EC131C}"/>
          </ac:grpSpMkLst>
        </pc:grpChg>
        <pc:grpChg chg="add mod">
          <ac:chgData name="Nick Robinson" userId="d0c2b313-4ae0-4040-8c6a-fec7a720a7b5" providerId="ADAL" clId="{190131DE-6250-C84F-B491-721E6CF30BCB}" dt="2021-12-20T15:54:50.801" v="18170" actId="1076"/>
          <ac:grpSpMkLst>
            <pc:docMk/>
            <pc:sldMk cId="4086539563" sldId="2147374217"/>
            <ac:grpSpMk id="600" creationId="{B2EF7EA7-CF50-5240-9071-EAAEF4BE8BB7}"/>
          </ac:grpSpMkLst>
        </pc:grpChg>
        <pc:grpChg chg="add mod">
          <ac:chgData name="Nick Robinson" userId="d0c2b313-4ae0-4040-8c6a-fec7a720a7b5" providerId="ADAL" clId="{190131DE-6250-C84F-B491-721E6CF30BCB}" dt="2021-12-20T15:54:48.594" v="18169" actId="1076"/>
          <ac:grpSpMkLst>
            <pc:docMk/>
            <pc:sldMk cId="4086539563" sldId="2147374217"/>
            <ac:grpSpMk id="603" creationId="{EF9358A7-426B-904A-9EC3-C0E9724ABCD0}"/>
          </ac:grpSpMkLst>
        </pc:grpChg>
        <pc:grpChg chg="add mod">
          <ac:chgData name="Nick Robinson" userId="d0c2b313-4ae0-4040-8c6a-fec7a720a7b5" providerId="ADAL" clId="{190131DE-6250-C84F-B491-721E6CF30BCB}" dt="2021-12-20T15:54:28.278" v="18162" actId="1076"/>
          <ac:grpSpMkLst>
            <pc:docMk/>
            <pc:sldMk cId="4086539563" sldId="2147374217"/>
            <ac:grpSpMk id="606" creationId="{023ABE9D-8564-0E43-94AA-4CB5A1D66007}"/>
          </ac:grpSpMkLst>
        </pc:grpChg>
        <pc:grpChg chg="add mod">
          <ac:chgData name="Nick Robinson" userId="d0c2b313-4ae0-4040-8c6a-fec7a720a7b5" providerId="ADAL" clId="{190131DE-6250-C84F-B491-721E6CF30BCB}" dt="2021-12-20T15:54:15.228" v="18159" actId="1076"/>
          <ac:grpSpMkLst>
            <pc:docMk/>
            <pc:sldMk cId="4086539563" sldId="2147374217"/>
            <ac:grpSpMk id="609" creationId="{06044CCD-D366-1643-BC74-A097A905795A}"/>
          </ac:grpSpMkLst>
        </pc:grpChg>
        <pc:grpChg chg="add mod">
          <ac:chgData name="Nick Robinson" userId="d0c2b313-4ae0-4040-8c6a-fec7a720a7b5" providerId="ADAL" clId="{190131DE-6250-C84F-B491-721E6CF30BCB}" dt="2021-12-20T15:54:03.878" v="18155" actId="1076"/>
          <ac:grpSpMkLst>
            <pc:docMk/>
            <pc:sldMk cId="4086539563" sldId="2147374217"/>
            <ac:grpSpMk id="612" creationId="{C93EC510-1D7B-1445-AC1A-D3B936A6FCAD}"/>
          </ac:grpSpMkLst>
        </pc:grpChg>
        <pc:grpChg chg="add mod">
          <ac:chgData name="Nick Robinson" userId="d0c2b313-4ae0-4040-8c6a-fec7a720a7b5" providerId="ADAL" clId="{190131DE-6250-C84F-B491-721E6CF30BCB}" dt="2021-12-20T15:53:52.128" v="18150" actId="1076"/>
          <ac:grpSpMkLst>
            <pc:docMk/>
            <pc:sldMk cId="4086539563" sldId="2147374217"/>
            <ac:grpSpMk id="615" creationId="{68179C25-E475-B24B-A2DF-EF3ABDCC67C1}"/>
          </ac:grpSpMkLst>
        </pc:grpChg>
        <pc:grpChg chg="add mod">
          <ac:chgData name="Nick Robinson" userId="d0c2b313-4ae0-4040-8c6a-fec7a720a7b5" providerId="ADAL" clId="{190131DE-6250-C84F-B491-721E6CF30BCB}" dt="2021-12-20T16:17:59.535" v="18456" actId="207"/>
          <ac:grpSpMkLst>
            <pc:docMk/>
            <pc:sldMk cId="4086539563" sldId="2147374217"/>
            <ac:grpSpMk id="618" creationId="{24C3ED54-5947-FA45-A66E-41018EA0E861}"/>
          </ac:grpSpMkLst>
        </pc:grpChg>
        <pc:grpChg chg="add mod">
          <ac:chgData name="Nick Robinson" userId="d0c2b313-4ae0-4040-8c6a-fec7a720a7b5" providerId="ADAL" clId="{190131DE-6250-C84F-B491-721E6CF30BCB}" dt="2021-12-20T15:55:21.478" v="18182" actId="1076"/>
          <ac:grpSpMkLst>
            <pc:docMk/>
            <pc:sldMk cId="4086539563" sldId="2147374217"/>
            <ac:grpSpMk id="621" creationId="{636D733D-92DA-CD4F-ABD4-298296C09389}"/>
          </ac:grpSpMkLst>
        </pc:grpChg>
        <pc:grpChg chg="add mod">
          <ac:chgData name="Nick Robinson" userId="d0c2b313-4ae0-4040-8c6a-fec7a720a7b5" providerId="ADAL" clId="{190131DE-6250-C84F-B491-721E6CF30BCB}" dt="2021-12-20T15:56:47.913" v="18214" actId="1076"/>
          <ac:grpSpMkLst>
            <pc:docMk/>
            <pc:sldMk cId="4086539563" sldId="2147374217"/>
            <ac:grpSpMk id="624" creationId="{B9640ADD-CC2D-EC43-82BA-AE2C81E47FD2}"/>
          </ac:grpSpMkLst>
        </pc:grpChg>
        <pc:grpChg chg="add mod">
          <ac:chgData name="Nick Robinson" userId="d0c2b313-4ae0-4040-8c6a-fec7a720a7b5" providerId="ADAL" clId="{190131DE-6250-C84F-B491-721E6CF30BCB}" dt="2021-12-20T15:56:41.400" v="18211" actId="1076"/>
          <ac:grpSpMkLst>
            <pc:docMk/>
            <pc:sldMk cId="4086539563" sldId="2147374217"/>
            <ac:grpSpMk id="627" creationId="{751A5D16-4D1F-BA44-9235-13E532C07D4B}"/>
          </ac:grpSpMkLst>
        </pc:grpChg>
        <pc:grpChg chg="add mod">
          <ac:chgData name="Nick Robinson" userId="d0c2b313-4ae0-4040-8c6a-fec7a720a7b5" providerId="ADAL" clId="{190131DE-6250-C84F-B491-721E6CF30BCB}" dt="2021-12-20T15:56:33.605" v="18208" actId="1076"/>
          <ac:grpSpMkLst>
            <pc:docMk/>
            <pc:sldMk cId="4086539563" sldId="2147374217"/>
            <ac:grpSpMk id="630" creationId="{B1B191F7-0AA8-4B43-B520-34D3BD5C12A2}"/>
          </ac:grpSpMkLst>
        </pc:grpChg>
        <pc:grpChg chg="add mod">
          <ac:chgData name="Nick Robinson" userId="d0c2b313-4ae0-4040-8c6a-fec7a720a7b5" providerId="ADAL" clId="{190131DE-6250-C84F-B491-721E6CF30BCB}" dt="2021-12-20T16:16:52.937" v="18451" actId="1076"/>
          <ac:grpSpMkLst>
            <pc:docMk/>
            <pc:sldMk cId="4086539563" sldId="2147374217"/>
            <ac:grpSpMk id="633" creationId="{A9CFA15A-E583-D845-84D2-EC146D46A771}"/>
          </ac:grpSpMkLst>
        </pc:grpChg>
        <pc:grpChg chg="add mod">
          <ac:chgData name="Nick Robinson" userId="d0c2b313-4ae0-4040-8c6a-fec7a720a7b5" providerId="ADAL" clId="{190131DE-6250-C84F-B491-721E6CF30BCB}" dt="2021-12-20T16:16:57.870" v="18453" actId="1076"/>
          <ac:grpSpMkLst>
            <pc:docMk/>
            <pc:sldMk cId="4086539563" sldId="2147374217"/>
            <ac:grpSpMk id="636" creationId="{E94A6474-9531-6141-8DCE-4B099874A355}"/>
          </ac:grpSpMkLst>
        </pc:grpChg>
        <pc:grpChg chg="add mod">
          <ac:chgData name="Nick Robinson" userId="d0c2b313-4ae0-4040-8c6a-fec7a720a7b5" providerId="ADAL" clId="{190131DE-6250-C84F-B491-721E6CF30BCB}" dt="2021-12-20T16:11:54.225" v="18440" actId="207"/>
          <ac:grpSpMkLst>
            <pc:docMk/>
            <pc:sldMk cId="4086539563" sldId="2147374217"/>
            <ac:grpSpMk id="639" creationId="{9A9D06F2-D773-C645-9D41-A8B819A251D2}"/>
          </ac:grpSpMkLst>
        </pc:grpChg>
        <pc:grpChg chg="add mod">
          <ac:chgData name="Nick Robinson" userId="d0c2b313-4ae0-4040-8c6a-fec7a720a7b5" providerId="ADAL" clId="{190131DE-6250-C84F-B491-721E6CF30BCB}" dt="2021-12-20T16:17:59.535" v="18456" actId="207"/>
          <ac:grpSpMkLst>
            <pc:docMk/>
            <pc:sldMk cId="4086539563" sldId="2147374217"/>
            <ac:grpSpMk id="642" creationId="{FF514277-F8E3-5F43-B78D-F6BAD05F6E13}"/>
          </ac:grpSpMkLst>
        </pc:grpChg>
        <pc:grpChg chg="add mod">
          <ac:chgData name="Nick Robinson" userId="d0c2b313-4ae0-4040-8c6a-fec7a720a7b5" providerId="ADAL" clId="{190131DE-6250-C84F-B491-721E6CF30BCB}" dt="2021-12-20T16:00:23.999" v="18298" actId="1076"/>
          <ac:grpSpMkLst>
            <pc:docMk/>
            <pc:sldMk cId="4086539563" sldId="2147374217"/>
            <ac:grpSpMk id="645" creationId="{6BE6DE9F-8C85-4C4A-A2BF-239D216FE239}"/>
          </ac:grpSpMkLst>
        </pc:grpChg>
        <pc:grpChg chg="add mod">
          <ac:chgData name="Nick Robinson" userId="d0c2b313-4ae0-4040-8c6a-fec7a720a7b5" providerId="ADAL" clId="{190131DE-6250-C84F-B491-721E6CF30BCB}" dt="2021-12-20T15:58:42.179" v="18254" actId="1076"/>
          <ac:grpSpMkLst>
            <pc:docMk/>
            <pc:sldMk cId="4086539563" sldId="2147374217"/>
            <ac:grpSpMk id="648" creationId="{540BDCAB-AFE6-214D-8130-96025BF2B3EB}"/>
          </ac:grpSpMkLst>
        </pc:grpChg>
        <pc:grpChg chg="add mod">
          <ac:chgData name="Nick Robinson" userId="d0c2b313-4ae0-4040-8c6a-fec7a720a7b5" providerId="ADAL" clId="{190131DE-6250-C84F-B491-721E6CF30BCB}" dt="2021-12-20T15:58:44.423" v="18255" actId="1076"/>
          <ac:grpSpMkLst>
            <pc:docMk/>
            <pc:sldMk cId="4086539563" sldId="2147374217"/>
            <ac:grpSpMk id="651" creationId="{F530E45B-AD6E-3A4B-965E-5CDBDF27F94B}"/>
          </ac:grpSpMkLst>
        </pc:grpChg>
        <pc:grpChg chg="add mod">
          <ac:chgData name="Nick Robinson" userId="d0c2b313-4ae0-4040-8c6a-fec7a720a7b5" providerId="ADAL" clId="{190131DE-6250-C84F-B491-721E6CF30BCB}" dt="2021-12-20T15:58:26.586" v="18247" actId="1076"/>
          <ac:grpSpMkLst>
            <pc:docMk/>
            <pc:sldMk cId="4086539563" sldId="2147374217"/>
            <ac:grpSpMk id="654" creationId="{44D66C39-79E6-F84D-AB2B-B1EC80ACE0CA}"/>
          </ac:grpSpMkLst>
        </pc:grpChg>
        <pc:grpChg chg="add mod">
          <ac:chgData name="Nick Robinson" userId="d0c2b313-4ae0-4040-8c6a-fec7a720a7b5" providerId="ADAL" clId="{190131DE-6250-C84F-B491-721E6CF30BCB}" dt="2021-12-20T15:58:17.986" v="18243" actId="1076"/>
          <ac:grpSpMkLst>
            <pc:docMk/>
            <pc:sldMk cId="4086539563" sldId="2147374217"/>
            <ac:grpSpMk id="657" creationId="{3B4D55B3-0363-4847-B786-AE2957C66B55}"/>
          </ac:grpSpMkLst>
        </pc:grpChg>
        <pc:grpChg chg="add mod">
          <ac:chgData name="Nick Robinson" userId="d0c2b313-4ae0-4040-8c6a-fec7a720a7b5" providerId="ADAL" clId="{190131DE-6250-C84F-B491-721E6CF30BCB}" dt="2021-12-20T15:58:02.028" v="18239" actId="1076"/>
          <ac:grpSpMkLst>
            <pc:docMk/>
            <pc:sldMk cId="4086539563" sldId="2147374217"/>
            <ac:grpSpMk id="660" creationId="{E067C0A6-D706-A746-9D1D-6865C01CAEE6}"/>
          </ac:grpSpMkLst>
        </pc:grpChg>
        <pc:grpChg chg="add del mod">
          <ac:chgData name="Nick Robinson" userId="d0c2b313-4ae0-4040-8c6a-fec7a720a7b5" providerId="ADAL" clId="{190131DE-6250-C84F-B491-721E6CF30BCB}" dt="2021-12-20T16:45:31.764" v="18707" actId="478"/>
          <ac:grpSpMkLst>
            <pc:docMk/>
            <pc:sldMk cId="4086539563" sldId="2147374217"/>
            <ac:grpSpMk id="663" creationId="{C13DCF07-B95C-1943-806A-3CF3770C711D}"/>
          </ac:grpSpMkLst>
        </pc:grpChg>
        <pc:grpChg chg="add mod">
          <ac:chgData name="Nick Robinson" userId="d0c2b313-4ae0-4040-8c6a-fec7a720a7b5" providerId="ADAL" clId="{190131DE-6250-C84F-B491-721E6CF30BCB}" dt="2021-12-20T16:11:54.225" v="18440" actId="207"/>
          <ac:grpSpMkLst>
            <pc:docMk/>
            <pc:sldMk cId="4086539563" sldId="2147374217"/>
            <ac:grpSpMk id="666" creationId="{EFD0FAB5-F343-0D4E-806B-F794B4DE192B}"/>
          </ac:grpSpMkLst>
        </pc:grpChg>
        <pc:grpChg chg="add mod">
          <ac:chgData name="Nick Robinson" userId="d0c2b313-4ae0-4040-8c6a-fec7a720a7b5" providerId="ADAL" clId="{190131DE-6250-C84F-B491-721E6CF30BCB}" dt="2021-12-20T16:00:00.024" v="18290" actId="1076"/>
          <ac:grpSpMkLst>
            <pc:docMk/>
            <pc:sldMk cId="4086539563" sldId="2147374217"/>
            <ac:grpSpMk id="669" creationId="{7DC2748B-7BB2-3744-981D-12E04C3532D8}"/>
          </ac:grpSpMkLst>
        </pc:grpChg>
        <pc:grpChg chg="add mod">
          <ac:chgData name="Nick Robinson" userId="d0c2b313-4ae0-4040-8c6a-fec7a720a7b5" providerId="ADAL" clId="{190131DE-6250-C84F-B491-721E6CF30BCB}" dt="2021-12-20T15:59:48.279" v="18286" actId="1076"/>
          <ac:grpSpMkLst>
            <pc:docMk/>
            <pc:sldMk cId="4086539563" sldId="2147374217"/>
            <ac:grpSpMk id="672" creationId="{5F854C5B-DBA8-5E46-A85A-CB7AFA77D960}"/>
          </ac:grpSpMkLst>
        </pc:grpChg>
        <pc:grpChg chg="add mod">
          <ac:chgData name="Nick Robinson" userId="d0c2b313-4ae0-4040-8c6a-fec7a720a7b5" providerId="ADAL" clId="{190131DE-6250-C84F-B491-721E6CF30BCB}" dt="2021-12-20T16:08:28.251" v="18403" actId="1076"/>
          <ac:grpSpMkLst>
            <pc:docMk/>
            <pc:sldMk cId="4086539563" sldId="2147374217"/>
            <ac:grpSpMk id="675" creationId="{A4BFE93B-1FEF-FD4A-9E01-D8BF8C8EDED4}"/>
          </ac:grpSpMkLst>
        </pc:grpChg>
        <pc:grpChg chg="add mod">
          <ac:chgData name="Nick Robinson" userId="d0c2b313-4ae0-4040-8c6a-fec7a720a7b5" providerId="ADAL" clId="{190131DE-6250-C84F-B491-721E6CF30BCB}" dt="2021-12-20T16:00:21.704" v="18297" actId="1076"/>
          <ac:grpSpMkLst>
            <pc:docMk/>
            <pc:sldMk cId="4086539563" sldId="2147374217"/>
            <ac:grpSpMk id="678" creationId="{B39D135A-6E9C-194D-8694-85AD41B6F033}"/>
          </ac:grpSpMkLst>
        </pc:grpChg>
        <pc:grpChg chg="add mod">
          <ac:chgData name="Nick Robinson" userId="d0c2b313-4ae0-4040-8c6a-fec7a720a7b5" providerId="ADAL" clId="{190131DE-6250-C84F-B491-721E6CF30BCB}" dt="2021-12-20T16:00:19.031" v="18296" actId="1076"/>
          <ac:grpSpMkLst>
            <pc:docMk/>
            <pc:sldMk cId="4086539563" sldId="2147374217"/>
            <ac:grpSpMk id="681" creationId="{8C28C60A-380D-0D48-9FE3-C04C6C7B973E}"/>
          </ac:grpSpMkLst>
        </pc:grpChg>
        <pc:grpChg chg="add mod">
          <ac:chgData name="Nick Robinson" userId="d0c2b313-4ae0-4040-8c6a-fec7a720a7b5" providerId="ADAL" clId="{190131DE-6250-C84F-B491-721E6CF30BCB}" dt="2021-12-20T16:00:16.929" v="18295" actId="1076"/>
          <ac:grpSpMkLst>
            <pc:docMk/>
            <pc:sldMk cId="4086539563" sldId="2147374217"/>
            <ac:grpSpMk id="684" creationId="{628DD375-CD67-9C44-8443-5958CD504DC3}"/>
          </ac:grpSpMkLst>
        </pc:grpChg>
        <pc:grpChg chg="add mod">
          <ac:chgData name="Nick Robinson" userId="d0c2b313-4ae0-4040-8c6a-fec7a720a7b5" providerId="ADAL" clId="{190131DE-6250-C84F-B491-721E6CF30BCB}" dt="2021-12-20T16:17:59.535" v="18456" actId="207"/>
          <ac:grpSpMkLst>
            <pc:docMk/>
            <pc:sldMk cId="4086539563" sldId="2147374217"/>
            <ac:grpSpMk id="687" creationId="{7AE78289-2C21-5541-AF14-89B71E119356}"/>
          </ac:grpSpMkLst>
        </pc:grpChg>
        <pc:grpChg chg="add mod">
          <ac:chgData name="Nick Robinson" userId="d0c2b313-4ae0-4040-8c6a-fec7a720a7b5" providerId="ADAL" clId="{190131DE-6250-C84F-B491-721E6CF30BCB}" dt="2021-12-20T16:01:26.829" v="18320" actId="1076"/>
          <ac:grpSpMkLst>
            <pc:docMk/>
            <pc:sldMk cId="4086539563" sldId="2147374217"/>
            <ac:grpSpMk id="690" creationId="{A6739226-4C2F-864B-8765-9E33106F6EB8}"/>
          </ac:grpSpMkLst>
        </pc:grpChg>
        <pc:grpChg chg="add mod">
          <ac:chgData name="Nick Robinson" userId="d0c2b313-4ae0-4040-8c6a-fec7a720a7b5" providerId="ADAL" clId="{190131DE-6250-C84F-B491-721E6CF30BCB}" dt="2021-12-20T16:01:18.329" v="18318" actId="1076"/>
          <ac:grpSpMkLst>
            <pc:docMk/>
            <pc:sldMk cId="4086539563" sldId="2147374217"/>
            <ac:grpSpMk id="693" creationId="{EFBA1095-D7F3-7441-A9A4-C2CCB429892F}"/>
          </ac:grpSpMkLst>
        </pc:grpChg>
        <pc:grpChg chg="add mod">
          <ac:chgData name="Nick Robinson" userId="d0c2b313-4ae0-4040-8c6a-fec7a720a7b5" providerId="ADAL" clId="{190131DE-6250-C84F-B491-721E6CF30BCB}" dt="2021-12-20T16:01:03.490" v="18317" actId="1076"/>
          <ac:grpSpMkLst>
            <pc:docMk/>
            <pc:sldMk cId="4086539563" sldId="2147374217"/>
            <ac:grpSpMk id="696" creationId="{24B4A911-55B4-A942-9CA0-A140CB0B6DAF}"/>
          </ac:grpSpMkLst>
        </pc:grpChg>
        <pc:grpChg chg="add del mod">
          <ac:chgData name="Nick Robinson" userId="d0c2b313-4ae0-4040-8c6a-fec7a720a7b5" providerId="ADAL" clId="{190131DE-6250-C84F-B491-721E6CF30BCB}" dt="2021-12-20T16:46:24.316" v="18712" actId="478"/>
          <ac:grpSpMkLst>
            <pc:docMk/>
            <pc:sldMk cId="4086539563" sldId="2147374217"/>
            <ac:grpSpMk id="699" creationId="{81B72D06-6574-AF41-AE53-CFE20CE49FCF}"/>
          </ac:grpSpMkLst>
        </pc:grpChg>
        <pc:grpChg chg="add mod">
          <ac:chgData name="Nick Robinson" userId="d0c2b313-4ae0-4040-8c6a-fec7a720a7b5" providerId="ADAL" clId="{190131DE-6250-C84F-B491-721E6CF30BCB}" dt="2021-12-20T16:13:57.086" v="18445" actId="1076"/>
          <ac:grpSpMkLst>
            <pc:docMk/>
            <pc:sldMk cId="4086539563" sldId="2147374217"/>
            <ac:grpSpMk id="702" creationId="{878C7CBD-7643-1D42-A08A-D5E69C7B2D76}"/>
          </ac:grpSpMkLst>
        </pc:grpChg>
        <pc:grpChg chg="add del mod">
          <ac:chgData name="Nick Robinson" userId="d0c2b313-4ae0-4040-8c6a-fec7a720a7b5" providerId="ADAL" clId="{190131DE-6250-C84F-B491-721E6CF30BCB}" dt="2021-12-20T16:04:16.420" v="18353" actId="478"/>
          <ac:grpSpMkLst>
            <pc:docMk/>
            <pc:sldMk cId="4086539563" sldId="2147374217"/>
            <ac:grpSpMk id="705" creationId="{6661121E-7A6C-884B-B5D1-705E77004FD6}"/>
          </ac:grpSpMkLst>
        </pc:grpChg>
        <pc:grpChg chg="add del mod">
          <ac:chgData name="Nick Robinson" userId="d0c2b313-4ae0-4040-8c6a-fec7a720a7b5" providerId="ADAL" clId="{190131DE-6250-C84F-B491-721E6CF30BCB}" dt="2021-12-20T16:04:16.420" v="18353" actId="478"/>
          <ac:grpSpMkLst>
            <pc:docMk/>
            <pc:sldMk cId="4086539563" sldId="2147374217"/>
            <ac:grpSpMk id="708" creationId="{B921186B-F8BD-AC42-A9DA-ADD99089DCD4}"/>
          </ac:grpSpMkLst>
        </pc:grpChg>
        <pc:grpChg chg="add del mod">
          <ac:chgData name="Nick Robinson" userId="d0c2b313-4ae0-4040-8c6a-fec7a720a7b5" providerId="ADAL" clId="{190131DE-6250-C84F-B491-721E6CF30BCB}" dt="2021-12-20T16:04:16.420" v="18353" actId="478"/>
          <ac:grpSpMkLst>
            <pc:docMk/>
            <pc:sldMk cId="4086539563" sldId="2147374217"/>
            <ac:grpSpMk id="711" creationId="{8E62C600-6A72-B449-8400-74768565D9C4}"/>
          </ac:grpSpMkLst>
        </pc:grpChg>
        <pc:grpChg chg="add del mod">
          <ac:chgData name="Nick Robinson" userId="d0c2b313-4ae0-4040-8c6a-fec7a720a7b5" providerId="ADAL" clId="{190131DE-6250-C84F-B491-721E6CF30BCB}" dt="2021-12-20T16:04:16.420" v="18353" actId="478"/>
          <ac:grpSpMkLst>
            <pc:docMk/>
            <pc:sldMk cId="4086539563" sldId="2147374217"/>
            <ac:grpSpMk id="714" creationId="{E4D6919A-9738-E845-9E27-F49C214BF08F}"/>
          </ac:grpSpMkLst>
        </pc:grpChg>
        <pc:grpChg chg="add del mod">
          <ac:chgData name="Nick Robinson" userId="d0c2b313-4ae0-4040-8c6a-fec7a720a7b5" providerId="ADAL" clId="{190131DE-6250-C84F-B491-721E6CF30BCB}" dt="2021-12-20T16:04:16.420" v="18353" actId="478"/>
          <ac:grpSpMkLst>
            <pc:docMk/>
            <pc:sldMk cId="4086539563" sldId="2147374217"/>
            <ac:grpSpMk id="717" creationId="{A5929EE5-BE07-4142-B3EE-9CE46741E662}"/>
          </ac:grpSpMkLst>
        </pc:grpChg>
        <pc:grpChg chg="add del mod">
          <ac:chgData name="Nick Robinson" userId="d0c2b313-4ae0-4040-8c6a-fec7a720a7b5" providerId="ADAL" clId="{190131DE-6250-C84F-B491-721E6CF30BCB}" dt="2021-12-20T16:04:16.420" v="18353" actId="478"/>
          <ac:grpSpMkLst>
            <pc:docMk/>
            <pc:sldMk cId="4086539563" sldId="2147374217"/>
            <ac:grpSpMk id="720" creationId="{70F08AA9-FCD6-2140-9498-B24CE71B7664}"/>
          </ac:grpSpMkLst>
        </pc:grpChg>
        <pc:grpChg chg="add del mod">
          <ac:chgData name="Nick Robinson" userId="d0c2b313-4ae0-4040-8c6a-fec7a720a7b5" providerId="ADAL" clId="{190131DE-6250-C84F-B491-721E6CF30BCB}" dt="2021-12-20T16:04:16.420" v="18353" actId="478"/>
          <ac:grpSpMkLst>
            <pc:docMk/>
            <pc:sldMk cId="4086539563" sldId="2147374217"/>
            <ac:grpSpMk id="723" creationId="{5AF42EFA-6A6F-0C44-B2A2-C0ADD8DFF326}"/>
          </ac:grpSpMkLst>
        </pc:grpChg>
        <pc:grpChg chg="add del mod">
          <ac:chgData name="Nick Robinson" userId="d0c2b313-4ae0-4040-8c6a-fec7a720a7b5" providerId="ADAL" clId="{190131DE-6250-C84F-B491-721E6CF30BCB}" dt="2021-12-20T16:04:16.420" v="18353" actId="478"/>
          <ac:grpSpMkLst>
            <pc:docMk/>
            <pc:sldMk cId="4086539563" sldId="2147374217"/>
            <ac:grpSpMk id="726" creationId="{B4C69913-9836-E04E-9F37-5B2E6E3FB2E2}"/>
          </ac:grpSpMkLst>
        </pc:grpChg>
        <pc:grpChg chg="add del mod">
          <ac:chgData name="Nick Robinson" userId="d0c2b313-4ae0-4040-8c6a-fec7a720a7b5" providerId="ADAL" clId="{190131DE-6250-C84F-B491-721E6CF30BCB}" dt="2021-12-20T16:04:16.420" v="18353" actId="478"/>
          <ac:grpSpMkLst>
            <pc:docMk/>
            <pc:sldMk cId="4086539563" sldId="2147374217"/>
            <ac:grpSpMk id="729" creationId="{E600D50B-1DCB-EB4A-B823-F41F987A62ED}"/>
          </ac:grpSpMkLst>
        </pc:grpChg>
        <pc:grpChg chg="add del mod">
          <ac:chgData name="Nick Robinson" userId="d0c2b313-4ae0-4040-8c6a-fec7a720a7b5" providerId="ADAL" clId="{190131DE-6250-C84F-B491-721E6CF30BCB}" dt="2021-12-20T16:04:16.420" v="18353" actId="478"/>
          <ac:grpSpMkLst>
            <pc:docMk/>
            <pc:sldMk cId="4086539563" sldId="2147374217"/>
            <ac:grpSpMk id="732" creationId="{758380CC-9A27-E948-AAF7-D1609DEE7F87}"/>
          </ac:grpSpMkLst>
        </pc:grpChg>
        <pc:grpChg chg="add del mod">
          <ac:chgData name="Nick Robinson" userId="d0c2b313-4ae0-4040-8c6a-fec7a720a7b5" providerId="ADAL" clId="{190131DE-6250-C84F-B491-721E6CF30BCB}" dt="2021-12-20T16:04:16.420" v="18353" actId="478"/>
          <ac:grpSpMkLst>
            <pc:docMk/>
            <pc:sldMk cId="4086539563" sldId="2147374217"/>
            <ac:grpSpMk id="735" creationId="{BE4125E3-D40E-FF40-8F93-8E4C58314857}"/>
          </ac:grpSpMkLst>
        </pc:grpChg>
        <pc:grpChg chg="add del mod">
          <ac:chgData name="Nick Robinson" userId="d0c2b313-4ae0-4040-8c6a-fec7a720a7b5" providerId="ADAL" clId="{190131DE-6250-C84F-B491-721E6CF30BCB}" dt="2021-12-20T16:04:16.420" v="18353" actId="478"/>
          <ac:grpSpMkLst>
            <pc:docMk/>
            <pc:sldMk cId="4086539563" sldId="2147374217"/>
            <ac:grpSpMk id="738" creationId="{2B388577-FB20-DB4F-9346-E12382CEB440}"/>
          </ac:grpSpMkLst>
        </pc:grpChg>
        <pc:grpChg chg="add del mod">
          <ac:chgData name="Nick Robinson" userId="d0c2b313-4ae0-4040-8c6a-fec7a720a7b5" providerId="ADAL" clId="{190131DE-6250-C84F-B491-721E6CF30BCB}" dt="2021-12-20T16:04:13.019" v="18352" actId="478"/>
          <ac:grpSpMkLst>
            <pc:docMk/>
            <pc:sldMk cId="4086539563" sldId="2147374217"/>
            <ac:grpSpMk id="741" creationId="{E732E310-E348-8447-A8FB-B2C8FBCCF215}"/>
          </ac:grpSpMkLst>
        </pc:grpChg>
        <pc:grpChg chg="add mod">
          <ac:chgData name="Nick Robinson" userId="d0c2b313-4ae0-4040-8c6a-fec7a720a7b5" providerId="ADAL" clId="{190131DE-6250-C84F-B491-721E6CF30BCB}" dt="2021-12-20T16:08:26.170" v="18402" actId="1076"/>
          <ac:grpSpMkLst>
            <pc:docMk/>
            <pc:sldMk cId="4086539563" sldId="2147374217"/>
            <ac:grpSpMk id="744" creationId="{536C3678-A84E-FF4A-8780-AD29E4D0BC72}"/>
          </ac:grpSpMkLst>
        </pc:grpChg>
        <pc:grpChg chg="add mod">
          <ac:chgData name="Nick Robinson" userId="d0c2b313-4ae0-4040-8c6a-fec7a720a7b5" providerId="ADAL" clId="{190131DE-6250-C84F-B491-721E6CF30BCB}" dt="2021-12-20T16:17:00.001" v="18454" actId="1076"/>
          <ac:grpSpMkLst>
            <pc:docMk/>
            <pc:sldMk cId="4086539563" sldId="2147374217"/>
            <ac:grpSpMk id="747" creationId="{BDD7B930-E0F5-C646-8E68-0773565F1B8A}"/>
          </ac:grpSpMkLst>
        </pc:grpChg>
        <pc:grpChg chg="add mod">
          <ac:chgData name="Nick Robinson" userId="d0c2b313-4ae0-4040-8c6a-fec7a720a7b5" providerId="ADAL" clId="{190131DE-6250-C84F-B491-721E6CF30BCB}" dt="2021-12-20T16:07:24.140" v="18387" actId="1076"/>
          <ac:grpSpMkLst>
            <pc:docMk/>
            <pc:sldMk cId="4086539563" sldId="2147374217"/>
            <ac:grpSpMk id="750" creationId="{BB6CC24C-767D-024B-8A80-683FA2AADCD0}"/>
          </ac:grpSpMkLst>
        </pc:grpChg>
        <pc:grpChg chg="add mod">
          <ac:chgData name="Nick Robinson" userId="d0c2b313-4ae0-4040-8c6a-fec7a720a7b5" providerId="ADAL" clId="{190131DE-6250-C84F-B491-721E6CF30BCB}" dt="2021-12-20T16:06:31.319" v="18378" actId="1076"/>
          <ac:grpSpMkLst>
            <pc:docMk/>
            <pc:sldMk cId="4086539563" sldId="2147374217"/>
            <ac:grpSpMk id="753" creationId="{95B805B6-0C65-7046-BF93-D5519EDCE508}"/>
          </ac:grpSpMkLst>
        </pc:grpChg>
        <pc:grpChg chg="add del mod">
          <ac:chgData name="Nick Robinson" userId="d0c2b313-4ae0-4040-8c6a-fec7a720a7b5" providerId="ADAL" clId="{190131DE-6250-C84F-B491-721E6CF30BCB}" dt="2021-12-20T16:45:11.715" v="18701" actId="478"/>
          <ac:grpSpMkLst>
            <pc:docMk/>
            <pc:sldMk cId="4086539563" sldId="2147374217"/>
            <ac:grpSpMk id="756" creationId="{8FA19D20-9647-A84A-A5C2-F6D6B94C74E5}"/>
          </ac:grpSpMkLst>
        </pc:grpChg>
        <pc:grpChg chg="add mod">
          <ac:chgData name="Nick Robinson" userId="d0c2b313-4ae0-4040-8c6a-fec7a720a7b5" providerId="ADAL" clId="{190131DE-6250-C84F-B491-721E6CF30BCB}" dt="2021-12-20T16:17:59.535" v="18456" actId="207"/>
          <ac:grpSpMkLst>
            <pc:docMk/>
            <pc:sldMk cId="4086539563" sldId="2147374217"/>
            <ac:grpSpMk id="759" creationId="{A474AB66-6071-6040-B3E5-94A7118F3E66}"/>
          </ac:grpSpMkLst>
        </pc:grpChg>
        <pc:grpChg chg="add del mod">
          <ac:chgData name="Nick Robinson" userId="d0c2b313-4ae0-4040-8c6a-fec7a720a7b5" providerId="ADAL" clId="{190131DE-6250-C84F-B491-721E6CF30BCB}" dt="2021-12-20T16:10:20.320" v="18431" actId="478"/>
          <ac:grpSpMkLst>
            <pc:docMk/>
            <pc:sldMk cId="4086539563" sldId="2147374217"/>
            <ac:grpSpMk id="762" creationId="{DD3D2FBD-1F9F-5E49-9A69-E70A94723A47}"/>
          </ac:grpSpMkLst>
        </pc:grpChg>
        <pc:grpChg chg="add del mod">
          <ac:chgData name="Nick Robinson" userId="d0c2b313-4ae0-4040-8c6a-fec7a720a7b5" providerId="ADAL" clId="{190131DE-6250-C84F-B491-721E6CF30BCB}" dt="2021-12-20T16:10:20.320" v="18431" actId="478"/>
          <ac:grpSpMkLst>
            <pc:docMk/>
            <pc:sldMk cId="4086539563" sldId="2147374217"/>
            <ac:grpSpMk id="765" creationId="{30D23A24-4839-824F-97DF-0665A65E068E}"/>
          </ac:grpSpMkLst>
        </pc:grpChg>
        <pc:grpChg chg="add mod">
          <ac:chgData name="Nick Robinson" userId="d0c2b313-4ae0-4040-8c6a-fec7a720a7b5" providerId="ADAL" clId="{190131DE-6250-C84F-B491-721E6CF30BCB}" dt="2021-12-20T16:11:39.120" v="18438" actId="1076"/>
          <ac:grpSpMkLst>
            <pc:docMk/>
            <pc:sldMk cId="4086539563" sldId="2147374217"/>
            <ac:grpSpMk id="768" creationId="{F57DB804-94A1-6944-9832-D10EB987E2CD}"/>
          </ac:grpSpMkLst>
        </pc:grpChg>
        <pc:grpChg chg="add mod">
          <ac:chgData name="Nick Robinson" userId="d0c2b313-4ae0-4040-8c6a-fec7a720a7b5" providerId="ADAL" clId="{190131DE-6250-C84F-B491-721E6CF30BCB}" dt="2021-12-20T16:09:42.120" v="18413" actId="1076"/>
          <ac:grpSpMkLst>
            <pc:docMk/>
            <pc:sldMk cId="4086539563" sldId="2147374217"/>
            <ac:grpSpMk id="771" creationId="{1BA9F96C-4FD4-994B-B8E0-6B1E1FB07F97}"/>
          </ac:grpSpMkLst>
        </pc:grpChg>
        <pc:grpChg chg="add mod">
          <ac:chgData name="Nick Robinson" userId="d0c2b313-4ae0-4040-8c6a-fec7a720a7b5" providerId="ADAL" clId="{190131DE-6250-C84F-B491-721E6CF30BCB}" dt="2021-12-20T16:10:35.521" v="18433" actId="1076"/>
          <ac:grpSpMkLst>
            <pc:docMk/>
            <pc:sldMk cId="4086539563" sldId="2147374217"/>
            <ac:grpSpMk id="774" creationId="{6372ECA2-9234-574A-9828-5CFD1BEB634E}"/>
          </ac:grpSpMkLst>
        </pc:grpChg>
        <pc:grpChg chg="add mod">
          <ac:chgData name="Nick Robinson" userId="d0c2b313-4ae0-4040-8c6a-fec7a720a7b5" providerId="ADAL" clId="{190131DE-6250-C84F-B491-721E6CF30BCB}" dt="2021-12-20T16:07:52.087" v="18394" actId="1076"/>
          <ac:grpSpMkLst>
            <pc:docMk/>
            <pc:sldMk cId="4086539563" sldId="2147374217"/>
            <ac:grpSpMk id="777" creationId="{8CEA52F3-2288-1C4F-A266-3E5DB734A4ED}"/>
          </ac:grpSpMkLst>
        </pc:grpChg>
        <pc:grpChg chg="add mod">
          <ac:chgData name="Nick Robinson" userId="d0c2b313-4ae0-4040-8c6a-fec7a720a7b5" providerId="ADAL" clId="{190131DE-6250-C84F-B491-721E6CF30BCB}" dt="2021-12-20T16:10:58.034" v="18434" actId="1076"/>
          <ac:grpSpMkLst>
            <pc:docMk/>
            <pc:sldMk cId="4086539563" sldId="2147374217"/>
            <ac:grpSpMk id="780" creationId="{3DCFFC92-AA22-C647-85F0-8128D51C96DA}"/>
          </ac:grpSpMkLst>
        </pc:grpChg>
        <pc:grpChg chg="add del mod">
          <ac:chgData name="Nick Robinson" userId="d0c2b313-4ae0-4040-8c6a-fec7a720a7b5" providerId="ADAL" clId="{190131DE-6250-C84F-B491-721E6CF30BCB}" dt="2021-12-20T16:10:32.370" v="18432" actId="478"/>
          <ac:grpSpMkLst>
            <pc:docMk/>
            <pc:sldMk cId="4086539563" sldId="2147374217"/>
            <ac:grpSpMk id="783" creationId="{F8869F35-E866-3749-B676-693C4C17FBF5}"/>
          </ac:grpSpMkLst>
        </pc:grpChg>
        <pc:grpChg chg="add mod">
          <ac:chgData name="Nick Robinson" userId="d0c2b313-4ae0-4040-8c6a-fec7a720a7b5" providerId="ADAL" clId="{190131DE-6250-C84F-B491-721E6CF30BCB}" dt="2021-12-20T16:45:36.446" v="18709" actId="1076"/>
          <ac:grpSpMkLst>
            <pc:docMk/>
            <pc:sldMk cId="4086539563" sldId="2147374217"/>
            <ac:grpSpMk id="788" creationId="{C7DF215B-9090-834E-BB4A-BCC22A2937A8}"/>
          </ac:grpSpMkLst>
        </pc:grpChg>
        <pc:grpChg chg="add mod">
          <ac:chgData name="Nick Robinson" userId="d0c2b313-4ae0-4040-8c6a-fec7a720a7b5" providerId="ADAL" clId="{190131DE-6250-C84F-B491-721E6CF30BCB}" dt="2021-12-20T16:46:29.789" v="18714" actId="1076"/>
          <ac:grpSpMkLst>
            <pc:docMk/>
            <pc:sldMk cId="4086539563" sldId="2147374217"/>
            <ac:grpSpMk id="791" creationId="{3EDF34F3-C8AC-1C49-9DFB-58A46421B507}"/>
          </ac:grpSpMkLst>
        </pc:grpChg>
        <pc:grpChg chg="add mod">
          <ac:chgData name="Nick Robinson" userId="d0c2b313-4ae0-4040-8c6a-fec7a720a7b5" providerId="ADAL" clId="{190131DE-6250-C84F-B491-721E6CF30BCB}" dt="2021-12-20T16:47:54.644" v="18761" actId="1036"/>
          <ac:grpSpMkLst>
            <pc:docMk/>
            <pc:sldMk cId="4086539563" sldId="2147374217"/>
            <ac:grpSpMk id="794" creationId="{E1BA7538-45F0-A64B-B081-3F8B2778F787}"/>
          </ac:grpSpMkLst>
        </pc:grpChg>
        <pc:graphicFrameChg chg="modGraphic">
          <ac:chgData name="Nick Robinson" userId="d0c2b313-4ae0-4040-8c6a-fec7a720a7b5" providerId="ADAL" clId="{190131DE-6250-C84F-B491-721E6CF30BCB}" dt="2021-12-20T16:54:29.127" v="19699" actId="20577"/>
          <ac:graphicFrameMkLst>
            <pc:docMk/>
            <pc:sldMk cId="4086539563" sldId="2147374217"/>
            <ac:graphicFrameMk id="25" creationId="{52CAA014-A474-8A4B-A55C-B9BF6DA08A8C}"/>
          </ac:graphicFrameMkLst>
        </pc:graphicFrameChg>
        <pc:picChg chg="del">
          <ac:chgData name="Nick Robinson" userId="d0c2b313-4ae0-4040-8c6a-fec7a720a7b5" providerId="ADAL" clId="{190131DE-6250-C84F-B491-721E6CF30BCB}" dt="2021-12-20T15:36:54.426" v="17790" actId="478"/>
          <ac:picMkLst>
            <pc:docMk/>
            <pc:sldMk cId="4086539563" sldId="2147374217"/>
            <ac:picMk id="38" creationId="{59EB1A97-B817-2A46-8977-EC030AF68B7F}"/>
          </ac:picMkLst>
        </pc:picChg>
        <pc:picChg chg="del topLvl">
          <ac:chgData name="Nick Robinson" userId="d0c2b313-4ae0-4040-8c6a-fec7a720a7b5" providerId="ADAL" clId="{190131DE-6250-C84F-B491-721E6CF30BCB}" dt="2021-12-20T15:34:09.873" v="17705" actId="478"/>
          <ac:picMkLst>
            <pc:docMk/>
            <pc:sldMk cId="4086539563" sldId="2147374217"/>
            <ac:picMk id="478" creationId="{229F8805-4BB9-DB4E-AF45-0E546F4B3DD0}"/>
          </ac:picMkLst>
        </pc:picChg>
      </pc:sldChg>
      <pc:sldChg chg="addSp delSp modSp mod ord delCm">
        <pc:chgData name="Nick Robinson" userId="d0c2b313-4ae0-4040-8c6a-fec7a720a7b5" providerId="ADAL" clId="{190131DE-6250-C84F-B491-721E6CF30BCB}" dt="2021-12-23T14:07:02.418" v="44595"/>
        <pc:sldMkLst>
          <pc:docMk/>
          <pc:sldMk cId="1256252104" sldId="2147374218"/>
        </pc:sldMkLst>
        <pc:spChg chg="mod">
          <ac:chgData name="Nick Robinson" userId="d0c2b313-4ae0-4040-8c6a-fec7a720a7b5" providerId="ADAL" clId="{190131DE-6250-C84F-B491-721E6CF30BCB}" dt="2021-12-20T16:15:11.720" v="18449" actId="313"/>
          <ac:spMkLst>
            <pc:docMk/>
            <pc:sldMk cId="1256252104" sldId="2147374218"/>
            <ac:spMk id="2" creationId="{00000000-0000-0000-0000-000000000000}"/>
          </ac:spMkLst>
        </pc:spChg>
        <pc:spChg chg="mod">
          <ac:chgData name="Nick Robinson" userId="d0c2b313-4ae0-4040-8c6a-fec7a720a7b5" providerId="ADAL" clId="{190131DE-6250-C84F-B491-721E6CF30BCB}" dt="2021-12-23T13:48:47.106" v="44267" actId="13926"/>
          <ac:spMkLst>
            <pc:docMk/>
            <pc:sldMk cId="1256252104" sldId="2147374218"/>
            <ac:spMk id="7" creationId="{FD420467-EF1E-C24E-B16A-0060A2106A3D}"/>
          </ac:spMkLst>
        </pc:spChg>
        <pc:spChg chg="mod">
          <ac:chgData name="Nick Robinson" userId="d0c2b313-4ae0-4040-8c6a-fec7a720a7b5" providerId="ADAL" clId="{190131DE-6250-C84F-B491-721E6CF30BCB}" dt="2021-12-23T13:48:44.797" v="44266" actId="13926"/>
          <ac:spMkLst>
            <pc:docMk/>
            <pc:sldMk cId="1256252104" sldId="2147374218"/>
            <ac:spMk id="8" creationId="{93A72959-7AA1-144A-9BA1-BBF7754400AD}"/>
          </ac:spMkLst>
        </pc:spChg>
        <pc:graphicFrameChg chg="del mod modGraphic">
          <ac:chgData name="Nick Robinson" userId="d0c2b313-4ae0-4040-8c6a-fec7a720a7b5" providerId="ADAL" clId="{190131DE-6250-C84F-B491-721E6CF30BCB}" dt="2021-12-23T14:07:01.829" v="44594" actId="478"/>
          <ac:graphicFrameMkLst>
            <pc:docMk/>
            <pc:sldMk cId="1256252104" sldId="2147374218"/>
            <ac:graphicFrameMk id="5" creationId="{1F73E11B-085A-AD47-B820-F62CD6BB7304}"/>
          </ac:graphicFrameMkLst>
        </pc:graphicFrameChg>
        <pc:graphicFrameChg chg="add mod">
          <ac:chgData name="Nick Robinson" userId="d0c2b313-4ae0-4040-8c6a-fec7a720a7b5" providerId="ADAL" clId="{190131DE-6250-C84F-B491-721E6CF30BCB}" dt="2021-12-23T14:07:02.418" v="44595"/>
          <ac:graphicFrameMkLst>
            <pc:docMk/>
            <pc:sldMk cId="1256252104" sldId="2147374218"/>
            <ac:graphicFrameMk id="11" creationId="{F8A8323F-1453-1A46-98DA-3A8D8FBE1E40}"/>
          </ac:graphicFrameMkLst>
        </pc:graphicFrameChg>
      </pc:sldChg>
      <pc:sldChg chg="modSp add del mod ord">
        <pc:chgData name="Nick Robinson" userId="d0c2b313-4ae0-4040-8c6a-fec7a720a7b5" providerId="ADAL" clId="{190131DE-6250-C84F-B491-721E6CF30BCB}" dt="2021-12-21T10:39:02.952" v="21960" actId="2696"/>
        <pc:sldMkLst>
          <pc:docMk/>
          <pc:sldMk cId="2871562375" sldId="2147374219"/>
        </pc:sldMkLst>
        <pc:spChg chg="mod">
          <ac:chgData name="Nick Robinson" userId="d0c2b313-4ae0-4040-8c6a-fec7a720a7b5" providerId="ADAL" clId="{190131DE-6250-C84F-B491-721E6CF30BCB}" dt="2021-12-20T16:38:01.303" v="18631" actId="20577"/>
          <ac:spMkLst>
            <pc:docMk/>
            <pc:sldMk cId="2871562375" sldId="2147374219"/>
            <ac:spMk id="2" creationId="{00000000-0000-0000-0000-000000000000}"/>
          </ac:spMkLst>
        </pc:spChg>
        <pc:graphicFrameChg chg="mod modGraphic">
          <ac:chgData name="Nick Robinson" userId="d0c2b313-4ae0-4040-8c6a-fec7a720a7b5" providerId="ADAL" clId="{190131DE-6250-C84F-B491-721E6CF30BCB}" dt="2021-12-20T17:11:12.616" v="19938" actId="207"/>
          <ac:graphicFrameMkLst>
            <pc:docMk/>
            <pc:sldMk cId="2871562375" sldId="2147374219"/>
            <ac:graphicFrameMk id="5" creationId="{1F73E11B-085A-AD47-B820-F62CD6BB7304}"/>
          </ac:graphicFrameMkLst>
        </pc:graphicFrameChg>
      </pc:sldChg>
      <pc:sldChg chg="modSp add mod">
        <pc:chgData name="Nick Robinson" userId="d0c2b313-4ae0-4040-8c6a-fec7a720a7b5" providerId="ADAL" clId="{190131DE-6250-C84F-B491-721E6CF30BCB}" dt="2021-12-21T11:11:00.490" v="22241" actId="207"/>
        <pc:sldMkLst>
          <pc:docMk/>
          <pc:sldMk cId="2476814498" sldId="2147374220"/>
        </pc:sldMkLst>
        <pc:spChg chg="mod">
          <ac:chgData name="Nick Robinson" userId="d0c2b313-4ae0-4040-8c6a-fec7a720a7b5" providerId="ADAL" clId="{190131DE-6250-C84F-B491-721E6CF30BCB}" dt="2021-12-20T16:48:37.049" v="18772" actId="20577"/>
          <ac:spMkLst>
            <pc:docMk/>
            <pc:sldMk cId="2476814498" sldId="2147374220"/>
            <ac:spMk id="2" creationId="{97DF49F5-76E4-D045-9AE5-C5DFB0E4B946}"/>
          </ac:spMkLst>
        </pc:spChg>
        <pc:graphicFrameChg chg="modGraphic">
          <ac:chgData name="Nick Robinson" userId="d0c2b313-4ae0-4040-8c6a-fec7a720a7b5" providerId="ADAL" clId="{190131DE-6250-C84F-B491-721E6CF30BCB}" dt="2021-12-21T11:11:00.490" v="22241" actId="207"/>
          <ac:graphicFrameMkLst>
            <pc:docMk/>
            <pc:sldMk cId="2476814498" sldId="2147374220"/>
            <ac:graphicFrameMk id="7" creationId="{55491300-71DD-9D4D-9A39-2ECB09F71D19}"/>
          </ac:graphicFrameMkLst>
        </pc:graphicFrameChg>
      </pc:sldChg>
      <pc:sldChg chg="modSp add del mod">
        <pc:chgData name="Nick Robinson" userId="d0c2b313-4ae0-4040-8c6a-fec7a720a7b5" providerId="ADAL" clId="{190131DE-6250-C84F-B491-721E6CF30BCB}" dt="2021-12-23T11:18:28.519" v="42307" actId="2696"/>
        <pc:sldMkLst>
          <pc:docMk/>
          <pc:sldMk cId="997883516" sldId="2147374221"/>
        </pc:sldMkLst>
        <pc:spChg chg="mod">
          <ac:chgData name="Nick Robinson" userId="d0c2b313-4ae0-4040-8c6a-fec7a720a7b5" providerId="ADAL" clId="{190131DE-6250-C84F-B491-721E6CF30BCB}" dt="2021-12-20T16:48:59.288" v="18801" actId="20577"/>
          <ac:spMkLst>
            <pc:docMk/>
            <pc:sldMk cId="997883516" sldId="2147374221"/>
            <ac:spMk id="2" creationId="{97DF49F5-76E4-D045-9AE5-C5DFB0E4B946}"/>
          </ac:spMkLst>
        </pc:spChg>
      </pc:sldChg>
      <pc:sldChg chg="add del ord">
        <pc:chgData name="Nick Robinson" userId="d0c2b313-4ae0-4040-8c6a-fec7a720a7b5" providerId="ADAL" clId="{190131DE-6250-C84F-B491-721E6CF30BCB}" dt="2021-12-21T09:05:55.351" v="20534" actId="2696"/>
        <pc:sldMkLst>
          <pc:docMk/>
          <pc:sldMk cId="1285321334" sldId="2147374222"/>
        </pc:sldMkLst>
      </pc:sldChg>
      <pc:sldChg chg="addSp delSp modSp add mod delCm">
        <pc:chgData name="Nick Robinson" userId="d0c2b313-4ae0-4040-8c6a-fec7a720a7b5" providerId="ADAL" clId="{190131DE-6250-C84F-B491-721E6CF30BCB}" dt="2021-12-23T14:10:04.961" v="44616"/>
        <pc:sldMkLst>
          <pc:docMk/>
          <pc:sldMk cId="2027674031" sldId="2147374223"/>
        </pc:sldMkLst>
        <pc:spChg chg="del mod">
          <ac:chgData name="Nick Robinson" userId="d0c2b313-4ae0-4040-8c6a-fec7a720a7b5" providerId="ADAL" clId="{190131DE-6250-C84F-B491-721E6CF30BCB}" dt="2021-12-23T08:24:27.383" v="37188" actId="478"/>
          <ac:spMkLst>
            <pc:docMk/>
            <pc:sldMk cId="2027674031" sldId="2147374223"/>
            <ac:spMk id="9" creationId="{2CA56A7A-BF44-8B48-B474-D4C2091140FA}"/>
          </ac:spMkLst>
        </pc:spChg>
        <pc:spChg chg="mod">
          <ac:chgData name="Nick Robinson" userId="d0c2b313-4ae0-4040-8c6a-fec7a720a7b5" providerId="ADAL" clId="{190131DE-6250-C84F-B491-721E6CF30BCB}" dt="2021-12-20T16:58:35.216" v="19782" actId="14100"/>
          <ac:spMkLst>
            <pc:docMk/>
            <pc:sldMk cId="2027674031" sldId="2147374223"/>
            <ac:spMk id="12" creationId="{363CD306-A4CF-0045-B748-E29F5A0F9D31}"/>
          </ac:spMkLst>
        </pc:spChg>
        <pc:spChg chg="mod">
          <ac:chgData name="Nick Robinson" userId="d0c2b313-4ae0-4040-8c6a-fec7a720a7b5" providerId="ADAL" clId="{190131DE-6250-C84F-B491-721E6CF30BCB}" dt="2021-12-20T17:04:56.716" v="19868" actId="14100"/>
          <ac:spMkLst>
            <pc:docMk/>
            <pc:sldMk cId="2027674031" sldId="2147374223"/>
            <ac:spMk id="13" creationId="{CB58FA81-B730-8A46-9E2B-6D4DADEAF5A0}"/>
          </ac:spMkLst>
        </pc:spChg>
        <pc:spChg chg="mod">
          <ac:chgData name="Nick Robinson" userId="d0c2b313-4ae0-4040-8c6a-fec7a720a7b5" providerId="ADAL" clId="{190131DE-6250-C84F-B491-721E6CF30BCB}" dt="2021-12-20T17:06:00.916" v="19882" actId="14100"/>
          <ac:spMkLst>
            <pc:docMk/>
            <pc:sldMk cId="2027674031" sldId="2147374223"/>
            <ac:spMk id="14" creationId="{F429D550-A1FA-F747-AEB3-1B00EFCA2E89}"/>
          </ac:spMkLst>
        </pc:spChg>
        <pc:spChg chg="mod">
          <ac:chgData name="Nick Robinson" userId="d0c2b313-4ae0-4040-8c6a-fec7a720a7b5" providerId="ADAL" clId="{190131DE-6250-C84F-B491-721E6CF30BCB}" dt="2021-12-20T17:02:52.716" v="19830" actId="14100"/>
          <ac:spMkLst>
            <pc:docMk/>
            <pc:sldMk cId="2027674031" sldId="2147374223"/>
            <ac:spMk id="15" creationId="{113A1493-C3F7-4D47-938D-ED28CA89D9A1}"/>
          </ac:spMkLst>
        </pc:spChg>
        <pc:spChg chg="mod">
          <ac:chgData name="Nick Robinson" userId="d0c2b313-4ae0-4040-8c6a-fec7a720a7b5" providerId="ADAL" clId="{190131DE-6250-C84F-B491-721E6CF30BCB}" dt="2021-12-20T17:04:51.474" v="19866" actId="14100"/>
          <ac:spMkLst>
            <pc:docMk/>
            <pc:sldMk cId="2027674031" sldId="2147374223"/>
            <ac:spMk id="17" creationId="{E8E35E51-0209-5945-B654-6D60D76F3E81}"/>
          </ac:spMkLst>
        </pc:spChg>
        <pc:spChg chg="add del mod">
          <ac:chgData name="Nick Robinson" userId="d0c2b313-4ae0-4040-8c6a-fec7a720a7b5" providerId="ADAL" clId="{190131DE-6250-C84F-B491-721E6CF30BCB}" dt="2021-12-20T16:59:57.852" v="19797" actId="478"/>
          <ac:spMkLst>
            <pc:docMk/>
            <pc:sldMk cId="2027674031" sldId="2147374223"/>
            <ac:spMk id="21" creationId="{B2DD2D3A-7B3A-7F44-BDF3-DDFEFF127A41}"/>
          </ac:spMkLst>
        </pc:spChg>
        <pc:spChg chg="del mod">
          <ac:chgData name="Nick Robinson" userId="d0c2b313-4ae0-4040-8c6a-fec7a720a7b5" providerId="ADAL" clId="{190131DE-6250-C84F-B491-721E6CF30BCB}" dt="2021-12-23T08:24:27.383" v="37188" actId="478"/>
          <ac:spMkLst>
            <pc:docMk/>
            <pc:sldMk cId="2027674031" sldId="2147374223"/>
            <ac:spMk id="24" creationId="{AA51AAB4-B1E8-FF44-9E53-50EDDB3FD9CF}"/>
          </ac:spMkLst>
        </pc:spChg>
        <pc:spChg chg="add del mod">
          <ac:chgData name="Nick Robinson" userId="d0c2b313-4ae0-4040-8c6a-fec7a720a7b5" providerId="ADAL" clId="{190131DE-6250-C84F-B491-721E6CF30BCB}" dt="2021-12-20T17:00:51.132" v="19811" actId="478"/>
          <ac:spMkLst>
            <pc:docMk/>
            <pc:sldMk cId="2027674031" sldId="2147374223"/>
            <ac:spMk id="26" creationId="{BB795A00-D56A-8B42-945A-B83FD7ED502B}"/>
          </ac:spMkLst>
        </pc:spChg>
        <pc:spChg chg="add mod">
          <ac:chgData name="Nick Robinson" userId="d0c2b313-4ae0-4040-8c6a-fec7a720a7b5" providerId="ADAL" clId="{190131DE-6250-C84F-B491-721E6CF30BCB}" dt="2021-12-21T09:09:24.254" v="20622" actId="1076"/>
          <ac:spMkLst>
            <pc:docMk/>
            <pc:sldMk cId="2027674031" sldId="2147374223"/>
            <ac:spMk id="28" creationId="{3F5A3BFA-CF3B-B547-9FFC-751F405C8735}"/>
          </ac:spMkLst>
        </pc:spChg>
        <pc:spChg chg="del mod">
          <ac:chgData name="Nick Robinson" userId="d0c2b313-4ae0-4040-8c6a-fec7a720a7b5" providerId="ADAL" clId="{190131DE-6250-C84F-B491-721E6CF30BCB}" dt="2021-12-23T08:24:27.383" v="37188" actId="478"/>
          <ac:spMkLst>
            <pc:docMk/>
            <pc:sldMk cId="2027674031" sldId="2147374223"/>
            <ac:spMk id="29" creationId="{97F09A8B-CE80-D54A-ADDD-99DBA9A825ED}"/>
          </ac:spMkLst>
        </pc:spChg>
        <pc:spChg chg="add del mod">
          <ac:chgData name="Nick Robinson" userId="d0c2b313-4ae0-4040-8c6a-fec7a720a7b5" providerId="ADAL" clId="{190131DE-6250-C84F-B491-721E6CF30BCB}" dt="2021-12-21T10:33:31.811" v="21326"/>
          <ac:spMkLst>
            <pc:docMk/>
            <pc:sldMk cId="2027674031" sldId="2147374223"/>
            <ac:spMk id="32" creationId="{2EF92C71-4D03-DF4D-8B52-017D27D9E9D1}"/>
          </ac:spMkLst>
        </pc:spChg>
        <pc:spChg chg="del mod">
          <ac:chgData name="Nick Robinson" userId="d0c2b313-4ae0-4040-8c6a-fec7a720a7b5" providerId="ADAL" clId="{190131DE-6250-C84F-B491-721E6CF30BCB}" dt="2021-12-23T08:24:27.383" v="37188" actId="478"/>
          <ac:spMkLst>
            <pc:docMk/>
            <pc:sldMk cId="2027674031" sldId="2147374223"/>
            <ac:spMk id="152" creationId="{B6E381B3-7565-6546-81FE-C9889199F2FD}"/>
          </ac:spMkLst>
        </pc:spChg>
        <pc:spChg chg="del mod">
          <ac:chgData name="Nick Robinson" userId="d0c2b313-4ae0-4040-8c6a-fec7a720a7b5" providerId="ADAL" clId="{190131DE-6250-C84F-B491-721E6CF30BCB}" dt="2021-12-23T08:24:27.383" v="37188" actId="478"/>
          <ac:spMkLst>
            <pc:docMk/>
            <pc:sldMk cId="2027674031" sldId="2147374223"/>
            <ac:spMk id="156" creationId="{170F0B87-D6B8-174C-B9BC-9144BE7889C3}"/>
          </ac:spMkLst>
        </pc:spChg>
        <pc:spChg chg="del mod">
          <ac:chgData name="Nick Robinson" userId="d0c2b313-4ae0-4040-8c6a-fec7a720a7b5" providerId="ADAL" clId="{190131DE-6250-C84F-B491-721E6CF30BCB}" dt="2021-12-23T08:24:27.383" v="37188" actId="478"/>
          <ac:spMkLst>
            <pc:docMk/>
            <pc:sldMk cId="2027674031" sldId="2147374223"/>
            <ac:spMk id="175" creationId="{675F741B-C534-024D-9211-4DA607DD8926}"/>
          </ac:spMkLst>
        </pc:spChg>
        <pc:spChg chg="del mod">
          <ac:chgData name="Nick Robinson" userId="d0c2b313-4ae0-4040-8c6a-fec7a720a7b5" providerId="ADAL" clId="{190131DE-6250-C84F-B491-721E6CF30BCB}" dt="2021-12-23T08:24:27.383" v="37188" actId="478"/>
          <ac:spMkLst>
            <pc:docMk/>
            <pc:sldMk cId="2027674031" sldId="2147374223"/>
            <ac:spMk id="176" creationId="{E552FC48-226B-2D4B-93F6-3BB7B912D372}"/>
          </ac:spMkLst>
        </pc:spChg>
        <pc:spChg chg="del mod">
          <ac:chgData name="Nick Robinson" userId="d0c2b313-4ae0-4040-8c6a-fec7a720a7b5" providerId="ADAL" clId="{190131DE-6250-C84F-B491-721E6CF30BCB}" dt="2021-12-23T08:24:27.383" v="37188" actId="478"/>
          <ac:spMkLst>
            <pc:docMk/>
            <pc:sldMk cId="2027674031" sldId="2147374223"/>
            <ac:spMk id="177" creationId="{4E5F772C-4B61-D84B-B83C-D81F6502C025}"/>
          </ac:spMkLst>
        </pc:spChg>
        <pc:spChg chg="del mod">
          <ac:chgData name="Nick Robinson" userId="d0c2b313-4ae0-4040-8c6a-fec7a720a7b5" providerId="ADAL" clId="{190131DE-6250-C84F-B491-721E6CF30BCB}" dt="2021-12-23T08:24:27.383" v="37188" actId="478"/>
          <ac:spMkLst>
            <pc:docMk/>
            <pc:sldMk cId="2027674031" sldId="2147374223"/>
            <ac:spMk id="178" creationId="{6A815AB2-B2FC-6540-B8D4-6B79A7A5D1E8}"/>
          </ac:spMkLst>
        </pc:spChg>
        <pc:spChg chg="del mod">
          <ac:chgData name="Nick Robinson" userId="d0c2b313-4ae0-4040-8c6a-fec7a720a7b5" providerId="ADAL" clId="{190131DE-6250-C84F-B491-721E6CF30BCB}" dt="2021-12-23T08:24:27.383" v="37188" actId="478"/>
          <ac:spMkLst>
            <pc:docMk/>
            <pc:sldMk cId="2027674031" sldId="2147374223"/>
            <ac:spMk id="180" creationId="{610E70FC-9AD2-7F44-BF0C-FA7B9996EE2B}"/>
          </ac:spMkLst>
        </pc:spChg>
        <pc:spChg chg="del mod">
          <ac:chgData name="Nick Robinson" userId="d0c2b313-4ae0-4040-8c6a-fec7a720a7b5" providerId="ADAL" clId="{190131DE-6250-C84F-B491-721E6CF30BCB}" dt="2021-12-23T08:24:27.383" v="37188" actId="478"/>
          <ac:spMkLst>
            <pc:docMk/>
            <pc:sldMk cId="2027674031" sldId="2147374223"/>
            <ac:spMk id="193" creationId="{BE66D792-D83F-4844-ADEF-A4BD1422887B}"/>
          </ac:spMkLst>
        </pc:spChg>
        <pc:spChg chg="del mod">
          <ac:chgData name="Nick Robinson" userId="d0c2b313-4ae0-4040-8c6a-fec7a720a7b5" providerId="ADAL" clId="{190131DE-6250-C84F-B491-721E6CF30BCB}" dt="2021-12-23T08:24:27.383" v="37188" actId="478"/>
          <ac:spMkLst>
            <pc:docMk/>
            <pc:sldMk cId="2027674031" sldId="2147374223"/>
            <ac:spMk id="194" creationId="{EDB0FC32-B142-8048-A0B8-7BBA4B7C3B83}"/>
          </ac:spMkLst>
        </pc:spChg>
        <pc:spChg chg="add del mod">
          <ac:chgData name="Nick Robinson" userId="d0c2b313-4ae0-4040-8c6a-fec7a720a7b5" providerId="ADAL" clId="{190131DE-6250-C84F-B491-721E6CF30BCB}" dt="2021-12-23T08:24:27.383" v="37188" actId="478"/>
          <ac:spMkLst>
            <pc:docMk/>
            <pc:sldMk cId="2027674031" sldId="2147374223"/>
            <ac:spMk id="277" creationId="{D36CFC29-3B58-F846-8DB9-51E9AC13B8D2}"/>
          </ac:spMkLst>
        </pc:spChg>
        <pc:spChg chg="add del mod">
          <ac:chgData name="Nick Robinson" userId="d0c2b313-4ae0-4040-8c6a-fec7a720a7b5" providerId="ADAL" clId="{190131DE-6250-C84F-B491-721E6CF30BCB}" dt="2021-12-23T08:24:27.383" v="37188" actId="478"/>
          <ac:spMkLst>
            <pc:docMk/>
            <pc:sldMk cId="2027674031" sldId="2147374223"/>
            <ac:spMk id="297" creationId="{97456E6B-F1F4-6144-ABA0-5FABF5930CF0}"/>
          </ac:spMkLst>
        </pc:spChg>
        <pc:spChg chg="del mod topLvl">
          <ac:chgData name="Nick Robinson" userId="d0c2b313-4ae0-4040-8c6a-fec7a720a7b5" providerId="ADAL" clId="{190131DE-6250-C84F-B491-721E6CF30BCB}" dt="2021-12-21T09:08:39.703" v="20610" actId="478"/>
          <ac:spMkLst>
            <pc:docMk/>
            <pc:sldMk cId="2027674031" sldId="2147374223"/>
            <ac:spMk id="299" creationId="{24B9173B-E039-6C43-B9CD-24514F2D2D04}"/>
          </ac:spMkLst>
        </pc:spChg>
        <pc:spChg chg="add del mod topLvl">
          <ac:chgData name="Nick Robinson" userId="d0c2b313-4ae0-4040-8c6a-fec7a720a7b5" providerId="ADAL" clId="{190131DE-6250-C84F-B491-721E6CF30BCB}" dt="2021-12-21T09:09:49.886" v="20629" actId="20577"/>
          <ac:spMkLst>
            <pc:docMk/>
            <pc:sldMk cId="2027674031" sldId="2147374223"/>
            <ac:spMk id="300" creationId="{27EFAE32-7626-AA44-B4DC-558E8D5CAEC5}"/>
          </ac:spMkLst>
        </pc:spChg>
        <pc:spChg chg="mod">
          <ac:chgData name="Nick Robinson" userId="d0c2b313-4ae0-4040-8c6a-fec7a720a7b5" providerId="ADAL" clId="{190131DE-6250-C84F-B491-721E6CF30BCB}" dt="2021-12-21T09:10:40.615" v="20635"/>
          <ac:spMkLst>
            <pc:docMk/>
            <pc:sldMk cId="2027674031" sldId="2147374223"/>
            <ac:spMk id="304" creationId="{16534E74-80C5-7941-A99F-982EF8B98F1D}"/>
          </ac:spMkLst>
        </pc:spChg>
        <pc:spChg chg="mod">
          <ac:chgData name="Nick Robinson" userId="d0c2b313-4ae0-4040-8c6a-fec7a720a7b5" providerId="ADAL" clId="{190131DE-6250-C84F-B491-721E6CF30BCB}" dt="2021-12-21T09:32:01.351" v="20759" actId="20577"/>
          <ac:spMkLst>
            <pc:docMk/>
            <pc:sldMk cId="2027674031" sldId="2147374223"/>
            <ac:spMk id="305" creationId="{7A3BD4DA-0C08-C74F-B836-B9138018B6BE}"/>
          </ac:spMkLst>
        </pc:spChg>
        <pc:spChg chg="mod">
          <ac:chgData name="Nick Robinson" userId="d0c2b313-4ae0-4040-8c6a-fec7a720a7b5" providerId="ADAL" clId="{190131DE-6250-C84F-B491-721E6CF30BCB}" dt="2021-12-21T09:10:46.162" v="20636"/>
          <ac:spMkLst>
            <pc:docMk/>
            <pc:sldMk cId="2027674031" sldId="2147374223"/>
            <ac:spMk id="307" creationId="{188148DB-C115-754A-A3DE-405F49BB4ADD}"/>
          </ac:spMkLst>
        </pc:spChg>
        <pc:spChg chg="mod">
          <ac:chgData name="Nick Robinson" userId="d0c2b313-4ae0-4040-8c6a-fec7a720a7b5" providerId="ADAL" clId="{190131DE-6250-C84F-B491-721E6CF30BCB}" dt="2021-12-21T09:14:35.125" v="20679" actId="1076"/>
          <ac:spMkLst>
            <pc:docMk/>
            <pc:sldMk cId="2027674031" sldId="2147374223"/>
            <ac:spMk id="308" creationId="{91E8804A-91E8-6D4C-82B2-1ACFD001CF21}"/>
          </ac:spMkLst>
        </pc:spChg>
        <pc:spChg chg="mod">
          <ac:chgData name="Nick Robinson" userId="d0c2b313-4ae0-4040-8c6a-fec7a720a7b5" providerId="ADAL" clId="{190131DE-6250-C84F-B491-721E6CF30BCB}" dt="2021-12-21T09:10:53.030" v="20639"/>
          <ac:spMkLst>
            <pc:docMk/>
            <pc:sldMk cId="2027674031" sldId="2147374223"/>
            <ac:spMk id="310" creationId="{CF4EAE0B-A24A-9246-8BB8-43F2B4703C74}"/>
          </ac:spMkLst>
        </pc:spChg>
        <pc:spChg chg="mod">
          <ac:chgData name="Nick Robinson" userId="d0c2b313-4ae0-4040-8c6a-fec7a720a7b5" providerId="ADAL" clId="{190131DE-6250-C84F-B491-721E6CF30BCB}" dt="2021-12-21T09:32:39.748" v="20764" actId="20577"/>
          <ac:spMkLst>
            <pc:docMk/>
            <pc:sldMk cId="2027674031" sldId="2147374223"/>
            <ac:spMk id="311" creationId="{E6F046A7-FAB8-1D49-9C9E-696BB6B896D9}"/>
          </ac:spMkLst>
        </pc:spChg>
        <pc:spChg chg="mod">
          <ac:chgData name="Nick Robinson" userId="d0c2b313-4ae0-4040-8c6a-fec7a720a7b5" providerId="ADAL" clId="{190131DE-6250-C84F-B491-721E6CF30BCB}" dt="2021-12-21T09:10:54.049" v="20640"/>
          <ac:spMkLst>
            <pc:docMk/>
            <pc:sldMk cId="2027674031" sldId="2147374223"/>
            <ac:spMk id="313" creationId="{C51F73C2-A44B-104B-85B7-44866EE47DEB}"/>
          </ac:spMkLst>
        </pc:spChg>
        <pc:spChg chg="mod">
          <ac:chgData name="Nick Robinson" userId="d0c2b313-4ae0-4040-8c6a-fec7a720a7b5" providerId="ADAL" clId="{190131DE-6250-C84F-B491-721E6CF30BCB}" dt="2021-12-21T09:34:42.847" v="20773" actId="20577"/>
          <ac:spMkLst>
            <pc:docMk/>
            <pc:sldMk cId="2027674031" sldId="2147374223"/>
            <ac:spMk id="314" creationId="{7FE18468-9DD4-784C-A09F-D255A3366BAF}"/>
          </ac:spMkLst>
        </pc:spChg>
        <pc:spChg chg="mod">
          <ac:chgData name="Nick Robinson" userId="d0c2b313-4ae0-4040-8c6a-fec7a720a7b5" providerId="ADAL" clId="{190131DE-6250-C84F-B491-721E6CF30BCB}" dt="2021-12-21T09:10:54.274" v="20641"/>
          <ac:spMkLst>
            <pc:docMk/>
            <pc:sldMk cId="2027674031" sldId="2147374223"/>
            <ac:spMk id="316" creationId="{7FB38EE6-64B0-834F-B635-930875F787EF}"/>
          </ac:spMkLst>
        </pc:spChg>
        <pc:spChg chg="mod">
          <ac:chgData name="Nick Robinson" userId="d0c2b313-4ae0-4040-8c6a-fec7a720a7b5" providerId="ADAL" clId="{190131DE-6250-C84F-B491-721E6CF30BCB}" dt="2021-12-21T10:10:29.363" v="20798" actId="20577"/>
          <ac:spMkLst>
            <pc:docMk/>
            <pc:sldMk cId="2027674031" sldId="2147374223"/>
            <ac:spMk id="317" creationId="{B00B72F5-4C1D-7D48-ADC9-7BEF56C8F624}"/>
          </ac:spMkLst>
        </pc:spChg>
        <pc:spChg chg="mod">
          <ac:chgData name="Nick Robinson" userId="d0c2b313-4ae0-4040-8c6a-fec7a720a7b5" providerId="ADAL" clId="{190131DE-6250-C84F-B491-721E6CF30BCB}" dt="2021-12-21T09:10:54.475" v="20642"/>
          <ac:spMkLst>
            <pc:docMk/>
            <pc:sldMk cId="2027674031" sldId="2147374223"/>
            <ac:spMk id="319" creationId="{E7392804-935B-EF49-8DE8-6547159957C6}"/>
          </ac:spMkLst>
        </pc:spChg>
        <pc:spChg chg="mod">
          <ac:chgData name="Nick Robinson" userId="d0c2b313-4ae0-4040-8c6a-fec7a720a7b5" providerId="ADAL" clId="{190131DE-6250-C84F-B491-721E6CF30BCB}" dt="2021-12-21T09:10:54.475" v="20642"/>
          <ac:spMkLst>
            <pc:docMk/>
            <pc:sldMk cId="2027674031" sldId="2147374223"/>
            <ac:spMk id="320" creationId="{4CCFBB3E-FF94-BC4E-AE5D-CDBD8A1778D9}"/>
          </ac:spMkLst>
        </pc:spChg>
        <pc:spChg chg="mod">
          <ac:chgData name="Nick Robinson" userId="d0c2b313-4ae0-4040-8c6a-fec7a720a7b5" providerId="ADAL" clId="{190131DE-6250-C84F-B491-721E6CF30BCB}" dt="2021-12-21T09:11:37.968" v="20651" actId="14100"/>
          <ac:spMkLst>
            <pc:docMk/>
            <pc:sldMk cId="2027674031" sldId="2147374223"/>
            <ac:spMk id="322" creationId="{11015795-6ACA-5D4B-A687-8068DE8FCCCC}"/>
          </ac:spMkLst>
        </pc:spChg>
        <pc:spChg chg="mod">
          <ac:chgData name="Nick Robinson" userId="d0c2b313-4ae0-4040-8c6a-fec7a720a7b5" providerId="ADAL" clId="{190131DE-6250-C84F-B491-721E6CF30BCB}" dt="2021-12-21T09:12:21.978" v="20654" actId="1038"/>
          <ac:spMkLst>
            <pc:docMk/>
            <pc:sldMk cId="2027674031" sldId="2147374223"/>
            <ac:spMk id="323" creationId="{42F42902-616D-CC4F-A94A-DC2A99A5CBFA}"/>
          </ac:spMkLst>
        </pc:spChg>
        <pc:spChg chg="mod">
          <ac:chgData name="Nick Robinson" userId="d0c2b313-4ae0-4040-8c6a-fec7a720a7b5" providerId="ADAL" clId="{190131DE-6250-C84F-B491-721E6CF30BCB}" dt="2021-12-21T09:13:24.319" v="20666"/>
          <ac:spMkLst>
            <pc:docMk/>
            <pc:sldMk cId="2027674031" sldId="2147374223"/>
            <ac:spMk id="325" creationId="{8E5A2A71-40C6-0640-BDE6-D051BA62BC5A}"/>
          </ac:spMkLst>
        </pc:spChg>
        <pc:spChg chg="mod">
          <ac:chgData name="Nick Robinson" userId="d0c2b313-4ae0-4040-8c6a-fec7a720a7b5" providerId="ADAL" clId="{190131DE-6250-C84F-B491-721E6CF30BCB}" dt="2021-12-21T09:13:29.578" v="20669" actId="20577"/>
          <ac:spMkLst>
            <pc:docMk/>
            <pc:sldMk cId="2027674031" sldId="2147374223"/>
            <ac:spMk id="326" creationId="{186DC2B8-FFEE-3743-8B39-93AD0883B4B5}"/>
          </ac:spMkLst>
        </pc:spChg>
        <pc:spChg chg="add del">
          <ac:chgData name="Nick Robinson" userId="d0c2b313-4ae0-4040-8c6a-fec7a720a7b5" providerId="ADAL" clId="{190131DE-6250-C84F-B491-721E6CF30BCB}" dt="2021-12-21T09:35:02.743" v="20776" actId="22"/>
          <ac:spMkLst>
            <pc:docMk/>
            <pc:sldMk cId="2027674031" sldId="2147374223"/>
            <ac:spMk id="328" creationId="{6409D4FD-2052-3942-8FAC-A6168A47FADE}"/>
          </ac:spMkLst>
        </pc:spChg>
        <pc:spChg chg="mod">
          <ac:chgData name="Nick Robinson" userId="d0c2b313-4ae0-4040-8c6a-fec7a720a7b5" providerId="ADAL" clId="{190131DE-6250-C84F-B491-721E6CF30BCB}" dt="2021-12-21T10:09:29.453" v="20786"/>
          <ac:spMkLst>
            <pc:docMk/>
            <pc:sldMk cId="2027674031" sldId="2147374223"/>
            <ac:spMk id="330" creationId="{362C1D92-F011-EF4E-8E39-E427A1FD3411}"/>
          </ac:spMkLst>
        </pc:spChg>
        <pc:spChg chg="mod">
          <ac:chgData name="Nick Robinson" userId="d0c2b313-4ae0-4040-8c6a-fec7a720a7b5" providerId="ADAL" clId="{190131DE-6250-C84F-B491-721E6CF30BCB}" dt="2021-12-21T10:11:17.315" v="20810" actId="20577"/>
          <ac:spMkLst>
            <pc:docMk/>
            <pc:sldMk cId="2027674031" sldId="2147374223"/>
            <ac:spMk id="331" creationId="{5BD6BD49-5C0F-7042-9FF1-5332E81FC98D}"/>
          </ac:spMkLst>
        </pc:spChg>
        <pc:spChg chg="mod">
          <ac:chgData name="Nick Robinson" userId="d0c2b313-4ae0-4040-8c6a-fec7a720a7b5" providerId="ADAL" clId="{190131DE-6250-C84F-B491-721E6CF30BCB}" dt="2021-12-21T10:09:29.954" v="20787"/>
          <ac:spMkLst>
            <pc:docMk/>
            <pc:sldMk cId="2027674031" sldId="2147374223"/>
            <ac:spMk id="333" creationId="{C0301877-3E65-2B4A-9E2C-6DEAAB29E5B0}"/>
          </ac:spMkLst>
        </pc:spChg>
        <pc:spChg chg="mod">
          <ac:chgData name="Nick Robinson" userId="d0c2b313-4ae0-4040-8c6a-fec7a720a7b5" providerId="ADAL" clId="{190131DE-6250-C84F-B491-721E6CF30BCB}" dt="2021-12-23T08:24:28.161" v="37189"/>
          <ac:spMkLst>
            <pc:docMk/>
            <pc:sldMk cId="2027674031" sldId="2147374223"/>
            <ac:spMk id="334" creationId="{0670644B-DA0A-854E-9D45-00534A6D28D4}"/>
          </ac:spMkLst>
        </pc:spChg>
        <pc:spChg chg="mod">
          <ac:chgData name="Nick Robinson" userId="d0c2b313-4ae0-4040-8c6a-fec7a720a7b5" providerId="ADAL" clId="{190131DE-6250-C84F-B491-721E6CF30BCB}" dt="2021-12-21T10:09:29.954" v="20787"/>
          <ac:spMkLst>
            <pc:docMk/>
            <pc:sldMk cId="2027674031" sldId="2147374223"/>
            <ac:spMk id="334" creationId="{43B67B50-B7D3-5F4A-8E1C-EFDD7735B2BF}"/>
          </ac:spMkLst>
        </pc:spChg>
        <pc:spChg chg="mod">
          <ac:chgData name="Nick Robinson" userId="d0c2b313-4ae0-4040-8c6a-fec7a720a7b5" providerId="ADAL" clId="{190131DE-6250-C84F-B491-721E6CF30BCB}" dt="2021-12-21T10:09:30.163" v="20788"/>
          <ac:spMkLst>
            <pc:docMk/>
            <pc:sldMk cId="2027674031" sldId="2147374223"/>
            <ac:spMk id="336" creationId="{C9CD1A8F-C8AB-104D-9790-18DEA658FA63}"/>
          </ac:spMkLst>
        </pc:spChg>
        <pc:spChg chg="mod">
          <ac:chgData name="Nick Robinson" userId="d0c2b313-4ae0-4040-8c6a-fec7a720a7b5" providerId="ADAL" clId="{190131DE-6250-C84F-B491-721E6CF30BCB}" dt="2021-12-21T10:15:53.221" v="20856" actId="20577"/>
          <ac:spMkLst>
            <pc:docMk/>
            <pc:sldMk cId="2027674031" sldId="2147374223"/>
            <ac:spMk id="337" creationId="{40ED0DD2-ABD0-8545-A3F2-B43F668E441F}"/>
          </ac:spMkLst>
        </pc:spChg>
        <pc:spChg chg="mod">
          <ac:chgData name="Nick Robinson" userId="d0c2b313-4ae0-4040-8c6a-fec7a720a7b5" providerId="ADAL" clId="{190131DE-6250-C84F-B491-721E6CF30BCB}" dt="2021-12-21T10:09:30.383" v="20789"/>
          <ac:spMkLst>
            <pc:docMk/>
            <pc:sldMk cId="2027674031" sldId="2147374223"/>
            <ac:spMk id="339" creationId="{C431CDBE-8280-1446-B238-1ED02DFA1042}"/>
          </ac:spMkLst>
        </pc:spChg>
        <pc:spChg chg="mod">
          <ac:chgData name="Nick Robinson" userId="d0c2b313-4ae0-4040-8c6a-fec7a720a7b5" providerId="ADAL" clId="{190131DE-6250-C84F-B491-721E6CF30BCB}" dt="2021-12-21T10:09:36.413" v="20791" actId="20577"/>
          <ac:spMkLst>
            <pc:docMk/>
            <pc:sldMk cId="2027674031" sldId="2147374223"/>
            <ac:spMk id="340" creationId="{0E187F08-E8FF-4048-B87E-D64592EAEAD7}"/>
          </ac:spMkLst>
        </pc:spChg>
        <pc:spChg chg="mod">
          <ac:chgData name="Nick Robinson" userId="d0c2b313-4ae0-4040-8c6a-fec7a720a7b5" providerId="ADAL" clId="{190131DE-6250-C84F-B491-721E6CF30BCB}" dt="2021-12-21T10:12:15.904" v="20824"/>
          <ac:spMkLst>
            <pc:docMk/>
            <pc:sldMk cId="2027674031" sldId="2147374223"/>
            <ac:spMk id="342" creationId="{509C0404-1C50-E64C-90BE-078AB16A1F19}"/>
          </ac:spMkLst>
        </pc:spChg>
        <pc:spChg chg="mod">
          <ac:chgData name="Nick Robinson" userId="d0c2b313-4ae0-4040-8c6a-fec7a720a7b5" providerId="ADAL" clId="{190131DE-6250-C84F-B491-721E6CF30BCB}" dt="2021-12-21T10:12:15.904" v="20824"/>
          <ac:spMkLst>
            <pc:docMk/>
            <pc:sldMk cId="2027674031" sldId="2147374223"/>
            <ac:spMk id="343" creationId="{933607D4-6321-0140-A61C-C9991CBF0026}"/>
          </ac:spMkLst>
        </pc:spChg>
        <pc:spChg chg="mod">
          <ac:chgData name="Nick Robinson" userId="d0c2b313-4ae0-4040-8c6a-fec7a720a7b5" providerId="ADAL" clId="{190131DE-6250-C84F-B491-721E6CF30BCB}" dt="2021-12-21T10:13:01.807" v="20832"/>
          <ac:spMkLst>
            <pc:docMk/>
            <pc:sldMk cId="2027674031" sldId="2147374223"/>
            <ac:spMk id="345" creationId="{6B584073-065E-0D46-9932-0CB19936738B}"/>
          </ac:spMkLst>
        </pc:spChg>
        <pc:spChg chg="mod">
          <ac:chgData name="Nick Robinson" userId="d0c2b313-4ae0-4040-8c6a-fec7a720a7b5" providerId="ADAL" clId="{190131DE-6250-C84F-B491-721E6CF30BCB}" dt="2021-12-21T10:15:04.420" v="20853" actId="20577"/>
          <ac:spMkLst>
            <pc:docMk/>
            <pc:sldMk cId="2027674031" sldId="2147374223"/>
            <ac:spMk id="346" creationId="{5388B3E8-12D2-B540-95B9-409DD57E4676}"/>
          </ac:spMkLst>
        </pc:spChg>
        <pc:spChg chg="mod">
          <ac:chgData name="Nick Robinson" userId="d0c2b313-4ae0-4040-8c6a-fec7a720a7b5" providerId="ADAL" clId="{190131DE-6250-C84F-B491-721E6CF30BCB}" dt="2021-12-21T10:13:02.921" v="20833"/>
          <ac:spMkLst>
            <pc:docMk/>
            <pc:sldMk cId="2027674031" sldId="2147374223"/>
            <ac:spMk id="348" creationId="{C7A9BCC1-C195-6940-BCD6-2BC946BA261F}"/>
          </ac:spMkLst>
        </pc:spChg>
        <pc:spChg chg="mod">
          <ac:chgData name="Nick Robinson" userId="d0c2b313-4ae0-4040-8c6a-fec7a720a7b5" providerId="ADAL" clId="{190131DE-6250-C84F-B491-721E6CF30BCB}" dt="2021-12-21T10:14:43.073" v="20848" actId="20577"/>
          <ac:spMkLst>
            <pc:docMk/>
            <pc:sldMk cId="2027674031" sldId="2147374223"/>
            <ac:spMk id="349" creationId="{949E2FF0-B27A-E54D-8040-B09AEA44F39F}"/>
          </ac:spMkLst>
        </pc:spChg>
        <pc:spChg chg="mod">
          <ac:chgData name="Nick Robinson" userId="d0c2b313-4ae0-4040-8c6a-fec7a720a7b5" providerId="ADAL" clId="{190131DE-6250-C84F-B491-721E6CF30BCB}" dt="2021-12-21T10:14:14.714" v="20843" actId="208"/>
          <ac:spMkLst>
            <pc:docMk/>
            <pc:sldMk cId="2027674031" sldId="2147374223"/>
            <ac:spMk id="351" creationId="{675A08CC-C403-904D-80C0-B8EB8EF6F6E6}"/>
          </ac:spMkLst>
        </pc:spChg>
        <pc:spChg chg="mod">
          <ac:chgData name="Nick Robinson" userId="d0c2b313-4ae0-4040-8c6a-fec7a720a7b5" providerId="ADAL" clId="{190131DE-6250-C84F-B491-721E6CF30BCB}" dt="2021-12-21T10:14:20.664" v="20844" actId="1076"/>
          <ac:spMkLst>
            <pc:docMk/>
            <pc:sldMk cId="2027674031" sldId="2147374223"/>
            <ac:spMk id="352" creationId="{26375EF3-2027-EF48-9B3B-ED10395A0E7A}"/>
          </ac:spMkLst>
        </pc:spChg>
        <pc:spChg chg="add del mod">
          <ac:chgData name="Nick Robinson" userId="d0c2b313-4ae0-4040-8c6a-fec7a720a7b5" providerId="ADAL" clId="{190131DE-6250-C84F-B491-721E6CF30BCB}" dt="2021-12-21T10:32:30.646" v="21318" actId="478"/>
          <ac:spMkLst>
            <pc:docMk/>
            <pc:sldMk cId="2027674031" sldId="2147374223"/>
            <ac:spMk id="353" creationId="{5932750A-9F4F-A64C-80D8-5513D68FD5A4}"/>
          </ac:spMkLst>
        </pc:spChg>
        <pc:spChg chg="mod">
          <ac:chgData name="Nick Robinson" userId="d0c2b313-4ae0-4040-8c6a-fec7a720a7b5" providerId="ADAL" clId="{190131DE-6250-C84F-B491-721E6CF30BCB}" dt="2021-12-23T08:24:28.161" v="37189"/>
          <ac:spMkLst>
            <pc:docMk/>
            <pc:sldMk cId="2027674031" sldId="2147374223"/>
            <ac:spMk id="353" creationId="{D71EA720-55CF-8647-B314-ECB9C72D87D8}"/>
          </ac:spMkLst>
        </pc:spChg>
        <pc:spChg chg="mod">
          <ac:chgData name="Nick Robinson" userId="d0c2b313-4ae0-4040-8c6a-fec7a720a7b5" providerId="ADAL" clId="{190131DE-6250-C84F-B491-721E6CF30BCB}" dt="2021-12-23T08:24:28.161" v="37189"/>
          <ac:spMkLst>
            <pc:docMk/>
            <pc:sldMk cId="2027674031" sldId="2147374223"/>
            <ac:spMk id="354" creationId="{BF5B735A-5A32-934D-A256-F2808B598700}"/>
          </ac:spMkLst>
        </pc:spChg>
        <pc:spChg chg="mod">
          <ac:chgData name="Nick Robinson" userId="d0c2b313-4ae0-4040-8c6a-fec7a720a7b5" providerId="ADAL" clId="{190131DE-6250-C84F-B491-721E6CF30BCB}" dt="2021-12-23T08:24:28.161" v="37189"/>
          <ac:spMkLst>
            <pc:docMk/>
            <pc:sldMk cId="2027674031" sldId="2147374223"/>
            <ac:spMk id="355" creationId="{5B0924CC-D138-864A-9CF6-74BBF77123CE}"/>
          </ac:spMkLst>
        </pc:spChg>
        <pc:spChg chg="mod">
          <ac:chgData name="Nick Robinson" userId="d0c2b313-4ae0-4040-8c6a-fec7a720a7b5" providerId="ADAL" clId="{190131DE-6250-C84F-B491-721E6CF30BCB}" dt="2021-12-23T08:24:28.161" v="37189"/>
          <ac:spMkLst>
            <pc:docMk/>
            <pc:sldMk cId="2027674031" sldId="2147374223"/>
            <ac:spMk id="356" creationId="{EDCBF29A-386B-314C-B214-2735823D7C2E}"/>
          </ac:spMkLst>
        </pc:spChg>
        <pc:spChg chg="mod">
          <ac:chgData name="Nick Robinson" userId="d0c2b313-4ae0-4040-8c6a-fec7a720a7b5" providerId="ADAL" clId="{190131DE-6250-C84F-B491-721E6CF30BCB}" dt="2021-12-23T08:24:28.161" v="37189"/>
          <ac:spMkLst>
            <pc:docMk/>
            <pc:sldMk cId="2027674031" sldId="2147374223"/>
            <ac:spMk id="357" creationId="{3AEE194F-3CE5-114D-98E2-CC75B9EA7FB3}"/>
          </ac:spMkLst>
        </pc:spChg>
        <pc:spChg chg="mod">
          <ac:chgData name="Nick Robinson" userId="d0c2b313-4ae0-4040-8c6a-fec7a720a7b5" providerId="ADAL" clId="{190131DE-6250-C84F-B491-721E6CF30BCB}" dt="2021-12-23T08:24:28.161" v="37189"/>
          <ac:spMkLst>
            <pc:docMk/>
            <pc:sldMk cId="2027674031" sldId="2147374223"/>
            <ac:spMk id="358" creationId="{0EDA9308-7CF2-1347-A5F6-AEF1CF290F28}"/>
          </ac:spMkLst>
        </pc:spChg>
        <pc:spChg chg="mod">
          <ac:chgData name="Nick Robinson" userId="d0c2b313-4ae0-4040-8c6a-fec7a720a7b5" providerId="ADAL" clId="{190131DE-6250-C84F-B491-721E6CF30BCB}" dt="2021-12-23T08:24:28.161" v="37189"/>
          <ac:spMkLst>
            <pc:docMk/>
            <pc:sldMk cId="2027674031" sldId="2147374223"/>
            <ac:spMk id="359" creationId="{361C7D22-800D-4D49-B943-47594E0F4F6A}"/>
          </ac:spMkLst>
        </pc:spChg>
        <pc:spChg chg="add mod">
          <ac:chgData name="Nick Robinson" userId="d0c2b313-4ae0-4040-8c6a-fec7a720a7b5" providerId="ADAL" clId="{190131DE-6250-C84F-B491-721E6CF30BCB}" dt="2021-12-23T08:24:28.161" v="37189"/>
          <ac:spMkLst>
            <pc:docMk/>
            <pc:sldMk cId="2027674031" sldId="2147374223"/>
            <ac:spMk id="360" creationId="{871EBADB-F32A-774F-8504-D235988BAF8C}"/>
          </ac:spMkLst>
        </pc:spChg>
        <pc:spChg chg="add mod">
          <ac:chgData name="Nick Robinson" userId="d0c2b313-4ae0-4040-8c6a-fec7a720a7b5" providerId="ADAL" clId="{190131DE-6250-C84F-B491-721E6CF30BCB}" dt="2021-12-23T13:55:22.796" v="44348" actId="13926"/>
          <ac:spMkLst>
            <pc:docMk/>
            <pc:sldMk cId="2027674031" sldId="2147374223"/>
            <ac:spMk id="361" creationId="{F209A0E1-B5CC-F74F-8F09-C4FA62376197}"/>
          </ac:spMkLst>
        </pc:spChg>
        <pc:spChg chg="add mod">
          <ac:chgData name="Nick Robinson" userId="d0c2b313-4ae0-4040-8c6a-fec7a720a7b5" providerId="ADAL" clId="{190131DE-6250-C84F-B491-721E6CF30BCB}" dt="2021-12-23T08:24:28.161" v="37189"/>
          <ac:spMkLst>
            <pc:docMk/>
            <pc:sldMk cId="2027674031" sldId="2147374223"/>
            <ac:spMk id="362" creationId="{25998F0A-16B7-5947-8669-59B354E24DBA}"/>
          </ac:spMkLst>
        </pc:spChg>
        <pc:spChg chg="add mod">
          <ac:chgData name="Nick Robinson" userId="d0c2b313-4ae0-4040-8c6a-fec7a720a7b5" providerId="ADAL" clId="{190131DE-6250-C84F-B491-721E6CF30BCB}" dt="2021-12-23T13:54:42.859" v="44330" actId="20577"/>
          <ac:spMkLst>
            <pc:docMk/>
            <pc:sldMk cId="2027674031" sldId="2147374223"/>
            <ac:spMk id="363" creationId="{090E91EB-F688-2C4C-8D08-799020230CF6}"/>
          </ac:spMkLst>
        </pc:spChg>
        <pc:spChg chg="add mod">
          <ac:chgData name="Nick Robinson" userId="d0c2b313-4ae0-4040-8c6a-fec7a720a7b5" providerId="ADAL" clId="{190131DE-6250-C84F-B491-721E6CF30BCB}" dt="2021-12-23T13:54:51.095" v="44337" actId="14100"/>
          <ac:spMkLst>
            <pc:docMk/>
            <pc:sldMk cId="2027674031" sldId="2147374223"/>
            <ac:spMk id="364" creationId="{33E1C776-16CC-7A42-B607-D17620DCA9F0}"/>
          </ac:spMkLst>
        </pc:spChg>
        <pc:spChg chg="add mod">
          <ac:chgData name="Nick Robinson" userId="d0c2b313-4ae0-4040-8c6a-fec7a720a7b5" providerId="ADAL" clId="{190131DE-6250-C84F-B491-721E6CF30BCB}" dt="2021-12-23T13:54:46.920" v="44336" actId="20577"/>
          <ac:spMkLst>
            <pc:docMk/>
            <pc:sldMk cId="2027674031" sldId="2147374223"/>
            <ac:spMk id="365" creationId="{DF9B834C-722D-4345-91D3-E4C23D016EB6}"/>
          </ac:spMkLst>
        </pc:spChg>
        <pc:spChg chg="add mod">
          <ac:chgData name="Nick Robinson" userId="d0c2b313-4ae0-4040-8c6a-fec7a720a7b5" providerId="ADAL" clId="{190131DE-6250-C84F-B491-721E6CF30BCB}" dt="2021-12-23T13:54:59.499" v="44341" actId="20577"/>
          <ac:spMkLst>
            <pc:docMk/>
            <pc:sldMk cId="2027674031" sldId="2147374223"/>
            <ac:spMk id="366" creationId="{89C55481-7C76-694B-9872-52A7C8DCB825}"/>
          </ac:spMkLst>
        </pc:spChg>
        <pc:spChg chg="add mod">
          <ac:chgData name="Nick Robinson" userId="d0c2b313-4ae0-4040-8c6a-fec7a720a7b5" providerId="ADAL" clId="{190131DE-6250-C84F-B491-721E6CF30BCB}" dt="2021-12-23T13:55:02.237" v="44344" actId="20577"/>
          <ac:spMkLst>
            <pc:docMk/>
            <pc:sldMk cId="2027674031" sldId="2147374223"/>
            <ac:spMk id="367" creationId="{C11E1712-53AF-DB4E-86F1-812CF58B56B7}"/>
          </ac:spMkLst>
        </pc:spChg>
        <pc:spChg chg="add mod">
          <ac:chgData name="Nick Robinson" userId="d0c2b313-4ae0-4040-8c6a-fec7a720a7b5" providerId="ADAL" clId="{190131DE-6250-C84F-B491-721E6CF30BCB}" dt="2021-12-23T13:55:05.327" v="44347" actId="20577"/>
          <ac:spMkLst>
            <pc:docMk/>
            <pc:sldMk cId="2027674031" sldId="2147374223"/>
            <ac:spMk id="368" creationId="{4423D3D0-E913-6E4C-B292-E0C6FB49E57B}"/>
          </ac:spMkLst>
        </pc:spChg>
        <pc:spChg chg="add mod">
          <ac:chgData name="Nick Robinson" userId="d0c2b313-4ae0-4040-8c6a-fec7a720a7b5" providerId="ADAL" clId="{190131DE-6250-C84F-B491-721E6CF30BCB}" dt="2021-12-23T08:24:28.161" v="37189"/>
          <ac:spMkLst>
            <pc:docMk/>
            <pc:sldMk cId="2027674031" sldId="2147374223"/>
            <ac:spMk id="369" creationId="{6501FB08-87A8-9141-9515-DA1F59CD03C2}"/>
          </ac:spMkLst>
        </pc:spChg>
        <pc:spChg chg="add mod">
          <ac:chgData name="Nick Robinson" userId="d0c2b313-4ae0-4040-8c6a-fec7a720a7b5" providerId="ADAL" clId="{190131DE-6250-C84F-B491-721E6CF30BCB}" dt="2021-12-23T08:24:28.161" v="37189"/>
          <ac:spMkLst>
            <pc:docMk/>
            <pc:sldMk cId="2027674031" sldId="2147374223"/>
            <ac:spMk id="370" creationId="{27C80200-B306-8545-AEB1-3AA5E1551D17}"/>
          </ac:spMkLst>
        </pc:spChg>
        <pc:spChg chg="add mod">
          <ac:chgData name="Nick Robinson" userId="d0c2b313-4ae0-4040-8c6a-fec7a720a7b5" providerId="ADAL" clId="{190131DE-6250-C84F-B491-721E6CF30BCB}" dt="2021-12-23T08:24:28.161" v="37189"/>
          <ac:spMkLst>
            <pc:docMk/>
            <pc:sldMk cId="2027674031" sldId="2147374223"/>
            <ac:spMk id="371" creationId="{466D428A-8DAC-1B41-BCA9-683150C5E1DE}"/>
          </ac:spMkLst>
        </pc:spChg>
        <pc:spChg chg="add mod">
          <ac:chgData name="Nick Robinson" userId="d0c2b313-4ae0-4040-8c6a-fec7a720a7b5" providerId="ADAL" clId="{190131DE-6250-C84F-B491-721E6CF30BCB}" dt="2021-12-23T08:24:28.161" v="37189"/>
          <ac:spMkLst>
            <pc:docMk/>
            <pc:sldMk cId="2027674031" sldId="2147374223"/>
            <ac:spMk id="372" creationId="{D7B02BF3-AF4B-3444-AF31-7E6A339C9CDE}"/>
          </ac:spMkLst>
        </pc:spChg>
        <pc:spChg chg="add mod">
          <ac:chgData name="Nick Robinson" userId="d0c2b313-4ae0-4040-8c6a-fec7a720a7b5" providerId="ADAL" clId="{190131DE-6250-C84F-B491-721E6CF30BCB}" dt="2021-12-23T08:24:28.161" v="37189"/>
          <ac:spMkLst>
            <pc:docMk/>
            <pc:sldMk cId="2027674031" sldId="2147374223"/>
            <ac:spMk id="373" creationId="{C06CE678-7296-AE4B-9DC0-86C8B4C49671}"/>
          </ac:spMkLst>
        </pc:spChg>
        <pc:spChg chg="add mod">
          <ac:chgData name="Nick Robinson" userId="d0c2b313-4ae0-4040-8c6a-fec7a720a7b5" providerId="ADAL" clId="{190131DE-6250-C84F-B491-721E6CF30BCB}" dt="2021-12-23T08:24:28.161" v="37189"/>
          <ac:spMkLst>
            <pc:docMk/>
            <pc:sldMk cId="2027674031" sldId="2147374223"/>
            <ac:spMk id="374" creationId="{4DB01846-F703-604C-B9C8-98E965F647FA}"/>
          </ac:spMkLst>
        </pc:spChg>
        <pc:spChg chg="mod">
          <ac:chgData name="Nick Robinson" userId="d0c2b313-4ae0-4040-8c6a-fec7a720a7b5" providerId="ADAL" clId="{190131DE-6250-C84F-B491-721E6CF30BCB}" dt="2021-12-23T08:24:28.161" v="37189"/>
          <ac:spMkLst>
            <pc:docMk/>
            <pc:sldMk cId="2027674031" sldId="2147374223"/>
            <ac:spMk id="376" creationId="{ED889246-1DD3-6747-A1C7-4B8E4EE356B1}"/>
          </ac:spMkLst>
        </pc:spChg>
        <pc:spChg chg="mod">
          <ac:chgData name="Nick Robinson" userId="d0c2b313-4ae0-4040-8c6a-fec7a720a7b5" providerId="ADAL" clId="{190131DE-6250-C84F-B491-721E6CF30BCB}" dt="2021-12-23T08:24:28.161" v="37189"/>
          <ac:spMkLst>
            <pc:docMk/>
            <pc:sldMk cId="2027674031" sldId="2147374223"/>
            <ac:spMk id="377" creationId="{683E7A56-7B59-A74D-A415-5F7FB46BC86E}"/>
          </ac:spMkLst>
        </pc:spChg>
        <pc:spChg chg="mod">
          <ac:chgData name="Nick Robinson" userId="d0c2b313-4ae0-4040-8c6a-fec7a720a7b5" providerId="ADAL" clId="{190131DE-6250-C84F-B491-721E6CF30BCB}" dt="2021-12-23T08:24:28.161" v="37189"/>
          <ac:spMkLst>
            <pc:docMk/>
            <pc:sldMk cId="2027674031" sldId="2147374223"/>
            <ac:spMk id="379" creationId="{B2D7AD1F-8210-C24C-9851-AAA434A0AC0C}"/>
          </ac:spMkLst>
        </pc:spChg>
        <pc:spChg chg="mod">
          <ac:chgData name="Nick Robinson" userId="d0c2b313-4ae0-4040-8c6a-fec7a720a7b5" providerId="ADAL" clId="{190131DE-6250-C84F-B491-721E6CF30BCB}" dt="2021-12-23T08:24:28.161" v="37189"/>
          <ac:spMkLst>
            <pc:docMk/>
            <pc:sldMk cId="2027674031" sldId="2147374223"/>
            <ac:spMk id="380" creationId="{77A65330-BBDA-F54F-BC6A-C4768311B6F5}"/>
          </ac:spMkLst>
        </pc:spChg>
        <pc:spChg chg="mod">
          <ac:chgData name="Nick Robinson" userId="d0c2b313-4ae0-4040-8c6a-fec7a720a7b5" providerId="ADAL" clId="{190131DE-6250-C84F-B491-721E6CF30BCB}" dt="2021-12-23T08:24:28.161" v="37189"/>
          <ac:spMkLst>
            <pc:docMk/>
            <pc:sldMk cId="2027674031" sldId="2147374223"/>
            <ac:spMk id="382" creationId="{80892CAC-7231-FE49-8317-8802B822D368}"/>
          </ac:spMkLst>
        </pc:spChg>
        <pc:spChg chg="mod">
          <ac:chgData name="Nick Robinson" userId="d0c2b313-4ae0-4040-8c6a-fec7a720a7b5" providerId="ADAL" clId="{190131DE-6250-C84F-B491-721E6CF30BCB}" dt="2021-12-23T08:24:28.161" v="37189"/>
          <ac:spMkLst>
            <pc:docMk/>
            <pc:sldMk cId="2027674031" sldId="2147374223"/>
            <ac:spMk id="383" creationId="{DCD73C9C-6196-F94F-B040-FFF3A0ACEA9B}"/>
          </ac:spMkLst>
        </pc:spChg>
        <pc:spChg chg="mod">
          <ac:chgData name="Nick Robinson" userId="d0c2b313-4ae0-4040-8c6a-fec7a720a7b5" providerId="ADAL" clId="{190131DE-6250-C84F-B491-721E6CF30BCB}" dt="2021-12-23T08:24:28.161" v="37189"/>
          <ac:spMkLst>
            <pc:docMk/>
            <pc:sldMk cId="2027674031" sldId="2147374223"/>
            <ac:spMk id="385" creationId="{807EC24F-E913-384F-9CBB-3A1528976581}"/>
          </ac:spMkLst>
        </pc:spChg>
        <pc:spChg chg="mod">
          <ac:chgData name="Nick Robinson" userId="d0c2b313-4ae0-4040-8c6a-fec7a720a7b5" providerId="ADAL" clId="{190131DE-6250-C84F-B491-721E6CF30BCB}" dt="2021-12-23T08:24:28.161" v="37189"/>
          <ac:spMkLst>
            <pc:docMk/>
            <pc:sldMk cId="2027674031" sldId="2147374223"/>
            <ac:spMk id="386" creationId="{2F3D1708-8D29-5C45-A64B-62929019DC59}"/>
          </ac:spMkLst>
        </pc:spChg>
        <pc:spChg chg="mod">
          <ac:chgData name="Nick Robinson" userId="d0c2b313-4ae0-4040-8c6a-fec7a720a7b5" providerId="ADAL" clId="{190131DE-6250-C84F-B491-721E6CF30BCB}" dt="2021-12-23T08:24:28.161" v="37189"/>
          <ac:spMkLst>
            <pc:docMk/>
            <pc:sldMk cId="2027674031" sldId="2147374223"/>
            <ac:spMk id="388" creationId="{7DBDF985-53D7-2243-A2E4-D318623331AD}"/>
          </ac:spMkLst>
        </pc:spChg>
        <pc:spChg chg="mod">
          <ac:chgData name="Nick Robinson" userId="d0c2b313-4ae0-4040-8c6a-fec7a720a7b5" providerId="ADAL" clId="{190131DE-6250-C84F-B491-721E6CF30BCB}" dt="2021-12-23T08:24:28.161" v="37189"/>
          <ac:spMkLst>
            <pc:docMk/>
            <pc:sldMk cId="2027674031" sldId="2147374223"/>
            <ac:spMk id="389" creationId="{A9FC7D4E-8A87-B84F-89EF-209B00F51EF9}"/>
          </ac:spMkLst>
        </pc:spChg>
        <pc:spChg chg="mod">
          <ac:chgData name="Nick Robinson" userId="d0c2b313-4ae0-4040-8c6a-fec7a720a7b5" providerId="ADAL" clId="{190131DE-6250-C84F-B491-721E6CF30BCB}" dt="2021-12-23T08:24:28.161" v="37189"/>
          <ac:spMkLst>
            <pc:docMk/>
            <pc:sldMk cId="2027674031" sldId="2147374223"/>
            <ac:spMk id="391" creationId="{E41745B9-E5C7-8343-83A9-D897389A263E}"/>
          </ac:spMkLst>
        </pc:spChg>
        <pc:spChg chg="mod">
          <ac:chgData name="Nick Robinson" userId="d0c2b313-4ae0-4040-8c6a-fec7a720a7b5" providerId="ADAL" clId="{190131DE-6250-C84F-B491-721E6CF30BCB}" dt="2021-12-23T08:24:28.161" v="37189"/>
          <ac:spMkLst>
            <pc:docMk/>
            <pc:sldMk cId="2027674031" sldId="2147374223"/>
            <ac:spMk id="392" creationId="{0A99A900-5DB5-5849-BED7-4175258230AD}"/>
          </ac:spMkLst>
        </pc:spChg>
        <pc:spChg chg="mod">
          <ac:chgData name="Nick Robinson" userId="d0c2b313-4ae0-4040-8c6a-fec7a720a7b5" providerId="ADAL" clId="{190131DE-6250-C84F-B491-721E6CF30BCB}" dt="2021-12-23T08:24:28.161" v="37189"/>
          <ac:spMkLst>
            <pc:docMk/>
            <pc:sldMk cId="2027674031" sldId="2147374223"/>
            <ac:spMk id="394" creationId="{A90F4021-38D9-5140-BC5A-AD1D2FCD4409}"/>
          </ac:spMkLst>
        </pc:spChg>
        <pc:spChg chg="mod">
          <ac:chgData name="Nick Robinson" userId="d0c2b313-4ae0-4040-8c6a-fec7a720a7b5" providerId="ADAL" clId="{190131DE-6250-C84F-B491-721E6CF30BCB}" dt="2021-12-23T08:24:28.161" v="37189"/>
          <ac:spMkLst>
            <pc:docMk/>
            <pc:sldMk cId="2027674031" sldId="2147374223"/>
            <ac:spMk id="395" creationId="{46B1FD7E-3505-284F-8B5D-B50EABA61B0D}"/>
          </ac:spMkLst>
        </pc:spChg>
        <pc:spChg chg="add mod">
          <ac:chgData name="Nick Robinson" userId="d0c2b313-4ae0-4040-8c6a-fec7a720a7b5" providerId="ADAL" clId="{190131DE-6250-C84F-B491-721E6CF30BCB}" dt="2021-12-23T08:24:28.161" v="37189"/>
          <ac:spMkLst>
            <pc:docMk/>
            <pc:sldMk cId="2027674031" sldId="2147374223"/>
            <ac:spMk id="396" creationId="{9F9BFDAF-4A21-7C47-9A22-9A17B659B486}"/>
          </ac:spMkLst>
        </pc:spChg>
        <pc:spChg chg="mod">
          <ac:chgData name="Nick Robinson" userId="d0c2b313-4ae0-4040-8c6a-fec7a720a7b5" providerId="ADAL" clId="{190131DE-6250-C84F-B491-721E6CF30BCB}" dt="2021-12-23T08:24:28.161" v="37189"/>
          <ac:spMkLst>
            <pc:docMk/>
            <pc:sldMk cId="2027674031" sldId="2147374223"/>
            <ac:spMk id="398" creationId="{DE2D11B0-2C93-874E-B922-9B409D7811DF}"/>
          </ac:spMkLst>
        </pc:spChg>
        <pc:spChg chg="mod">
          <ac:chgData name="Nick Robinson" userId="d0c2b313-4ae0-4040-8c6a-fec7a720a7b5" providerId="ADAL" clId="{190131DE-6250-C84F-B491-721E6CF30BCB}" dt="2021-12-23T08:24:28.161" v="37189"/>
          <ac:spMkLst>
            <pc:docMk/>
            <pc:sldMk cId="2027674031" sldId="2147374223"/>
            <ac:spMk id="399" creationId="{A0297404-5BE4-F247-81B6-F7F1C49B0FD4}"/>
          </ac:spMkLst>
        </pc:spChg>
        <pc:spChg chg="mod">
          <ac:chgData name="Nick Robinson" userId="d0c2b313-4ae0-4040-8c6a-fec7a720a7b5" providerId="ADAL" clId="{190131DE-6250-C84F-B491-721E6CF30BCB}" dt="2021-12-23T08:24:28.161" v="37189"/>
          <ac:spMkLst>
            <pc:docMk/>
            <pc:sldMk cId="2027674031" sldId="2147374223"/>
            <ac:spMk id="401" creationId="{A37706FB-4B20-064F-A551-FE9463D08E47}"/>
          </ac:spMkLst>
        </pc:spChg>
        <pc:spChg chg="mod">
          <ac:chgData name="Nick Robinson" userId="d0c2b313-4ae0-4040-8c6a-fec7a720a7b5" providerId="ADAL" clId="{190131DE-6250-C84F-B491-721E6CF30BCB}" dt="2021-12-23T08:24:28.161" v="37189"/>
          <ac:spMkLst>
            <pc:docMk/>
            <pc:sldMk cId="2027674031" sldId="2147374223"/>
            <ac:spMk id="402" creationId="{AE04B00B-101E-0541-8042-DB1E9AAFC7F2}"/>
          </ac:spMkLst>
        </pc:spChg>
        <pc:spChg chg="mod">
          <ac:chgData name="Nick Robinson" userId="d0c2b313-4ae0-4040-8c6a-fec7a720a7b5" providerId="ADAL" clId="{190131DE-6250-C84F-B491-721E6CF30BCB}" dt="2021-12-23T08:24:28.161" v="37189"/>
          <ac:spMkLst>
            <pc:docMk/>
            <pc:sldMk cId="2027674031" sldId="2147374223"/>
            <ac:spMk id="404" creationId="{DE4461F6-20FD-774B-BC3C-92F3740E93BD}"/>
          </ac:spMkLst>
        </pc:spChg>
        <pc:spChg chg="mod">
          <ac:chgData name="Nick Robinson" userId="d0c2b313-4ae0-4040-8c6a-fec7a720a7b5" providerId="ADAL" clId="{190131DE-6250-C84F-B491-721E6CF30BCB}" dt="2021-12-23T08:24:28.161" v="37189"/>
          <ac:spMkLst>
            <pc:docMk/>
            <pc:sldMk cId="2027674031" sldId="2147374223"/>
            <ac:spMk id="405" creationId="{B0E62B7D-99E2-C046-8C78-EFF803F007B4}"/>
          </ac:spMkLst>
        </pc:spChg>
        <pc:spChg chg="mod">
          <ac:chgData name="Nick Robinson" userId="d0c2b313-4ae0-4040-8c6a-fec7a720a7b5" providerId="ADAL" clId="{190131DE-6250-C84F-B491-721E6CF30BCB}" dt="2021-12-23T08:24:28.161" v="37189"/>
          <ac:spMkLst>
            <pc:docMk/>
            <pc:sldMk cId="2027674031" sldId="2147374223"/>
            <ac:spMk id="407" creationId="{90236AE3-B2C3-E041-8C1F-9922D4208655}"/>
          </ac:spMkLst>
        </pc:spChg>
        <pc:spChg chg="mod">
          <ac:chgData name="Nick Robinson" userId="d0c2b313-4ae0-4040-8c6a-fec7a720a7b5" providerId="ADAL" clId="{190131DE-6250-C84F-B491-721E6CF30BCB}" dt="2021-12-23T08:24:28.161" v="37189"/>
          <ac:spMkLst>
            <pc:docMk/>
            <pc:sldMk cId="2027674031" sldId="2147374223"/>
            <ac:spMk id="408" creationId="{B7B3DCD2-6077-9F42-AF21-8EE7E1EA1D89}"/>
          </ac:spMkLst>
        </pc:spChg>
        <pc:spChg chg="mod">
          <ac:chgData name="Nick Robinson" userId="d0c2b313-4ae0-4040-8c6a-fec7a720a7b5" providerId="ADAL" clId="{190131DE-6250-C84F-B491-721E6CF30BCB}" dt="2021-12-23T08:24:28.161" v="37189"/>
          <ac:spMkLst>
            <pc:docMk/>
            <pc:sldMk cId="2027674031" sldId="2147374223"/>
            <ac:spMk id="410" creationId="{C2605ECD-425B-2D4D-9678-4FCD32617EE3}"/>
          </ac:spMkLst>
        </pc:spChg>
        <pc:spChg chg="mod">
          <ac:chgData name="Nick Robinson" userId="d0c2b313-4ae0-4040-8c6a-fec7a720a7b5" providerId="ADAL" clId="{190131DE-6250-C84F-B491-721E6CF30BCB}" dt="2021-12-23T08:24:28.161" v="37189"/>
          <ac:spMkLst>
            <pc:docMk/>
            <pc:sldMk cId="2027674031" sldId="2147374223"/>
            <ac:spMk id="411" creationId="{78A2315D-5EB8-9445-9CD3-C17328DC3883}"/>
          </ac:spMkLst>
        </pc:spChg>
        <pc:spChg chg="mod">
          <ac:chgData name="Nick Robinson" userId="d0c2b313-4ae0-4040-8c6a-fec7a720a7b5" providerId="ADAL" clId="{190131DE-6250-C84F-B491-721E6CF30BCB}" dt="2021-12-23T08:24:28.161" v="37189"/>
          <ac:spMkLst>
            <pc:docMk/>
            <pc:sldMk cId="2027674031" sldId="2147374223"/>
            <ac:spMk id="413" creationId="{A9CE7132-F573-FB40-A03D-8BAECFFE34B1}"/>
          </ac:spMkLst>
        </pc:spChg>
        <pc:spChg chg="mod">
          <ac:chgData name="Nick Robinson" userId="d0c2b313-4ae0-4040-8c6a-fec7a720a7b5" providerId="ADAL" clId="{190131DE-6250-C84F-B491-721E6CF30BCB}" dt="2021-12-23T08:24:28.161" v="37189"/>
          <ac:spMkLst>
            <pc:docMk/>
            <pc:sldMk cId="2027674031" sldId="2147374223"/>
            <ac:spMk id="414" creationId="{DE1C6B01-A477-C741-B2F1-E5D71AE0F7B2}"/>
          </ac:spMkLst>
        </pc:spChg>
        <pc:spChg chg="mod">
          <ac:chgData name="Nick Robinson" userId="d0c2b313-4ae0-4040-8c6a-fec7a720a7b5" providerId="ADAL" clId="{190131DE-6250-C84F-B491-721E6CF30BCB}" dt="2021-12-23T08:24:28.161" v="37189"/>
          <ac:spMkLst>
            <pc:docMk/>
            <pc:sldMk cId="2027674031" sldId="2147374223"/>
            <ac:spMk id="416" creationId="{DD1A1187-7BAD-0342-9498-3724E7F2F8AB}"/>
          </ac:spMkLst>
        </pc:spChg>
        <pc:spChg chg="mod">
          <ac:chgData name="Nick Robinson" userId="d0c2b313-4ae0-4040-8c6a-fec7a720a7b5" providerId="ADAL" clId="{190131DE-6250-C84F-B491-721E6CF30BCB}" dt="2021-12-23T08:24:28.161" v="37189"/>
          <ac:spMkLst>
            <pc:docMk/>
            <pc:sldMk cId="2027674031" sldId="2147374223"/>
            <ac:spMk id="417" creationId="{F3A9FFA8-4525-3F43-82E4-54F32F2DF76C}"/>
          </ac:spMkLst>
        </pc:spChg>
        <pc:spChg chg="mod">
          <ac:chgData name="Nick Robinson" userId="d0c2b313-4ae0-4040-8c6a-fec7a720a7b5" providerId="ADAL" clId="{190131DE-6250-C84F-B491-721E6CF30BCB}" dt="2021-12-23T08:24:28.161" v="37189"/>
          <ac:spMkLst>
            <pc:docMk/>
            <pc:sldMk cId="2027674031" sldId="2147374223"/>
            <ac:spMk id="419" creationId="{E5A9E06F-7DF8-1E4D-8882-ED043387506C}"/>
          </ac:spMkLst>
        </pc:spChg>
        <pc:spChg chg="mod">
          <ac:chgData name="Nick Robinson" userId="d0c2b313-4ae0-4040-8c6a-fec7a720a7b5" providerId="ADAL" clId="{190131DE-6250-C84F-B491-721E6CF30BCB}" dt="2021-12-23T08:24:28.161" v="37189"/>
          <ac:spMkLst>
            <pc:docMk/>
            <pc:sldMk cId="2027674031" sldId="2147374223"/>
            <ac:spMk id="420" creationId="{560FE39E-07C5-8C4B-A498-4D350A2F7132}"/>
          </ac:spMkLst>
        </pc:spChg>
        <pc:spChg chg="mod">
          <ac:chgData name="Nick Robinson" userId="d0c2b313-4ae0-4040-8c6a-fec7a720a7b5" providerId="ADAL" clId="{190131DE-6250-C84F-B491-721E6CF30BCB}" dt="2021-12-23T08:24:28.161" v="37189"/>
          <ac:spMkLst>
            <pc:docMk/>
            <pc:sldMk cId="2027674031" sldId="2147374223"/>
            <ac:spMk id="422" creationId="{281577BD-C92D-6B45-8C54-DFC9CE0541BF}"/>
          </ac:spMkLst>
        </pc:spChg>
        <pc:spChg chg="mod">
          <ac:chgData name="Nick Robinson" userId="d0c2b313-4ae0-4040-8c6a-fec7a720a7b5" providerId="ADAL" clId="{190131DE-6250-C84F-B491-721E6CF30BCB}" dt="2021-12-23T08:24:28.161" v="37189"/>
          <ac:spMkLst>
            <pc:docMk/>
            <pc:sldMk cId="2027674031" sldId="2147374223"/>
            <ac:spMk id="423" creationId="{16368C0B-A3D2-CB41-86A2-8F7A87F11C79}"/>
          </ac:spMkLst>
        </pc:spChg>
        <pc:spChg chg="mod">
          <ac:chgData name="Nick Robinson" userId="d0c2b313-4ae0-4040-8c6a-fec7a720a7b5" providerId="ADAL" clId="{190131DE-6250-C84F-B491-721E6CF30BCB}" dt="2021-12-23T08:24:28.161" v="37189"/>
          <ac:spMkLst>
            <pc:docMk/>
            <pc:sldMk cId="2027674031" sldId="2147374223"/>
            <ac:spMk id="425" creationId="{8ACC2DCB-C80D-A042-9599-88D2B390BA17}"/>
          </ac:spMkLst>
        </pc:spChg>
        <pc:spChg chg="mod">
          <ac:chgData name="Nick Robinson" userId="d0c2b313-4ae0-4040-8c6a-fec7a720a7b5" providerId="ADAL" clId="{190131DE-6250-C84F-B491-721E6CF30BCB}" dt="2021-12-23T08:24:28.161" v="37189"/>
          <ac:spMkLst>
            <pc:docMk/>
            <pc:sldMk cId="2027674031" sldId="2147374223"/>
            <ac:spMk id="426" creationId="{9872CC27-B1CF-984F-B52A-3B798220C1D0}"/>
          </ac:spMkLst>
        </pc:spChg>
        <pc:spChg chg="mod">
          <ac:chgData name="Nick Robinson" userId="d0c2b313-4ae0-4040-8c6a-fec7a720a7b5" providerId="ADAL" clId="{190131DE-6250-C84F-B491-721E6CF30BCB}" dt="2021-12-23T08:24:28.161" v="37189"/>
          <ac:spMkLst>
            <pc:docMk/>
            <pc:sldMk cId="2027674031" sldId="2147374223"/>
            <ac:spMk id="428" creationId="{C71063BF-8FCB-9E4F-828F-29BEABCA4A9D}"/>
          </ac:spMkLst>
        </pc:spChg>
        <pc:spChg chg="mod">
          <ac:chgData name="Nick Robinson" userId="d0c2b313-4ae0-4040-8c6a-fec7a720a7b5" providerId="ADAL" clId="{190131DE-6250-C84F-B491-721E6CF30BCB}" dt="2021-12-23T08:24:28.161" v="37189"/>
          <ac:spMkLst>
            <pc:docMk/>
            <pc:sldMk cId="2027674031" sldId="2147374223"/>
            <ac:spMk id="429" creationId="{E436026E-3B26-AD4B-A271-904A925FAD58}"/>
          </ac:spMkLst>
        </pc:spChg>
        <pc:spChg chg="mod">
          <ac:chgData name="Nick Robinson" userId="d0c2b313-4ae0-4040-8c6a-fec7a720a7b5" providerId="ADAL" clId="{190131DE-6250-C84F-B491-721E6CF30BCB}" dt="2021-12-23T08:24:28.161" v="37189"/>
          <ac:spMkLst>
            <pc:docMk/>
            <pc:sldMk cId="2027674031" sldId="2147374223"/>
            <ac:spMk id="431" creationId="{5FB8AC01-4FA3-504C-B7E1-DB3A54B6BCCE}"/>
          </ac:spMkLst>
        </pc:spChg>
        <pc:spChg chg="mod">
          <ac:chgData name="Nick Robinson" userId="d0c2b313-4ae0-4040-8c6a-fec7a720a7b5" providerId="ADAL" clId="{190131DE-6250-C84F-B491-721E6CF30BCB}" dt="2021-12-23T08:24:28.161" v="37189"/>
          <ac:spMkLst>
            <pc:docMk/>
            <pc:sldMk cId="2027674031" sldId="2147374223"/>
            <ac:spMk id="432" creationId="{4FB44D87-4104-BE4B-8C4C-4AFEBC99C627}"/>
          </ac:spMkLst>
        </pc:spChg>
        <pc:spChg chg="mod">
          <ac:chgData name="Nick Robinson" userId="d0c2b313-4ae0-4040-8c6a-fec7a720a7b5" providerId="ADAL" clId="{190131DE-6250-C84F-B491-721E6CF30BCB}" dt="2021-12-23T08:24:28.161" v="37189"/>
          <ac:spMkLst>
            <pc:docMk/>
            <pc:sldMk cId="2027674031" sldId="2147374223"/>
            <ac:spMk id="434" creationId="{BF6BE628-70AA-D542-9A86-0539DA248941}"/>
          </ac:spMkLst>
        </pc:spChg>
        <pc:spChg chg="mod">
          <ac:chgData name="Nick Robinson" userId="d0c2b313-4ae0-4040-8c6a-fec7a720a7b5" providerId="ADAL" clId="{190131DE-6250-C84F-B491-721E6CF30BCB}" dt="2021-12-23T08:24:28.161" v="37189"/>
          <ac:spMkLst>
            <pc:docMk/>
            <pc:sldMk cId="2027674031" sldId="2147374223"/>
            <ac:spMk id="435" creationId="{141234EA-864D-9440-A27A-76A893C3D663}"/>
          </ac:spMkLst>
        </pc:spChg>
        <pc:spChg chg="mod">
          <ac:chgData name="Nick Robinson" userId="d0c2b313-4ae0-4040-8c6a-fec7a720a7b5" providerId="ADAL" clId="{190131DE-6250-C84F-B491-721E6CF30BCB}" dt="2021-12-23T08:24:28.161" v="37189"/>
          <ac:spMkLst>
            <pc:docMk/>
            <pc:sldMk cId="2027674031" sldId="2147374223"/>
            <ac:spMk id="437" creationId="{F1113B00-0586-DA4D-945B-628C3566DAE1}"/>
          </ac:spMkLst>
        </pc:spChg>
        <pc:spChg chg="mod">
          <ac:chgData name="Nick Robinson" userId="d0c2b313-4ae0-4040-8c6a-fec7a720a7b5" providerId="ADAL" clId="{190131DE-6250-C84F-B491-721E6CF30BCB}" dt="2021-12-23T08:24:28.161" v="37189"/>
          <ac:spMkLst>
            <pc:docMk/>
            <pc:sldMk cId="2027674031" sldId="2147374223"/>
            <ac:spMk id="438" creationId="{F2F917EE-3AA2-5E44-A506-0E3A5A76CAA7}"/>
          </ac:spMkLst>
        </pc:spChg>
        <pc:spChg chg="mod">
          <ac:chgData name="Nick Robinson" userId="d0c2b313-4ae0-4040-8c6a-fec7a720a7b5" providerId="ADAL" clId="{190131DE-6250-C84F-B491-721E6CF30BCB}" dt="2021-12-23T08:24:28.161" v="37189"/>
          <ac:spMkLst>
            <pc:docMk/>
            <pc:sldMk cId="2027674031" sldId="2147374223"/>
            <ac:spMk id="440" creationId="{8141243F-7BDD-CE4E-8F71-1F280F0748BA}"/>
          </ac:spMkLst>
        </pc:spChg>
        <pc:spChg chg="mod">
          <ac:chgData name="Nick Robinson" userId="d0c2b313-4ae0-4040-8c6a-fec7a720a7b5" providerId="ADAL" clId="{190131DE-6250-C84F-B491-721E6CF30BCB}" dt="2021-12-23T08:24:28.161" v="37189"/>
          <ac:spMkLst>
            <pc:docMk/>
            <pc:sldMk cId="2027674031" sldId="2147374223"/>
            <ac:spMk id="441" creationId="{5BFF5C9F-8E50-FF46-9006-E3124A3295DE}"/>
          </ac:spMkLst>
        </pc:spChg>
        <pc:spChg chg="mod">
          <ac:chgData name="Nick Robinson" userId="d0c2b313-4ae0-4040-8c6a-fec7a720a7b5" providerId="ADAL" clId="{190131DE-6250-C84F-B491-721E6CF30BCB}" dt="2021-12-23T08:24:28.161" v="37189"/>
          <ac:spMkLst>
            <pc:docMk/>
            <pc:sldMk cId="2027674031" sldId="2147374223"/>
            <ac:spMk id="443" creationId="{723FD164-B61F-2540-9796-0B1756B92A8F}"/>
          </ac:spMkLst>
        </pc:spChg>
        <pc:spChg chg="mod">
          <ac:chgData name="Nick Robinson" userId="d0c2b313-4ae0-4040-8c6a-fec7a720a7b5" providerId="ADAL" clId="{190131DE-6250-C84F-B491-721E6CF30BCB}" dt="2021-12-23T08:24:28.161" v="37189"/>
          <ac:spMkLst>
            <pc:docMk/>
            <pc:sldMk cId="2027674031" sldId="2147374223"/>
            <ac:spMk id="444" creationId="{E2C16AC6-D5FE-8E48-833C-A8DB0A0BE74A}"/>
          </ac:spMkLst>
        </pc:spChg>
        <pc:spChg chg="mod">
          <ac:chgData name="Nick Robinson" userId="d0c2b313-4ae0-4040-8c6a-fec7a720a7b5" providerId="ADAL" clId="{190131DE-6250-C84F-B491-721E6CF30BCB}" dt="2021-12-23T08:24:28.161" v="37189"/>
          <ac:spMkLst>
            <pc:docMk/>
            <pc:sldMk cId="2027674031" sldId="2147374223"/>
            <ac:spMk id="446" creationId="{C0B6E21C-853C-1648-9321-24F24A9542F7}"/>
          </ac:spMkLst>
        </pc:spChg>
        <pc:spChg chg="mod">
          <ac:chgData name="Nick Robinson" userId="d0c2b313-4ae0-4040-8c6a-fec7a720a7b5" providerId="ADAL" clId="{190131DE-6250-C84F-B491-721E6CF30BCB}" dt="2021-12-23T08:24:28.161" v="37189"/>
          <ac:spMkLst>
            <pc:docMk/>
            <pc:sldMk cId="2027674031" sldId="2147374223"/>
            <ac:spMk id="447" creationId="{30C3E35C-9209-3F44-91D8-FA2B5205D10A}"/>
          </ac:spMkLst>
        </pc:spChg>
        <pc:spChg chg="mod">
          <ac:chgData name="Nick Robinson" userId="d0c2b313-4ae0-4040-8c6a-fec7a720a7b5" providerId="ADAL" clId="{190131DE-6250-C84F-B491-721E6CF30BCB}" dt="2021-12-23T08:24:28.161" v="37189"/>
          <ac:spMkLst>
            <pc:docMk/>
            <pc:sldMk cId="2027674031" sldId="2147374223"/>
            <ac:spMk id="449" creationId="{02007406-B9A5-F74A-95DE-9CC572997315}"/>
          </ac:spMkLst>
        </pc:spChg>
        <pc:spChg chg="mod">
          <ac:chgData name="Nick Robinson" userId="d0c2b313-4ae0-4040-8c6a-fec7a720a7b5" providerId="ADAL" clId="{190131DE-6250-C84F-B491-721E6CF30BCB}" dt="2021-12-23T08:24:28.161" v="37189"/>
          <ac:spMkLst>
            <pc:docMk/>
            <pc:sldMk cId="2027674031" sldId="2147374223"/>
            <ac:spMk id="450" creationId="{CA0EB130-3C29-3A40-927F-5BD3085E674D}"/>
          </ac:spMkLst>
        </pc:spChg>
        <pc:spChg chg="mod">
          <ac:chgData name="Nick Robinson" userId="d0c2b313-4ae0-4040-8c6a-fec7a720a7b5" providerId="ADAL" clId="{190131DE-6250-C84F-B491-721E6CF30BCB}" dt="2021-12-23T08:24:28.161" v="37189"/>
          <ac:spMkLst>
            <pc:docMk/>
            <pc:sldMk cId="2027674031" sldId="2147374223"/>
            <ac:spMk id="452" creationId="{FE0F5C89-1DAE-0B47-AE4F-5CF1321A4ADB}"/>
          </ac:spMkLst>
        </pc:spChg>
        <pc:spChg chg="mod">
          <ac:chgData name="Nick Robinson" userId="d0c2b313-4ae0-4040-8c6a-fec7a720a7b5" providerId="ADAL" clId="{190131DE-6250-C84F-B491-721E6CF30BCB}" dt="2021-12-23T08:24:28.161" v="37189"/>
          <ac:spMkLst>
            <pc:docMk/>
            <pc:sldMk cId="2027674031" sldId="2147374223"/>
            <ac:spMk id="453" creationId="{28FD2463-C205-CE4F-BE72-5D9EBFDBF1A4}"/>
          </ac:spMkLst>
        </pc:spChg>
        <pc:spChg chg="mod">
          <ac:chgData name="Nick Robinson" userId="d0c2b313-4ae0-4040-8c6a-fec7a720a7b5" providerId="ADAL" clId="{190131DE-6250-C84F-B491-721E6CF30BCB}" dt="2021-12-23T08:24:28.161" v="37189"/>
          <ac:spMkLst>
            <pc:docMk/>
            <pc:sldMk cId="2027674031" sldId="2147374223"/>
            <ac:spMk id="455" creationId="{7F1A9ED0-FD65-AD47-AEB1-4FDFA6438C73}"/>
          </ac:spMkLst>
        </pc:spChg>
        <pc:spChg chg="mod">
          <ac:chgData name="Nick Robinson" userId="d0c2b313-4ae0-4040-8c6a-fec7a720a7b5" providerId="ADAL" clId="{190131DE-6250-C84F-B491-721E6CF30BCB}" dt="2021-12-23T08:24:28.161" v="37189"/>
          <ac:spMkLst>
            <pc:docMk/>
            <pc:sldMk cId="2027674031" sldId="2147374223"/>
            <ac:spMk id="456" creationId="{6FFD876A-15E8-5848-80E9-65E10FE24C5D}"/>
          </ac:spMkLst>
        </pc:spChg>
        <pc:spChg chg="mod">
          <ac:chgData name="Nick Robinson" userId="d0c2b313-4ae0-4040-8c6a-fec7a720a7b5" providerId="ADAL" clId="{190131DE-6250-C84F-B491-721E6CF30BCB}" dt="2021-12-23T08:24:28.161" v="37189"/>
          <ac:spMkLst>
            <pc:docMk/>
            <pc:sldMk cId="2027674031" sldId="2147374223"/>
            <ac:spMk id="458" creationId="{EB604047-A6F4-7245-B9A8-33EF8D8EF06D}"/>
          </ac:spMkLst>
        </pc:spChg>
        <pc:spChg chg="mod">
          <ac:chgData name="Nick Robinson" userId="d0c2b313-4ae0-4040-8c6a-fec7a720a7b5" providerId="ADAL" clId="{190131DE-6250-C84F-B491-721E6CF30BCB}" dt="2021-12-23T08:24:28.161" v="37189"/>
          <ac:spMkLst>
            <pc:docMk/>
            <pc:sldMk cId="2027674031" sldId="2147374223"/>
            <ac:spMk id="459" creationId="{657D8078-120E-CF46-B9E5-1CA28D13C647}"/>
          </ac:spMkLst>
        </pc:spChg>
        <pc:spChg chg="mod">
          <ac:chgData name="Nick Robinson" userId="d0c2b313-4ae0-4040-8c6a-fec7a720a7b5" providerId="ADAL" clId="{190131DE-6250-C84F-B491-721E6CF30BCB}" dt="2021-12-23T08:24:28.161" v="37189"/>
          <ac:spMkLst>
            <pc:docMk/>
            <pc:sldMk cId="2027674031" sldId="2147374223"/>
            <ac:spMk id="461" creationId="{70C07B90-1828-2B41-87EB-81E2502746F6}"/>
          </ac:spMkLst>
        </pc:spChg>
        <pc:spChg chg="mod">
          <ac:chgData name="Nick Robinson" userId="d0c2b313-4ae0-4040-8c6a-fec7a720a7b5" providerId="ADAL" clId="{190131DE-6250-C84F-B491-721E6CF30BCB}" dt="2021-12-23T08:24:28.161" v="37189"/>
          <ac:spMkLst>
            <pc:docMk/>
            <pc:sldMk cId="2027674031" sldId="2147374223"/>
            <ac:spMk id="462" creationId="{8128175B-F212-6B46-ADDA-24BC451E76BA}"/>
          </ac:spMkLst>
        </pc:spChg>
        <pc:spChg chg="mod">
          <ac:chgData name="Nick Robinson" userId="d0c2b313-4ae0-4040-8c6a-fec7a720a7b5" providerId="ADAL" clId="{190131DE-6250-C84F-B491-721E6CF30BCB}" dt="2021-12-23T08:24:28.161" v="37189"/>
          <ac:spMkLst>
            <pc:docMk/>
            <pc:sldMk cId="2027674031" sldId="2147374223"/>
            <ac:spMk id="464" creationId="{ABC876B7-E57D-6441-A56C-AEFB12DE72A9}"/>
          </ac:spMkLst>
        </pc:spChg>
        <pc:spChg chg="mod">
          <ac:chgData name="Nick Robinson" userId="d0c2b313-4ae0-4040-8c6a-fec7a720a7b5" providerId="ADAL" clId="{190131DE-6250-C84F-B491-721E6CF30BCB}" dt="2021-12-23T08:24:28.161" v="37189"/>
          <ac:spMkLst>
            <pc:docMk/>
            <pc:sldMk cId="2027674031" sldId="2147374223"/>
            <ac:spMk id="465" creationId="{91E2879E-EAB4-584B-9FB9-CB801B839022}"/>
          </ac:spMkLst>
        </pc:spChg>
        <pc:spChg chg="mod">
          <ac:chgData name="Nick Robinson" userId="d0c2b313-4ae0-4040-8c6a-fec7a720a7b5" providerId="ADAL" clId="{190131DE-6250-C84F-B491-721E6CF30BCB}" dt="2021-12-23T08:24:28.161" v="37189"/>
          <ac:spMkLst>
            <pc:docMk/>
            <pc:sldMk cId="2027674031" sldId="2147374223"/>
            <ac:spMk id="467" creationId="{F7CC2C4D-5E06-BF47-97CA-D40CE99233F4}"/>
          </ac:spMkLst>
        </pc:spChg>
        <pc:spChg chg="mod">
          <ac:chgData name="Nick Robinson" userId="d0c2b313-4ae0-4040-8c6a-fec7a720a7b5" providerId="ADAL" clId="{190131DE-6250-C84F-B491-721E6CF30BCB}" dt="2021-12-23T08:24:28.161" v="37189"/>
          <ac:spMkLst>
            <pc:docMk/>
            <pc:sldMk cId="2027674031" sldId="2147374223"/>
            <ac:spMk id="468" creationId="{B1E01E56-9B58-0E47-BABE-B4F86A626878}"/>
          </ac:spMkLst>
        </pc:spChg>
        <pc:spChg chg="mod">
          <ac:chgData name="Nick Robinson" userId="d0c2b313-4ae0-4040-8c6a-fec7a720a7b5" providerId="ADAL" clId="{190131DE-6250-C84F-B491-721E6CF30BCB}" dt="2021-12-23T08:24:28.161" v="37189"/>
          <ac:spMkLst>
            <pc:docMk/>
            <pc:sldMk cId="2027674031" sldId="2147374223"/>
            <ac:spMk id="470" creationId="{B17BAA3B-15B1-294D-8472-60E5B5EF2F60}"/>
          </ac:spMkLst>
        </pc:spChg>
        <pc:spChg chg="mod">
          <ac:chgData name="Nick Robinson" userId="d0c2b313-4ae0-4040-8c6a-fec7a720a7b5" providerId="ADAL" clId="{190131DE-6250-C84F-B491-721E6CF30BCB}" dt="2021-12-23T08:24:28.161" v="37189"/>
          <ac:spMkLst>
            <pc:docMk/>
            <pc:sldMk cId="2027674031" sldId="2147374223"/>
            <ac:spMk id="471" creationId="{4BCE47AE-6791-074B-B90C-D9837CA19120}"/>
          </ac:spMkLst>
        </pc:spChg>
        <pc:spChg chg="mod">
          <ac:chgData name="Nick Robinson" userId="d0c2b313-4ae0-4040-8c6a-fec7a720a7b5" providerId="ADAL" clId="{190131DE-6250-C84F-B491-721E6CF30BCB}" dt="2021-12-23T08:24:28.161" v="37189"/>
          <ac:spMkLst>
            <pc:docMk/>
            <pc:sldMk cId="2027674031" sldId="2147374223"/>
            <ac:spMk id="473" creationId="{73FF258E-6546-F848-875A-3BFD1189A2B5}"/>
          </ac:spMkLst>
        </pc:spChg>
        <pc:spChg chg="mod">
          <ac:chgData name="Nick Robinson" userId="d0c2b313-4ae0-4040-8c6a-fec7a720a7b5" providerId="ADAL" clId="{190131DE-6250-C84F-B491-721E6CF30BCB}" dt="2021-12-23T08:24:28.161" v="37189"/>
          <ac:spMkLst>
            <pc:docMk/>
            <pc:sldMk cId="2027674031" sldId="2147374223"/>
            <ac:spMk id="474" creationId="{335DADDB-F26D-9646-B197-BDEE90C65F09}"/>
          </ac:spMkLst>
        </pc:spChg>
        <pc:spChg chg="mod">
          <ac:chgData name="Nick Robinson" userId="d0c2b313-4ae0-4040-8c6a-fec7a720a7b5" providerId="ADAL" clId="{190131DE-6250-C84F-B491-721E6CF30BCB}" dt="2021-12-23T08:24:28.161" v="37189"/>
          <ac:spMkLst>
            <pc:docMk/>
            <pc:sldMk cId="2027674031" sldId="2147374223"/>
            <ac:spMk id="476" creationId="{A780BD80-BC15-054E-A794-455F974798E7}"/>
          </ac:spMkLst>
        </pc:spChg>
        <pc:spChg chg="mod">
          <ac:chgData name="Nick Robinson" userId="d0c2b313-4ae0-4040-8c6a-fec7a720a7b5" providerId="ADAL" clId="{190131DE-6250-C84F-B491-721E6CF30BCB}" dt="2021-12-23T08:24:28.161" v="37189"/>
          <ac:spMkLst>
            <pc:docMk/>
            <pc:sldMk cId="2027674031" sldId="2147374223"/>
            <ac:spMk id="478" creationId="{D265F3AF-7099-6349-A94C-DADB43F297F9}"/>
          </ac:spMkLst>
        </pc:spChg>
        <pc:spChg chg="mod">
          <ac:chgData name="Nick Robinson" userId="d0c2b313-4ae0-4040-8c6a-fec7a720a7b5" providerId="ADAL" clId="{190131DE-6250-C84F-B491-721E6CF30BCB}" dt="2021-12-23T08:24:28.161" v="37189"/>
          <ac:spMkLst>
            <pc:docMk/>
            <pc:sldMk cId="2027674031" sldId="2147374223"/>
            <ac:spMk id="480" creationId="{0F61EDFC-527A-DD4A-BC38-E97EF864191A}"/>
          </ac:spMkLst>
        </pc:spChg>
        <pc:spChg chg="mod">
          <ac:chgData name="Nick Robinson" userId="d0c2b313-4ae0-4040-8c6a-fec7a720a7b5" providerId="ADAL" clId="{190131DE-6250-C84F-B491-721E6CF30BCB}" dt="2021-12-23T08:24:28.161" v="37189"/>
          <ac:spMkLst>
            <pc:docMk/>
            <pc:sldMk cId="2027674031" sldId="2147374223"/>
            <ac:spMk id="481" creationId="{1E2AC676-E653-D942-8773-A1EBFBDE7590}"/>
          </ac:spMkLst>
        </pc:spChg>
        <pc:spChg chg="mod">
          <ac:chgData name="Nick Robinson" userId="d0c2b313-4ae0-4040-8c6a-fec7a720a7b5" providerId="ADAL" clId="{190131DE-6250-C84F-B491-721E6CF30BCB}" dt="2021-12-23T08:24:28.161" v="37189"/>
          <ac:spMkLst>
            <pc:docMk/>
            <pc:sldMk cId="2027674031" sldId="2147374223"/>
            <ac:spMk id="483" creationId="{6D511830-D30B-824F-921E-4B70B807534A}"/>
          </ac:spMkLst>
        </pc:spChg>
        <pc:spChg chg="mod">
          <ac:chgData name="Nick Robinson" userId="d0c2b313-4ae0-4040-8c6a-fec7a720a7b5" providerId="ADAL" clId="{190131DE-6250-C84F-B491-721E6CF30BCB}" dt="2021-12-23T08:24:28.161" v="37189"/>
          <ac:spMkLst>
            <pc:docMk/>
            <pc:sldMk cId="2027674031" sldId="2147374223"/>
            <ac:spMk id="484" creationId="{27F15492-1115-A543-820D-C73550D4E74D}"/>
          </ac:spMkLst>
        </pc:spChg>
        <pc:spChg chg="mod">
          <ac:chgData name="Nick Robinson" userId="d0c2b313-4ae0-4040-8c6a-fec7a720a7b5" providerId="ADAL" clId="{190131DE-6250-C84F-B491-721E6CF30BCB}" dt="2021-12-23T08:24:28.161" v="37189"/>
          <ac:spMkLst>
            <pc:docMk/>
            <pc:sldMk cId="2027674031" sldId="2147374223"/>
            <ac:spMk id="486" creationId="{D878BF4E-15C9-A642-9180-7F7A148DE73D}"/>
          </ac:spMkLst>
        </pc:spChg>
        <pc:spChg chg="mod">
          <ac:chgData name="Nick Robinson" userId="d0c2b313-4ae0-4040-8c6a-fec7a720a7b5" providerId="ADAL" clId="{190131DE-6250-C84F-B491-721E6CF30BCB}" dt="2021-12-23T08:24:28.161" v="37189"/>
          <ac:spMkLst>
            <pc:docMk/>
            <pc:sldMk cId="2027674031" sldId="2147374223"/>
            <ac:spMk id="487" creationId="{591402A7-D6AE-644D-AF07-F42069E5D726}"/>
          </ac:spMkLst>
        </pc:spChg>
        <pc:spChg chg="mod">
          <ac:chgData name="Nick Robinson" userId="d0c2b313-4ae0-4040-8c6a-fec7a720a7b5" providerId="ADAL" clId="{190131DE-6250-C84F-B491-721E6CF30BCB}" dt="2021-12-23T08:24:28.161" v="37189"/>
          <ac:spMkLst>
            <pc:docMk/>
            <pc:sldMk cId="2027674031" sldId="2147374223"/>
            <ac:spMk id="489" creationId="{93ECF4DE-3876-6C4D-A648-C20931BA1276}"/>
          </ac:spMkLst>
        </pc:spChg>
        <pc:spChg chg="mod">
          <ac:chgData name="Nick Robinson" userId="d0c2b313-4ae0-4040-8c6a-fec7a720a7b5" providerId="ADAL" clId="{190131DE-6250-C84F-B491-721E6CF30BCB}" dt="2021-12-23T08:24:28.161" v="37189"/>
          <ac:spMkLst>
            <pc:docMk/>
            <pc:sldMk cId="2027674031" sldId="2147374223"/>
            <ac:spMk id="490" creationId="{EB9C82AF-8CC6-9B47-812A-65DF626715E1}"/>
          </ac:spMkLst>
        </pc:spChg>
        <pc:spChg chg="del mod">
          <ac:chgData name="Nick Robinson" userId="d0c2b313-4ae0-4040-8c6a-fec7a720a7b5" providerId="ADAL" clId="{190131DE-6250-C84F-B491-721E6CF30BCB}" dt="2021-12-23T08:24:27.383" v="37188" actId="478"/>
          <ac:spMkLst>
            <pc:docMk/>
            <pc:sldMk cId="2027674031" sldId="2147374223"/>
            <ac:spMk id="492" creationId="{B5AF9CFC-E46F-A84A-867D-E8681C6DDDBA}"/>
          </ac:spMkLst>
        </pc:spChg>
        <pc:spChg chg="del mod">
          <ac:chgData name="Nick Robinson" userId="d0c2b313-4ae0-4040-8c6a-fec7a720a7b5" providerId="ADAL" clId="{190131DE-6250-C84F-B491-721E6CF30BCB}" dt="2021-12-23T08:24:27.383" v="37188" actId="478"/>
          <ac:spMkLst>
            <pc:docMk/>
            <pc:sldMk cId="2027674031" sldId="2147374223"/>
            <ac:spMk id="493" creationId="{4D6912A5-0E11-0F46-A606-04800C7CF220}"/>
          </ac:spMkLst>
        </pc:spChg>
        <pc:spChg chg="del mod">
          <ac:chgData name="Nick Robinson" userId="d0c2b313-4ae0-4040-8c6a-fec7a720a7b5" providerId="ADAL" clId="{190131DE-6250-C84F-B491-721E6CF30BCB}" dt="2021-12-23T08:24:27.383" v="37188" actId="478"/>
          <ac:spMkLst>
            <pc:docMk/>
            <pc:sldMk cId="2027674031" sldId="2147374223"/>
            <ac:spMk id="494" creationId="{1014B8C1-84C0-3F44-BD05-A22063CFE4FF}"/>
          </ac:spMkLst>
        </pc:spChg>
        <pc:spChg chg="del mod">
          <ac:chgData name="Nick Robinson" userId="d0c2b313-4ae0-4040-8c6a-fec7a720a7b5" providerId="ADAL" clId="{190131DE-6250-C84F-B491-721E6CF30BCB}" dt="2021-12-23T08:24:27.383" v="37188" actId="478"/>
          <ac:spMkLst>
            <pc:docMk/>
            <pc:sldMk cId="2027674031" sldId="2147374223"/>
            <ac:spMk id="495" creationId="{61076B9F-2B80-174F-ACDA-8DA709C1C586}"/>
          </ac:spMkLst>
        </pc:spChg>
        <pc:spChg chg="mod">
          <ac:chgData name="Nick Robinson" userId="d0c2b313-4ae0-4040-8c6a-fec7a720a7b5" providerId="ADAL" clId="{190131DE-6250-C84F-B491-721E6CF30BCB}" dt="2021-12-23T08:24:28.161" v="37189"/>
          <ac:spMkLst>
            <pc:docMk/>
            <pc:sldMk cId="2027674031" sldId="2147374223"/>
            <ac:spMk id="496" creationId="{7564A15F-9DE7-CF4F-A674-B762A96B7802}"/>
          </ac:spMkLst>
        </pc:spChg>
        <pc:spChg chg="mod">
          <ac:chgData name="Nick Robinson" userId="d0c2b313-4ae0-4040-8c6a-fec7a720a7b5" providerId="ADAL" clId="{190131DE-6250-C84F-B491-721E6CF30BCB}" dt="2021-12-23T08:24:28.161" v="37189"/>
          <ac:spMkLst>
            <pc:docMk/>
            <pc:sldMk cId="2027674031" sldId="2147374223"/>
            <ac:spMk id="506" creationId="{77983D66-24C9-4A4D-9A60-EE7568272D6F}"/>
          </ac:spMkLst>
        </pc:spChg>
        <pc:spChg chg="mod">
          <ac:chgData name="Nick Robinson" userId="d0c2b313-4ae0-4040-8c6a-fec7a720a7b5" providerId="ADAL" clId="{190131DE-6250-C84F-B491-721E6CF30BCB}" dt="2021-12-23T08:24:28.161" v="37189"/>
          <ac:spMkLst>
            <pc:docMk/>
            <pc:sldMk cId="2027674031" sldId="2147374223"/>
            <ac:spMk id="508" creationId="{4DE47457-287B-D141-A06A-CB49A7AC2916}"/>
          </ac:spMkLst>
        </pc:spChg>
        <pc:spChg chg="mod">
          <ac:chgData name="Nick Robinson" userId="d0c2b313-4ae0-4040-8c6a-fec7a720a7b5" providerId="ADAL" clId="{190131DE-6250-C84F-B491-721E6CF30BCB}" dt="2021-12-23T08:24:28.161" v="37189"/>
          <ac:spMkLst>
            <pc:docMk/>
            <pc:sldMk cId="2027674031" sldId="2147374223"/>
            <ac:spMk id="515" creationId="{223D5C4E-57D6-5249-9A2D-5A9DCFD4B807}"/>
          </ac:spMkLst>
        </pc:spChg>
        <pc:spChg chg="mod">
          <ac:chgData name="Nick Robinson" userId="d0c2b313-4ae0-4040-8c6a-fec7a720a7b5" providerId="ADAL" clId="{190131DE-6250-C84F-B491-721E6CF30BCB}" dt="2021-12-20T16:55:42.336" v="19711" actId="14100"/>
          <ac:spMkLst>
            <pc:docMk/>
            <pc:sldMk cId="2027674031" sldId="2147374223"/>
            <ac:spMk id="542" creationId="{D64D78DB-61BC-5E4A-9DAF-526B88EA6629}"/>
          </ac:spMkLst>
        </pc:spChg>
        <pc:spChg chg="mod">
          <ac:chgData name="Nick Robinson" userId="d0c2b313-4ae0-4040-8c6a-fec7a720a7b5" providerId="ADAL" clId="{190131DE-6250-C84F-B491-721E6CF30BCB}" dt="2021-12-20T16:56:43.815" v="19743" actId="14100"/>
          <ac:spMkLst>
            <pc:docMk/>
            <pc:sldMk cId="2027674031" sldId="2147374223"/>
            <ac:spMk id="547" creationId="{8038D820-575B-3D46-8384-476731B368EB}"/>
          </ac:spMkLst>
        </pc:spChg>
        <pc:spChg chg="del">
          <ac:chgData name="Nick Robinson" userId="d0c2b313-4ae0-4040-8c6a-fec7a720a7b5" providerId="ADAL" clId="{190131DE-6250-C84F-B491-721E6CF30BCB}" dt="2021-12-20T16:55:52.516" v="19713" actId="478"/>
          <ac:spMkLst>
            <pc:docMk/>
            <pc:sldMk cId="2027674031" sldId="2147374223"/>
            <ac:spMk id="548" creationId="{1DFE9DF0-026E-9E46-91E6-D0544F289818}"/>
          </ac:spMkLst>
        </pc:spChg>
        <pc:spChg chg="mod">
          <ac:chgData name="Nick Robinson" userId="d0c2b313-4ae0-4040-8c6a-fec7a720a7b5" providerId="ADAL" clId="{190131DE-6250-C84F-B491-721E6CF30BCB}" dt="2021-12-23T08:24:28.161" v="37189"/>
          <ac:spMkLst>
            <pc:docMk/>
            <pc:sldMk cId="2027674031" sldId="2147374223"/>
            <ac:spMk id="558" creationId="{96CE25B7-4297-0C48-8270-2E53CAC30957}"/>
          </ac:spMkLst>
        </pc:spChg>
        <pc:spChg chg="mod">
          <ac:chgData name="Nick Robinson" userId="d0c2b313-4ae0-4040-8c6a-fec7a720a7b5" providerId="ADAL" clId="{190131DE-6250-C84F-B491-721E6CF30BCB}" dt="2021-12-20T16:56:35.042" v="19742" actId="1035"/>
          <ac:spMkLst>
            <pc:docMk/>
            <pc:sldMk cId="2027674031" sldId="2147374223"/>
            <ac:spMk id="559" creationId="{D4CAB025-5A00-3F40-9E09-72B662164225}"/>
          </ac:spMkLst>
        </pc:spChg>
        <pc:spChg chg="mod">
          <ac:chgData name="Nick Robinson" userId="d0c2b313-4ae0-4040-8c6a-fec7a720a7b5" providerId="ADAL" clId="{190131DE-6250-C84F-B491-721E6CF30BCB}" dt="2021-12-20T16:56:35.042" v="19742" actId="1035"/>
          <ac:spMkLst>
            <pc:docMk/>
            <pc:sldMk cId="2027674031" sldId="2147374223"/>
            <ac:spMk id="560" creationId="{9FC51946-2CF9-664E-B6D0-54A54ABDDD2E}"/>
          </ac:spMkLst>
        </pc:spChg>
        <pc:spChg chg="mod">
          <ac:chgData name="Nick Robinson" userId="d0c2b313-4ae0-4040-8c6a-fec7a720a7b5" providerId="ADAL" clId="{190131DE-6250-C84F-B491-721E6CF30BCB}" dt="2021-12-23T08:24:28.161" v="37189"/>
          <ac:spMkLst>
            <pc:docMk/>
            <pc:sldMk cId="2027674031" sldId="2147374223"/>
            <ac:spMk id="588" creationId="{AACC9749-B7DF-4A42-996E-C21CA814CE95}"/>
          </ac:spMkLst>
        </pc:spChg>
        <pc:spChg chg="mod">
          <ac:chgData name="Nick Robinson" userId="d0c2b313-4ae0-4040-8c6a-fec7a720a7b5" providerId="ADAL" clId="{190131DE-6250-C84F-B491-721E6CF30BCB}" dt="2021-12-23T08:24:28.161" v="37189"/>
          <ac:spMkLst>
            <pc:docMk/>
            <pc:sldMk cId="2027674031" sldId="2147374223"/>
            <ac:spMk id="590" creationId="{514EC991-C691-0841-82AE-31B36B528B7D}"/>
          </ac:spMkLst>
        </pc:spChg>
        <pc:spChg chg="mod">
          <ac:chgData name="Nick Robinson" userId="d0c2b313-4ae0-4040-8c6a-fec7a720a7b5" providerId="ADAL" clId="{190131DE-6250-C84F-B491-721E6CF30BCB}" dt="2021-12-23T08:24:28.161" v="37189"/>
          <ac:spMkLst>
            <pc:docMk/>
            <pc:sldMk cId="2027674031" sldId="2147374223"/>
            <ac:spMk id="663" creationId="{0F4FC77F-EFD4-E943-85B7-F2D749EF68F9}"/>
          </ac:spMkLst>
        </pc:spChg>
        <pc:spChg chg="mod">
          <ac:chgData name="Nick Robinson" userId="d0c2b313-4ae0-4040-8c6a-fec7a720a7b5" providerId="ADAL" clId="{190131DE-6250-C84F-B491-721E6CF30BCB}" dt="2021-12-23T08:24:28.161" v="37189"/>
          <ac:spMkLst>
            <pc:docMk/>
            <pc:sldMk cId="2027674031" sldId="2147374223"/>
            <ac:spMk id="665" creationId="{A6FDBB44-09F1-704D-B476-F4B85BD24603}"/>
          </ac:spMkLst>
        </pc:spChg>
        <pc:spChg chg="mod">
          <ac:chgData name="Nick Robinson" userId="d0c2b313-4ae0-4040-8c6a-fec7a720a7b5" providerId="ADAL" clId="{190131DE-6250-C84F-B491-721E6CF30BCB}" dt="2021-12-23T08:24:28.161" v="37189"/>
          <ac:spMkLst>
            <pc:docMk/>
            <pc:sldMk cId="2027674031" sldId="2147374223"/>
            <ac:spMk id="699" creationId="{A3958256-D6A6-E74B-BEE1-9ECC43AB0B45}"/>
          </ac:spMkLst>
        </pc:spChg>
        <pc:spChg chg="mod">
          <ac:chgData name="Nick Robinson" userId="d0c2b313-4ae0-4040-8c6a-fec7a720a7b5" providerId="ADAL" clId="{190131DE-6250-C84F-B491-721E6CF30BCB}" dt="2021-12-23T08:24:28.161" v="37189"/>
          <ac:spMkLst>
            <pc:docMk/>
            <pc:sldMk cId="2027674031" sldId="2147374223"/>
            <ac:spMk id="701" creationId="{8C691B0A-C142-1B47-9927-408625EE2ED7}"/>
          </ac:spMkLst>
        </pc:spChg>
        <pc:spChg chg="mod">
          <ac:chgData name="Nick Robinson" userId="d0c2b313-4ae0-4040-8c6a-fec7a720a7b5" providerId="ADAL" clId="{190131DE-6250-C84F-B491-721E6CF30BCB}" dt="2021-12-23T08:24:28.161" v="37189"/>
          <ac:spMkLst>
            <pc:docMk/>
            <pc:sldMk cId="2027674031" sldId="2147374223"/>
            <ac:spMk id="705" creationId="{D9603E46-7266-0A4A-9D59-428ED27712C4}"/>
          </ac:spMkLst>
        </pc:spChg>
        <pc:spChg chg="mod">
          <ac:chgData name="Nick Robinson" userId="d0c2b313-4ae0-4040-8c6a-fec7a720a7b5" providerId="ADAL" clId="{190131DE-6250-C84F-B491-721E6CF30BCB}" dt="2021-12-23T08:24:28.161" v="37189"/>
          <ac:spMkLst>
            <pc:docMk/>
            <pc:sldMk cId="2027674031" sldId="2147374223"/>
            <ac:spMk id="707" creationId="{136922B4-6747-8D44-9C5F-5822DE39137B}"/>
          </ac:spMkLst>
        </pc:spChg>
        <pc:spChg chg="mod">
          <ac:chgData name="Nick Robinson" userId="d0c2b313-4ae0-4040-8c6a-fec7a720a7b5" providerId="ADAL" clId="{190131DE-6250-C84F-B491-721E6CF30BCB}" dt="2021-12-23T08:24:28.161" v="37189"/>
          <ac:spMkLst>
            <pc:docMk/>
            <pc:sldMk cId="2027674031" sldId="2147374223"/>
            <ac:spMk id="708" creationId="{1E442E99-6A0C-3B41-A210-9340A1DAB62C}"/>
          </ac:spMkLst>
        </pc:spChg>
        <pc:spChg chg="mod">
          <ac:chgData name="Nick Robinson" userId="d0c2b313-4ae0-4040-8c6a-fec7a720a7b5" providerId="ADAL" clId="{190131DE-6250-C84F-B491-721E6CF30BCB}" dt="2021-12-23T08:24:28.161" v="37189"/>
          <ac:spMkLst>
            <pc:docMk/>
            <pc:sldMk cId="2027674031" sldId="2147374223"/>
            <ac:spMk id="710" creationId="{AFB2C786-5298-F249-8032-CE9E738D1C3A}"/>
          </ac:spMkLst>
        </pc:spChg>
        <pc:spChg chg="mod">
          <ac:chgData name="Nick Robinson" userId="d0c2b313-4ae0-4040-8c6a-fec7a720a7b5" providerId="ADAL" clId="{190131DE-6250-C84F-B491-721E6CF30BCB}" dt="2021-12-23T08:24:28.161" v="37189"/>
          <ac:spMkLst>
            <pc:docMk/>
            <pc:sldMk cId="2027674031" sldId="2147374223"/>
            <ac:spMk id="711" creationId="{C5F2877A-D52E-3646-B6CE-5BA84909A296}"/>
          </ac:spMkLst>
        </pc:spChg>
        <pc:spChg chg="mod">
          <ac:chgData name="Nick Robinson" userId="d0c2b313-4ae0-4040-8c6a-fec7a720a7b5" providerId="ADAL" clId="{190131DE-6250-C84F-B491-721E6CF30BCB}" dt="2021-12-23T08:24:28.161" v="37189"/>
          <ac:spMkLst>
            <pc:docMk/>
            <pc:sldMk cId="2027674031" sldId="2147374223"/>
            <ac:spMk id="713" creationId="{42022412-4FAF-6D4B-A438-8125C143C4B6}"/>
          </ac:spMkLst>
        </pc:spChg>
        <pc:spChg chg="mod">
          <ac:chgData name="Nick Robinson" userId="d0c2b313-4ae0-4040-8c6a-fec7a720a7b5" providerId="ADAL" clId="{190131DE-6250-C84F-B491-721E6CF30BCB}" dt="2021-12-23T08:24:28.161" v="37189"/>
          <ac:spMkLst>
            <pc:docMk/>
            <pc:sldMk cId="2027674031" sldId="2147374223"/>
            <ac:spMk id="714" creationId="{F2BC2818-1DE2-1C4D-97B9-F694DB3D193B}"/>
          </ac:spMkLst>
        </pc:spChg>
        <pc:spChg chg="mod">
          <ac:chgData name="Nick Robinson" userId="d0c2b313-4ae0-4040-8c6a-fec7a720a7b5" providerId="ADAL" clId="{190131DE-6250-C84F-B491-721E6CF30BCB}" dt="2021-12-23T08:24:28.161" v="37189"/>
          <ac:spMkLst>
            <pc:docMk/>
            <pc:sldMk cId="2027674031" sldId="2147374223"/>
            <ac:spMk id="716" creationId="{27EA3D27-C392-7A44-BB2B-39EDAD3264FF}"/>
          </ac:spMkLst>
        </pc:spChg>
        <pc:spChg chg="mod">
          <ac:chgData name="Nick Robinson" userId="d0c2b313-4ae0-4040-8c6a-fec7a720a7b5" providerId="ADAL" clId="{190131DE-6250-C84F-B491-721E6CF30BCB}" dt="2021-12-23T08:24:28.161" v="37189"/>
          <ac:spMkLst>
            <pc:docMk/>
            <pc:sldMk cId="2027674031" sldId="2147374223"/>
            <ac:spMk id="717" creationId="{C7B3D491-9050-3F40-97C9-987B048CC110}"/>
          </ac:spMkLst>
        </pc:spChg>
        <pc:spChg chg="mod">
          <ac:chgData name="Nick Robinson" userId="d0c2b313-4ae0-4040-8c6a-fec7a720a7b5" providerId="ADAL" clId="{190131DE-6250-C84F-B491-721E6CF30BCB}" dt="2021-12-23T08:24:28.161" v="37189"/>
          <ac:spMkLst>
            <pc:docMk/>
            <pc:sldMk cId="2027674031" sldId="2147374223"/>
            <ac:spMk id="719" creationId="{B5F84300-C429-3047-B1CD-ED9C52C20068}"/>
          </ac:spMkLst>
        </pc:spChg>
        <pc:spChg chg="mod">
          <ac:chgData name="Nick Robinson" userId="d0c2b313-4ae0-4040-8c6a-fec7a720a7b5" providerId="ADAL" clId="{190131DE-6250-C84F-B491-721E6CF30BCB}" dt="2021-12-23T08:24:28.161" v="37189"/>
          <ac:spMkLst>
            <pc:docMk/>
            <pc:sldMk cId="2027674031" sldId="2147374223"/>
            <ac:spMk id="720" creationId="{01691060-5A47-2C49-898E-91ABD543D372}"/>
          </ac:spMkLst>
        </pc:spChg>
        <pc:spChg chg="mod">
          <ac:chgData name="Nick Robinson" userId="d0c2b313-4ae0-4040-8c6a-fec7a720a7b5" providerId="ADAL" clId="{190131DE-6250-C84F-B491-721E6CF30BCB}" dt="2021-12-23T08:24:28.161" v="37189"/>
          <ac:spMkLst>
            <pc:docMk/>
            <pc:sldMk cId="2027674031" sldId="2147374223"/>
            <ac:spMk id="722" creationId="{C16CBC7D-6529-7948-9848-F11F33060C83}"/>
          </ac:spMkLst>
        </pc:spChg>
        <pc:spChg chg="mod">
          <ac:chgData name="Nick Robinson" userId="d0c2b313-4ae0-4040-8c6a-fec7a720a7b5" providerId="ADAL" clId="{190131DE-6250-C84F-B491-721E6CF30BCB}" dt="2021-12-23T08:24:28.161" v="37189"/>
          <ac:spMkLst>
            <pc:docMk/>
            <pc:sldMk cId="2027674031" sldId="2147374223"/>
            <ac:spMk id="723" creationId="{09E163AC-36A1-2244-8E44-FBF172827CF8}"/>
          </ac:spMkLst>
        </pc:spChg>
        <pc:spChg chg="mod">
          <ac:chgData name="Nick Robinson" userId="d0c2b313-4ae0-4040-8c6a-fec7a720a7b5" providerId="ADAL" clId="{190131DE-6250-C84F-B491-721E6CF30BCB}" dt="2021-12-23T08:24:28.161" v="37189"/>
          <ac:spMkLst>
            <pc:docMk/>
            <pc:sldMk cId="2027674031" sldId="2147374223"/>
            <ac:spMk id="725" creationId="{18F6BA52-5533-5341-98AB-462BC293D37D}"/>
          </ac:spMkLst>
        </pc:spChg>
        <pc:spChg chg="mod">
          <ac:chgData name="Nick Robinson" userId="d0c2b313-4ae0-4040-8c6a-fec7a720a7b5" providerId="ADAL" clId="{190131DE-6250-C84F-B491-721E6CF30BCB}" dt="2021-12-23T08:24:28.161" v="37189"/>
          <ac:spMkLst>
            <pc:docMk/>
            <pc:sldMk cId="2027674031" sldId="2147374223"/>
            <ac:spMk id="726" creationId="{12EE498C-1AE0-D242-A7A2-A5872E4EBF94}"/>
          </ac:spMkLst>
        </pc:spChg>
        <pc:spChg chg="mod">
          <ac:chgData name="Nick Robinson" userId="d0c2b313-4ae0-4040-8c6a-fec7a720a7b5" providerId="ADAL" clId="{190131DE-6250-C84F-B491-721E6CF30BCB}" dt="2021-12-23T08:24:28.161" v="37189"/>
          <ac:spMkLst>
            <pc:docMk/>
            <pc:sldMk cId="2027674031" sldId="2147374223"/>
            <ac:spMk id="728" creationId="{2B062EB1-83C5-6249-ACBF-EAFA1E156952}"/>
          </ac:spMkLst>
        </pc:spChg>
        <pc:spChg chg="mod">
          <ac:chgData name="Nick Robinson" userId="d0c2b313-4ae0-4040-8c6a-fec7a720a7b5" providerId="ADAL" clId="{190131DE-6250-C84F-B491-721E6CF30BCB}" dt="2021-12-23T08:24:28.161" v="37189"/>
          <ac:spMkLst>
            <pc:docMk/>
            <pc:sldMk cId="2027674031" sldId="2147374223"/>
            <ac:spMk id="729" creationId="{24233269-07FC-564F-845B-69427B0DD9B6}"/>
          </ac:spMkLst>
        </pc:spChg>
        <pc:spChg chg="mod">
          <ac:chgData name="Nick Robinson" userId="d0c2b313-4ae0-4040-8c6a-fec7a720a7b5" providerId="ADAL" clId="{190131DE-6250-C84F-B491-721E6CF30BCB}" dt="2021-12-23T08:24:28.161" v="37189"/>
          <ac:spMkLst>
            <pc:docMk/>
            <pc:sldMk cId="2027674031" sldId="2147374223"/>
            <ac:spMk id="731" creationId="{8BB1F94F-9817-7A46-8D1D-B689F606CEE1}"/>
          </ac:spMkLst>
        </pc:spChg>
        <pc:spChg chg="mod">
          <ac:chgData name="Nick Robinson" userId="d0c2b313-4ae0-4040-8c6a-fec7a720a7b5" providerId="ADAL" clId="{190131DE-6250-C84F-B491-721E6CF30BCB}" dt="2021-12-23T08:24:28.161" v="37189"/>
          <ac:spMkLst>
            <pc:docMk/>
            <pc:sldMk cId="2027674031" sldId="2147374223"/>
            <ac:spMk id="732" creationId="{11724C86-94D5-854D-9E5A-E937B349A854}"/>
          </ac:spMkLst>
        </pc:spChg>
        <pc:spChg chg="mod">
          <ac:chgData name="Nick Robinson" userId="d0c2b313-4ae0-4040-8c6a-fec7a720a7b5" providerId="ADAL" clId="{190131DE-6250-C84F-B491-721E6CF30BCB}" dt="2021-12-23T08:24:28.161" v="37189"/>
          <ac:spMkLst>
            <pc:docMk/>
            <pc:sldMk cId="2027674031" sldId="2147374223"/>
            <ac:spMk id="734" creationId="{15B7A68C-25C8-9E40-A3CC-E0AD8640C091}"/>
          </ac:spMkLst>
        </pc:spChg>
        <pc:spChg chg="mod">
          <ac:chgData name="Nick Robinson" userId="d0c2b313-4ae0-4040-8c6a-fec7a720a7b5" providerId="ADAL" clId="{190131DE-6250-C84F-B491-721E6CF30BCB}" dt="2021-12-23T08:24:28.161" v="37189"/>
          <ac:spMkLst>
            <pc:docMk/>
            <pc:sldMk cId="2027674031" sldId="2147374223"/>
            <ac:spMk id="735" creationId="{5E960485-444D-684C-B335-96027C610818}"/>
          </ac:spMkLst>
        </pc:spChg>
        <pc:spChg chg="mod">
          <ac:chgData name="Nick Robinson" userId="d0c2b313-4ae0-4040-8c6a-fec7a720a7b5" providerId="ADAL" clId="{190131DE-6250-C84F-B491-721E6CF30BCB}" dt="2021-12-23T08:24:28.161" v="37189"/>
          <ac:spMkLst>
            <pc:docMk/>
            <pc:sldMk cId="2027674031" sldId="2147374223"/>
            <ac:spMk id="737" creationId="{23428374-EF2E-5A4E-9FFA-D688288E002F}"/>
          </ac:spMkLst>
        </pc:spChg>
        <pc:spChg chg="mod">
          <ac:chgData name="Nick Robinson" userId="d0c2b313-4ae0-4040-8c6a-fec7a720a7b5" providerId="ADAL" clId="{190131DE-6250-C84F-B491-721E6CF30BCB}" dt="2021-12-23T08:24:28.161" v="37189"/>
          <ac:spMkLst>
            <pc:docMk/>
            <pc:sldMk cId="2027674031" sldId="2147374223"/>
            <ac:spMk id="738" creationId="{541C6FC2-FAE6-D645-80B1-A7D2F40C0E7D}"/>
          </ac:spMkLst>
        </pc:spChg>
        <pc:spChg chg="mod">
          <ac:chgData name="Nick Robinson" userId="d0c2b313-4ae0-4040-8c6a-fec7a720a7b5" providerId="ADAL" clId="{190131DE-6250-C84F-B491-721E6CF30BCB}" dt="2021-12-23T08:24:28.161" v="37189"/>
          <ac:spMkLst>
            <pc:docMk/>
            <pc:sldMk cId="2027674031" sldId="2147374223"/>
            <ac:spMk id="740" creationId="{28F660E0-4EAF-0B48-B442-216C895ED95D}"/>
          </ac:spMkLst>
        </pc:spChg>
        <pc:spChg chg="mod">
          <ac:chgData name="Nick Robinson" userId="d0c2b313-4ae0-4040-8c6a-fec7a720a7b5" providerId="ADAL" clId="{190131DE-6250-C84F-B491-721E6CF30BCB}" dt="2021-12-23T08:24:28.161" v="37189"/>
          <ac:spMkLst>
            <pc:docMk/>
            <pc:sldMk cId="2027674031" sldId="2147374223"/>
            <ac:spMk id="741" creationId="{D6D74961-55D9-2E4F-B413-F2E084AEE7E2}"/>
          </ac:spMkLst>
        </pc:spChg>
        <pc:spChg chg="mod">
          <ac:chgData name="Nick Robinson" userId="d0c2b313-4ae0-4040-8c6a-fec7a720a7b5" providerId="ADAL" clId="{190131DE-6250-C84F-B491-721E6CF30BCB}" dt="2021-12-23T08:24:28.161" v="37189"/>
          <ac:spMkLst>
            <pc:docMk/>
            <pc:sldMk cId="2027674031" sldId="2147374223"/>
            <ac:spMk id="743" creationId="{622886B6-C0FB-0844-B940-DBF2D8CB34E1}"/>
          </ac:spMkLst>
        </pc:spChg>
        <pc:spChg chg="mod">
          <ac:chgData name="Nick Robinson" userId="d0c2b313-4ae0-4040-8c6a-fec7a720a7b5" providerId="ADAL" clId="{190131DE-6250-C84F-B491-721E6CF30BCB}" dt="2021-12-23T08:24:28.161" v="37189"/>
          <ac:spMkLst>
            <pc:docMk/>
            <pc:sldMk cId="2027674031" sldId="2147374223"/>
            <ac:spMk id="756" creationId="{EEC7765B-F812-C64D-9A3D-E50D8F3E8E4F}"/>
          </ac:spMkLst>
        </pc:spChg>
        <pc:spChg chg="mod">
          <ac:chgData name="Nick Robinson" userId="d0c2b313-4ae0-4040-8c6a-fec7a720a7b5" providerId="ADAL" clId="{190131DE-6250-C84F-B491-721E6CF30BCB}" dt="2021-12-23T08:24:28.161" v="37189"/>
          <ac:spMkLst>
            <pc:docMk/>
            <pc:sldMk cId="2027674031" sldId="2147374223"/>
            <ac:spMk id="758" creationId="{7651688E-8169-694F-A849-B4638F9CEEDA}"/>
          </ac:spMkLst>
        </pc:spChg>
        <pc:spChg chg="mod">
          <ac:chgData name="Nick Robinson" userId="d0c2b313-4ae0-4040-8c6a-fec7a720a7b5" providerId="ADAL" clId="{190131DE-6250-C84F-B491-721E6CF30BCB}" dt="2021-12-23T08:24:28.161" v="37189"/>
          <ac:spMkLst>
            <pc:docMk/>
            <pc:sldMk cId="2027674031" sldId="2147374223"/>
            <ac:spMk id="762" creationId="{62D27B21-08FA-1B4E-BD08-5998B2466D41}"/>
          </ac:spMkLst>
        </pc:spChg>
        <pc:spChg chg="mod">
          <ac:chgData name="Nick Robinson" userId="d0c2b313-4ae0-4040-8c6a-fec7a720a7b5" providerId="ADAL" clId="{190131DE-6250-C84F-B491-721E6CF30BCB}" dt="2021-12-23T08:24:28.161" v="37189"/>
          <ac:spMkLst>
            <pc:docMk/>
            <pc:sldMk cId="2027674031" sldId="2147374223"/>
            <ac:spMk id="764" creationId="{A83967B9-EAE8-DE43-8F88-1D529ADC0A0A}"/>
          </ac:spMkLst>
        </pc:spChg>
        <pc:spChg chg="mod">
          <ac:chgData name="Nick Robinson" userId="d0c2b313-4ae0-4040-8c6a-fec7a720a7b5" providerId="ADAL" clId="{190131DE-6250-C84F-B491-721E6CF30BCB}" dt="2021-12-23T08:24:28.161" v="37189"/>
          <ac:spMkLst>
            <pc:docMk/>
            <pc:sldMk cId="2027674031" sldId="2147374223"/>
            <ac:spMk id="765" creationId="{A8BC9F2D-06EB-8C4B-B732-1F47F2D2A15A}"/>
          </ac:spMkLst>
        </pc:spChg>
        <pc:spChg chg="mod">
          <ac:chgData name="Nick Robinson" userId="d0c2b313-4ae0-4040-8c6a-fec7a720a7b5" providerId="ADAL" clId="{190131DE-6250-C84F-B491-721E6CF30BCB}" dt="2021-12-23T08:24:28.161" v="37189"/>
          <ac:spMkLst>
            <pc:docMk/>
            <pc:sldMk cId="2027674031" sldId="2147374223"/>
            <ac:spMk id="767" creationId="{D88C59B9-0C75-C74D-8F29-65585717037D}"/>
          </ac:spMkLst>
        </pc:spChg>
        <pc:spChg chg="mod">
          <ac:chgData name="Nick Robinson" userId="d0c2b313-4ae0-4040-8c6a-fec7a720a7b5" providerId="ADAL" clId="{190131DE-6250-C84F-B491-721E6CF30BCB}" dt="2021-12-23T08:24:28.161" v="37189"/>
          <ac:spMkLst>
            <pc:docMk/>
            <pc:sldMk cId="2027674031" sldId="2147374223"/>
            <ac:spMk id="783" creationId="{80EE39C3-0FEA-CE40-9776-A73431171066}"/>
          </ac:spMkLst>
        </pc:spChg>
        <pc:spChg chg="mod">
          <ac:chgData name="Nick Robinson" userId="d0c2b313-4ae0-4040-8c6a-fec7a720a7b5" providerId="ADAL" clId="{190131DE-6250-C84F-B491-721E6CF30BCB}" dt="2021-12-23T08:24:28.161" v="37189"/>
          <ac:spMkLst>
            <pc:docMk/>
            <pc:sldMk cId="2027674031" sldId="2147374223"/>
            <ac:spMk id="785" creationId="{505613C0-6186-384F-BF33-CC85B6021BAD}"/>
          </ac:spMkLst>
        </pc:spChg>
        <pc:spChg chg="mod">
          <ac:chgData name="Nick Robinson" userId="d0c2b313-4ae0-4040-8c6a-fec7a720a7b5" providerId="ADAL" clId="{190131DE-6250-C84F-B491-721E6CF30BCB}" dt="2021-12-20T16:55:40.222" v="19710" actId="14100"/>
          <ac:spMkLst>
            <pc:docMk/>
            <pc:sldMk cId="2027674031" sldId="2147374223"/>
            <ac:spMk id="797" creationId="{EF40A5FA-D0A1-164C-914C-DD3E40027848}"/>
          </ac:spMkLst>
        </pc:spChg>
        <pc:spChg chg="mod">
          <ac:chgData name="Nick Robinson" userId="d0c2b313-4ae0-4040-8c6a-fec7a720a7b5" providerId="ADAL" clId="{190131DE-6250-C84F-B491-721E6CF30BCB}" dt="2021-12-23T08:24:28.161" v="37189"/>
          <ac:spMkLst>
            <pc:docMk/>
            <pc:sldMk cId="2027674031" sldId="2147374223"/>
            <ac:spMk id="798" creationId="{3CE32779-D904-1B43-B917-AD11AE76154F}"/>
          </ac:spMkLst>
        </pc:spChg>
        <pc:spChg chg="mod">
          <ac:chgData name="Nick Robinson" userId="d0c2b313-4ae0-4040-8c6a-fec7a720a7b5" providerId="ADAL" clId="{190131DE-6250-C84F-B491-721E6CF30BCB}" dt="2021-12-23T08:24:28.161" v="37189"/>
          <ac:spMkLst>
            <pc:docMk/>
            <pc:sldMk cId="2027674031" sldId="2147374223"/>
            <ac:spMk id="800" creationId="{54862828-FA49-EB41-A5F8-859012E66989}"/>
          </ac:spMkLst>
        </pc:spChg>
        <pc:spChg chg="mod">
          <ac:chgData name="Nick Robinson" userId="d0c2b313-4ae0-4040-8c6a-fec7a720a7b5" providerId="ADAL" clId="{190131DE-6250-C84F-B491-721E6CF30BCB}" dt="2021-12-23T08:24:28.161" v="37189"/>
          <ac:spMkLst>
            <pc:docMk/>
            <pc:sldMk cId="2027674031" sldId="2147374223"/>
            <ac:spMk id="801" creationId="{D77D7A82-A246-7D4E-9172-272565AFD3D0}"/>
          </ac:spMkLst>
        </pc:spChg>
        <pc:spChg chg="mod">
          <ac:chgData name="Nick Robinson" userId="d0c2b313-4ae0-4040-8c6a-fec7a720a7b5" providerId="ADAL" clId="{190131DE-6250-C84F-B491-721E6CF30BCB}" dt="2021-12-23T08:24:28.161" v="37189"/>
          <ac:spMkLst>
            <pc:docMk/>
            <pc:sldMk cId="2027674031" sldId="2147374223"/>
            <ac:spMk id="803" creationId="{05332920-B554-0F4F-9F8A-06228F908F7A}"/>
          </ac:spMkLst>
        </pc:spChg>
        <pc:spChg chg="mod">
          <ac:chgData name="Nick Robinson" userId="d0c2b313-4ae0-4040-8c6a-fec7a720a7b5" providerId="ADAL" clId="{190131DE-6250-C84F-B491-721E6CF30BCB}" dt="2021-12-23T08:24:28.161" v="37189"/>
          <ac:spMkLst>
            <pc:docMk/>
            <pc:sldMk cId="2027674031" sldId="2147374223"/>
            <ac:spMk id="804" creationId="{7D8C39D9-4DC2-0648-9D25-A5F2495942ED}"/>
          </ac:spMkLst>
        </pc:spChg>
        <pc:spChg chg="mod">
          <ac:chgData name="Nick Robinson" userId="d0c2b313-4ae0-4040-8c6a-fec7a720a7b5" providerId="ADAL" clId="{190131DE-6250-C84F-B491-721E6CF30BCB}" dt="2021-12-23T08:24:28.161" v="37189"/>
          <ac:spMkLst>
            <pc:docMk/>
            <pc:sldMk cId="2027674031" sldId="2147374223"/>
            <ac:spMk id="806" creationId="{83A14326-2BA2-CF49-AF3B-1400EAC0E694}"/>
          </ac:spMkLst>
        </pc:spChg>
        <pc:spChg chg="mod">
          <ac:chgData name="Nick Robinson" userId="d0c2b313-4ae0-4040-8c6a-fec7a720a7b5" providerId="ADAL" clId="{190131DE-6250-C84F-B491-721E6CF30BCB}" dt="2021-12-23T08:24:28.161" v="37189"/>
          <ac:spMkLst>
            <pc:docMk/>
            <pc:sldMk cId="2027674031" sldId="2147374223"/>
            <ac:spMk id="807" creationId="{771D9363-275A-884C-B90C-9F94514FFD7B}"/>
          </ac:spMkLst>
        </pc:spChg>
        <pc:spChg chg="mod">
          <ac:chgData name="Nick Robinson" userId="d0c2b313-4ae0-4040-8c6a-fec7a720a7b5" providerId="ADAL" clId="{190131DE-6250-C84F-B491-721E6CF30BCB}" dt="2021-12-23T08:24:28.161" v="37189"/>
          <ac:spMkLst>
            <pc:docMk/>
            <pc:sldMk cId="2027674031" sldId="2147374223"/>
            <ac:spMk id="809" creationId="{0AC62C45-ECF0-4D46-83E1-CACFBCF21849}"/>
          </ac:spMkLst>
        </pc:spChg>
        <pc:spChg chg="mod">
          <ac:chgData name="Nick Robinson" userId="d0c2b313-4ae0-4040-8c6a-fec7a720a7b5" providerId="ADAL" clId="{190131DE-6250-C84F-B491-721E6CF30BCB}" dt="2021-12-23T08:24:28.161" v="37189"/>
          <ac:spMkLst>
            <pc:docMk/>
            <pc:sldMk cId="2027674031" sldId="2147374223"/>
            <ac:spMk id="810" creationId="{2AF935D0-F067-7642-865D-488692F75C1A}"/>
          </ac:spMkLst>
        </pc:spChg>
        <pc:spChg chg="mod">
          <ac:chgData name="Nick Robinson" userId="d0c2b313-4ae0-4040-8c6a-fec7a720a7b5" providerId="ADAL" clId="{190131DE-6250-C84F-B491-721E6CF30BCB}" dt="2021-12-23T08:24:28.161" v="37189"/>
          <ac:spMkLst>
            <pc:docMk/>
            <pc:sldMk cId="2027674031" sldId="2147374223"/>
            <ac:spMk id="812" creationId="{85D2A75D-DD03-5C4C-B2A7-615FF69D2C33}"/>
          </ac:spMkLst>
        </pc:spChg>
        <pc:spChg chg="mod">
          <ac:chgData name="Nick Robinson" userId="d0c2b313-4ae0-4040-8c6a-fec7a720a7b5" providerId="ADAL" clId="{190131DE-6250-C84F-B491-721E6CF30BCB}" dt="2021-12-23T08:24:28.161" v="37189"/>
          <ac:spMkLst>
            <pc:docMk/>
            <pc:sldMk cId="2027674031" sldId="2147374223"/>
            <ac:spMk id="813" creationId="{2C7DD79F-50B3-4A48-B45A-57E6C44B022C}"/>
          </ac:spMkLst>
        </pc:spChg>
        <pc:spChg chg="mod">
          <ac:chgData name="Nick Robinson" userId="d0c2b313-4ae0-4040-8c6a-fec7a720a7b5" providerId="ADAL" clId="{190131DE-6250-C84F-B491-721E6CF30BCB}" dt="2021-12-23T08:24:28.161" v="37189"/>
          <ac:spMkLst>
            <pc:docMk/>
            <pc:sldMk cId="2027674031" sldId="2147374223"/>
            <ac:spMk id="815" creationId="{265C9B42-898B-824B-AB25-94D96DA0B3D8}"/>
          </ac:spMkLst>
        </pc:spChg>
        <pc:spChg chg="mod">
          <ac:chgData name="Nick Robinson" userId="d0c2b313-4ae0-4040-8c6a-fec7a720a7b5" providerId="ADAL" clId="{190131DE-6250-C84F-B491-721E6CF30BCB}" dt="2021-12-23T08:24:28.161" v="37189"/>
          <ac:spMkLst>
            <pc:docMk/>
            <pc:sldMk cId="2027674031" sldId="2147374223"/>
            <ac:spMk id="816" creationId="{00DC0290-2D28-7849-8EF4-0AF195F3E58E}"/>
          </ac:spMkLst>
        </pc:spChg>
        <pc:spChg chg="mod">
          <ac:chgData name="Nick Robinson" userId="d0c2b313-4ae0-4040-8c6a-fec7a720a7b5" providerId="ADAL" clId="{190131DE-6250-C84F-B491-721E6CF30BCB}" dt="2021-12-23T08:24:28.161" v="37189"/>
          <ac:spMkLst>
            <pc:docMk/>
            <pc:sldMk cId="2027674031" sldId="2147374223"/>
            <ac:spMk id="818" creationId="{124D85C9-A995-DA42-9FA8-E4CA0443A704}"/>
          </ac:spMkLst>
        </pc:spChg>
        <pc:spChg chg="mod">
          <ac:chgData name="Nick Robinson" userId="d0c2b313-4ae0-4040-8c6a-fec7a720a7b5" providerId="ADAL" clId="{190131DE-6250-C84F-B491-721E6CF30BCB}" dt="2021-12-23T08:24:28.161" v="37189"/>
          <ac:spMkLst>
            <pc:docMk/>
            <pc:sldMk cId="2027674031" sldId="2147374223"/>
            <ac:spMk id="819" creationId="{CD6CEB44-6094-6044-B48E-9CA6C036FC00}"/>
          </ac:spMkLst>
        </pc:spChg>
        <pc:spChg chg="mod">
          <ac:chgData name="Nick Robinson" userId="d0c2b313-4ae0-4040-8c6a-fec7a720a7b5" providerId="ADAL" clId="{190131DE-6250-C84F-B491-721E6CF30BCB}" dt="2021-12-23T08:24:28.161" v="37189"/>
          <ac:spMkLst>
            <pc:docMk/>
            <pc:sldMk cId="2027674031" sldId="2147374223"/>
            <ac:spMk id="821" creationId="{816B41D5-8623-614A-BFF2-6FCBFAC96088}"/>
          </ac:spMkLst>
        </pc:spChg>
        <pc:spChg chg="mod">
          <ac:chgData name="Nick Robinson" userId="d0c2b313-4ae0-4040-8c6a-fec7a720a7b5" providerId="ADAL" clId="{190131DE-6250-C84F-B491-721E6CF30BCB}" dt="2021-12-23T08:24:28.161" v="37189"/>
          <ac:spMkLst>
            <pc:docMk/>
            <pc:sldMk cId="2027674031" sldId="2147374223"/>
            <ac:spMk id="822" creationId="{495093EF-1C63-5A42-82E1-9D88DE671E52}"/>
          </ac:spMkLst>
        </pc:spChg>
        <pc:spChg chg="mod">
          <ac:chgData name="Nick Robinson" userId="d0c2b313-4ae0-4040-8c6a-fec7a720a7b5" providerId="ADAL" clId="{190131DE-6250-C84F-B491-721E6CF30BCB}" dt="2021-12-23T08:24:28.161" v="37189"/>
          <ac:spMkLst>
            <pc:docMk/>
            <pc:sldMk cId="2027674031" sldId="2147374223"/>
            <ac:spMk id="824" creationId="{43D18AD6-A14B-914B-AAA7-216508D26C1D}"/>
          </ac:spMkLst>
        </pc:spChg>
        <pc:spChg chg="mod">
          <ac:chgData name="Nick Robinson" userId="d0c2b313-4ae0-4040-8c6a-fec7a720a7b5" providerId="ADAL" clId="{190131DE-6250-C84F-B491-721E6CF30BCB}" dt="2021-12-23T08:24:28.161" v="37189"/>
          <ac:spMkLst>
            <pc:docMk/>
            <pc:sldMk cId="2027674031" sldId="2147374223"/>
            <ac:spMk id="825" creationId="{DB48260C-5F4C-C341-BFD6-2786A0062871}"/>
          </ac:spMkLst>
        </pc:spChg>
        <pc:spChg chg="mod">
          <ac:chgData name="Nick Robinson" userId="d0c2b313-4ae0-4040-8c6a-fec7a720a7b5" providerId="ADAL" clId="{190131DE-6250-C84F-B491-721E6CF30BCB}" dt="2021-12-23T08:24:28.161" v="37189"/>
          <ac:spMkLst>
            <pc:docMk/>
            <pc:sldMk cId="2027674031" sldId="2147374223"/>
            <ac:spMk id="827" creationId="{3022032D-6916-054E-8331-BDEBEB809E6F}"/>
          </ac:spMkLst>
        </pc:spChg>
        <pc:spChg chg="mod">
          <ac:chgData name="Nick Robinson" userId="d0c2b313-4ae0-4040-8c6a-fec7a720a7b5" providerId="ADAL" clId="{190131DE-6250-C84F-B491-721E6CF30BCB}" dt="2021-12-23T08:24:28.161" v="37189"/>
          <ac:spMkLst>
            <pc:docMk/>
            <pc:sldMk cId="2027674031" sldId="2147374223"/>
            <ac:spMk id="828" creationId="{D1C21E7C-9F81-6446-9571-E1A7F0C80934}"/>
          </ac:spMkLst>
        </pc:spChg>
        <pc:spChg chg="mod">
          <ac:chgData name="Nick Robinson" userId="d0c2b313-4ae0-4040-8c6a-fec7a720a7b5" providerId="ADAL" clId="{190131DE-6250-C84F-B491-721E6CF30BCB}" dt="2021-12-23T08:24:28.161" v="37189"/>
          <ac:spMkLst>
            <pc:docMk/>
            <pc:sldMk cId="2027674031" sldId="2147374223"/>
            <ac:spMk id="830" creationId="{3987FF21-C239-B04B-A6E5-BD110218536F}"/>
          </ac:spMkLst>
        </pc:spChg>
        <pc:spChg chg="mod">
          <ac:chgData name="Nick Robinson" userId="d0c2b313-4ae0-4040-8c6a-fec7a720a7b5" providerId="ADAL" clId="{190131DE-6250-C84F-B491-721E6CF30BCB}" dt="2021-12-23T08:24:28.161" v="37189"/>
          <ac:spMkLst>
            <pc:docMk/>
            <pc:sldMk cId="2027674031" sldId="2147374223"/>
            <ac:spMk id="831" creationId="{41E07F61-8254-F345-AF25-2ABC319BF7D1}"/>
          </ac:spMkLst>
        </pc:spChg>
        <pc:spChg chg="mod">
          <ac:chgData name="Nick Robinson" userId="d0c2b313-4ae0-4040-8c6a-fec7a720a7b5" providerId="ADAL" clId="{190131DE-6250-C84F-B491-721E6CF30BCB}" dt="2021-12-23T08:24:28.161" v="37189"/>
          <ac:spMkLst>
            <pc:docMk/>
            <pc:sldMk cId="2027674031" sldId="2147374223"/>
            <ac:spMk id="833" creationId="{0F136DE3-4152-6E4E-8D2E-EA4C68272224}"/>
          </ac:spMkLst>
        </pc:spChg>
        <pc:spChg chg="mod">
          <ac:chgData name="Nick Robinson" userId="d0c2b313-4ae0-4040-8c6a-fec7a720a7b5" providerId="ADAL" clId="{190131DE-6250-C84F-B491-721E6CF30BCB}" dt="2021-12-23T08:24:28.161" v="37189"/>
          <ac:spMkLst>
            <pc:docMk/>
            <pc:sldMk cId="2027674031" sldId="2147374223"/>
            <ac:spMk id="834" creationId="{2CDD1FB6-388B-EC40-9B80-A45782E586DB}"/>
          </ac:spMkLst>
        </pc:spChg>
        <pc:spChg chg="mod">
          <ac:chgData name="Nick Robinson" userId="d0c2b313-4ae0-4040-8c6a-fec7a720a7b5" providerId="ADAL" clId="{190131DE-6250-C84F-B491-721E6CF30BCB}" dt="2021-12-23T08:24:28.161" v="37189"/>
          <ac:spMkLst>
            <pc:docMk/>
            <pc:sldMk cId="2027674031" sldId="2147374223"/>
            <ac:spMk id="836" creationId="{8BEA1850-F248-434F-B62B-4DE2FCFC97EA}"/>
          </ac:spMkLst>
        </pc:spChg>
        <pc:spChg chg="mod">
          <ac:chgData name="Nick Robinson" userId="d0c2b313-4ae0-4040-8c6a-fec7a720a7b5" providerId="ADAL" clId="{190131DE-6250-C84F-B491-721E6CF30BCB}" dt="2021-12-23T08:24:28.161" v="37189"/>
          <ac:spMkLst>
            <pc:docMk/>
            <pc:sldMk cId="2027674031" sldId="2147374223"/>
            <ac:spMk id="837" creationId="{A2846DBE-206F-7543-B418-D5FE5041D0A3}"/>
          </ac:spMkLst>
        </pc:spChg>
        <pc:spChg chg="mod">
          <ac:chgData name="Nick Robinson" userId="d0c2b313-4ae0-4040-8c6a-fec7a720a7b5" providerId="ADAL" clId="{190131DE-6250-C84F-B491-721E6CF30BCB}" dt="2021-12-23T08:24:28.161" v="37189"/>
          <ac:spMkLst>
            <pc:docMk/>
            <pc:sldMk cId="2027674031" sldId="2147374223"/>
            <ac:spMk id="839" creationId="{B08BFC52-A10C-8343-B6E8-2EEF3A2904F6}"/>
          </ac:spMkLst>
        </pc:spChg>
        <pc:spChg chg="mod">
          <ac:chgData name="Nick Robinson" userId="d0c2b313-4ae0-4040-8c6a-fec7a720a7b5" providerId="ADAL" clId="{190131DE-6250-C84F-B491-721E6CF30BCB}" dt="2021-12-23T08:24:28.161" v="37189"/>
          <ac:spMkLst>
            <pc:docMk/>
            <pc:sldMk cId="2027674031" sldId="2147374223"/>
            <ac:spMk id="840" creationId="{AA8792C2-2EF5-6849-B8F8-F4BBF84DC85D}"/>
          </ac:spMkLst>
        </pc:spChg>
        <pc:spChg chg="mod">
          <ac:chgData name="Nick Robinson" userId="d0c2b313-4ae0-4040-8c6a-fec7a720a7b5" providerId="ADAL" clId="{190131DE-6250-C84F-B491-721E6CF30BCB}" dt="2021-12-23T08:24:28.161" v="37189"/>
          <ac:spMkLst>
            <pc:docMk/>
            <pc:sldMk cId="2027674031" sldId="2147374223"/>
            <ac:spMk id="842" creationId="{E6AF657E-26A6-D54A-91DF-EF9D751DA4D1}"/>
          </ac:spMkLst>
        </pc:spChg>
        <pc:spChg chg="mod">
          <ac:chgData name="Nick Robinson" userId="d0c2b313-4ae0-4040-8c6a-fec7a720a7b5" providerId="ADAL" clId="{190131DE-6250-C84F-B491-721E6CF30BCB}" dt="2021-12-23T08:24:28.161" v="37189"/>
          <ac:spMkLst>
            <pc:docMk/>
            <pc:sldMk cId="2027674031" sldId="2147374223"/>
            <ac:spMk id="843" creationId="{9338ACA8-7FDC-9C41-ABE9-3A760393260E}"/>
          </ac:spMkLst>
        </pc:spChg>
        <pc:spChg chg="mod">
          <ac:chgData name="Nick Robinson" userId="d0c2b313-4ae0-4040-8c6a-fec7a720a7b5" providerId="ADAL" clId="{190131DE-6250-C84F-B491-721E6CF30BCB}" dt="2021-12-23T08:24:28.161" v="37189"/>
          <ac:spMkLst>
            <pc:docMk/>
            <pc:sldMk cId="2027674031" sldId="2147374223"/>
            <ac:spMk id="845" creationId="{E919D036-3D74-CB4A-B103-B794A56DC455}"/>
          </ac:spMkLst>
        </pc:spChg>
        <pc:spChg chg="mod">
          <ac:chgData name="Nick Robinson" userId="d0c2b313-4ae0-4040-8c6a-fec7a720a7b5" providerId="ADAL" clId="{190131DE-6250-C84F-B491-721E6CF30BCB}" dt="2021-12-23T08:24:28.161" v="37189"/>
          <ac:spMkLst>
            <pc:docMk/>
            <pc:sldMk cId="2027674031" sldId="2147374223"/>
            <ac:spMk id="847" creationId="{7DA65B69-DA43-D040-A071-6B1C183A3B23}"/>
          </ac:spMkLst>
        </pc:spChg>
        <pc:spChg chg="mod">
          <ac:chgData name="Nick Robinson" userId="d0c2b313-4ae0-4040-8c6a-fec7a720a7b5" providerId="ADAL" clId="{190131DE-6250-C84F-B491-721E6CF30BCB}" dt="2021-12-23T08:24:28.161" v="37189"/>
          <ac:spMkLst>
            <pc:docMk/>
            <pc:sldMk cId="2027674031" sldId="2147374223"/>
            <ac:spMk id="849" creationId="{BB2A11A0-E6C4-7D42-A9CC-1727BEB52A04}"/>
          </ac:spMkLst>
        </pc:spChg>
        <pc:spChg chg="mod">
          <ac:chgData name="Nick Robinson" userId="d0c2b313-4ae0-4040-8c6a-fec7a720a7b5" providerId="ADAL" clId="{190131DE-6250-C84F-B491-721E6CF30BCB}" dt="2021-12-23T08:24:28.161" v="37189"/>
          <ac:spMkLst>
            <pc:docMk/>
            <pc:sldMk cId="2027674031" sldId="2147374223"/>
            <ac:spMk id="851" creationId="{F669AD07-A7AD-0C41-97C0-B23E69B5F219}"/>
          </ac:spMkLst>
        </pc:spChg>
        <pc:spChg chg="mod">
          <ac:chgData name="Nick Robinson" userId="d0c2b313-4ae0-4040-8c6a-fec7a720a7b5" providerId="ADAL" clId="{190131DE-6250-C84F-B491-721E6CF30BCB}" dt="2021-12-23T08:24:28.161" v="37189"/>
          <ac:spMkLst>
            <pc:docMk/>
            <pc:sldMk cId="2027674031" sldId="2147374223"/>
            <ac:spMk id="852" creationId="{3E38EB86-2DBE-434D-9E4B-CA0684B1CF03}"/>
          </ac:spMkLst>
        </pc:spChg>
        <pc:spChg chg="mod">
          <ac:chgData name="Nick Robinson" userId="d0c2b313-4ae0-4040-8c6a-fec7a720a7b5" providerId="ADAL" clId="{190131DE-6250-C84F-B491-721E6CF30BCB}" dt="2021-12-23T08:24:28.161" v="37189"/>
          <ac:spMkLst>
            <pc:docMk/>
            <pc:sldMk cId="2027674031" sldId="2147374223"/>
            <ac:spMk id="853" creationId="{AF380EBF-4B39-324F-96C8-DC61EC6F64A3}"/>
          </ac:spMkLst>
        </pc:spChg>
        <pc:spChg chg="mod">
          <ac:chgData name="Nick Robinson" userId="d0c2b313-4ae0-4040-8c6a-fec7a720a7b5" providerId="ADAL" clId="{190131DE-6250-C84F-B491-721E6CF30BCB}" dt="2021-12-23T08:24:28.161" v="37189"/>
          <ac:spMkLst>
            <pc:docMk/>
            <pc:sldMk cId="2027674031" sldId="2147374223"/>
            <ac:spMk id="854" creationId="{298DE244-E9FA-DB46-9274-6E598A45B374}"/>
          </ac:spMkLst>
        </pc:spChg>
        <pc:spChg chg="mod">
          <ac:chgData name="Nick Robinson" userId="d0c2b313-4ae0-4040-8c6a-fec7a720a7b5" providerId="ADAL" clId="{190131DE-6250-C84F-B491-721E6CF30BCB}" dt="2021-12-23T08:24:28.161" v="37189"/>
          <ac:spMkLst>
            <pc:docMk/>
            <pc:sldMk cId="2027674031" sldId="2147374223"/>
            <ac:spMk id="855" creationId="{363CC35A-3573-0640-9BBB-BB3BFF73CDDD}"/>
          </ac:spMkLst>
        </pc:spChg>
        <pc:spChg chg="mod">
          <ac:chgData name="Nick Robinson" userId="d0c2b313-4ae0-4040-8c6a-fec7a720a7b5" providerId="ADAL" clId="{190131DE-6250-C84F-B491-721E6CF30BCB}" dt="2021-12-23T08:24:28.161" v="37189"/>
          <ac:spMkLst>
            <pc:docMk/>
            <pc:sldMk cId="2027674031" sldId="2147374223"/>
            <ac:spMk id="856" creationId="{8877D8C3-E9B9-0A4F-B713-0DBC30659008}"/>
          </ac:spMkLst>
        </pc:spChg>
        <pc:spChg chg="mod">
          <ac:chgData name="Nick Robinson" userId="d0c2b313-4ae0-4040-8c6a-fec7a720a7b5" providerId="ADAL" clId="{190131DE-6250-C84F-B491-721E6CF30BCB}" dt="2021-12-23T08:24:28.161" v="37189"/>
          <ac:spMkLst>
            <pc:docMk/>
            <pc:sldMk cId="2027674031" sldId="2147374223"/>
            <ac:spMk id="857" creationId="{2990BC01-F7CC-2746-B769-D9FDCACEC21B}"/>
          </ac:spMkLst>
        </pc:spChg>
        <pc:spChg chg="add mod">
          <ac:chgData name="Nick Robinson" userId="d0c2b313-4ae0-4040-8c6a-fec7a720a7b5" providerId="ADAL" clId="{190131DE-6250-C84F-B491-721E6CF30BCB}" dt="2021-12-23T08:24:28.161" v="37189"/>
          <ac:spMkLst>
            <pc:docMk/>
            <pc:sldMk cId="2027674031" sldId="2147374223"/>
            <ac:spMk id="858" creationId="{E7159715-D69F-944C-91C3-D7F3E6830A85}"/>
          </ac:spMkLst>
        </pc:spChg>
        <pc:spChg chg="add mod">
          <ac:chgData name="Nick Robinson" userId="d0c2b313-4ae0-4040-8c6a-fec7a720a7b5" providerId="ADAL" clId="{190131DE-6250-C84F-B491-721E6CF30BCB}" dt="2021-12-23T08:24:28.161" v="37189"/>
          <ac:spMkLst>
            <pc:docMk/>
            <pc:sldMk cId="2027674031" sldId="2147374223"/>
            <ac:spMk id="866" creationId="{48421E27-D1FF-D041-B95F-D2467E664603}"/>
          </ac:spMkLst>
        </pc:spChg>
        <pc:spChg chg="mod">
          <ac:chgData name="Nick Robinson" userId="d0c2b313-4ae0-4040-8c6a-fec7a720a7b5" providerId="ADAL" clId="{190131DE-6250-C84F-B491-721E6CF30BCB}" dt="2021-12-23T08:24:28.161" v="37189"/>
          <ac:spMkLst>
            <pc:docMk/>
            <pc:sldMk cId="2027674031" sldId="2147374223"/>
            <ac:spMk id="868" creationId="{F59515EA-8267-374B-A59E-70476F49B46A}"/>
          </ac:spMkLst>
        </pc:spChg>
        <pc:spChg chg="mod">
          <ac:chgData name="Nick Robinson" userId="d0c2b313-4ae0-4040-8c6a-fec7a720a7b5" providerId="ADAL" clId="{190131DE-6250-C84F-B491-721E6CF30BCB}" dt="2021-12-23T08:24:28.161" v="37189"/>
          <ac:spMkLst>
            <pc:docMk/>
            <pc:sldMk cId="2027674031" sldId="2147374223"/>
            <ac:spMk id="869" creationId="{9D719E01-B0C3-5C4D-9D12-67C06424883B}"/>
          </ac:spMkLst>
        </pc:spChg>
        <pc:spChg chg="mod">
          <ac:chgData name="Nick Robinson" userId="d0c2b313-4ae0-4040-8c6a-fec7a720a7b5" providerId="ADAL" clId="{190131DE-6250-C84F-B491-721E6CF30BCB}" dt="2021-12-23T08:24:28.161" v="37189"/>
          <ac:spMkLst>
            <pc:docMk/>
            <pc:sldMk cId="2027674031" sldId="2147374223"/>
            <ac:spMk id="871" creationId="{5F06CBB9-B4CA-6446-AC28-3FA07CCF5238}"/>
          </ac:spMkLst>
        </pc:spChg>
        <pc:spChg chg="mod">
          <ac:chgData name="Nick Robinson" userId="d0c2b313-4ae0-4040-8c6a-fec7a720a7b5" providerId="ADAL" clId="{190131DE-6250-C84F-B491-721E6CF30BCB}" dt="2021-12-23T08:24:28.161" v="37189"/>
          <ac:spMkLst>
            <pc:docMk/>
            <pc:sldMk cId="2027674031" sldId="2147374223"/>
            <ac:spMk id="872" creationId="{25683DAC-4675-6144-A873-D50AEFC0F13B}"/>
          </ac:spMkLst>
        </pc:spChg>
        <pc:spChg chg="mod">
          <ac:chgData name="Nick Robinson" userId="d0c2b313-4ae0-4040-8c6a-fec7a720a7b5" providerId="ADAL" clId="{190131DE-6250-C84F-B491-721E6CF30BCB}" dt="2021-12-23T08:24:28.161" v="37189"/>
          <ac:spMkLst>
            <pc:docMk/>
            <pc:sldMk cId="2027674031" sldId="2147374223"/>
            <ac:spMk id="874" creationId="{E4FA98D8-6FB9-4C43-9903-CF9F00475679}"/>
          </ac:spMkLst>
        </pc:spChg>
        <pc:spChg chg="mod">
          <ac:chgData name="Nick Robinson" userId="d0c2b313-4ae0-4040-8c6a-fec7a720a7b5" providerId="ADAL" clId="{190131DE-6250-C84F-B491-721E6CF30BCB}" dt="2021-12-23T08:24:28.161" v="37189"/>
          <ac:spMkLst>
            <pc:docMk/>
            <pc:sldMk cId="2027674031" sldId="2147374223"/>
            <ac:spMk id="875" creationId="{D22FB066-5F4F-9B4C-B501-993FFA76DFF7}"/>
          </ac:spMkLst>
        </pc:spChg>
        <pc:spChg chg="mod">
          <ac:chgData name="Nick Robinson" userId="d0c2b313-4ae0-4040-8c6a-fec7a720a7b5" providerId="ADAL" clId="{190131DE-6250-C84F-B491-721E6CF30BCB}" dt="2021-12-23T08:24:28.161" v="37189"/>
          <ac:spMkLst>
            <pc:docMk/>
            <pc:sldMk cId="2027674031" sldId="2147374223"/>
            <ac:spMk id="877" creationId="{3603DC4D-21FD-E74C-AB13-3FEE5EE0AD3D}"/>
          </ac:spMkLst>
        </pc:spChg>
        <pc:spChg chg="mod">
          <ac:chgData name="Nick Robinson" userId="d0c2b313-4ae0-4040-8c6a-fec7a720a7b5" providerId="ADAL" clId="{190131DE-6250-C84F-B491-721E6CF30BCB}" dt="2021-12-23T08:24:28.161" v="37189"/>
          <ac:spMkLst>
            <pc:docMk/>
            <pc:sldMk cId="2027674031" sldId="2147374223"/>
            <ac:spMk id="878" creationId="{177C339A-5555-294A-9A49-5626FA620768}"/>
          </ac:spMkLst>
        </pc:spChg>
        <pc:spChg chg="mod">
          <ac:chgData name="Nick Robinson" userId="d0c2b313-4ae0-4040-8c6a-fec7a720a7b5" providerId="ADAL" clId="{190131DE-6250-C84F-B491-721E6CF30BCB}" dt="2021-12-23T08:24:28.161" v="37189"/>
          <ac:spMkLst>
            <pc:docMk/>
            <pc:sldMk cId="2027674031" sldId="2147374223"/>
            <ac:spMk id="880" creationId="{9F6E88D0-D4E1-EE4D-B67F-0E82EEDC3B2D}"/>
          </ac:spMkLst>
        </pc:spChg>
        <pc:spChg chg="mod">
          <ac:chgData name="Nick Robinson" userId="d0c2b313-4ae0-4040-8c6a-fec7a720a7b5" providerId="ADAL" clId="{190131DE-6250-C84F-B491-721E6CF30BCB}" dt="2021-12-23T08:24:28.161" v="37189"/>
          <ac:spMkLst>
            <pc:docMk/>
            <pc:sldMk cId="2027674031" sldId="2147374223"/>
            <ac:spMk id="881" creationId="{A37A3ABC-4087-E041-A3C0-CD161A360F78}"/>
          </ac:spMkLst>
        </pc:spChg>
        <pc:spChg chg="mod">
          <ac:chgData name="Nick Robinson" userId="d0c2b313-4ae0-4040-8c6a-fec7a720a7b5" providerId="ADAL" clId="{190131DE-6250-C84F-B491-721E6CF30BCB}" dt="2021-12-23T08:24:28.161" v="37189"/>
          <ac:spMkLst>
            <pc:docMk/>
            <pc:sldMk cId="2027674031" sldId="2147374223"/>
            <ac:spMk id="883" creationId="{16607E54-7178-6943-8F64-835087E60F2F}"/>
          </ac:spMkLst>
        </pc:spChg>
        <pc:spChg chg="mod">
          <ac:chgData name="Nick Robinson" userId="d0c2b313-4ae0-4040-8c6a-fec7a720a7b5" providerId="ADAL" clId="{190131DE-6250-C84F-B491-721E6CF30BCB}" dt="2021-12-23T08:24:28.161" v="37189"/>
          <ac:spMkLst>
            <pc:docMk/>
            <pc:sldMk cId="2027674031" sldId="2147374223"/>
            <ac:spMk id="884" creationId="{56CF6EE2-68DD-8446-853C-23E1D2A09B4E}"/>
          </ac:spMkLst>
        </pc:spChg>
        <pc:spChg chg="mod">
          <ac:chgData name="Nick Robinson" userId="d0c2b313-4ae0-4040-8c6a-fec7a720a7b5" providerId="ADAL" clId="{190131DE-6250-C84F-B491-721E6CF30BCB}" dt="2021-12-23T08:24:28.161" v="37189"/>
          <ac:spMkLst>
            <pc:docMk/>
            <pc:sldMk cId="2027674031" sldId="2147374223"/>
            <ac:spMk id="886" creationId="{2F622BF6-BF33-9F4B-A87B-F42E04098DBA}"/>
          </ac:spMkLst>
        </pc:spChg>
        <pc:spChg chg="mod">
          <ac:chgData name="Nick Robinson" userId="d0c2b313-4ae0-4040-8c6a-fec7a720a7b5" providerId="ADAL" clId="{190131DE-6250-C84F-B491-721E6CF30BCB}" dt="2021-12-23T08:24:28.161" v="37189"/>
          <ac:spMkLst>
            <pc:docMk/>
            <pc:sldMk cId="2027674031" sldId="2147374223"/>
            <ac:spMk id="887" creationId="{6DDD5FAD-7236-6F4D-ABA2-ADE9E8A3C097}"/>
          </ac:spMkLst>
        </pc:spChg>
        <pc:spChg chg="mod">
          <ac:chgData name="Nick Robinson" userId="d0c2b313-4ae0-4040-8c6a-fec7a720a7b5" providerId="ADAL" clId="{190131DE-6250-C84F-B491-721E6CF30BCB}" dt="2021-12-23T08:24:28.161" v="37189"/>
          <ac:spMkLst>
            <pc:docMk/>
            <pc:sldMk cId="2027674031" sldId="2147374223"/>
            <ac:spMk id="889" creationId="{5F22F15F-2DF3-5046-AF4F-0B43189A4A4E}"/>
          </ac:spMkLst>
        </pc:spChg>
        <pc:spChg chg="mod">
          <ac:chgData name="Nick Robinson" userId="d0c2b313-4ae0-4040-8c6a-fec7a720a7b5" providerId="ADAL" clId="{190131DE-6250-C84F-B491-721E6CF30BCB}" dt="2021-12-23T08:24:28.161" v="37189"/>
          <ac:spMkLst>
            <pc:docMk/>
            <pc:sldMk cId="2027674031" sldId="2147374223"/>
            <ac:spMk id="890" creationId="{3D53C434-1FD8-0446-8B7F-4995D6A6504B}"/>
          </ac:spMkLst>
        </pc:spChg>
        <pc:spChg chg="mod">
          <ac:chgData name="Nick Robinson" userId="d0c2b313-4ae0-4040-8c6a-fec7a720a7b5" providerId="ADAL" clId="{190131DE-6250-C84F-B491-721E6CF30BCB}" dt="2021-12-23T08:24:28.161" v="37189"/>
          <ac:spMkLst>
            <pc:docMk/>
            <pc:sldMk cId="2027674031" sldId="2147374223"/>
            <ac:spMk id="892" creationId="{4D560FAB-D887-5941-855E-A09C4EEED1FD}"/>
          </ac:spMkLst>
        </pc:spChg>
        <pc:spChg chg="mod">
          <ac:chgData name="Nick Robinson" userId="d0c2b313-4ae0-4040-8c6a-fec7a720a7b5" providerId="ADAL" clId="{190131DE-6250-C84F-B491-721E6CF30BCB}" dt="2021-12-23T08:24:28.161" v="37189"/>
          <ac:spMkLst>
            <pc:docMk/>
            <pc:sldMk cId="2027674031" sldId="2147374223"/>
            <ac:spMk id="893" creationId="{16505C45-76DA-5446-86A6-8A8436EBD82B}"/>
          </ac:spMkLst>
        </pc:spChg>
        <pc:spChg chg="mod">
          <ac:chgData name="Nick Robinson" userId="d0c2b313-4ae0-4040-8c6a-fec7a720a7b5" providerId="ADAL" clId="{190131DE-6250-C84F-B491-721E6CF30BCB}" dt="2021-12-23T08:24:28.161" v="37189"/>
          <ac:spMkLst>
            <pc:docMk/>
            <pc:sldMk cId="2027674031" sldId="2147374223"/>
            <ac:spMk id="895" creationId="{EE1A7357-CC56-794F-AFBC-E0DBBF5CDC0E}"/>
          </ac:spMkLst>
        </pc:spChg>
        <pc:spChg chg="mod">
          <ac:chgData name="Nick Robinson" userId="d0c2b313-4ae0-4040-8c6a-fec7a720a7b5" providerId="ADAL" clId="{190131DE-6250-C84F-B491-721E6CF30BCB}" dt="2021-12-23T08:24:28.161" v="37189"/>
          <ac:spMkLst>
            <pc:docMk/>
            <pc:sldMk cId="2027674031" sldId="2147374223"/>
            <ac:spMk id="896" creationId="{F4799514-401E-024D-9C98-BBA5525E951C}"/>
          </ac:spMkLst>
        </pc:spChg>
        <pc:spChg chg="mod">
          <ac:chgData name="Nick Robinson" userId="d0c2b313-4ae0-4040-8c6a-fec7a720a7b5" providerId="ADAL" clId="{190131DE-6250-C84F-B491-721E6CF30BCB}" dt="2021-12-23T08:24:28.161" v="37189"/>
          <ac:spMkLst>
            <pc:docMk/>
            <pc:sldMk cId="2027674031" sldId="2147374223"/>
            <ac:spMk id="898" creationId="{C6DFCDF6-159F-D44C-B82A-6141CA1C909B}"/>
          </ac:spMkLst>
        </pc:spChg>
        <pc:spChg chg="mod">
          <ac:chgData name="Nick Robinson" userId="d0c2b313-4ae0-4040-8c6a-fec7a720a7b5" providerId="ADAL" clId="{190131DE-6250-C84F-B491-721E6CF30BCB}" dt="2021-12-23T08:24:28.161" v="37189"/>
          <ac:spMkLst>
            <pc:docMk/>
            <pc:sldMk cId="2027674031" sldId="2147374223"/>
            <ac:spMk id="899" creationId="{46382266-EC32-D245-9CD0-D29ECC7ED8D1}"/>
          </ac:spMkLst>
        </pc:spChg>
        <pc:spChg chg="mod">
          <ac:chgData name="Nick Robinson" userId="d0c2b313-4ae0-4040-8c6a-fec7a720a7b5" providerId="ADAL" clId="{190131DE-6250-C84F-B491-721E6CF30BCB}" dt="2021-12-23T08:24:28.161" v="37189"/>
          <ac:spMkLst>
            <pc:docMk/>
            <pc:sldMk cId="2027674031" sldId="2147374223"/>
            <ac:spMk id="901" creationId="{5DE7C02A-C9AF-1F43-B7CD-002E90D18A49}"/>
          </ac:spMkLst>
        </pc:spChg>
        <pc:spChg chg="mod">
          <ac:chgData name="Nick Robinson" userId="d0c2b313-4ae0-4040-8c6a-fec7a720a7b5" providerId="ADAL" clId="{190131DE-6250-C84F-B491-721E6CF30BCB}" dt="2021-12-23T08:24:28.161" v="37189"/>
          <ac:spMkLst>
            <pc:docMk/>
            <pc:sldMk cId="2027674031" sldId="2147374223"/>
            <ac:spMk id="902" creationId="{D157F64D-EA46-254C-A71E-A5BF5F437844}"/>
          </ac:spMkLst>
        </pc:spChg>
        <pc:spChg chg="mod">
          <ac:chgData name="Nick Robinson" userId="d0c2b313-4ae0-4040-8c6a-fec7a720a7b5" providerId="ADAL" clId="{190131DE-6250-C84F-B491-721E6CF30BCB}" dt="2021-12-23T08:24:28.161" v="37189"/>
          <ac:spMkLst>
            <pc:docMk/>
            <pc:sldMk cId="2027674031" sldId="2147374223"/>
            <ac:spMk id="904" creationId="{0EBC7B2E-3807-9B4F-887A-35D2ACBD67DA}"/>
          </ac:spMkLst>
        </pc:spChg>
        <pc:spChg chg="mod">
          <ac:chgData name="Nick Robinson" userId="d0c2b313-4ae0-4040-8c6a-fec7a720a7b5" providerId="ADAL" clId="{190131DE-6250-C84F-B491-721E6CF30BCB}" dt="2021-12-23T08:24:28.161" v="37189"/>
          <ac:spMkLst>
            <pc:docMk/>
            <pc:sldMk cId="2027674031" sldId="2147374223"/>
            <ac:spMk id="905" creationId="{F6174B87-6B0A-914E-8DE6-910C62D7D539}"/>
          </ac:spMkLst>
        </pc:spChg>
        <pc:spChg chg="mod">
          <ac:chgData name="Nick Robinson" userId="d0c2b313-4ae0-4040-8c6a-fec7a720a7b5" providerId="ADAL" clId="{190131DE-6250-C84F-B491-721E6CF30BCB}" dt="2021-12-23T08:24:28.161" v="37189"/>
          <ac:spMkLst>
            <pc:docMk/>
            <pc:sldMk cId="2027674031" sldId="2147374223"/>
            <ac:spMk id="907" creationId="{55C95CD2-ADA0-4D4B-A041-48B1FD4EC05E}"/>
          </ac:spMkLst>
        </pc:spChg>
        <pc:spChg chg="mod">
          <ac:chgData name="Nick Robinson" userId="d0c2b313-4ae0-4040-8c6a-fec7a720a7b5" providerId="ADAL" clId="{190131DE-6250-C84F-B491-721E6CF30BCB}" dt="2021-12-23T08:24:28.161" v="37189"/>
          <ac:spMkLst>
            <pc:docMk/>
            <pc:sldMk cId="2027674031" sldId="2147374223"/>
            <ac:spMk id="908" creationId="{7AED3AF2-2941-7544-9AFB-2F81C9F44C0A}"/>
          </ac:spMkLst>
        </pc:spChg>
        <pc:spChg chg="mod">
          <ac:chgData name="Nick Robinson" userId="d0c2b313-4ae0-4040-8c6a-fec7a720a7b5" providerId="ADAL" clId="{190131DE-6250-C84F-B491-721E6CF30BCB}" dt="2021-12-23T08:24:28.161" v="37189"/>
          <ac:spMkLst>
            <pc:docMk/>
            <pc:sldMk cId="2027674031" sldId="2147374223"/>
            <ac:spMk id="910" creationId="{B3EC0184-0516-D54C-B153-76A94D47239C}"/>
          </ac:spMkLst>
        </pc:spChg>
        <pc:spChg chg="mod">
          <ac:chgData name="Nick Robinson" userId="d0c2b313-4ae0-4040-8c6a-fec7a720a7b5" providerId="ADAL" clId="{190131DE-6250-C84F-B491-721E6CF30BCB}" dt="2021-12-23T08:24:28.161" v="37189"/>
          <ac:spMkLst>
            <pc:docMk/>
            <pc:sldMk cId="2027674031" sldId="2147374223"/>
            <ac:spMk id="911" creationId="{1670617E-1DD9-AD45-B6CD-C868E8F50AD8}"/>
          </ac:spMkLst>
        </pc:spChg>
        <pc:grpChg chg="del mod">
          <ac:chgData name="Nick Robinson" userId="d0c2b313-4ae0-4040-8c6a-fec7a720a7b5" providerId="ADAL" clId="{190131DE-6250-C84F-B491-721E6CF30BCB}" dt="2021-12-23T08:24:27.383" v="37188" actId="478"/>
          <ac:grpSpMkLst>
            <pc:docMk/>
            <pc:sldMk cId="2027674031" sldId="2147374223"/>
            <ac:grpSpMk id="7" creationId="{80FDB39A-7AB9-5442-AF3F-2F22A9032F7F}"/>
          </ac:grpSpMkLst>
        </pc:grpChg>
        <pc:grpChg chg="del mod">
          <ac:chgData name="Nick Robinson" userId="d0c2b313-4ae0-4040-8c6a-fec7a720a7b5" providerId="ADAL" clId="{190131DE-6250-C84F-B491-721E6CF30BCB}" dt="2021-12-23T08:24:27.383" v="37188" actId="478"/>
          <ac:grpSpMkLst>
            <pc:docMk/>
            <pc:sldMk cId="2027674031" sldId="2147374223"/>
            <ac:grpSpMk id="10" creationId="{A5873C76-5908-8B41-8526-0CC85835EE20}"/>
          </ac:grpSpMkLst>
        </pc:grpChg>
        <pc:grpChg chg="add del mod">
          <ac:chgData name="Nick Robinson" userId="d0c2b313-4ae0-4040-8c6a-fec7a720a7b5" providerId="ADAL" clId="{190131DE-6250-C84F-B491-721E6CF30BCB}" dt="2021-12-23T08:24:27.383" v="37188" actId="478"/>
          <ac:grpSpMkLst>
            <pc:docMk/>
            <pc:sldMk cId="2027674031" sldId="2147374223"/>
            <ac:grpSpMk id="16" creationId="{D35FABC4-1F67-0247-BB00-733824A9897A}"/>
          </ac:grpSpMkLst>
        </pc:grpChg>
        <pc:grpChg chg="del mod">
          <ac:chgData name="Nick Robinson" userId="d0c2b313-4ae0-4040-8c6a-fec7a720a7b5" providerId="ADAL" clId="{190131DE-6250-C84F-B491-721E6CF30BCB}" dt="2021-12-23T08:24:27.383" v="37188" actId="478"/>
          <ac:grpSpMkLst>
            <pc:docMk/>
            <pc:sldMk cId="2027674031" sldId="2147374223"/>
            <ac:grpSpMk id="22" creationId="{3660B289-2321-DE48-AAA7-7888C30A7B81}"/>
          </ac:grpSpMkLst>
        </pc:grpChg>
        <pc:grpChg chg="del mod">
          <ac:chgData name="Nick Robinson" userId="d0c2b313-4ae0-4040-8c6a-fec7a720a7b5" providerId="ADAL" clId="{190131DE-6250-C84F-B491-721E6CF30BCB}" dt="2021-12-23T08:24:27.383" v="37188" actId="478"/>
          <ac:grpSpMkLst>
            <pc:docMk/>
            <pc:sldMk cId="2027674031" sldId="2147374223"/>
            <ac:grpSpMk id="23" creationId="{1D577D7F-2C3E-6C45-94C3-5774A6D5A66A}"/>
          </ac:grpSpMkLst>
        </pc:grpChg>
        <pc:grpChg chg="add del mod">
          <ac:chgData name="Nick Robinson" userId="d0c2b313-4ae0-4040-8c6a-fec7a720a7b5" providerId="ADAL" clId="{190131DE-6250-C84F-B491-721E6CF30BCB}" dt="2021-12-23T08:24:27.383" v="37188" actId="478"/>
          <ac:grpSpMkLst>
            <pc:docMk/>
            <pc:sldMk cId="2027674031" sldId="2147374223"/>
            <ac:grpSpMk id="27" creationId="{247AD1D4-111D-DB4A-BC6C-4261BE3A8642}"/>
          </ac:grpSpMkLst>
        </pc:grpChg>
        <pc:grpChg chg="add del mod">
          <ac:chgData name="Nick Robinson" userId="d0c2b313-4ae0-4040-8c6a-fec7a720a7b5" providerId="ADAL" clId="{190131DE-6250-C84F-B491-721E6CF30BCB}" dt="2021-12-23T08:24:27.383" v="37188" actId="478"/>
          <ac:grpSpMkLst>
            <pc:docMk/>
            <pc:sldMk cId="2027674031" sldId="2147374223"/>
            <ac:grpSpMk id="30" creationId="{4441323B-DE66-0C47-9643-40BA1FE33203}"/>
          </ac:grpSpMkLst>
        </pc:grpChg>
        <pc:grpChg chg="add del mod">
          <ac:chgData name="Nick Robinson" userId="d0c2b313-4ae0-4040-8c6a-fec7a720a7b5" providerId="ADAL" clId="{190131DE-6250-C84F-B491-721E6CF30BCB}" dt="2021-12-21T09:08:39.703" v="20610" actId="478"/>
          <ac:grpSpMkLst>
            <pc:docMk/>
            <pc:sldMk cId="2027674031" sldId="2147374223"/>
            <ac:grpSpMk id="298" creationId="{9446C4CA-902D-AE4A-9EFC-B683D2D51311}"/>
          </ac:grpSpMkLst>
        </pc:grpChg>
        <pc:grpChg chg="add del mod">
          <ac:chgData name="Nick Robinson" userId="d0c2b313-4ae0-4040-8c6a-fec7a720a7b5" providerId="ADAL" clId="{190131DE-6250-C84F-B491-721E6CF30BCB}" dt="2021-12-23T08:24:27.383" v="37188" actId="478"/>
          <ac:grpSpMkLst>
            <pc:docMk/>
            <pc:sldMk cId="2027674031" sldId="2147374223"/>
            <ac:grpSpMk id="303" creationId="{60BE6AEF-42E3-8A4C-83CD-7238BA7BFEEA}"/>
          </ac:grpSpMkLst>
        </pc:grpChg>
        <pc:grpChg chg="add del mod">
          <ac:chgData name="Nick Robinson" userId="d0c2b313-4ae0-4040-8c6a-fec7a720a7b5" providerId="ADAL" clId="{190131DE-6250-C84F-B491-721E6CF30BCB}" dt="2021-12-23T08:24:27.383" v="37188" actId="478"/>
          <ac:grpSpMkLst>
            <pc:docMk/>
            <pc:sldMk cId="2027674031" sldId="2147374223"/>
            <ac:grpSpMk id="306" creationId="{05B03753-2E07-BD4E-80DC-2BD0ADFDEA7C}"/>
          </ac:grpSpMkLst>
        </pc:grpChg>
        <pc:grpChg chg="add del mod">
          <ac:chgData name="Nick Robinson" userId="d0c2b313-4ae0-4040-8c6a-fec7a720a7b5" providerId="ADAL" clId="{190131DE-6250-C84F-B491-721E6CF30BCB}" dt="2021-12-23T08:24:27.383" v="37188" actId="478"/>
          <ac:grpSpMkLst>
            <pc:docMk/>
            <pc:sldMk cId="2027674031" sldId="2147374223"/>
            <ac:grpSpMk id="309" creationId="{2B42518F-AC23-3D4D-B00F-24E635D2BA25}"/>
          </ac:grpSpMkLst>
        </pc:grpChg>
        <pc:grpChg chg="add del mod">
          <ac:chgData name="Nick Robinson" userId="d0c2b313-4ae0-4040-8c6a-fec7a720a7b5" providerId="ADAL" clId="{190131DE-6250-C84F-B491-721E6CF30BCB}" dt="2021-12-23T08:24:27.383" v="37188" actId="478"/>
          <ac:grpSpMkLst>
            <pc:docMk/>
            <pc:sldMk cId="2027674031" sldId="2147374223"/>
            <ac:grpSpMk id="312" creationId="{94F077DE-89D7-F04D-826B-A6BFA6A220D5}"/>
          </ac:grpSpMkLst>
        </pc:grpChg>
        <pc:grpChg chg="add del mod">
          <ac:chgData name="Nick Robinson" userId="d0c2b313-4ae0-4040-8c6a-fec7a720a7b5" providerId="ADAL" clId="{190131DE-6250-C84F-B491-721E6CF30BCB}" dt="2021-12-23T08:24:27.383" v="37188" actId="478"/>
          <ac:grpSpMkLst>
            <pc:docMk/>
            <pc:sldMk cId="2027674031" sldId="2147374223"/>
            <ac:grpSpMk id="315" creationId="{353A454E-00A3-DC45-A835-7DC83DEC7A26}"/>
          </ac:grpSpMkLst>
        </pc:grpChg>
        <pc:grpChg chg="add del mod">
          <ac:chgData name="Nick Robinson" userId="d0c2b313-4ae0-4040-8c6a-fec7a720a7b5" providerId="ADAL" clId="{190131DE-6250-C84F-B491-721E6CF30BCB}" dt="2021-12-21T10:12:23.614" v="20827" actId="478"/>
          <ac:grpSpMkLst>
            <pc:docMk/>
            <pc:sldMk cId="2027674031" sldId="2147374223"/>
            <ac:grpSpMk id="318" creationId="{0A65F2CE-FDDE-B14A-B3D3-23BA6066A517}"/>
          </ac:grpSpMkLst>
        </pc:grpChg>
        <pc:grpChg chg="add del mod">
          <ac:chgData name="Nick Robinson" userId="d0c2b313-4ae0-4040-8c6a-fec7a720a7b5" providerId="ADAL" clId="{190131DE-6250-C84F-B491-721E6CF30BCB}" dt="2021-12-23T08:24:27.383" v="37188" actId="478"/>
          <ac:grpSpMkLst>
            <pc:docMk/>
            <pc:sldMk cId="2027674031" sldId="2147374223"/>
            <ac:grpSpMk id="321" creationId="{757C7EFB-9070-0E48-824C-A349462E2F47}"/>
          </ac:grpSpMkLst>
        </pc:grpChg>
        <pc:grpChg chg="add del mod">
          <ac:chgData name="Nick Robinson" userId="d0c2b313-4ae0-4040-8c6a-fec7a720a7b5" providerId="ADAL" clId="{190131DE-6250-C84F-B491-721E6CF30BCB}" dt="2021-12-23T08:24:27.383" v="37188" actId="478"/>
          <ac:grpSpMkLst>
            <pc:docMk/>
            <pc:sldMk cId="2027674031" sldId="2147374223"/>
            <ac:grpSpMk id="324" creationId="{64C19406-33E9-454A-BD27-6FC2A0C0DF78}"/>
          </ac:grpSpMkLst>
        </pc:grpChg>
        <pc:grpChg chg="add del mod">
          <ac:chgData name="Nick Robinson" userId="d0c2b313-4ae0-4040-8c6a-fec7a720a7b5" providerId="ADAL" clId="{190131DE-6250-C84F-B491-721E6CF30BCB}" dt="2021-12-23T08:24:27.383" v="37188" actId="478"/>
          <ac:grpSpMkLst>
            <pc:docMk/>
            <pc:sldMk cId="2027674031" sldId="2147374223"/>
            <ac:grpSpMk id="329" creationId="{F78F0E69-3BD3-3A4B-B9E8-825788C4EBEC}"/>
          </ac:grpSpMkLst>
        </pc:grpChg>
        <pc:grpChg chg="add del mod">
          <ac:chgData name="Nick Robinson" userId="d0c2b313-4ae0-4040-8c6a-fec7a720a7b5" providerId="ADAL" clId="{190131DE-6250-C84F-B491-721E6CF30BCB}" dt="2021-12-21T10:12:21.064" v="20826" actId="478"/>
          <ac:grpSpMkLst>
            <pc:docMk/>
            <pc:sldMk cId="2027674031" sldId="2147374223"/>
            <ac:grpSpMk id="332" creationId="{2B0D8C8E-FE32-F64C-B391-1A44595A657E}"/>
          </ac:grpSpMkLst>
        </pc:grpChg>
        <pc:grpChg chg="add mod">
          <ac:chgData name="Nick Robinson" userId="d0c2b313-4ae0-4040-8c6a-fec7a720a7b5" providerId="ADAL" clId="{190131DE-6250-C84F-B491-721E6CF30BCB}" dt="2021-12-23T08:24:28.161" v="37189"/>
          <ac:grpSpMkLst>
            <pc:docMk/>
            <pc:sldMk cId="2027674031" sldId="2147374223"/>
            <ac:grpSpMk id="332" creationId="{96330E01-B0C0-9D4C-8733-BECAFFFA47C6}"/>
          </ac:grpSpMkLst>
        </pc:grpChg>
        <pc:grpChg chg="mod">
          <ac:chgData name="Nick Robinson" userId="d0c2b313-4ae0-4040-8c6a-fec7a720a7b5" providerId="ADAL" clId="{190131DE-6250-C84F-B491-721E6CF30BCB}" dt="2021-12-23T08:24:28.161" v="37189"/>
          <ac:grpSpMkLst>
            <pc:docMk/>
            <pc:sldMk cId="2027674031" sldId="2147374223"/>
            <ac:grpSpMk id="333" creationId="{F7D773FF-F92D-4B47-AAD0-AC6DB1FDFCEF}"/>
          </ac:grpSpMkLst>
        </pc:grpChg>
        <pc:grpChg chg="add del mod">
          <ac:chgData name="Nick Robinson" userId="d0c2b313-4ae0-4040-8c6a-fec7a720a7b5" providerId="ADAL" clId="{190131DE-6250-C84F-B491-721E6CF30BCB}" dt="2021-12-23T08:24:27.383" v="37188" actId="478"/>
          <ac:grpSpMkLst>
            <pc:docMk/>
            <pc:sldMk cId="2027674031" sldId="2147374223"/>
            <ac:grpSpMk id="335" creationId="{2497B8E4-F87A-864D-9F71-A5EFC45F957D}"/>
          </ac:grpSpMkLst>
        </pc:grpChg>
        <pc:grpChg chg="add del mod">
          <ac:chgData name="Nick Robinson" userId="d0c2b313-4ae0-4040-8c6a-fec7a720a7b5" providerId="ADAL" clId="{190131DE-6250-C84F-B491-721E6CF30BCB}" dt="2021-12-23T08:24:27.383" v="37188" actId="478"/>
          <ac:grpSpMkLst>
            <pc:docMk/>
            <pc:sldMk cId="2027674031" sldId="2147374223"/>
            <ac:grpSpMk id="338" creationId="{88997D13-BEAA-6A43-A252-90C58735F1B1}"/>
          </ac:grpSpMkLst>
        </pc:grpChg>
        <pc:grpChg chg="add del mod">
          <ac:chgData name="Nick Robinson" userId="d0c2b313-4ae0-4040-8c6a-fec7a720a7b5" providerId="ADAL" clId="{190131DE-6250-C84F-B491-721E6CF30BCB}" dt="2021-12-23T08:24:27.383" v="37188" actId="478"/>
          <ac:grpSpMkLst>
            <pc:docMk/>
            <pc:sldMk cId="2027674031" sldId="2147374223"/>
            <ac:grpSpMk id="341" creationId="{C757D74A-7405-1F46-90B1-E07A0AA76B16}"/>
          </ac:grpSpMkLst>
        </pc:grpChg>
        <pc:grpChg chg="add del mod">
          <ac:chgData name="Nick Robinson" userId="d0c2b313-4ae0-4040-8c6a-fec7a720a7b5" providerId="ADAL" clId="{190131DE-6250-C84F-B491-721E6CF30BCB}" dt="2021-12-23T08:24:27.383" v="37188" actId="478"/>
          <ac:grpSpMkLst>
            <pc:docMk/>
            <pc:sldMk cId="2027674031" sldId="2147374223"/>
            <ac:grpSpMk id="344" creationId="{9761C009-21BE-5D49-9E55-86C19993649F}"/>
          </ac:grpSpMkLst>
        </pc:grpChg>
        <pc:grpChg chg="add del mod">
          <ac:chgData name="Nick Robinson" userId="d0c2b313-4ae0-4040-8c6a-fec7a720a7b5" providerId="ADAL" clId="{190131DE-6250-C84F-B491-721E6CF30BCB}" dt="2021-12-23T08:24:27.383" v="37188" actId="478"/>
          <ac:grpSpMkLst>
            <pc:docMk/>
            <pc:sldMk cId="2027674031" sldId="2147374223"/>
            <ac:grpSpMk id="347" creationId="{7CF0B40F-4F33-4B4C-97E7-F13B84697DBE}"/>
          </ac:grpSpMkLst>
        </pc:grpChg>
        <pc:grpChg chg="add del mod">
          <ac:chgData name="Nick Robinson" userId="d0c2b313-4ae0-4040-8c6a-fec7a720a7b5" providerId="ADAL" clId="{190131DE-6250-C84F-B491-721E6CF30BCB}" dt="2021-12-23T08:24:27.383" v="37188" actId="478"/>
          <ac:grpSpMkLst>
            <pc:docMk/>
            <pc:sldMk cId="2027674031" sldId="2147374223"/>
            <ac:grpSpMk id="350" creationId="{75CE87BF-625B-1F4C-8482-38D764E8C8E2}"/>
          </ac:grpSpMkLst>
        </pc:grpChg>
        <pc:grpChg chg="add mod">
          <ac:chgData name="Nick Robinson" userId="d0c2b313-4ae0-4040-8c6a-fec7a720a7b5" providerId="ADAL" clId="{190131DE-6250-C84F-B491-721E6CF30BCB}" dt="2021-12-23T08:24:28.161" v="37189"/>
          <ac:grpSpMkLst>
            <pc:docMk/>
            <pc:sldMk cId="2027674031" sldId="2147374223"/>
            <ac:grpSpMk id="375" creationId="{2C5677B7-A715-FB43-9058-E4CB9B6B25FF}"/>
          </ac:grpSpMkLst>
        </pc:grpChg>
        <pc:grpChg chg="add mod">
          <ac:chgData name="Nick Robinson" userId="d0c2b313-4ae0-4040-8c6a-fec7a720a7b5" providerId="ADAL" clId="{190131DE-6250-C84F-B491-721E6CF30BCB}" dt="2021-12-23T08:24:28.161" v="37189"/>
          <ac:grpSpMkLst>
            <pc:docMk/>
            <pc:sldMk cId="2027674031" sldId="2147374223"/>
            <ac:grpSpMk id="378" creationId="{230AC2D1-DBEF-6F45-A396-49DBF9CC9653}"/>
          </ac:grpSpMkLst>
        </pc:grpChg>
        <pc:grpChg chg="add mod">
          <ac:chgData name="Nick Robinson" userId="d0c2b313-4ae0-4040-8c6a-fec7a720a7b5" providerId="ADAL" clId="{190131DE-6250-C84F-B491-721E6CF30BCB}" dt="2021-12-23T08:24:28.161" v="37189"/>
          <ac:grpSpMkLst>
            <pc:docMk/>
            <pc:sldMk cId="2027674031" sldId="2147374223"/>
            <ac:grpSpMk id="381" creationId="{031B5CEA-B20D-064B-8768-60957E1DBB7B}"/>
          </ac:grpSpMkLst>
        </pc:grpChg>
        <pc:grpChg chg="add mod">
          <ac:chgData name="Nick Robinson" userId="d0c2b313-4ae0-4040-8c6a-fec7a720a7b5" providerId="ADAL" clId="{190131DE-6250-C84F-B491-721E6CF30BCB}" dt="2021-12-23T08:24:28.161" v="37189"/>
          <ac:grpSpMkLst>
            <pc:docMk/>
            <pc:sldMk cId="2027674031" sldId="2147374223"/>
            <ac:grpSpMk id="384" creationId="{2D86A11A-D159-5940-9659-45F73D25FF7C}"/>
          </ac:grpSpMkLst>
        </pc:grpChg>
        <pc:grpChg chg="add mod">
          <ac:chgData name="Nick Robinson" userId="d0c2b313-4ae0-4040-8c6a-fec7a720a7b5" providerId="ADAL" clId="{190131DE-6250-C84F-B491-721E6CF30BCB}" dt="2021-12-23T08:24:28.161" v="37189"/>
          <ac:grpSpMkLst>
            <pc:docMk/>
            <pc:sldMk cId="2027674031" sldId="2147374223"/>
            <ac:grpSpMk id="387" creationId="{1AE86045-D921-D547-8EC1-1577AB336613}"/>
          </ac:grpSpMkLst>
        </pc:grpChg>
        <pc:grpChg chg="add mod">
          <ac:chgData name="Nick Robinson" userId="d0c2b313-4ae0-4040-8c6a-fec7a720a7b5" providerId="ADAL" clId="{190131DE-6250-C84F-B491-721E6CF30BCB}" dt="2021-12-23T08:24:28.161" v="37189"/>
          <ac:grpSpMkLst>
            <pc:docMk/>
            <pc:sldMk cId="2027674031" sldId="2147374223"/>
            <ac:grpSpMk id="390" creationId="{5E361934-A40E-2348-9B79-4DDCC0763F8E}"/>
          </ac:grpSpMkLst>
        </pc:grpChg>
        <pc:grpChg chg="add mod">
          <ac:chgData name="Nick Robinson" userId="d0c2b313-4ae0-4040-8c6a-fec7a720a7b5" providerId="ADAL" clId="{190131DE-6250-C84F-B491-721E6CF30BCB}" dt="2021-12-23T08:24:28.161" v="37189"/>
          <ac:grpSpMkLst>
            <pc:docMk/>
            <pc:sldMk cId="2027674031" sldId="2147374223"/>
            <ac:grpSpMk id="393" creationId="{AE112AEE-9C83-D448-B174-7A6ED62D0A46}"/>
          </ac:grpSpMkLst>
        </pc:grpChg>
        <pc:grpChg chg="add mod">
          <ac:chgData name="Nick Robinson" userId="d0c2b313-4ae0-4040-8c6a-fec7a720a7b5" providerId="ADAL" clId="{190131DE-6250-C84F-B491-721E6CF30BCB}" dt="2021-12-23T08:24:28.161" v="37189"/>
          <ac:grpSpMkLst>
            <pc:docMk/>
            <pc:sldMk cId="2027674031" sldId="2147374223"/>
            <ac:grpSpMk id="397" creationId="{7CA83CD6-E026-B44D-9D29-E43722747568}"/>
          </ac:grpSpMkLst>
        </pc:grpChg>
        <pc:grpChg chg="add mod">
          <ac:chgData name="Nick Robinson" userId="d0c2b313-4ae0-4040-8c6a-fec7a720a7b5" providerId="ADAL" clId="{190131DE-6250-C84F-B491-721E6CF30BCB}" dt="2021-12-23T08:24:28.161" v="37189"/>
          <ac:grpSpMkLst>
            <pc:docMk/>
            <pc:sldMk cId="2027674031" sldId="2147374223"/>
            <ac:grpSpMk id="400" creationId="{42E36BD6-BCC7-E944-8417-A80B7300F12C}"/>
          </ac:grpSpMkLst>
        </pc:grpChg>
        <pc:grpChg chg="add mod">
          <ac:chgData name="Nick Robinson" userId="d0c2b313-4ae0-4040-8c6a-fec7a720a7b5" providerId="ADAL" clId="{190131DE-6250-C84F-B491-721E6CF30BCB}" dt="2021-12-23T08:24:28.161" v="37189"/>
          <ac:grpSpMkLst>
            <pc:docMk/>
            <pc:sldMk cId="2027674031" sldId="2147374223"/>
            <ac:grpSpMk id="403" creationId="{C3EE8275-4BD0-D045-A255-A6DB6C7035BB}"/>
          </ac:grpSpMkLst>
        </pc:grpChg>
        <pc:grpChg chg="add mod">
          <ac:chgData name="Nick Robinson" userId="d0c2b313-4ae0-4040-8c6a-fec7a720a7b5" providerId="ADAL" clId="{190131DE-6250-C84F-B491-721E6CF30BCB}" dt="2021-12-23T08:24:28.161" v="37189"/>
          <ac:grpSpMkLst>
            <pc:docMk/>
            <pc:sldMk cId="2027674031" sldId="2147374223"/>
            <ac:grpSpMk id="406" creationId="{ACD8ADDC-D70A-0746-959A-A7405FEBFF45}"/>
          </ac:grpSpMkLst>
        </pc:grpChg>
        <pc:grpChg chg="add mod">
          <ac:chgData name="Nick Robinson" userId="d0c2b313-4ae0-4040-8c6a-fec7a720a7b5" providerId="ADAL" clId="{190131DE-6250-C84F-B491-721E6CF30BCB}" dt="2021-12-23T08:24:28.161" v="37189"/>
          <ac:grpSpMkLst>
            <pc:docMk/>
            <pc:sldMk cId="2027674031" sldId="2147374223"/>
            <ac:grpSpMk id="409" creationId="{4B79473B-26B8-B243-B1DF-1F5FDD8D0416}"/>
          </ac:grpSpMkLst>
        </pc:grpChg>
        <pc:grpChg chg="add mod">
          <ac:chgData name="Nick Robinson" userId="d0c2b313-4ae0-4040-8c6a-fec7a720a7b5" providerId="ADAL" clId="{190131DE-6250-C84F-B491-721E6CF30BCB}" dt="2021-12-23T08:24:28.161" v="37189"/>
          <ac:grpSpMkLst>
            <pc:docMk/>
            <pc:sldMk cId="2027674031" sldId="2147374223"/>
            <ac:grpSpMk id="412" creationId="{1E4A24CA-5395-7840-9957-7E4CD10E2DF5}"/>
          </ac:grpSpMkLst>
        </pc:grpChg>
        <pc:grpChg chg="add mod">
          <ac:chgData name="Nick Robinson" userId="d0c2b313-4ae0-4040-8c6a-fec7a720a7b5" providerId="ADAL" clId="{190131DE-6250-C84F-B491-721E6CF30BCB}" dt="2021-12-23T08:24:28.161" v="37189"/>
          <ac:grpSpMkLst>
            <pc:docMk/>
            <pc:sldMk cId="2027674031" sldId="2147374223"/>
            <ac:grpSpMk id="415" creationId="{D3E35BAE-D527-6546-AE3B-746E9867723E}"/>
          </ac:grpSpMkLst>
        </pc:grpChg>
        <pc:grpChg chg="add mod">
          <ac:chgData name="Nick Robinson" userId="d0c2b313-4ae0-4040-8c6a-fec7a720a7b5" providerId="ADAL" clId="{190131DE-6250-C84F-B491-721E6CF30BCB}" dt="2021-12-23T08:24:28.161" v="37189"/>
          <ac:grpSpMkLst>
            <pc:docMk/>
            <pc:sldMk cId="2027674031" sldId="2147374223"/>
            <ac:grpSpMk id="418" creationId="{2A9E4464-F936-534E-AD48-847CC0191975}"/>
          </ac:grpSpMkLst>
        </pc:grpChg>
        <pc:grpChg chg="add mod">
          <ac:chgData name="Nick Robinson" userId="d0c2b313-4ae0-4040-8c6a-fec7a720a7b5" providerId="ADAL" clId="{190131DE-6250-C84F-B491-721E6CF30BCB}" dt="2021-12-23T08:24:28.161" v="37189"/>
          <ac:grpSpMkLst>
            <pc:docMk/>
            <pc:sldMk cId="2027674031" sldId="2147374223"/>
            <ac:grpSpMk id="421" creationId="{BA18D7D6-1C92-D64C-A4F9-C7844DED58D1}"/>
          </ac:grpSpMkLst>
        </pc:grpChg>
        <pc:grpChg chg="add mod">
          <ac:chgData name="Nick Robinson" userId="d0c2b313-4ae0-4040-8c6a-fec7a720a7b5" providerId="ADAL" clId="{190131DE-6250-C84F-B491-721E6CF30BCB}" dt="2021-12-23T08:24:28.161" v="37189"/>
          <ac:grpSpMkLst>
            <pc:docMk/>
            <pc:sldMk cId="2027674031" sldId="2147374223"/>
            <ac:grpSpMk id="424" creationId="{DAF0C5FC-3606-924A-8DA5-B885F2DF0AEB}"/>
          </ac:grpSpMkLst>
        </pc:grpChg>
        <pc:grpChg chg="add mod">
          <ac:chgData name="Nick Robinson" userId="d0c2b313-4ae0-4040-8c6a-fec7a720a7b5" providerId="ADAL" clId="{190131DE-6250-C84F-B491-721E6CF30BCB}" dt="2021-12-23T08:24:28.161" v="37189"/>
          <ac:grpSpMkLst>
            <pc:docMk/>
            <pc:sldMk cId="2027674031" sldId="2147374223"/>
            <ac:grpSpMk id="427" creationId="{E965A901-7F67-AE45-9D46-1363A562ED9C}"/>
          </ac:grpSpMkLst>
        </pc:grpChg>
        <pc:grpChg chg="add mod">
          <ac:chgData name="Nick Robinson" userId="d0c2b313-4ae0-4040-8c6a-fec7a720a7b5" providerId="ADAL" clId="{190131DE-6250-C84F-B491-721E6CF30BCB}" dt="2021-12-23T08:24:28.161" v="37189"/>
          <ac:grpSpMkLst>
            <pc:docMk/>
            <pc:sldMk cId="2027674031" sldId="2147374223"/>
            <ac:grpSpMk id="430" creationId="{4D8DF5AB-C1C2-9E4E-B715-DC5F6F0CB6D1}"/>
          </ac:grpSpMkLst>
        </pc:grpChg>
        <pc:grpChg chg="add mod">
          <ac:chgData name="Nick Robinson" userId="d0c2b313-4ae0-4040-8c6a-fec7a720a7b5" providerId="ADAL" clId="{190131DE-6250-C84F-B491-721E6CF30BCB}" dt="2021-12-23T08:24:28.161" v="37189"/>
          <ac:grpSpMkLst>
            <pc:docMk/>
            <pc:sldMk cId="2027674031" sldId="2147374223"/>
            <ac:grpSpMk id="433" creationId="{79D18E9D-9AED-4544-8E47-2408725791A3}"/>
          </ac:grpSpMkLst>
        </pc:grpChg>
        <pc:grpChg chg="add mod">
          <ac:chgData name="Nick Robinson" userId="d0c2b313-4ae0-4040-8c6a-fec7a720a7b5" providerId="ADAL" clId="{190131DE-6250-C84F-B491-721E6CF30BCB}" dt="2021-12-23T08:24:28.161" v="37189"/>
          <ac:grpSpMkLst>
            <pc:docMk/>
            <pc:sldMk cId="2027674031" sldId="2147374223"/>
            <ac:grpSpMk id="436" creationId="{52B6E276-54E3-9644-BBB7-103440E30E2E}"/>
          </ac:grpSpMkLst>
        </pc:grpChg>
        <pc:grpChg chg="add mod">
          <ac:chgData name="Nick Robinson" userId="d0c2b313-4ae0-4040-8c6a-fec7a720a7b5" providerId="ADAL" clId="{190131DE-6250-C84F-B491-721E6CF30BCB}" dt="2021-12-23T08:24:28.161" v="37189"/>
          <ac:grpSpMkLst>
            <pc:docMk/>
            <pc:sldMk cId="2027674031" sldId="2147374223"/>
            <ac:grpSpMk id="439" creationId="{0ABDED05-6126-794E-BD1E-8196E00CEC88}"/>
          </ac:grpSpMkLst>
        </pc:grpChg>
        <pc:grpChg chg="add mod">
          <ac:chgData name="Nick Robinson" userId="d0c2b313-4ae0-4040-8c6a-fec7a720a7b5" providerId="ADAL" clId="{190131DE-6250-C84F-B491-721E6CF30BCB}" dt="2021-12-23T08:24:28.161" v="37189"/>
          <ac:grpSpMkLst>
            <pc:docMk/>
            <pc:sldMk cId="2027674031" sldId="2147374223"/>
            <ac:grpSpMk id="442" creationId="{68E490F2-89AA-A64C-8532-584867AA1ED5}"/>
          </ac:grpSpMkLst>
        </pc:grpChg>
        <pc:grpChg chg="add mod">
          <ac:chgData name="Nick Robinson" userId="d0c2b313-4ae0-4040-8c6a-fec7a720a7b5" providerId="ADAL" clId="{190131DE-6250-C84F-B491-721E6CF30BCB}" dt="2021-12-23T08:24:28.161" v="37189"/>
          <ac:grpSpMkLst>
            <pc:docMk/>
            <pc:sldMk cId="2027674031" sldId="2147374223"/>
            <ac:grpSpMk id="445" creationId="{6DD91870-46AE-FB43-AE0B-34F9EDF26227}"/>
          </ac:grpSpMkLst>
        </pc:grpChg>
        <pc:grpChg chg="add mod">
          <ac:chgData name="Nick Robinson" userId="d0c2b313-4ae0-4040-8c6a-fec7a720a7b5" providerId="ADAL" clId="{190131DE-6250-C84F-B491-721E6CF30BCB}" dt="2021-12-23T08:24:28.161" v="37189"/>
          <ac:grpSpMkLst>
            <pc:docMk/>
            <pc:sldMk cId="2027674031" sldId="2147374223"/>
            <ac:grpSpMk id="448" creationId="{A426D459-2512-FD4E-ABDF-D365EC89724D}"/>
          </ac:grpSpMkLst>
        </pc:grpChg>
        <pc:grpChg chg="add mod">
          <ac:chgData name="Nick Robinson" userId="d0c2b313-4ae0-4040-8c6a-fec7a720a7b5" providerId="ADAL" clId="{190131DE-6250-C84F-B491-721E6CF30BCB}" dt="2021-12-23T08:24:28.161" v="37189"/>
          <ac:grpSpMkLst>
            <pc:docMk/>
            <pc:sldMk cId="2027674031" sldId="2147374223"/>
            <ac:grpSpMk id="451" creationId="{BAC94CAE-93F1-F94F-8613-5E0F6FF87611}"/>
          </ac:grpSpMkLst>
        </pc:grpChg>
        <pc:grpChg chg="add mod">
          <ac:chgData name="Nick Robinson" userId="d0c2b313-4ae0-4040-8c6a-fec7a720a7b5" providerId="ADAL" clId="{190131DE-6250-C84F-B491-721E6CF30BCB}" dt="2021-12-23T08:24:28.161" v="37189"/>
          <ac:grpSpMkLst>
            <pc:docMk/>
            <pc:sldMk cId="2027674031" sldId="2147374223"/>
            <ac:grpSpMk id="454" creationId="{D99250FB-4479-4841-8FC3-FBBC0D1BB324}"/>
          </ac:grpSpMkLst>
        </pc:grpChg>
        <pc:grpChg chg="add mod">
          <ac:chgData name="Nick Robinson" userId="d0c2b313-4ae0-4040-8c6a-fec7a720a7b5" providerId="ADAL" clId="{190131DE-6250-C84F-B491-721E6CF30BCB}" dt="2021-12-23T08:24:28.161" v="37189"/>
          <ac:grpSpMkLst>
            <pc:docMk/>
            <pc:sldMk cId="2027674031" sldId="2147374223"/>
            <ac:grpSpMk id="457" creationId="{B4BC658A-5EFC-C745-B05C-BA621CA99FA2}"/>
          </ac:grpSpMkLst>
        </pc:grpChg>
        <pc:grpChg chg="add mod">
          <ac:chgData name="Nick Robinson" userId="d0c2b313-4ae0-4040-8c6a-fec7a720a7b5" providerId="ADAL" clId="{190131DE-6250-C84F-B491-721E6CF30BCB}" dt="2021-12-23T08:24:28.161" v="37189"/>
          <ac:grpSpMkLst>
            <pc:docMk/>
            <pc:sldMk cId="2027674031" sldId="2147374223"/>
            <ac:grpSpMk id="460" creationId="{04E07A40-9AAC-0843-8E2D-B45C1BE67C27}"/>
          </ac:grpSpMkLst>
        </pc:grpChg>
        <pc:grpChg chg="add mod">
          <ac:chgData name="Nick Robinson" userId="d0c2b313-4ae0-4040-8c6a-fec7a720a7b5" providerId="ADAL" clId="{190131DE-6250-C84F-B491-721E6CF30BCB}" dt="2021-12-23T08:24:28.161" v="37189"/>
          <ac:grpSpMkLst>
            <pc:docMk/>
            <pc:sldMk cId="2027674031" sldId="2147374223"/>
            <ac:grpSpMk id="463" creationId="{DBA5EB90-F1CF-8C46-9257-16C2C55AF88F}"/>
          </ac:grpSpMkLst>
        </pc:grpChg>
        <pc:grpChg chg="add mod">
          <ac:chgData name="Nick Robinson" userId="d0c2b313-4ae0-4040-8c6a-fec7a720a7b5" providerId="ADAL" clId="{190131DE-6250-C84F-B491-721E6CF30BCB}" dt="2021-12-23T08:24:28.161" v="37189"/>
          <ac:grpSpMkLst>
            <pc:docMk/>
            <pc:sldMk cId="2027674031" sldId="2147374223"/>
            <ac:grpSpMk id="466" creationId="{82AFE6F4-3842-BD47-A2BD-5A0AD7A149B7}"/>
          </ac:grpSpMkLst>
        </pc:grpChg>
        <pc:grpChg chg="add mod">
          <ac:chgData name="Nick Robinson" userId="d0c2b313-4ae0-4040-8c6a-fec7a720a7b5" providerId="ADAL" clId="{190131DE-6250-C84F-B491-721E6CF30BCB}" dt="2021-12-23T08:24:28.161" v="37189"/>
          <ac:grpSpMkLst>
            <pc:docMk/>
            <pc:sldMk cId="2027674031" sldId="2147374223"/>
            <ac:grpSpMk id="469" creationId="{554BAFC3-1AEA-D24F-B1E5-904FAB0E089F}"/>
          </ac:grpSpMkLst>
        </pc:grpChg>
        <pc:grpChg chg="add mod">
          <ac:chgData name="Nick Robinson" userId="d0c2b313-4ae0-4040-8c6a-fec7a720a7b5" providerId="ADAL" clId="{190131DE-6250-C84F-B491-721E6CF30BCB}" dt="2021-12-23T08:24:28.161" v="37189"/>
          <ac:grpSpMkLst>
            <pc:docMk/>
            <pc:sldMk cId="2027674031" sldId="2147374223"/>
            <ac:grpSpMk id="472" creationId="{7D682BCF-D9A2-144D-A292-0C1089C742FC}"/>
          </ac:grpSpMkLst>
        </pc:grpChg>
        <pc:grpChg chg="add mod">
          <ac:chgData name="Nick Robinson" userId="d0c2b313-4ae0-4040-8c6a-fec7a720a7b5" providerId="ADAL" clId="{190131DE-6250-C84F-B491-721E6CF30BCB}" dt="2021-12-23T08:24:28.161" v="37189"/>
          <ac:grpSpMkLst>
            <pc:docMk/>
            <pc:sldMk cId="2027674031" sldId="2147374223"/>
            <ac:grpSpMk id="475" creationId="{533EBDDF-6ACE-584B-9FD4-94A70D3D3EA7}"/>
          </ac:grpSpMkLst>
        </pc:grpChg>
        <pc:grpChg chg="add mod">
          <ac:chgData name="Nick Robinson" userId="d0c2b313-4ae0-4040-8c6a-fec7a720a7b5" providerId="ADAL" clId="{190131DE-6250-C84F-B491-721E6CF30BCB}" dt="2021-12-23T08:24:28.161" v="37189"/>
          <ac:grpSpMkLst>
            <pc:docMk/>
            <pc:sldMk cId="2027674031" sldId="2147374223"/>
            <ac:grpSpMk id="479" creationId="{8F9E9164-3A3E-3A4F-91D1-53B288257EA4}"/>
          </ac:grpSpMkLst>
        </pc:grpChg>
        <pc:grpChg chg="add mod">
          <ac:chgData name="Nick Robinson" userId="d0c2b313-4ae0-4040-8c6a-fec7a720a7b5" providerId="ADAL" clId="{190131DE-6250-C84F-B491-721E6CF30BCB}" dt="2021-12-23T08:24:28.161" v="37189"/>
          <ac:grpSpMkLst>
            <pc:docMk/>
            <pc:sldMk cId="2027674031" sldId="2147374223"/>
            <ac:grpSpMk id="482" creationId="{6E49D17F-A588-F34B-82DB-8530FE8D70B3}"/>
          </ac:grpSpMkLst>
        </pc:grpChg>
        <pc:grpChg chg="add mod">
          <ac:chgData name="Nick Robinson" userId="d0c2b313-4ae0-4040-8c6a-fec7a720a7b5" providerId="ADAL" clId="{190131DE-6250-C84F-B491-721E6CF30BCB}" dt="2021-12-23T08:24:28.161" v="37189"/>
          <ac:grpSpMkLst>
            <pc:docMk/>
            <pc:sldMk cId="2027674031" sldId="2147374223"/>
            <ac:grpSpMk id="485" creationId="{C3034F70-E1A9-F34A-A83A-4718E282F1F5}"/>
          </ac:grpSpMkLst>
        </pc:grpChg>
        <pc:grpChg chg="add mod">
          <ac:chgData name="Nick Robinson" userId="d0c2b313-4ae0-4040-8c6a-fec7a720a7b5" providerId="ADAL" clId="{190131DE-6250-C84F-B491-721E6CF30BCB}" dt="2021-12-23T08:24:28.161" v="37189"/>
          <ac:grpSpMkLst>
            <pc:docMk/>
            <pc:sldMk cId="2027674031" sldId="2147374223"/>
            <ac:grpSpMk id="488" creationId="{B264A81F-6A62-904C-9E23-9A349FBAE063}"/>
          </ac:grpSpMkLst>
        </pc:grpChg>
        <pc:grpChg chg="add mod">
          <ac:chgData name="Nick Robinson" userId="d0c2b313-4ae0-4040-8c6a-fec7a720a7b5" providerId="ADAL" clId="{190131DE-6250-C84F-B491-721E6CF30BCB}" dt="2021-12-23T08:24:28.161" v="37189"/>
          <ac:grpSpMkLst>
            <pc:docMk/>
            <pc:sldMk cId="2027674031" sldId="2147374223"/>
            <ac:grpSpMk id="491" creationId="{D95712ED-ED47-2540-90FA-03AEA11D175E}"/>
          </ac:grpSpMkLst>
        </pc:grpChg>
        <pc:grpChg chg="del mod">
          <ac:chgData name="Nick Robinson" userId="d0c2b313-4ae0-4040-8c6a-fec7a720a7b5" providerId="ADAL" clId="{190131DE-6250-C84F-B491-721E6CF30BCB}" dt="2021-12-23T08:24:27.383" v="37188" actId="478"/>
          <ac:grpSpMkLst>
            <pc:docMk/>
            <pc:sldMk cId="2027674031" sldId="2147374223"/>
            <ac:grpSpMk id="497" creationId="{F90E03B8-7A69-E540-AF03-FD9BE34A66B6}"/>
          </ac:grpSpMkLst>
        </pc:grpChg>
        <pc:grpChg chg="del mod">
          <ac:chgData name="Nick Robinson" userId="d0c2b313-4ae0-4040-8c6a-fec7a720a7b5" providerId="ADAL" clId="{190131DE-6250-C84F-B491-721E6CF30BCB}" dt="2021-12-23T08:24:27.383" v="37188" actId="478"/>
          <ac:grpSpMkLst>
            <pc:docMk/>
            <pc:sldMk cId="2027674031" sldId="2147374223"/>
            <ac:grpSpMk id="500" creationId="{BCD26321-2AC6-C545-8B57-598526463049}"/>
          </ac:grpSpMkLst>
        </pc:grpChg>
        <pc:grpChg chg="del mod">
          <ac:chgData name="Nick Robinson" userId="d0c2b313-4ae0-4040-8c6a-fec7a720a7b5" providerId="ADAL" clId="{190131DE-6250-C84F-B491-721E6CF30BCB}" dt="2021-12-23T08:24:27.383" v="37188" actId="478"/>
          <ac:grpSpMkLst>
            <pc:docMk/>
            <pc:sldMk cId="2027674031" sldId="2147374223"/>
            <ac:grpSpMk id="503" creationId="{1FADDB06-58C5-0D4E-816D-8F914C2FADB4}"/>
          </ac:grpSpMkLst>
        </pc:grpChg>
        <pc:grpChg chg="add mod">
          <ac:chgData name="Nick Robinson" userId="d0c2b313-4ae0-4040-8c6a-fec7a720a7b5" providerId="ADAL" clId="{190131DE-6250-C84F-B491-721E6CF30BCB}" dt="2021-12-23T08:24:28.161" v="37189"/>
          <ac:grpSpMkLst>
            <pc:docMk/>
            <pc:sldMk cId="2027674031" sldId="2147374223"/>
            <ac:grpSpMk id="507" creationId="{4ED73CE4-ECC1-CC44-ADD1-B57ADE1E3D96}"/>
          </ac:grpSpMkLst>
        </pc:grpChg>
        <pc:grpChg chg="del mod">
          <ac:chgData name="Nick Robinson" userId="d0c2b313-4ae0-4040-8c6a-fec7a720a7b5" providerId="ADAL" clId="{190131DE-6250-C84F-B491-721E6CF30BCB}" dt="2021-12-23T08:24:27.383" v="37188" actId="478"/>
          <ac:grpSpMkLst>
            <pc:docMk/>
            <pc:sldMk cId="2027674031" sldId="2147374223"/>
            <ac:grpSpMk id="509" creationId="{414A8093-3486-5B4A-A5B2-4C4247FE1046}"/>
          </ac:grpSpMkLst>
        </pc:grpChg>
        <pc:grpChg chg="del mod">
          <ac:chgData name="Nick Robinson" userId="d0c2b313-4ae0-4040-8c6a-fec7a720a7b5" providerId="ADAL" clId="{190131DE-6250-C84F-B491-721E6CF30BCB}" dt="2021-12-23T08:24:27.383" v="37188" actId="478"/>
          <ac:grpSpMkLst>
            <pc:docMk/>
            <pc:sldMk cId="2027674031" sldId="2147374223"/>
            <ac:grpSpMk id="512" creationId="{BD45A7B6-B727-8F46-A69A-5ABC871A0030}"/>
          </ac:grpSpMkLst>
        </pc:grpChg>
        <pc:grpChg chg="del mod">
          <ac:chgData name="Nick Robinson" userId="d0c2b313-4ae0-4040-8c6a-fec7a720a7b5" providerId="ADAL" clId="{190131DE-6250-C84F-B491-721E6CF30BCB}" dt="2021-12-23T08:24:27.383" v="37188" actId="478"/>
          <ac:grpSpMkLst>
            <pc:docMk/>
            <pc:sldMk cId="2027674031" sldId="2147374223"/>
            <ac:grpSpMk id="518" creationId="{58653B4C-9405-764D-96A1-AA795486B136}"/>
          </ac:grpSpMkLst>
        </pc:grpChg>
        <pc:grpChg chg="del mod">
          <ac:chgData name="Nick Robinson" userId="d0c2b313-4ae0-4040-8c6a-fec7a720a7b5" providerId="ADAL" clId="{190131DE-6250-C84F-B491-721E6CF30BCB}" dt="2021-12-23T08:24:27.383" v="37188" actId="478"/>
          <ac:grpSpMkLst>
            <pc:docMk/>
            <pc:sldMk cId="2027674031" sldId="2147374223"/>
            <ac:grpSpMk id="521" creationId="{799E6934-BA51-5F41-9B7B-7CADBD26A43C}"/>
          </ac:grpSpMkLst>
        </pc:grpChg>
        <pc:grpChg chg="del mod">
          <ac:chgData name="Nick Robinson" userId="d0c2b313-4ae0-4040-8c6a-fec7a720a7b5" providerId="ADAL" clId="{190131DE-6250-C84F-B491-721E6CF30BCB}" dt="2021-12-23T08:24:27.383" v="37188" actId="478"/>
          <ac:grpSpMkLst>
            <pc:docMk/>
            <pc:sldMk cId="2027674031" sldId="2147374223"/>
            <ac:grpSpMk id="524" creationId="{94AB2A68-2BC2-2746-BED8-14993BCAE77E}"/>
          </ac:grpSpMkLst>
        </pc:grpChg>
        <pc:grpChg chg="del mod">
          <ac:chgData name="Nick Robinson" userId="d0c2b313-4ae0-4040-8c6a-fec7a720a7b5" providerId="ADAL" clId="{190131DE-6250-C84F-B491-721E6CF30BCB}" dt="2021-12-23T08:24:27.383" v="37188" actId="478"/>
          <ac:grpSpMkLst>
            <pc:docMk/>
            <pc:sldMk cId="2027674031" sldId="2147374223"/>
            <ac:grpSpMk id="527" creationId="{3B58E207-9BCB-1545-A038-211D21B119DF}"/>
          </ac:grpSpMkLst>
        </pc:grpChg>
        <pc:grpChg chg="del mod">
          <ac:chgData name="Nick Robinson" userId="d0c2b313-4ae0-4040-8c6a-fec7a720a7b5" providerId="ADAL" clId="{190131DE-6250-C84F-B491-721E6CF30BCB}" dt="2021-12-23T08:24:27.383" v="37188" actId="478"/>
          <ac:grpSpMkLst>
            <pc:docMk/>
            <pc:sldMk cId="2027674031" sldId="2147374223"/>
            <ac:grpSpMk id="530" creationId="{1E3C939E-5BEA-814B-AFCA-6CEBF1C1380F}"/>
          </ac:grpSpMkLst>
        </pc:grpChg>
        <pc:grpChg chg="del mod">
          <ac:chgData name="Nick Robinson" userId="d0c2b313-4ae0-4040-8c6a-fec7a720a7b5" providerId="ADAL" clId="{190131DE-6250-C84F-B491-721E6CF30BCB}" dt="2021-12-23T08:24:27.383" v="37188" actId="478"/>
          <ac:grpSpMkLst>
            <pc:docMk/>
            <pc:sldMk cId="2027674031" sldId="2147374223"/>
            <ac:grpSpMk id="533" creationId="{245ED9AE-25BA-C942-B474-CA8C3BBBE31F}"/>
          </ac:grpSpMkLst>
        </pc:grpChg>
        <pc:grpChg chg="del mod">
          <ac:chgData name="Nick Robinson" userId="d0c2b313-4ae0-4040-8c6a-fec7a720a7b5" providerId="ADAL" clId="{190131DE-6250-C84F-B491-721E6CF30BCB}" dt="2021-12-23T08:24:27.383" v="37188" actId="478"/>
          <ac:grpSpMkLst>
            <pc:docMk/>
            <pc:sldMk cId="2027674031" sldId="2147374223"/>
            <ac:grpSpMk id="536" creationId="{373277F9-AC9F-E043-914A-5295E0BB45B8}"/>
          </ac:grpSpMkLst>
        </pc:grpChg>
        <pc:grpChg chg="add mod">
          <ac:chgData name="Nick Robinson" userId="d0c2b313-4ae0-4040-8c6a-fec7a720a7b5" providerId="ADAL" clId="{190131DE-6250-C84F-B491-721E6CF30BCB}" dt="2021-12-23T08:24:28.161" v="37189"/>
          <ac:grpSpMkLst>
            <pc:docMk/>
            <pc:sldMk cId="2027674031" sldId="2147374223"/>
            <ac:grpSpMk id="548" creationId="{6238A959-E853-0540-B8D2-0D58621C52BB}"/>
          </ac:grpSpMkLst>
        </pc:grpChg>
        <pc:grpChg chg="del mod">
          <ac:chgData name="Nick Robinson" userId="d0c2b313-4ae0-4040-8c6a-fec7a720a7b5" providerId="ADAL" clId="{190131DE-6250-C84F-B491-721E6CF30BCB}" dt="2021-12-23T08:24:27.383" v="37188" actId="478"/>
          <ac:grpSpMkLst>
            <pc:docMk/>
            <pc:sldMk cId="2027674031" sldId="2147374223"/>
            <ac:grpSpMk id="549" creationId="{7D133B50-1CA5-4645-B0DE-27287A69AB03}"/>
          </ac:grpSpMkLst>
        </pc:grpChg>
        <pc:grpChg chg="del mod">
          <ac:chgData name="Nick Robinson" userId="d0c2b313-4ae0-4040-8c6a-fec7a720a7b5" providerId="ADAL" clId="{190131DE-6250-C84F-B491-721E6CF30BCB}" dt="2021-12-23T08:24:27.383" v="37188" actId="478"/>
          <ac:grpSpMkLst>
            <pc:docMk/>
            <pc:sldMk cId="2027674031" sldId="2147374223"/>
            <ac:grpSpMk id="552" creationId="{4AB496B8-8EBE-BD43-8002-7E401B7A0200}"/>
          </ac:grpSpMkLst>
        </pc:grpChg>
        <pc:grpChg chg="del mod">
          <ac:chgData name="Nick Robinson" userId="d0c2b313-4ae0-4040-8c6a-fec7a720a7b5" providerId="ADAL" clId="{190131DE-6250-C84F-B491-721E6CF30BCB}" dt="2021-12-23T08:24:27.383" v="37188" actId="478"/>
          <ac:grpSpMkLst>
            <pc:docMk/>
            <pc:sldMk cId="2027674031" sldId="2147374223"/>
            <ac:grpSpMk id="555" creationId="{FD27D65B-85BE-974D-A5D2-96CABADE13BB}"/>
          </ac:grpSpMkLst>
        </pc:grpChg>
        <pc:grpChg chg="del mod">
          <ac:chgData name="Nick Robinson" userId="d0c2b313-4ae0-4040-8c6a-fec7a720a7b5" providerId="ADAL" clId="{190131DE-6250-C84F-B491-721E6CF30BCB}" dt="2021-12-23T08:24:27.383" v="37188" actId="478"/>
          <ac:grpSpMkLst>
            <pc:docMk/>
            <pc:sldMk cId="2027674031" sldId="2147374223"/>
            <ac:grpSpMk id="561" creationId="{2C28106E-A1BA-3D4F-8801-DE6AB04EC415}"/>
          </ac:grpSpMkLst>
        </pc:grpChg>
        <pc:grpChg chg="del mod">
          <ac:chgData name="Nick Robinson" userId="d0c2b313-4ae0-4040-8c6a-fec7a720a7b5" providerId="ADAL" clId="{190131DE-6250-C84F-B491-721E6CF30BCB}" dt="2021-12-23T08:24:27.383" v="37188" actId="478"/>
          <ac:grpSpMkLst>
            <pc:docMk/>
            <pc:sldMk cId="2027674031" sldId="2147374223"/>
            <ac:grpSpMk id="564" creationId="{D92D8193-3828-2646-B203-67FFA79ACF1D}"/>
          </ac:grpSpMkLst>
        </pc:grpChg>
        <pc:grpChg chg="del mod">
          <ac:chgData name="Nick Robinson" userId="d0c2b313-4ae0-4040-8c6a-fec7a720a7b5" providerId="ADAL" clId="{190131DE-6250-C84F-B491-721E6CF30BCB}" dt="2021-12-23T08:24:27.383" v="37188" actId="478"/>
          <ac:grpSpMkLst>
            <pc:docMk/>
            <pc:sldMk cId="2027674031" sldId="2147374223"/>
            <ac:grpSpMk id="567" creationId="{76069F71-31D2-C842-961C-FA1C7F1B066B}"/>
          </ac:grpSpMkLst>
        </pc:grpChg>
        <pc:grpChg chg="del mod">
          <ac:chgData name="Nick Robinson" userId="d0c2b313-4ae0-4040-8c6a-fec7a720a7b5" providerId="ADAL" clId="{190131DE-6250-C84F-B491-721E6CF30BCB}" dt="2021-12-23T08:24:27.383" v="37188" actId="478"/>
          <ac:grpSpMkLst>
            <pc:docMk/>
            <pc:sldMk cId="2027674031" sldId="2147374223"/>
            <ac:grpSpMk id="570" creationId="{18F7E406-D8A6-314E-9BBE-EC34EC5D971D}"/>
          </ac:grpSpMkLst>
        </pc:grpChg>
        <pc:grpChg chg="del mod">
          <ac:chgData name="Nick Robinson" userId="d0c2b313-4ae0-4040-8c6a-fec7a720a7b5" providerId="ADAL" clId="{190131DE-6250-C84F-B491-721E6CF30BCB}" dt="2021-12-23T08:24:27.383" v="37188" actId="478"/>
          <ac:grpSpMkLst>
            <pc:docMk/>
            <pc:sldMk cId="2027674031" sldId="2147374223"/>
            <ac:grpSpMk id="573" creationId="{FEC2FEF6-5226-294D-A13E-3CFABB2F9DBA}"/>
          </ac:grpSpMkLst>
        </pc:grpChg>
        <pc:grpChg chg="del mod">
          <ac:chgData name="Nick Robinson" userId="d0c2b313-4ae0-4040-8c6a-fec7a720a7b5" providerId="ADAL" clId="{190131DE-6250-C84F-B491-721E6CF30BCB}" dt="2021-12-23T08:24:27.383" v="37188" actId="478"/>
          <ac:grpSpMkLst>
            <pc:docMk/>
            <pc:sldMk cId="2027674031" sldId="2147374223"/>
            <ac:grpSpMk id="576" creationId="{DA5C55AC-65C2-1D46-A772-62B7987E8F33}"/>
          </ac:grpSpMkLst>
        </pc:grpChg>
        <pc:grpChg chg="del mod">
          <ac:chgData name="Nick Robinson" userId="d0c2b313-4ae0-4040-8c6a-fec7a720a7b5" providerId="ADAL" clId="{190131DE-6250-C84F-B491-721E6CF30BCB}" dt="2021-12-23T08:24:27.383" v="37188" actId="478"/>
          <ac:grpSpMkLst>
            <pc:docMk/>
            <pc:sldMk cId="2027674031" sldId="2147374223"/>
            <ac:grpSpMk id="579" creationId="{273A3CFC-F2A0-5D45-832E-AC24DF5A5ACE}"/>
          </ac:grpSpMkLst>
        </pc:grpChg>
        <pc:grpChg chg="del mod">
          <ac:chgData name="Nick Robinson" userId="d0c2b313-4ae0-4040-8c6a-fec7a720a7b5" providerId="ADAL" clId="{190131DE-6250-C84F-B491-721E6CF30BCB}" dt="2021-12-23T08:24:27.383" v="37188" actId="478"/>
          <ac:grpSpMkLst>
            <pc:docMk/>
            <pc:sldMk cId="2027674031" sldId="2147374223"/>
            <ac:grpSpMk id="582" creationId="{3AF5CE05-4272-5747-BB70-05633DEAA1C5}"/>
          </ac:grpSpMkLst>
        </pc:grpChg>
        <pc:grpChg chg="del mod">
          <ac:chgData name="Nick Robinson" userId="d0c2b313-4ae0-4040-8c6a-fec7a720a7b5" providerId="ADAL" clId="{190131DE-6250-C84F-B491-721E6CF30BCB}" dt="2021-12-23T08:24:27.383" v="37188" actId="478"/>
          <ac:grpSpMkLst>
            <pc:docMk/>
            <pc:sldMk cId="2027674031" sldId="2147374223"/>
            <ac:grpSpMk id="585" creationId="{6F25DF8D-62D7-9B4C-A9FB-CAFBCEBC18D8}"/>
          </ac:grpSpMkLst>
        </pc:grpChg>
        <pc:grpChg chg="add mod">
          <ac:chgData name="Nick Robinson" userId="d0c2b313-4ae0-4040-8c6a-fec7a720a7b5" providerId="ADAL" clId="{190131DE-6250-C84F-B491-721E6CF30BCB}" dt="2021-12-23T08:24:28.161" v="37189"/>
          <ac:grpSpMkLst>
            <pc:docMk/>
            <pc:sldMk cId="2027674031" sldId="2147374223"/>
            <ac:grpSpMk id="589" creationId="{BFDFD931-3879-4F4F-AC8D-647D30CCE9CC}"/>
          </ac:grpSpMkLst>
        </pc:grpChg>
        <pc:grpChg chg="del mod">
          <ac:chgData name="Nick Robinson" userId="d0c2b313-4ae0-4040-8c6a-fec7a720a7b5" providerId="ADAL" clId="{190131DE-6250-C84F-B491-721E6CF30BCB}" dt="2021-12-23T08:24:27.383" v="37188" actId="478"/>
          <ac:grpSpMkLst>
            <pc:docMk/>
            <pc:sldMk cId="2027674031" sldId="2147374223"/>
            <ac:grpSpMk id="591" creationId="{47BF5209-9014-3649-90AF-BBA54DCB16E2}"/>
          </ac:grpSpMkLst>
        </pc:grpChg>
        <pc:grpChg chg="del mod">
          <ac:chgData name="Nick Robinson" userId="d0c2b313-4ae0-4040-8c6a-fec7a720a7b5" providerId="ADAL" clId="{190131DE-6250-C84F-B491-721E6CF30BCB}" dt="2021-12-23T08:24:27.383" v="37188" actId="478"/>
          <ac:grpSpMkLst>
            <pc:docMk/>
            <pc:sldMk cId="2027674031" sldId="2147374223"/>
            <ac:grpSpMk id="594" creationId="{624775B1-6CCF-4547-9A3F-503C48C0CD5F}"/>
          </ac:grpSpMkLst>
        </pc:grpChg>
        <pc:grpChg chg="del mod">
          <ac:chgData name="Nick Robinson" userId="d0c2b313-4ae0-4040-8c6a-fec7a720a7b5" providerId="ADAL" clId="{190131DE-6250-C84F-B491-721E6CF30BCB}" dt="2021-12-23T08:24:27.383" v="37188" actId="478"/>
          <ac:grpSpMkLst>
            <pc:docMk/>
            <pc:sldMk cId="2027674031" sldId="2147374223"/>
            <ac:grpSpMk id="597" creationId="{3F286EE6-1E67-E649-B34D-DEEEA7EC131C}"/>
          </ac:grpSpMkLst>
        </pc:grpChg>
        <pc:grpChg chg="del mod">
          <ac:chgData name="Nick Robinson" userId="d0c2b313-4ae0-4040-8c6a-fec7a720a7b5" providerId="ADAL" clId="{190131DE-6250-C84F-B491-721E6CF30BCB}" dt="2021-12-23T08:24:27.383" v="37188" actId="478"/>
          <ac:grpSpMkLst>
            <pc:docMk/>
            <pc:sldMk cId="2027674031" sldId="2147374223"/>
            <ac:grpSpMk id="600" creationId="{B2EF7EA7-CF50-5240-9071-EAAEF4BE8BB7}"/>
          </ac:grpSpMkLst>
        </pc:grpChg>
        <pc:grpChg chg="del mod">
          <ac:chgData name="Nick Robinson" userId="d0c2b313-4ae0-4040-8c6a-fec7a720a7b5" providerId="ADAL" clId="{190131DE-6250-C84F-B491-721E6CF30BCB}" dt="2021-12-23T08:24:27.383" v="37188" actId="478"/>
          <ac:grpSpMkLst>
            <pc:docMk/>
            <pc:sldMk cId="2027674031" sldId="2147374223"/>
            <ac:grpSpMk id="603" creationId="{EF9358A7-426B-904A-9EC3-C0E9724ABCD0}"/>
          </ac:grpSpMkLst>
        </pc:grpChg>
        <pc:grpChg chg="del mod">
          <ac:chgData name="Nick Robinson" userId="d0c2b313-4ae0-4040-8c6a-fec7a720a7b5" providerId="ADAL" clId="{190131DE-6250-C84F-B491-721E6CF30BCB}" dt="2021-12-23T08:24:27.383" v="37188" actId="478"/>
          <ac:grpSpMkLst>
            <pc:docMk/>
            <pc:sldMk cId="2027674031" sldId="2147374223"/>
            <ac:grpSpMk id="606" creationId="{023ABE9D-8564-0E43-94AA-4CB5A1D66007}"/>
          </ac:grpSpMkLst>
        </pc:grpChg>
        <pc:grpChg chg="del mod">
          <ac:chgData name="Nick Robinson" userId="d0c2b313-4ae0-4040-8c6a-fec7a720a7b5" providerId="ADAL" clId="{190131DE-6250-C84F-B491-721E6CF30BCB}" dt="2021-12-23T08:24:27.383" v="37188" actId="478"/>
          <ac:grpSpMkLst>
            <pc:docMk/>
            <pc:sldMk cId="2027674031" sldId="2147374223"/>
            <ac:grpSpMk id="609" creationId="{06044CCD-D366-1643-BC74-A097A905795A}"/>
          </ac:grpSpMkLst>
        </pc:grpChg>
        <pc:grpChg chg="del mod">
          <ac:chgData name="Nick Robinson" userId="d0c2b313-4ae0-4040-8c6a-fec7a720a7b5" providerId="ADAL" clId="{190131DE-6250-C84F-B491-721E6CF30BCB}" dt="2021-12-23T08:24:27.383" v="37188" actId="478"/>
          <ac:grpSpMkLst>
            <pc:docMk/>
            <pc:sldMk cId="2027674031" sldId="2147374223"/>
            <ac:grpSpMk id="612" creationId="{C93EC510-1D7B-1445-AC1A-D3B936A6FCAD}"/>
          </ac:grpSpMkLst>
        </pc:grpChg>
        <pc:grpChg chg="del mod">
          <ac:chgData name="Nick Robinson" userId="d0c2b313-4ae0-4040-8c6a-fec7a720a7b5" providerId="ADAL" clId="{190131DE-6250-C84F-B491-721E6CF30BCB}" dt="2021-12-23T08:24:27.383" v="37188" actId="478"/>
          <ac:grpSpMkLst>
            <pc:docMk/>
            <pc:sldMk cId="2027674031" sldId="2147374223"/>
            <ac:grpSpMk id="615" creationId="{68179C25-E475-B24B-A2DF-EF3ABDCC67C1}"/>
          </ac:grpSpMkLst>
        </pc:grpChg>
        <pc:grpChg chg="del mod">
          <ac:chgData name="Nick Robinson" userId="d0c2b313-4ae0-4040-8c6a-fec7a720a7b5" providerId="ADAL" clId="{190131DE-6250-C84F-B491-721E6CF30BCB}" dt="2021-12-23T08:24:27.383" v="37188" actId="478"/>
          <ac:grpSpMkLst>
            <pc:docMk/>
            <pc:sldMk cId="2027674031" sldId="2147374223"/>
            <ac:grpSpMk id="618" creationId="{24C3ED54-5947-FA45-A66E-41018EA0E861}"/>
          </ac:grpSpMkLst>
        </pc:grpChg>
        <pc:grpChg chg="del mod">
          <ac:chgData name="Nick Robinson" userId="d0c2b313-4ae0-4040-8c6a-fec7a720a7b5" providerId="ADAL" clId="{190131DE-6250-C84F-B491-721E6CF30BCB}" dt="2021-12-23T08:24:27.383" v="37188" actId="478"/>
          <ac:grpSpMkLst>
            <pc:docMk/>
            <pc:sldMk cId="2027674031" sldId="2147374223"/>
            <ac:grpSpMk id="621" creationId="{636D733D-92DA-CD4F-ABD4-298296C09389}"/>
          </ac:grpSpMkLst>
        </pc:grpChg>
        <pc:grpChg chg="del mod">
          <ac:chgData name="Nick Robinson" userId="d0c2b313-4ae0-4040-8c6a-fec7a720a7b5" providerId="ADAL" clId="{190131DE-6250-C84F-B491-721E6CF30BCB}" dt="2021-12-23T08:24:27.383" v="37188" actId="478"/>
          <ac:grpSpMkLst>
            <pc:docMk/>
            <pc:sldMk cId="2027674031" sldId="2147374223"/>
            <ac:grpSpMk id="624" creationId="{B9640ADD-CC2D-EC43-82BA-AE2C81E47FD2}"/>
          </ac:grpSpMkLst>
        </pc:grpChg>
        <pc:grpChg chg="del mod">
          <ac:chgData name="Nick Robinson" userId="d0c2b313-4ae0-4040-8c6a-fec7a720a7b5" providerId="ADAL" clId="{190131DE-6250-C84F-B491-721E6CF30BCB}" dt="2021-12-23T08:24:27.383" v="37188" actId="478"/>
          <ac:grpSpMkLst>
            <pc:docMk/>
            <pc:sldMk cId="2027674031" sldId="2147374223"/>
            <ac:grpSpMk id="627" creationId="{751A5D16-4D1F-BA44-9235-13E532C07D4B}"/>
          </ac:grpSpMkLst>
        </pc:grpChg>
        <pc:grpChg chg="del mod">
          <ac:chgData name="Nick Robinson" userId="d0c2b313-4ae0-4040-8c6a-fec7a720a7b5" providerId="ADAL" clId="{190131DE-6250-C84F-B491-721E6CF30BCB}" dt="2021-12-23T08:24:27.383" v="37188" actId="478"/>
          <ac:grpSpMkLst>
            <pc:docMk/>
            <pc:sldMk cId="2027674031" sldId="2147374223"/>
            <ac:grpSpMk id="630" creationId="{B1B191F7-0AA8-4B43-B520-34D3BD5C12A2}"/>
          </ac:grpSpMkLst>
        </pc:grpChg>
        <pc:grpChg chg="del mod">
          <ac:chgData name="Nick Robinson" userId="d0c2b313-4ae0-4040-8c6a-fec7a720a7b5" providerId="ADAL" clId="{190131DE-6250-C84F-B491-721E6CF30BCB}" dt="2021-12-23T08:24:27.383" v="37188" actId="478"/>
          <ac:grpSpMkLst>
            <pc:docMk/>
            <pc:sldMk cId="2027674031" sldId="2147374223"/>
            <ac:grpSpMk id="633" creationId="{A9CFA15A-E583-D845-84D2-EC146D46A771}"/>
          </ac:grpSpMkLst>
        </pc:grpChg>
        <pc:grpChg chg="del mod">
          <ac:chgData name="Nick Robinson" userId="d0c2b313-4ae0-4040-8c6a-fec7a720a7b5" providerId="ADAL" clId="{190131DE-6250-C84F-B491-721E6CF30BCB}" dt="2021-12-23T08:24:27.383" v="37188" actId="478"/>
          <ac:grpSpMkLst>
            <pc:docMk/>
            <pc:sldMk cId="2027674031" sldId="2147374223"/>
            <ac:grpSpMk id="636" creationId="{E94A6474-9531-6141-8DCE-4B099874A355}"/>
          </ac:grpSpMkLst>
        </pc:grpChg>
        <pc:grpChg chg="del mod">
          <ac:chgData name="Nick Robinson" userId="d0c2b313-4ae0-4040-8c6a-fec7a720a7b5" providerId="ADAL" clId="{190131DE-6250-C84F-B491-721E6CF30BCB}" dt="2021-12-23T08:24:27.383" v="37188" actId="478"/>
          <ac:grpSpMkLst>
            <pc:docMk/>
            <pc:sldMk cId="2027674031" sldId="2147374223"/>
            <ac:grpSpMk id="639" creationId="{9A9D06F2-D773-C645-9D41-A8B819A251D2}"/>
          </ac:grpSpMkLst>
        </pc:grpChg>
        <pc:grpChg chg="del mod">
          <ac:chgData name="Nick Robinson" userId="d0c2b313-4ae0-4040-8c6a-fec7a720a7b5" providerId="ADAL" clId="{190131DE-6250-C84F-B491-721E6CF30BCB}" dt="2021-12-23T08:24:27.383" v="37188" actId="478"/>
          <ac:grpSpMkLst>
            <pc:docMk/>
            <pc:sldMk cId="2027674031" sldId="2147374223"/>
            <ac:grpSpMk id="642" creationId="{FF514277-F8E3-5F43-B78D-F6BAD05F6E13}"/>
          </ac:grpSpMkLst>
        </pc:grpChg>
        <pc:grpChg chg="del mod">
          <ac:chgData name="Nick Robinson" userId="d0c2b313-4ae0-4040-8c6a-fec7a720a7b5" providerId="ADAL" clId="{190131DE-6250-C84F-B491-721E6CF30BCB}" dt="2021-12-23T08:24:27.383" v="37188" actId="478"/>
          <ac:grpSpMkLst>
            <pc:docMk/>
            <pc:sldMk cId="2027674031" sldId="2147374223"/>
            <ac:grpSpMk id="645" creationId="{6BE6DE9F-8C85-4C4A-A2BF-239D216FE239}"/>
          </ac:grpSpMkLst>
        </pc:grpChg>
        <pc:grpChg chg="del mod">
          <ac:chgData name="Nick Robinson" userId="d0c2b313-4ae0-4040-8c6a-fec7a720a7b5" providerId="ADAL" clId="{190131DE-6250-C84F-B491-721E6CF30BCB}" dt="2021-12-23T08:24:27.383" v="37188" actId="478"/>
          <ac:grpSpMkLst>
            <pc:docMk/>
            <pc:sldMk cId="2027674031" sldId="2147374223"/>
            <ac:grpSpMk id="648" creationId="{540BDCAB-AFE6-214D-8130-96025BF2B3EB}"/>
          </ac:grpSpMkLst>
        </pc:grpChg>
        <pc:grpChg chg="del mod">
          <ac:chgData name="Nick Robinson" userId="d0c2b313-4ae0-4040-8c6a-fec7a720a7b5" providerId="ADAL" clId="{190131DE-6250-C84F-B491-721E6CF30BCB}" dt="2021-12-23T08:24:27.383" v="37188" actId="478"/>
          <ac:grpSpMkLst>
            <pc:docMk/>
            <pc:sldMk cId="2027674031" sldId="2147374223"/>
            <ac:grpSpMk id="651" creationId="{F530E45B-AD6E-3A4B-965E-5CDBDF27F94B}"/>
          </ac:grpSpMkLst>
        </pc:grpChg>
        <pc:grpChg chg="del mod">
          <ac:chgData name="Nick Robinson" userId="d0c2b313-4ae0-4040-8c6a-fec7a720a7b5" providerId="ADAL" clId="{190131DE-6250-C84F-B491-721E6CF30BCB}" dt="2021-12-23T08:24:27.383" v="37188" actId="478"/>
          <ac:grpSpMkLst>
            <pc:docMk/>
            <pc:sldMk cId="2027674031" sldId="2147374223"/>
            <ac:grpSpMk id="654" creationId="{44D66C39-79E6-F84D-AB2B-B1EC80ACE0CA}"/>
          </ac:grpSpMkLst>
        </pc:grpChg>
        <pc:grpChg chg="del mod">
          <ac:chgData name="Nick Robinson" userId="d0c2b313-4ae0-4040-8c6a-fec7a720a7b5" providerId="ADAL" clId="{190131DE-6250-C84F-B491-721E6CF30BCB}" dt="2021-12-23T08:24:27.383" v="37188" actId="478"/>
          <ac:grpSpMkLst>
            <pc:docMk/>
            <pc:sldMk cId="2027674031" sldId="2147374223"/>
            <ac:grpSpMk id="657" creationId="{3B4D55B3-0363-4847-B786-AE2957C66B55}"/>
          </ac:grpSpMkLst>
        </pc:grpChg>
        <pc:grpChg chg="del mod">
          <ac:chgData name="Nick Robinson" userId="d0c2b313-4ae0-4040-8c6a-fec7a720a7b5" providerId="ADAL" clId="{190131DE-6250-C84F-B491-721E6CF30BCB}" dt="2021-12-23T08:24:27.383" v="37188" actId="478"/>
          <ac:grpSpMkLst>
            <pc:docMk/>
            <pc:sldMk cId="2027674031" sldId="2147374223"/>
            <ac:grpSpMk id="660" creationId="{E067C0A6-D706-A746-9D1D-6865C01CAEE6}"/>
          </ac:grpSpMkLst>
        </pc:grpChg>
        <pc:grpChg chg="add mod">
          <ac:chgData name="Nick Robinson" userId="d0c2b313-4ae0-4040-8c6a-fec7a720a7b5" providerId="ADAL" clId="{190131DE-6250-C84F-B491-721E6CF30BCB}" dt="2021-12-23T08:24:28.161" v="37189"/>
          <ac:grpSpMkLst>
            <pc:docMk/>
            <pc:sldMk cId="2027674031" sldId="2147374223"/>
            <ac:grpSpMk id="664" creationId="{3998892E-2170-7A4B-B13D-E1813D103A0B}"/>
          </ac:grpSpMkLst>
        </pc:grpChg>
        <pc:grpChg chg="del mod">
          <ac:chgData name="Nick Robinson" userId="d0c2b313-4ae0-4040-8c6a-fec7a720a7b5" providerId="ADAL" clId="{190131DE-6250-C84F-B491-721E6CF30BCB}" dt="2021-12-23T08:24:27.383" v="37188" actId="478"/>
          <ac:grpSpMkLst>
            <pc:docMk/>
            <pc:sldMk cId="2027674031" sldId="2147374223"/>
            <ac:grpSpMk id="666" creationId="{EFD0FAB5-F343-0D4E-806B-F794B4DE192B}"/>
          </ac:grpSpMkLst>
        </pc:grpChg>
        <pc:grpChg chg="del mod">
          <ac:chgData name="Nick Robinson" userId="d0c2b313-4ae0-4040-8c6a-fec7a720a7b5" providerId="ADAL" clId="{190131DE-6250-C84F-B491-721E6CF30BCB}" dt="2021-12-23T08:24:27.383" v="37188" actId="478"/>
          <ac:grpSpMkLst>
            <pc:docMk/>
            <pc:sldMk cId="2027674031" sldId="2147374223"/>
            <ac:grpSpMk id="669" creationId="{7DC2748B-7BB2-3744-981D-12E04C3532D8}"/>
          </ac:grpSpMkLst>
        </pc:grpChg>
        <pc:grpChg chg="del mod">
          <ac:chgData name="Nick Robinson" userId="d0c2b313-4ae0-4040-8c6a-fec7a720a7b5" providerId="ADAL" clId="{190131DE-6250-C84F-B491-721E6CF30BCB}" dt="2021-12-23T08:24:27.383" v="37188" actId="478"/>
          <ac:grpSpMkLst>
            <pc:docMk/>
            <pc:sldMk cId="2027674031" sldId="2147374223"/>
            <ac:grpSpMk id="672" creationId="{5F854C5B-DBA8-5E46-A85A-CB7AFA77D960}"/>
          </ac:grpSpMkLst>
        </pc:grpChg>
        <pc:grpChg chg="del mod">
          <ac:chgData name="Nick Robinson" userId="d0c2b313-4ae0-4040-8c6a-fec7a720a7b5" providerId="ADAL" clId="{190131DE-6250-C84F-B491-721E6CF30BCB}" dt="2021-12-23T08:24:27.383" v="37188" actId="478"/>
          <ac:grpSpMkLst>
            <pc:docMk/>
            <pc:sldMk cId="2027674031" sldId="2147374223"/>
            <ac:grpSpMk id="675" creationId="{A4BFE93B-1FEF-FD4A-9E01-D8BF8C8EDED4}"/>
          </ac:grpSpMkLst>
        </pc:grpChg>
        <pc:grpChg chg="del mod">
          <ac:chgData name="Nick Robinson" userId="d0c2b313-4ae0-4040-8c6a-fec7a720a7b5" providerId="ADAL" clId="{190131DE-6250-C84F-B491-721E6CF30BCB}" dt="2021-12-23T08:24:27.383" v="37188" actId="478"/>
          <ac:grpSpMkLst>
            <pc:docMk/>
            <pc:sldMk cId="2027674031" sldId="2147374223"/>
            <ac:grpSpMk id="678" creationId="{B39D135A-6E9C-194D-8694-85AD41B6F033}"/>
          </ac:grpSpMkLst>
        </pc:grpChg>
        <pc:grpChg chg="del mod">
          <ac:chgData name="Nick Robinson" userId="d0c2b313-4ae0-4040-8c6a-fec7a720a7b5" providerId="ADAL" clId="{190131DE-6250-C84F-B491-721E6CF30BCB}" dt="2021-12-23T08:24:27.383" v="37188" actId="478"/>
          <ac:grpSpMkLst>
            <pc:docMk/>
            <pc:sldMk cId="2027674031" sldId="2147374223"/>
            <ac:grpSpMk id="681" creationId="{8C28C60A-380D-0D48-9FE3-C04C6C7B973E}"/>
          </ac:grpSpMkLst>
        </pc:grpChg>
        <pc:grpChg chg="del mod">
          <ac:chgData name="Nick Robinson" userId="d0c2b313-4ae0-4040-8c6a-fec7a720a7b5" providerId="ADAL" clId="{190131DE-6250-C84F-B491-721E6CF30BCB}" dt="2021-12-23T08:24:27.383" v="37188" actId="478"/>
          <ac:grpSpMkLst>
            <pc:docMk/>
            <pc:sldMk cId="2027674031" sldId="2147374223"/>
            <ac:grpSpMk id="684" creationId="{628DD375-CD67-9C44-8443-5958CD504DC3}"/>
          </ac:grpSpMkLst>
        </pc:grpChg>
        <pc:grpChg chg="del mod">
          <ac:chgData name="Nick Robinson" userId="d0c2b313-4ae0-4040-8c6a-fec7a720a7b5" providerId="ADAL" clId="{190131DE-6250-C84F-B491-721E6CF30BCB}" dt="2021-12-23T08:24:27.383" v="37188" actId="478"/>
          <ac:grpSpMkLst>
            <pc:docMk/>
            <pc:sldMk cId="2027674031" sldId="2147374223"/>
            <ac:grpSpMk id="687" creationId="{7AE78289-2C21-5541-AF14-89B71E119356}"/>
          </ac:grpSpMkLst>
        </pc:grpChg>
        <pc:grpChg chg="del mod">
          <ac:chgData name="Nick Robinson" userId="d0c2b313-4ae0-4040-8c6a-fec7a720a7b5" providerId="ADAL" clId="{190131DE-6250-C84F-B491-721E6CF30BCB}" dt="2021-12-23T08:24:27.383" v="37188" actId="478"/>
          <ac:grpSpMkLst>
            <pc:docMk/>
            <pc:sldMk cId="2027674031" sldId="2147374223"/>
            <ac:grpSpMk id="690" creationId="{A6739226-4C2F-864B-8765-9E33106F6EB8}"/>
          </ac:grpSpMkLst>
        </pc:grpChg>
        <pc:grpChg chg="del mod">
          <ac:chgData name="Nick Robinson" userId="d0c2b313-4ae0-4040-8c6a-fec7a720a7b5" providerId="ADAL" clId="{190131DE-6250-C84F-B491-721E6CF30BCB}" dt="2021-12-23T08:24:27.383" v="37188" actId="478"/>
          <ac:grpSpMkLst>
            <pc:docMk/>
            <pc:sldMk cId="2027674031" sldId="2147374223"/>
            <ac:grpSpMk id="693" creationId="{EFBA1095-D7F3-7441-A9A4-C2CCB429892F}"/>
          </ac:grpSpMkLst>
        </pc:grpChg>
        <pc:grpChg chg="del mod">
          <ac:chgData name="Nick Robinson" userId="d0c2b313-4ae0-4040-8c6a-fec7a720a7b5" providerId="ADAL" clId="{190131DE-6250-C84F-B491-721E6CF30BCB}" dt="2021-12-23T08:24:27.383" v="37188" actId="478"/>
          <ac:grpSpMkLst>
            <pc:docMk/>
            <pc:sldMk cId="2027674031" sldId="2147374223"/>
            <ac:grpSpMk id="696" creationId="{24B4A911-55B4-A942-9CA0-A140CB0B6DAF}"/>
          </ac:grpSpMkLst>
        </pc:grpChg>
        <pc:grpChg chg="add mod">
          <ac:chgData name="Nick Robinson" userId="d0c2b313-4ae0-4040-8c6a-fec7a720a7b5" providerId="ADAL" clId="{190131DE-6250-C84F-B491-721E6CF30BCB}" dt="2021-12-23T08:24:28.161" v="37189"/>
          <ac:grpSpMkLst>
            <pc:docMk/>
            <pc:sldMk cId="2027674031" sldId="2147374223"/>
            <ac:grpSpMk id="700" creationId="{67C6A092-6344-2D46-8346-13898F18A381}"/>
          </ac:grpSpMkLst>
        </pc:grpChg>
        <pc:grpChg chg="del mod">
          <ac:chgData name="Nick Robinson" userId="d0c2b313-4ae0-4040-8c6a-fec7a720a7b5" providerId="ADAL" clId="{190131DE-6250-C84F-B491-721E6CF30BCB}" dt="2021-12-23T08:24:27.383" v="37188" actId="478"/>
          <ac:grpSpMkLst>
            <pc:docMk/>
            <pc:sldMk cId="2027674031" sldId="2147374223"/>
            <ac:grpSpMk id="702" creationId="{878C7CBD-7643-1D42-A08A-D5E69C7B2D76}"/>
          </ac:grpSpMkLst>
        </pc:grpChg>
        <pc:grpChg chg="add mod">
          <ac:chgData name="Nick Robinson" userId="d0c2b313-4ae0-4040-8c6a-fec7a720a7b5" providerId="ADAL" clId="{190131DE-6250-C84F-B491-721E6CF30BCB}" dt="2021-12-23T08:24:28.161" v="37189"/>
          <ac:grpSpMkLst>
            <pc:docMk/>
            <pc:sldMk cId="2027674031" sldId="2147374223"/>
            <ac:grpSpMk id="706" creationId="{A7507AC1-244B-1444-BADB-D9381CB6F8B4}"/>
          </ac:grpSpMkLst>
        </pc:grpChg>
        <pc:grpChg chg="add mod">
          <ac:chgData name="Nick Robinson" userId="d0c2b313-4ae0-4040-8c6a-fec7a720a7b5" providerId="ADAL" clId="{190131DE-6250-C84F-B491-721E6CF30BCB}" dt="2021-12-23T08:24:28.161" v="37189"/>
          <ac:grpSpMkLst>
            <pc:docMk/>
            <pc:sldMk cId="2027674031" sldId="2147374223"/>
            <ac:grpSpMk id="709" creationId="{BDF30ADF-E5B1-D54F-89C9-297EF97B86EC}"/>
          </ac:grpSpMkLst>
        </pc:grpChg>
        <pc:grpChg chg="add mod">
          <ac:chgData name="Nick Robinson" userId="d0c2b313-4ae0-4040-8c6a-fec7a720a7b5" providerId="ADAL" clId="{190131DE-6250-C84F-B491-721E6CF30BCB}" dt="2021-12-23T09:21:31.131" v="39222" actId="1076"/>
          <ac:grpSpMkLst>
            <pc:docMk/>
            <pc:sldMk cId="2027674031" sldId="2147374223"/>
            <ac:grpSpMk id="712" creationId="{729AD864-A83B-7641-A286-B7B9B9543F05}"/>
          </ac:grpSpMkLst>
        </pc:grpChg>
        <pc:grpChg chg="add mod">
          <ac:chgData name="Nick Robinson" userId="d0c2b313-4ae0-4040-8c6a-fec7a720a7b5" providerId="ADAL" clId="{190131DE-6250-C84F-B491-721E6CF30BCB}" dt="2021-12-23T09:21:33.831" v="39223" actId="1076"/>
          <ac:grpSpMkLst>
            <pc:docMk/>
            <pc:sldMk cId="2027674031" sldId="2147374223"/>
            <ac:grpSpMk id="715" creationId="{73669932-6BCF-DB47-813E-6F3C33E061D6}"/>
          </ac:grpSpMkLst>
        </pc:grpChg>
        <pc:grpChg chg="add mod">
          <ac:chgData name="Nick Robinson" userId="d0c2b313-4ae0-4040-8c6a-fec7a720a7b5" providerId="ADAL" clId="{190131DE-6250-C84F-B491-721E6CF30BCB}" dt="2021-12-23T08:24:28.161" v="37189"/>
          <ac:grpSpMkLst>
            <pc:docMk/>
            <pc:sldMk cId="2027674031" sldId="2147374223"/>
            <ac:grpSpMk id="718" creationId="{C866EF26-56A5-C04D-A901-A2A94C468F26}"/>
          </ac:grpSpMkLst>
        </pc:grpChg>
        <pc:grpChg chg="add mod">
          <ac:chgData name="Nick Robinson" userId="d0c2b313-4ae0-4040-8c6a-fec7a720a7b5" providerId="ADAL" clId="{190131DE-6250-C84F-B491-721E6CF30BCB}" dt="2021-12-23T08:24:28.161" v="37189"/>
          <ac:grpSpMkLst>
            <pc:docMk/>
            <pc:sldMk cId="2027674031" sldId="2147374223"/>
            <ac:grpSpMk id="721" creationId="{E37C1B8F-F036-DF4E-A7A3-3E27926D20CC}"/>
          </ac:grpSpMkLst>
        </pc:grpChg>
        <pc:grpChg chg="add mod">
          <ac:chgData name="Nick Robinson" userId="d0c2b313-4ae0-4040-8c6a-fec7a720a7b5" providerId="ADAL" clId="{190131DE-6250-C84F-B491-721E6CF30BCB}" dt="2021-12-23T08:24:28.161" v="37189"/>
          <ac:grpSpMkLst>
            <pc:docMk/>
            <pc:sldMk cId="2027674031" sldId="2147374223"/>
            <ac:grpSpMk id="724" creationId="{697B0DF3-FF06-5349-B421-BC560001898E}"/>
          </ac:grpSpMkLst>
        </pc:grpChg>
        <pc:grpChg chg="add mod">
          <ac:chgData name="Nick Robinson" userId="d0c2b313-4ae0-4040-8c6a-fec7a720a7b5" providerId="ADAL" clId="{190131DE-6250-C84F-B491-721E6CF30BCB}" dt="2021-12-23T08:24:28.161" v="37189"/>
          <ac:grpSpMkLst>
            <pc:docMk/>
            <pc:sldMk cId="2027674031" sldId="2147374223"/>
            <ac:grpSpMk id="727" creationId="{D7C6F8BF-711E-2949-9B9C-94411280A2E2}"/>
          </ac:grpSpMkLst>
        </pc:grpChg>
        <pc:grpChg chg="add mod">
          <ac:chgData name="Nick Robinson" userId="d0c2b313-4ae0-4040-8c6a-fec7a720a7b5" providerId="ADAL" clId="{190131DE-6250-C84F-B491-721E6CF30BCB}" dt="2021-12-23T08:24:28.161" v="37189"/>
          <ac:grpSpMkLst>
            <pc:docMk/>
            <pc:sldMk cId="2027674031" sldId="2147374223"/>
            <ac:grpSpMk id="730" creationId="{946F3465-7F3F-CD45-884C-6339D03176E4}"/>
          </ac:grpSpMkLst>
        </pc:grpChg>
        <pc:grpChg chg="add mod">
          <ac:chgData name="Nick Robinson" userId="d0c2b313-4ae0-4040-8c6a-fec7a720a7b5" providerId="ADAL" clId="{190131DE-6250-C84F-B491-721E6CF30BCB}" dt="2021-12-23T08:24:28.161" v="37189"/>
          <ac:grpSpMkLst>
            <pc:docMk/>
            <pc:sldMk cId="2027674031" sldId="2147374223"/>
            <ac:grpSpMk id="733" creationId="{1DD03898-9674-7748-80DC-E87758C06CC6}"/>
          </ac:grpSpMkLst>
        </pc:grpChg>
        <pc:grpChg chg="add mod">
          <ac:chgData name="Nick Robinson" userId="d0c2b313-4ae0-4040-8c6a-fec7a720a7b5" providerId="ADAL" clId="{190131DE-6250-C84F-B491-721E6CF30BCB}" dt="2021-12-23T08:24:28.161" v="37189"/>
          <ac:grpSpMkLst>
            <pc:docMk/>
            <pc:sldMk cId="2027674031" sldId="2147374223"/>
            <ac:grpSpMk id="736" creationId="{EC7247F1-972B-BB49-9328-549A8FB7FA23}"/>
          </ac:grpSpMkLst>
        </pc:grpChg>
        <pc:grpChg chg="add mod">
          <ac:chgData name="Nick Robinson" userId="d0c2b313-4ae0-4040-8c6a-fec7a720a7b5" providerId="ADAL" clId="{190131DE-6250-C84F-B491-721E6CF30BCB}" dt="2021-12-23T08:24:28.161" v="37189"/>
          <ac:grpSpMkLst>
            <pc:docMk/>
            <pc:sldMk cId="2027674031" sldId="2147374223"/>
            <ac:grpSpMk id="739" creationId="{1C584286-98C8-C84A-87A6-8FD0E525E903}"/>
          </ac:grpSpMkLst>
        </pc:grpChg>
        <pc:grpChg chg="add mod">
          <ac:chgData name="Nick Robinson" userId="d0c2b313-4ae0-4040-8c6a-fec7a720a7b5" providerId="ADAL" clId="{190131DE-6250-C84F-B491-721E6CF30BCB}" dt="2021-12-23T08:24:28.161" v="37189"/>
          <ac:grpSpMkLst>
            <pc:docMk/>
            <pc:sldMk cId="2027674031" sldId="2147374223"/>
            <ac:grpSpMk id="742" creationId="{C5E421CA-3CC2-D44A-8257-D49F86DF2B5D}"/>
          </ac:grpSpMkLst>
        </pc:grpChg>
        <pc:grpChg chg="del mod">
          <ac:chgData name="Nick Robinson" userId="d0c2b313-4ae0-4040-8c6a-fec7a720a7b5" providerId="ADAL" clId="{190131DE-6250-C84F-B491-721E6CF30BCB}" dt="2021-12-23T08:24:27.383" v="37188" actId="478"/>
          <ac:grpSpMkLst>
            <pc:docMk/>
            <pc:sldMk cId="2027674031" sldId="2147374223"/>
            <ac:grpSpMk id="744" creationId="{536C3678-A84E-FF4A-8780-AD29E4D0BC72}"/>
          </ac:grpSpMkLst>
        </pc:grpChg>
        <pc:grpChg chg="del mod">
          <ac:chgData name="Nick Robinson" userId="d0c2b313-4ae0-4040-8c6a-fec7a720a7b5" providerId="ADAL" clId="{190131DE-6250-C84F-B491-721E6CF30BCB}" dt="2021-12-23T08:24:27.383" v="37188" actId="478"/>
          <ac:grpSpMkLst>
            <pc:docMk/>
            <pc:sldMk cId="2027674031" sldId="2147374223"/>
            <ac:grpSpMk id="747" creationId="{BDD7B930-E0F5-C646-8E68-0773565F1B8A}"/>
          </ac:grpSpMkLst>
        </pc:grpChg>
        <pc:grpChg chg="del mod">
          <ac:chgData name="Nick Robinson" userId="d0c2b313-4ae0-4040-8c6a-fec7a720a7b5" providerId="ADAL" clId="{190131DE-6250-C84F-B491-721E6CF30BCB}" dt="2021-12-23T08:24:27.383" v="37188" actId="478"/>
          <ac:grpSpMkLst>
            <pc:docMk/>
            <pc:sldMk cId="2027674031" sldId="2147374223"/>
            <ac:grpSpMk id="750" creationId="{BB6CC24C-767D-024B-8A80-683FA2AADCD0}"/>
          </ac:grpSpMkLst>
        </pc:grpChg>
        <pc:grpChg chg="del mod">
          <ac:chgData name="Nick Robinson" userId="d0c2b313-4ae0-4040-8c6a-fec7a720a7b5" providerId="ADAL" clId="{190131DE-6250-C84F-B491-721E6CF30BCB}" dt="2021-12-23T08:24:27.383" v="37188" actId="478"/>
          <ac:grpSpMkLst>
            <pc:docMk/>
            <pc:sldMk cId="2027674031" sldId="2147374223"/>
            <ac:grpSpMk id="753" creationId="{95B805B6-0C65-7046-BF93-D5519EDCE508}"/>
          </ac:grpSpMkLst>
        </pc:grpChg>
        <pc:grpChg chg="add mod">
          <ac:chgData name="Nick Robinson" userId="d0c2b313-4ae0-4040-8c6a-fec7a720a7b5" providerId="ADAL" clId="{190131DE-6250-C84F-B491-721E6CF30BCB}" dt="2021-12-23T08:24:28.161" v="37189"/>
          <ac:grpSpMkLst>
            <pc:docMk/>
            <pc:sldMk cId="2027674031" sldId="2147374223"/>
            <ac:grpSpMk id="757" creationId="{FB983456-4462-994F-B90A-C823F7EC8E29}"/>
          </ac:grpSpMkLst>
        </pc:grpChg>
        <pc:grpChg chg="del mod">
          <ac:chgData name="Nick Robinson" userId="d0c2b313-4ae0-4040-8c6a-fec7a720a7b5" providerId="ADAL" clId="{190131DE-6250-C84F-B491-721E6CF30BCB}" dt="2021-12-23T08:24:27.383" v="37188" actId="478"/>
          <ac:grpSpMkLst>
            <pc:docMk/>
            <pc:sldMk cId="2027674031" sldId="2147374223"/>
            <ac:grpSpMk id="759" creationId="{A474AB66-6071-6040-B3E5-94A7118F3E66}"/>
          </ac:grpSpMkLst>
        </pc:grpChg>
        <pc:grpChg chg="add mod">
          <ac:chgData name="Nick Robinson" userId="d0c2b313-4ae0-4040-8c6a-fec7a720a7b5" providerId="ADAL" clId="{190131DE-6250-C84F-B491-721E6CF30BCB}" dt="2021-12-23T08:24:28.161" v="37189"/>
          <ac:grpSpMkLst>
            <pc:docMk/>
            <pc:sldMk cId="2027674031" sldId="2147374223"/>
            <ac:grpSpMk id="763" creationId="{A063507C-A567-D54C-A63A-A9DFDF87A1BC}"/>
          </ac:grpSpMkLst>
        </pc:grpChg>
        <pc:grpChg chg="add mod">
          <ac:chgData name="Nick Robinson" userId="d0c2b313-4ae0-4040-8c6a-fec7a720a7b5" providerId="ADAL" clId="{190131DE-6250-C84F-B491-721E6CF30BCB}" dt="2021-12-23T08:24:28.161" v="37189"/>
          <ac:grpSpMkLst>
            <pc:docMk/>
            <pc:sldMk cId="2027674031" sldId="2147374223"/>
            <ac:grpSpMk id="766" creationId="{592362AA-2A01-8645-930E-3444E26BA43A}"/>
          </ac:grpSpMkLst>
        </pc:grpChg>
        <pc:grpChg chg="del mod">
          <ac:chgData name="Nick Robinson" userId="d0c2b313-4ae0-4040-8c6a-fec7a720a7b5" providerId="ADAL" clId="{190131DE-6250-C84F-B491-721E6CF30BCB}" dt="2021-12-23T08:24:27.383" v="37188" actId="478"/>
          <ac:grpSpMkLst>
            <pc:docMk/>
            <pc:sldMk cId="2027674031" sldId="2147374223"/>
            <ac:grpSpMk id="768" creationId="{F57DB804-94A1-6944-9832-D10EB987E2CD}"/>
          </ac:grpSpMkLst>
        </pc:grpChg>
        <pc:grpChg chg="del mod">
          <ac:chgData name="Nick Robinson" userId="d0c2b313-4ae0-4040-8c6a-fec7a720a7b5" providerId="ADAL" clId="{190131DE-6250-C84F-B491-721E6CF30BCB}" dt="2021-12-23T08:24:27.383" v="37188" actId="478"/>
          <ac:grpSpMkLst>
            <pc:docMk/>
            <pc:sldMk cId="2027674031" sldId="2147374223"/>
            <ac:grpSpMk id="771" creationId="{1BA9F96C-4FD4-994B-B8E0-6B1E1FB07F97}"/>
          </ac:grpSpMkLst>
        </pc:grpChg>
        <pc:grpChg chg="del mod">
          <ac:chgData name="Nick Robinson" userId="d0c2b313-4ae0-4040-8c6a-fec7a720a7b5" providerId="ADAL" clId="{190131DE-6250-C84F-B491-721E6CF30BCB}" dt="2021-12-23T08:24:27.383" v="37188" actId="478"/>
          <ac:grpSpMkLst>
            <pc:docMk/>
            <pc:sldMk cId="2027674031" sldId="2147374223"/>
            <ac:grpSpMk id="774" creationId="{6372ECA2-9234-574A-9828-5CFD1BEB634E}"/>
          </ac:grpSpMkLst>
        </pc:grpChg>
        <pc:grpChg chg="del mod">
          <ac:chgData name="Nick Robinson" userId="d0c2b313-4ae0-4040-8c6a-fec7a720a7b5" providerId="ADAL" clId="{190131DE-6250-C84F-B491-721E6CF30BCB}" dt="2021-12-23T08:24:27.383" v="37188" actId="478"/>
          <ac:grpSpMkLst>
            <pc:docMk/>
            <pc:sldMk cId="2027674031" sldId="2147374223"/>
            <ac:grpSpMk id="777" creationId="{8CEA52F3-2288-1C4F-A266-3E5DB734A4ED}"/>
          </ac:grpSpMkLst>
        </pc:grpChg>
        <pc:grpChg chg="del mod">
          <ac:chgData name="Nick Robinson" userId="d0c2b313-4ae0-4040-8c6a-fec7a720a7b5" providerId="ADAL" clId="{190131DE-6250-C84F-B491-721E6CF30BCB}" dt="2021-12-23T08:24:27.383" v="37188" actId="478"/>
          <ac:grpSpMkLst>
            <pc:docMk/>
            <pc:sldMk cId="2027674031" sldId="2147374223"/>
            <ac:grpSpMk id="780" creationId="{3DCFFC92-AA22-C647-85F0-8128D51C96DA}"/>
          </ac:grpSpMkLst>
        </pc:grpChg>
        <pc:grpChg chg="add mod">
          <ac:chgData name="Nick Robinson" userId="d0c2b313-4ae0-4040-8c6a-fec7a720a7b5" providerId="ADAL" clId="{190131DE-6250-C84F-B491-721E6CF30BCB}" dt="2021-12-23T08:24:28.161" v="37189"/>
          <ac:grpSpMkLst>
            <pc:docMk/>
            <pc:sldMk cId="2027674031" sldId="2147374223"/>
            <ac:grpSpMk id="784" creationId="{1CB40C26-90C3-9045-9169-8AB22B6FEA45}"/>
          </ac:grpSpMkLst>
        </pc:grpChg>
        <pc:grpChg chg="del mod">
          <ac:chgData name="Nick Robinson" userId="d0c2b313-4ae0-4040-8c6a-fec7a720a7b5" providerId="ADAL" clId="{190131DE-6250-C84F-B491-721E6CF30BCB}" dt="2021-12-23T08:24:27.383" v="37188" actId="478"/>
          <ac:grpSpMkLst>
            <pc:docMk/>
            <pc:sldMk cId="2027674031" sldId="2147374223"/>
            <ac:grpSpMk id="788" creationId="{C7DF215B-9090-834E-BB4A-BCC22A2937A8}"/>
          </ac:grpSpMkLst>
        </pc:grpChg>
        <pc:grpChg chg="del mod">
          <ac:chgData name="Nick Robinson" userId="d0c2b313-4ae0-4040-8c6a-fec7a720a7b5" providerId="ADAL" clId="{190131DE-6250-C84F-B491-721E6CF30BCB}" dt="2021-12-23T08:24:27.383" v="37188" actId="478"/>
          <ac:grpSpMkLst>
            <pc:docMk/>
            <pc:sldMk cId="2027674031" sldId="2147374223"/>
            <ac:grpSpMk id="791" creationId="{3EDF34F3-C8AC-1C49-9DFB-58A46421B507}"/>
          </ac:grpSpMkLst>
        </pc:grpChg>
        <pc:grpChg chg="add mod">
          <ac:chgData name="Nick Robinson" userId="d0c2b313-4ae0-4040-8c6a-fec7a720a7b5" providerId="ADAL" clId="{190131DE-6250-C84F-B491-721E6CF30BCB}" dt="2021-12-23T08:24:28.161" v="37189"/>
          <ac:grpSpMkLst>
            <pc:docMk/>
            <pc:sldMk cId="2027674031" sldId="2147374223"/>
            <ac:grpSpMk id="799" creationId="{4B58906A-6379-1545-81C5-F4E9F86378DE}"/>
          </ac:grpSpMkLst>
        </pc:grpChg>
        <pc:grpChg chg="add mod">
          <ac:chgData name="Nick Robinson" userId="d0c2b313-4ae0-4040-8c6a-fec7a720a7b5" providerId="ADAL" clId="{190131DE-6250-C84F-B491-721E6CF30BCB}" dt="2021-12-23T08:24:28.161" v="37189"/>
          <ac:grpSpMkLst>
            <pc:docMk/>
            <pc:sldMk cId="2027674031" sldId="2147374223"/>
            <ac:grpSpMk id="802" creationId="{17A7CE8C-D3B5-D840-8CBE-5E1C2D72CF62}"/>
          </ac:grpSpMkLst>
        </pc:grpChg>
        <pc:grpChg chg="add mod">
          <ac:chgData name="Nick Robinson" userId="d0c2b313-4ae0-4040-8c6a-fec7a720a7b5" providerId="ADAL" clId="{190131DE-6250-C84F-B491-721E6CF30BCB}" dt="2021-12-23T08:24:28.161" v="37189"/>
          <ac:grpSpMkLst>
            <pc:docMk/>
            <pc:sldMk cId="2027674031" sldId="2147374223"/>
            <ac:grpSpMk id="805" creationId="{E5D4B8A7-360E-1349-9886-0A23E8B2F780}"/>
          </ac:grpSpMkLst>
        </pc:grpChg>
        <pc:grpChg chg="add mod">
          <ac:chgData name="Nick Robinson" userId="d0c2b313-4ae0-4040-8c6a-fec7a720a7b5" providerId="ADAL" clId="{190131DE-6250-C84F-B491-721E6CF30BCB}" dt="2021-12-23T08:24:28.161" v="37189"/>
          <ac:grpSpMkLst>
            <pc:docMk/>
            <pc:sldMk cId="2027674031" sldId="2147374223"/>
            <ac:grpSpMk id="808" creationId="{6C6CE17F-E2C7-984A-9B3C-6FBE6B6E6BD7}"/>
          </ac:grpSpMkLst>
        </pc:grpChg>
        <pc:grpChg chg="add mod">
          <ac:chgData name="Nick Robinson" userId="d0c2b313-4ae0-4040-8c6a-fec7a720a7b5" providerId="ADAL" clId="{190131DE-6250-C84F-B491-721E6CF30BCB}" dt="2021-12-23T08:24:28.161" v="37189"/>
          <ac:grpSpMkLst>
            <pc:docMk/>
            <pc:sldMk cId="2027674031" sldId="2147374223"/>
            <ac:grpSpMk id="811" creationId="{8F260080-C318-DC4A-821B-A775B94577CD}"/>
          </ac:grpSpMkLst>
        </pc:grpChg>
        <pc:grpChg chg="add mod">
          <ac:chgData name="Nick Robinson" userId="d0c2b313-4ae0-4040-8c6a-fec7a720a7b5" providerId="ADAL" clId="{190131DE-6250-C84F-B491-721E6CF30BCB}" dt="2021-12-23T08:24:28.161" v="37189"/>
          <ac:grpSpMkLst>
            <pc:docMk/>
            <pc:sldMk cId="2027674031" sldId="2147374223"/>
            <ac:grpSpMk id="814" creationId="{4F54EFB0-9FA8-054D-A82A-58C4F91C30F1}"/>
          </ac:grpSpMkLst>
        </pc:grpChg>
        <pc:grpChg chg="add mod">
          <ac:chgData name="Nick Robinson" userId="d0c2b313-4ae0-4040-8c6a-fec7a720a7b5" providerId="ADAL" clId="{190131DE-6250-C84F-B491-721E6CF30BCB}" dt="2021-12-23T08:24:28.161" v="37189"/>
          <ac:grpSpMkLst>
            <pc:docMk/>
            <pc:sldMk cId="2027674031" sldId="2147374223"/>
            <ac:grpSpMk id="817" creationId="{9F6923FC-E808-114C-92F9-EA3BBDD1DB39}"/>
          </ac:grpSpMkLst>
        </pc:grpChg>
        <pc:grpChg chg="add mod">
          <ac:chgData name="Nick Robinson" userId="d0c2b313-4ae0-4040-8c6a-fec7a720a7b5" providerId="ADAL" clId="{190131DE-6250-C84F-B491-721E6CF30BCB}" dt="2021-12-23T08:24:28.161" v="37189"/>
          <ac:grpSpMkLst>
            <pc:docMk/>
            <pc:sldMk cId="2027674031" sldId="2147374223"/>
            <ac:grpSpMk id="820" creationId="{FE4C0525-CF0C-BA4B-87E1-0E10C4435800}"/>
          </ac:grpSpMkLst>
        </pc:grpChg>
        <pc:grpChg chg="add mod">
          <ac:chgData name="Nick Robinson" userId="d0c2b313-4ae0-4040-8c6a-fec7a720a7b5" providerId="ADAL" clId="{190131DE-6250-C84F-B491-721E6CF30BCB}" dt="2021-12-23T08:24:28.161" v="37189"/>
          <ac:grpSpMkLst>
            <pc:docMk/>
            <pc:sldMk cId="2027674031" sldId="2147374223"/>
            <ac:grpSpMk id="823" creationId="{2FD60A56-4097-3242-8AAF-0988A5075876}"/>
          </ac:grpSpMkLst>
        </pc:grpChg>
        <pc:grpChg chg="add mod">
          <ac:chgData name="Nick Robinson" userId="d0c2b313-4ae0-4040-8c6a-fec7a720a7b5" providerId="ADAL" clId="{190131DE-6250-C84F-B491-721E6CF30BCB}" dt="2021-12-23T08:24:28.161" v="37189"/>
          <ac:grpSpMkLst>
            <pc:docMk/>
            <pc:sldMk cId="2027674031" sldId="2147374223"/>
            <ac:grpSpMk id="826" creationId="{833C4523-A249-FF46-9AD0-794DD2EAAAC3}"/>
          </ac:grpSpMkLst>
        </pc:grpChg>
        <pc:grpChg chg="add mod">
          <ac:chgData name="Nick Robinson" userId="d0c2b313-4ae0-4040-8c6a-fec7a720a7b5" providerId="ADAL" clId="{190131DE-6250-C84F-B491-721E6CF30BCB}" dt="2021-12-23T08:24:28.161" v="37189"/>
          <ac:grpSpMkLst>
            <pc:docMk/>
            <pc:sldMk cId="2027674031" sldId="2147374223"/>
            <ac:grpSpMk id="829" creationId="{DB9632E2-92E0-5B43-BC02-51075CE2C8A2}"/>
          </ac:grpSpMkLst>
        </pc:grpChg>
        <pc:grpChg chg="add mod">
          <ac:chgData name="Nick Robinson" userId="d0c2b313-4ae0-4040-8c6a-fec7a720a7b5" providerId="ADAL" clId="{190131DE-6250-C84F-B491-721E6CF30BCB}" dt="2021-12-23T08:24:28.161" v="37189"/>
          <ac:grpSpMkLst>
            <pc:docMk/>
            <pc:sldMk cId="2027674031" sldId="2147374223"/>
            <ac:grpSpMk id="832" creationId="{3A1D0BC7-3FF3-214F-AD87-5CC949F0F28A}"/>
          </ac:grpSpMkLst>
        </pc:grpChg>
        <pc:grpChg chg="add mod">
          <ac:chgData name="Nick Robinson" userId="d0c2b313-4ae0-4040-8c6a-fec7a720a7b5" providerId="ADAL" clId="{190131DE-6250-C84F-B491-721E6CF30BCB}" dt="2021-12-23T08:24:28.161" v="37189"/>
          <ac:grpSpMkLst>
            <pc:docMk/>
            <pc:sldMk cId="2027674031" sldId="2147374223"/>
            <ac:grpSpMk id="835" creationId="{7917DDE8-CFD6-C240-B234-A376EA27AAD2}"/>
          </ac:grpSpMkLst>
        </pc:grpChg>
        <pc:grpChg chg="add mod">
          <ac:chgData name="Nick Robinson" userId="d0c2b313-4ae0-4040-8c6a-fec7a720a7b5" providerId="ADAL" clId="{190131DE-6250-C84F-B491-721E6CF30BCB}" dt="2021-12-23T08:24:28.161" v="37189"/>
          <ac:grpSpMkLst>
            <pc:docMk/>
            <pc:sldMk cId="2027674031" sldId="2147374223"/>
            <ac:grpSpMk id="838" creationId="{3F196023-5C90-7944-A6DB-13CCDCB70920}"/>
          </ac:grpSpMkLst>
        </pc:grpChg>
        <pc:grpChg chg="add mod">
          <ac:chgData name="Nick Robinson" userId="d0c2b313-4ae0-4040-8c6a-fec7a720a7b5" providerId="ADAL" clId="{190131DE-6250-C84F-B491-721E6CF30BCB}" dt="2021-12-23T08:24:28.161" v="37189"/>
          <ac:grpSpMkLst>
            <pc:docMk/>
            <pc:sldMk cId="2027674031" sldId="2147374223"/>
            <ac:grpSpMk id="841" creationId="{3A91D2A8-7321-B84E-BA28-4E022E729AAA}"/>
          </ac:grpSpMkLst>
        </pc:grpChg>
        <pc:grpChg chg="add mod">
          <ac:chgData name="Nick Robinson" userId="d0c2b313-4ae0-4040-8c6a-fec7a720a7b5" providerId="ADAL" clId="{190131DE-6250-C84F-B491-721E6CF30BCB}" dt="2021-12-23T08:24:28.161" v="37189"/>
          <ac:grpSpMkLst>
            <pc:docMk/>
            <pc:sldMk cId="2027674031" sldId="2147374223"/>
            <ac:grpSpMk id="844" creationId="{6D9774A5-7DE0-994B-82D1-AB2E9E9F1693}"/>
          </ac:grpSpMkLst>
        </pc:grpChg>
        <pc:grpChg chg="mod">
          <ac:chgData name="Nick Robinson" userId="d0c2b313-4ae0-4040-8c6a-fec7a720a7b5" providerId="ADAL" clId="{190131DE-6250-C84F-B491-721E6CF30BCB}" dt="2021-12-23T08:24:28.161" v="37189"/>
          <ac:grpSpMkLst>
            <pc:docMk/>
            <pc:sldMk cId="2027674031" sldId="2147374223"/>
            <ac:grpSpMk id="846" creationId="{C5B1F691-1AA5-6443-AD05-5F0329B6376B}"/>
          </ac:grpSpMkLst>
        </pc:grpChg>
        <pc:grpChg chg="mod">
          <ac:chgData name="Nick Robinson" userId="d0c2b313-4ae0-4040-8c6a-fec7a720a7b5" providerId="ADAL" clId="{190131DE-6250-C84F-B491-721E6CF30BCB}" dt="2021-12-23T08:24:28.161" v="37189"/>
          <ac:grpSpMkLst>
            <pc:docMk/>
            <pc:sldMk cId="2027674031" sldId="2147374223"/>
            <ac:grpSpMk id="848" creationId="{EF18DEFE-6B84-6947-9D09-EF4A3CA5059C}"/>
          </ac:grpSpMkLst>
        </pc:grpChg>
        <pc:grpChg chg="mod">
          <ac:chgData name="Nick Robinson" userId="d0c2b313-4ae0-4040-8c6a-fec7a720a7b5" providerId="ADAL" clId="{190131DE-6250-C84F-B491-721E6CF30BCB}" dt="2021-12-23T08:24:28.161" v="37189"/>
          <ac:grpSpMkLst>
            <pc:docMk/>
            <pc:sldMk cId="2027674031" sldId="2147374223"/>
            <ac:grpSpMk id="850" creationId="{8199AB50-5A86-EF4B-A976-21B94D3F77F7}"/>
          </ac:grpSpMkLst>
        </pc:grpChg>
        <pc:grpChg chg="add mod">
          <ac:chgData name="Nick Robinson" userId="d0c2b313-4ae0-4040-8c6a-fec7a720a7b5" providerId="ADAL" clId="{190131DE-6250-C84F-B491-721E6CF30BCB}" dt="2021-12-23T08:24:28.161" v="37189"/>
          <ac:grpSpMkLst>
            <pc:docMk/>
            <pc:sldMk cId="2027674031" sldId="2147374223"/>
            <ac:grpSpMk id="867" creationId="{2ADDF1A3-CF36-6B47-AD15-55D0C87323E1}"/>
          </ac:grpSpMkLst>
        </pc:grpChg>
        <pc:grpChg chg="add mod">
          <ac:chgData name="Nick Robinson" userId="d0c2b313-4ae0-4040-8c6a-fec7a720a7b5" providerId="ADAL" clId="{190131DE-6250-C84F-B491-721E6CF30BCB}" dt="2021-12-23T08:24:28.161" v="37189"/>
          <ac:grpSpMkLst>
            <pc:docMk/>
            <pc:sldMk cId="2027674031" sldId="2147374223"/>
            <ac:grpSpMk id="870" creationId="{DFFE5C75-2E45-8B4E-9AAE-84171AF6C927}"/>
          </ac:grpSpMkLst>
        </pc:grpChg>
        <pc:grpChg chg="add mod">
          <ac:chgData name="Nick Robinson" userId="d0c2b313-4ae0-4040-8c6a-fec7a720a7b5" providerId="ADAL" clId="{190131DE-6250-C84F-B491-721E6CF30BCB}" dt="2021-12-23T08:24:28.161" v="37189"/>
          <ac:grpSpMkLst>
            <pc:docMk/>
            <pc:sldMk cId="2027674031" sldId="2147374223"/>
            <ac:grpSpMk id="873" creationId="{906AE317-8175-8247-92EC-968300878264}"/>
          </ac:grpSpMkLst>
        </pc:grpChg>
        <pc:grpChg chg="add mod">
          <ac:chgData name="Nick Robinson" userId="d0c2b313-4ae0-4040-8c6a-fec7a720a7b5" providerId="ADAL" clId="{190131DE-6250-C84F-B491-721E6CF30BCB}" dt="2021-12-23T08:24:28.161" v="37189"/>
          <ac:grpSpMkLst>
            <pc:docMk/>
            <pc:sldMk cId="2027674031" sldId="2147374223"/>
            <ac:grpSpMk id="876" creationId="{4ABF1B10-8ED2-784F-8B49-E00C4FC154D6}"/>
          </ac:grpSpMkLst>
        </pc:grpChg>
        <pc:grpChg chg="add mod">
          <ac:chgData name="Nick Robinson" userId="d0c2b313-4ae0-4040-8c6a-fec7a720a7b5" providerId="ADAL" clId="{190131DE-6250-C84F-B491-721E6CF30BCB}" dt="2021-12-23T08:24:28.161" v="37189"/>
          <ac:grpSpMkLst>
            <pc:docMk/>
            <pc:sldMk cId="2027674031" sldId="2147374223"/>
            <ac:grpSpMk id="879" creationId="{475237CD-C2D7-0E49-816D-AD7E919983A3}"/>
          </ac:grpSpMkLst>
        </pc:grpChg>
        <pc:grpChg chg="add mod">
          <ac:chgData name="Nick Robinson" userId="d0c2b313-4ae0-4040-8c6a-fec7a720a7b5" providerId="ADAL" clId="{190131DE-6250-C84F-B491-721E6CF30BCB}" dt="2021-12-23T08:24:28.161" v="37189"/>
          <ac:grpSpMkLst>
            <pc:docMk/>
            <pc:sldMk cId="2027674031" sldId="2147374223"/>
            <ac:grpSpMk id="882" creationId="{E8A9B25A-ACC9-2349-9708-D3FCF37032FB}"/>
          </ac:grpSpMkLst>
        </pc:grpChg>
        <pc:grpChg chg="add mod">
          <ac:chgData name="Nick Robinson" userId="d0c2b313-4ae0-4040-8c6a-fec7a720a7b5" providerId="ADAL" clId="{190131DE-6250-C84F-B491-721E6CF30BCB}" dt="2021-12-23T08:24:28.161" v="37189"/>
          <ac:grpSpMkLst>
            <pc:docMk/>
            <pc:sldMk cId="2027674031" sldId="2147374223"/>
            <ac:grpSpMk id="885" creationId="{D6967115-8461-6040-ABCB-F84470A6306E}"/>
          </ac:grpSpMkLst>
        </pc:grpChg>
        <pc:grpChg chg="add mod">
          <ac:chgData name="Nick Robinson" userId="d0c2b313-4ae0-4040-8c6a-fec7a720a7b5" providerId="ADAL" clId="{190131DE-6250-C84F-B491-721E6CF30BCB}" dt="2021-12-23T08:24:28.161" v="37189"/>
          <ac:grpSpMkLst>
            <pc:docMk/>
            <pc:sldMk cId="2027674031" sldId="2147374223"/>
            <ac:grpSpMk id="888" creationId="{68E3DB02-CD0A-3B4F-9010-32C594528256}"/>
          </ac:grpSpMkLst>
        </pc:grpChg>
        <pc:grpChg chg="add mod">
          <ac:chgData name="Nick Robinson" userId="d0c2b313-4ae0-4040-8c6a-fec7a720a7b5" providerId="ADAL" clId="{190131DE-6250-C84F-B491-721E6CF30BCB}" dt="2021-12-23T08:24:28.161" v="37189"/>
          <ac:grpSpMkLst>
            <pc:docMk/>
            <pc:sldMk cId="2027674031" sldId="2147374223"/>
            <ac:grpSpMk id="891" creationId="{AB95D8D6-434B-9F49-B507-B5800851B8ED}"/>
          </ac:grpSpMkLst>
        </pc:grpChg>
        <pc:grpChg chg="add mod">
          <ac:chgData name="Nick Robinson" userId="d0c2b313-4ae0-4040-8c6a-fec7a720a7b5" providerId="ADAL" clId="{190131DE-6250-C84F-B491-721E6CF30BCB}" dt="2021-12-23T08:24:28.161" v="37189"/>
          <ac:grpSpMkLst>
            <pc:docMk/>
            <pc:sldMk cId="2027674031" sldId="2147374223"/>
            <ac:grpSpMk id="894" creationId="{D5528086-CA91-2644-B6C3-E859E4140CFD}"/>
          </ac:grpSpMkLst>
        </pc:grpChg>
        <pc:grpChg chg="add mod">
          <ac:chgData name="Nick Robinson" userId="d0c2b313-4ae0-4040-8c6a-fec7a720a7b5" providerId="ADAL" clId="{190131DE-6250-C84F-B491-721E6CF30BCB}" dt="2021-12-23T08:24:28.161" v="37189"/>
          <ac:grpSpMkLst>
            <pc:docMk/>
            <pc:sldMk cId="2027674031" sldId="2147374223"/>
            <ac:grpSpMk id="897" creationId="{F49BFD1F-9627-5F46-963D-3FBF69546F95}"/>
          </ac:grpSpMkLst>
        </pc:grpChg>
        <pc:grpChg chg="add mod">
          <ac:chgData name="Nick Robinson" userId="d0c2b313-4ae0-4040-8c6a-fec7a720a7b5" providerId="ADAL" clId="{190131DE-6250-C84F-B491-721E6CF30BCB}" dt="2021-12-23T08:24:28.161" v="37189"/>
          <ac:grpSpMkLst>
            <pc:docMk/>
            <pc:sldMk cId="2027674031" sldId="2147374223"/>
            <ac:grpSpMk id="900" creationId="{82A1A124-A4B4-7E4F-BDC3-0C0F37A07141}"/>
          </ac:grpSpMkLst>
        </pc:grpChg>
        <pc:grpChg chg="add mod">
          <ac:chgData name="Nick Robinson" userId="d0c2b313-4ae0-4040-8c6a-fec7a720a7b5" providerId="ADAL" clId="{190131DE-6250-C84F-B491-721E6CF30BCB}" dt="2021-12-23T08:24:28.161" v="37189"/>
          <ac:grpSpMkLst>
            <pc:docMk/>
            <pc:sldMk cId="2027674031" sldId="2147374223"/>
            <ac:grpSpMk id="903" creationId="{AEF876F9-E62F-9F4E-B8DB-84625A55FDF2}"/>
          </ac:grpSpMkLst>
        </pc:grpChg>
        <pc:grpChg chg="add mod">
          <ac:chgData name="Nick Robinson" userId="d0c2b313-4ae0-4040-8c6a-fec7a720a7b5" providerId="ADAL" clId="{190131DE-6250-C84F-B491-721E6CF30BCB}" dt="2021-12-23T08:24:28.161" v="37189"/>
          <ac:grpSpMkLst>
            <pc:docMk/>
            <pc:sldMk cId="2027674031" sldId="2147374223"/>
            <ac:grpSpMk id="906" creationId="{E0B54E39-732E-1346-BFBC-5DA77D35DDFA}"/>
          </ac:grpSpMkLst>
        </pc:grpChg>
        <pc:grpChg chg="add mod">
          <ac:chgData name="Nick Robinson" userId="d0c2b313-4ae0-4040-8c6a-fec7a720a7b5" providerId="ADAL" clId="{190131DE-6250-C84F-B491-721E6CF30BCB}" dt="2021-12-23T08:24:28.161" v="37189"/>
          <ac:grpSpMkLst>
            <pc:docMk/>
            <pc:sldMk cId="2027674031" sldId="2147374223"/>
            <ac:grpSpMk id="909" creationId="{01977534-0030-2B45-B13D-43E9D3F31BA6}"/>
          </ac:grpSpMkLst>
        </pc:grpChg>
        <pc:graphicFrameChg chg="del mod modGraphic">
          <ac:chgData name="Nick Robinson" userId="d0c2b313-4ae0-4040-8c6a-fec7a720a7b5" providerId="ADAL" clId="{190131DE-6250-C84F-B491-721E6CF30BCB}" dt="2021-12-21T08:40:27.946" v="20181" actId="478"/>
          <ac:graphicFrameMkLst>
            <pc:docMk/>
            <pc:sldMk cId="2027674031" sldId="2147374223"/>
            <ac:graphicFrameMk id="8" creationId="{7462BF38-39D3-B34A-9FC1-8E01C776A02F}"/>
          </ac:graphicFrameMkLst>
        </pc:graphicFrameChg>
        <pc:graphicFrameChg chg="del mod modGraphic">
          <ac:chgData name="Nick Robinson" userId="d0c2b313-4ae0-4040-8c6a-fec7a720a7b5" providerId="ADAL" clId="{190131DE-6250-C84F-B491-721E6CF30BCB}" dt="2021-12-20T16:58:43.865" v="19783" actId="478"/>
          <ac:graphicFrameMkLst>
            <pc:docMk/>
            <pc:sldMk cId="2027674031" sldId="2147374223"/>
            <ac:graphicFrameMk id="25" creationId="{52CAA014-A474-8A4B-A55C-B9BF6DA08A8C}"/>
          </ac:graphicFrameMkLst>
        </pc:graphicFrameChg>
        <pc:graphicFrameChg chg="add mod">
          <ac:chgData name="Nick Robinson" userId="d0c2b313-4ae0-4040-8c6a-fec7a720a7b5" providerId="ADAL" clId="{190131DE-6250-C84F-B491-721E6CF30BCB}" dt="2021-12-21T08:40:29.423" v="20182"/>
          <ac:graphicFrameMkLst>
            <pc:docMk/>
            <pc:sldMk cId="2027674031" sldId="2147374223"/>
            <ac:graphicFrameMk id="296" creationId="{C44ACD9A-94B9-1D47-9BC3-85A41E9F66CE}"/>
          </ac:graphicFrameMkLst>
        </pc:graphicFrameChg>
        <pc:picChg chg="add del mod">
          <ac:chgData name="Nick Robinson" userId="d0c2b313-4ae0-4040-8c6a-fec7a720a7b5" providerId="ADAL" clId="{190131DE-6250-C84F-B491-721E6CF30BCB}" dt="2021-12-20T17:02:32.071" v="19822" actId="478"/>
          <ac:picMkLst>
            <pc:docMk/>
            <pc:sldMk cId="2027674031" sldId="2147374223"/>
            <ac:picMk id="279" creationId="{11339E0C-A180-A442-B65A-8C0E3EDB6536}"/>
          </ac:picMkLst>
        </pc:picChg>
        <pc:picChg chg="add del mod">
          <ac:chgData name="Nick Robinson" userId="d0c2b313-4ae0-4040-8c6a-fec7a720a7b5" providerId="ADAL" clId="{190131DE-6250-C84F-B491-721E6CF30BCB}" dt="2021-12-20T17:02:31.365" v="19821" actId="478"/>
          <ac:picMkLst>
            <pc:docMk/>
            <pc:sldMk cId="2027674031" sldId="2147374223"/>
            <ac:picMk id="280" creationId="{2CC512FE-4850-184C-993F-A730B41F90CC}"/>
          </ac:picMkLst>
        </pc:picChg>
        <pc:picChg chg="add del mod">
          <ac:chgData name="Nick Robinson" userId="d0c2b313-4ae0-4040-8c6a-fec7a720a7b5" providerId="ADAL" clId="{190131DE-6250-C84F-B491-721E6CF30BCB}" dt="2021-12-20T17:02:33.311" v="19823" actId="478"/>
          <ac:picMkLst>
            <pc:docMk/>
            <pc:sldMk cId="2027674031" sldId="2147374223"/>
            <ac:picMk id="281" creationId="{3BC696AF-77DD-634D-BB4E-AB155E9B2CE5}"/>
          </ac:picMkLst>
        </pc:picChg>
        <pc:picChg chg="add del mod">
          <ac:chgData name="Nick Robinson" userId="d0c2b313-4ae0-4040-8c6a-fec7a720a7b5" providerId="ADAL" clId="{190131DE-6250-C84F-B491-721E6CF30BCB}" dt="2021-12-20T17:02:33.405" v="19824" actId="478"/>
          <ac:picMkLst>
            <pc:docMk/>
            <pc:sldMk cId="2027674031" sldId="2147374223"/>
            <ac:picMk id="282" creationId="{A82A912E-1711-B54D-A490-E4BCA77C64D1}"/>
          </ac:picMkLst>
        </pc:picChg>
        <pc:picChg chg="add del mod">
          <ac:chgData name="Nick Robinson" userId="d0c2b313-4ae0-4040-8c6a-fec7a720a7b5" providerId="ADAL" clId="{190131DE-6250-C84F-B491-721E6CF30BCB}" dt="2021-12-20T17:02:40.712" v="19828" actId="478"/>
          <ac:picMkLst>
            <pc:docMk/>
            <pc:sldMk cId="2027674031" sldId="2147374223"/>
            <ac:picMk id="283" creationId="{8F85A8EF-E875-7241-9C8C-9DC7A59BFE26}"/>
          </ac:picMkLst>
        </pc:picChg>
        <pc:picChg chg="add del mod">
          <ac:chgData name="Nick Robinson" userId="d0c2b313-4ae0-4040-8c6a-fec7a720a7b5" providerId="ADAL" clId="{190131DE-6250-C84F-B491-721E6CF30BCB}" dt="2021-12-20T17:02:34.132" v="19825" actId="478"/>
          <ac:picMkLst>
            <pc:docMk/>
            <pc:sldMk cId="2027674031" sldId="2147374223"/>
            <ac:picMk id="284" creationId="{A14BE8AD-A039-B740-AA2E-774145D46043}"/>
          </ac:picMkLst>
        </pc:picChg>
        <pc:picChg chg="add del mod">
          <ac:chgData name="Nick Robinson" userId="d0c2b313-4ae0-4040-8c6a-fec7a720a7b5" providerId="ADAL" clId="{190131DE-6250-C84F-B491-721E6CF30BCB}" dt="2021-12-20T17:02:35.830" v="19826" actId="478"/>
          <ac:picMkLst>
            <pc:docMk/>
            <pc:sldMk cId="2027674031" sldId="2147374223"/>
            <ac:picMk id="285" creationId="{C0A118C8-D799-9B47-A929-8AA60733D92C}"/>
          </ac:picMkLst>
        </pc:picChg>
        <pc:picChg chg="add del mod">
          <ac:chgData name="Nick Robinson" userId="d0c2b313-4ae0-4040-8c6a-fec7a720a7b5" providerId="ADAL" clId="{190131DE-6250-C84F-B491-721E6CF30BCB}" dt="2021-12-20T17:02:37.204" v="19827" actId="478"/>
          <ac:picMkLst>
            <pc:docMk/>
            <pc:sldMk cId="2027674031" sldId="2147374223"/>
            <ac:picMk id="286" creationId="{B675B7F4-7683-BE4C-B5CF-4AEA3FACFA6A}"/>
          </ac:picMkLst>
        </pc:picChg>
        <pc:picChg chg="add del mod">
          <ac:chgData name="Nick Robinson" userId="d0c2b313-4ae0-4040-8c6a-fec7a720a7b5" providerId="ADAL" clId="{190131DE-6250-C84F-B491-721E6CF30BCB}" dt="2021-12-23T08:24:27.383" v="37188" actId="478"/>
          <ac:picMkLst>
            <pc:docMk/>
            <pc:sldMk cId="2027674031" sldId="2147374223"/>
            <ac:picMk id="288" creationId="{4AA9D168-14EA-7240-A619-AC1F7CF55D5F}"/>
          </ac:picMkLst>
        </pc:picChg>
        <pc:picChg chg="add del mod">
          <ac:chgData name="Nick Robinson" userId="d0c2b313-4ae0-4040-8c6a-fec7a720a7b5" providerId="ADAL" clId="{190131DE-6250-C84F-B491-721E6CF30BCB}" dt="2021-12-23T08:24:27.383" v="37188" actId="478"/>
          <ac:picMkLst>
            <pc:docMk/>
            <pc:sldMk cId="2027674031" sldId="2147374223"/>
            <ac:picMk id="289" creationId="{D39C4EAE-5015-B34E-B407-31239A8B31A0}"/>
          </ac:picMkLst>
        </pc:picChg>
        <pc:picChg chg="add del mod">
          <ac:chgData name="Nick Robinson" userId="d0c2b313-4ae0-4040-8c6a-fec7a720a7b5" providerId="ADAL" clId="{190131DE-6250-C84F-B491-721E6CF30BCB}" dt="2021-12-23T08:24:27.383" v="37188" actId="478"/>
          <ac:picMkLst>
            <pc:docMk/>
            <pc:sldMk cId="2027674031" sldId="2147374223"/>
            <ac:picMk id="290" creationId="{B7EA43BA-563D-0749-B0A7-EC3CC3BBEDCE}"/>
          </ac:picMkLst>
        </pc:picChg>
        <pc:picChg chg="add del mod">
          <ac:chgData name="Nick Robinson" userId="d0c2b313-4ae0-4040-8c6a-fec7a720a7b5" providerId="ADAL" clId="{190131DE-6250-C84F-B491-721E6CF30BCB}" dt="2021-12-23T08:24:27.383" v="37188" actId="478"/>
          <ac:picMkLst>
            <pc:docMk/>
            <pc:sldMk cId="2027674031" sldId="2147374223"/>
            <ac:picMk id="291" creationId="{7917534B-7E44-B54E-9A2E-4EDF65179F12}"/>
          </ac:picMkLst>
        </pc:picChg>
        <pc:picChg chg="add del mod">
          <ac:chgData name="Nick Robinson" userId="d0c2b313-4ae0-4040-8c6a-fec7a720a7b5" providerId="ADAL" clId="{190131DE-6250-C84F-B491-721E6CF30BCB}" dt="2021-12-20T17:06:19.618" v="19889" actId="478"/>
          <ac:picMkLst>
            <pc:docMk/>
            <pc:sldMk cId="2027674031" sldId="2147374223"/>
            <ac:picMk id="292" creationId="{C3D39D08-F11E-7D45-993F-E98260F4A770}"/>
          </ac:picMkLst>
        </pc:picChg>
        <pc:picChg chg="add del mod">
          <ac:chgData name="Nick Robinson" userId="d0c2b313-4ae0-4040-8c6a-fec7a720a7b5" providerId="ADAL" clId="{190131DE-6250-C84F-B491-721E6CF30BCB}" dt="2021-12-23T08:24:27.383" v="37188" actId="478"/>
          <ac:picMkLst>
            <pc:docMk/>
            <pc:sldMk cId="2027674031" sldId="2147374223"/>
            <ac:picMk id="293" creationId="{7944E608-3BEB-D14B-9FFD-53998CB65FA0}"/>
          </ac:picMkLst>
        </pc:picChg>
        <pc:picChg chg="add del mod">
          <ac:chgData name="Nick Robinson" userId="d0c2b313-4ae0-4040-8c6a-fec7a720a7b5" providerId="ADAL" clId="{190131DE-6250-C84F-B491-721E6CF30BCB}" dt="2021-12-23T08:24:27.383" v="37188" actId="478"/>
          <ac:picMkLst>
            <pc:docMk/>
            <pc:sldMk cId="2027674031" sldId="2147374223"/>
            <ac:picMk id="294" creationId="{9CDB88EB-3D02-7540-9B36-63233783E34A}"/>
          </ac:picMkLst>
        </pc:picChg>
        <pc:picChg chg="add del mod">
          <ac:chgData name="Nick Robinson" userId="d0c2b313-4ae0-4040-8c6a-fec7a720a7b5" providerId="ADAL" clId="{190131DE-6250-C84F-B491-721E6CF30BCB}" dt="2021-12-23T08:24:27.383" v="37188" actId="478"/>
          <ac:picMkLst>
            <pc:docMk/>
            <pc:sldMk cId="2027674031" sldId="2147374223"/>
            <ac:picMk id="295" creationId="{62FFA5BC-650C-604E-A25A-17E5F659F166}"/>
          </ac:picMkLst>
        </pc:picChg>
        <pc:picChg chg="add mod">
          <ac:chgData name="Nick Robinson" userId="d0c2b313-4ae0-4040-8c6a-fec7a720a7b5" providerId="ADAL" clId="{190131DE-6250-C84F-B491-721E6CF30BCB}" dt="2021-12-23T08:24:28.161" v="37189"/>
          <ac:picMkLst>
            <pc:docMk/>
            <pc:sldMk cId="2027674031" sldId="2147374223"/>
            <ac:picMk id="859" creationId="{93BA6DFD-D4EA-1745-9AF8-BFCA57635DB8}"/>
          </ac:picMkLst>
        </pc:picChg>
        <pc:picChg chg="add mod">
          <ac:chgData name="Nick Robinson" userId="d0c2b313-4ae0-4040-8c6a-fec7a720a7b5" providerId="ADAL" clId="{190131DE-6250-C84F-B491-721E6CF30BCB}" dt="2021-12-23T08:24:28.161" v="37189"/>
          <ac:picMkLst>
            <pc:docMk/>
            <pc:sldMk cId="2027674031" sldId="2147374223"/>
            <ac:picMk id="860" creationId="{AD605793-ED83-134D-81F9-1F67509F75A2}"/>
          </ac:picMkLst>
        </pc:picChg>
        <pc:picChg chg="add mod">
          <ac:chgData name="Nick Robinson" userId="d0c2b313-4ae0-4040-8c6a-fec7a720a7b5" providerId="ADAL" clId="{190131DE-6250-C84F-B491-721E6CF30BCB}" dt="2021-12-23T08:24:28.161" v="37189"/>
          <ac:picMkLst>
            <pc:docMk/>
            <pc:sldMk cId="2027674031" sldId="2147374223"/>
            <ac:picMk id="861" creationId="{CB508E56-D882-4142-B0F3-ECC2F8123C77}"/>
          </ac:picMkLst>
        </pc:picChg>
        <pc:picChg chg="add mod">
          <ac:chgData name="Nick Robinson" userId="d0c2b313-4ae0-4040-8c6a-fec7a720a7b5" providerId="ADAL" clId="{190131DE-6250-C84F-B491-721E6CF30BCB}" dt="2021-12-23T08:24:28.161" v="37189"/>
          <ac:picMkLst>
            <pc:docMk/>
            <pc:sldMk cId="2027674031" sldId="2147374223"/>
            <ac:picMk id="862" creationId="{22A2E8DA-9C85-D24B-B5C1-1B9A6D8F689E}"/>
          </ac:picMkLst>
        </pc:picChg>
        <pc:picChg chg="add mod">
          <ac:chgData name="Nick Robinson" userId="d0c2b313-4ae0-4040-8c6a-fec7a720a7b5" providerId="ADAL" clId="{190131DE-6250-C84F-B491-721E6CF30BCB}" dt="2021-12-23T08:24:28.161" v="37189"/>
          <ac:picMkLst>
            <pc:docMk/>
            <pc:sldMk cId="2027674031" sldId="2147374223"/>
            <ac:picMk id="863" creationId="{66651A4F-D2DF-8A40-BE23-ABF997450BFB}"/>
          </ac:picMkLst>
        </pc:picChg>
        <pc:picChg chg="add mod">
          <ac:chgData name="Nick Robinson" userId="d0c2b313-4ae0-4040-8c6a-fec7a720a7b5" providerId="ADAL" clId="{190131DE-6250-C84F-B491-721E6CF30BCB}" dt="2021-12-23T08:24:28.161" v="37189"/>
          <ac:picMkLst>
            <pc:docMk/>
            <pc:sldMk cId="2027674031" sldId="2147374223"/>
            <ac:picMk id="864" creationId="{EFC558D3-C8CF-454E-8D17-F45FE6915CEE}"/>
          </ac:picMkLst>
        </pc:picChg>
        <pc:picChg chg="add mod">
          <ac:chgData name="Nick Robinson" userId="d0c2b313-4ae0-4040-8c6a-fec7a720a7b5" providerId="ADAL" clId="{190131DE-6250-C84F-B491-721E6CF30BCB}" dt="2021-12-23T08:24:28.161" v="37189"/>
          <ac:picMkLst>
            <pc:docMk/>
            <pc:sldMk cId="2027674031" sldId="2147374223"/>
            <ac:picMk id="865" creationId="{B8353766-5D2F-2B4E-978E-E21ABEE3D553}"/>
          </ac:picMkLst>
        </pc:picChg>
      </pc:sldChg>
      <pc:sldChg chg="add del">
        <pc:chgData name="Nick Robinson" userId="d0c2b313-4ae0-4040-8c6a-fec7a720a7b5" providerId="ADAL" clId="{190131DE-6250-C84F-B491-721E6CF30BCB}" dt="2021-12-21T10:32:39.802" v="21319" actId="2696"/>
        <pc:sldMkLst>
          <pc:docMk/>
          <pc:sldMk cId="3437113338" sldId="2147374224"/>
        </pc:sldMkLst>
      </pc:sldChg>
      <pc:sldChg chg="addSp delSp modSp add mod">
        <pc:chgData name="Nick Robinson" userId="d0c2b313-4ae0-4040-8c6a-fec7a720a7b5" providerId="ADAL" clId="{190131DE-6250-C84F-B491-721E6CF30BCB}" dt="2021-12-23T14:05:42.508" v="44570"/>
        <pc:sldMkLst>
          <pc:docMk/>
          <pc:sldMk cId="1368290546" sldId="2147374225"/>
        </pc:sldMkLst>
        <pc:spChg chg="del">
          <ac:chgData name="Nick Robinson" userId="d0c2b313-4ae0-4040-8c6a-fec7a720a7b5" providerId="ADAL" clId="{190131DE-6250-C84F-B491-721E6CF30BCB}" dt="2021-12-23T13:51:08.597" v="44317" actId="478"/>
          <ac:spMkLst>
            <pc:docMk/>
            <pc:sldMk cId="1368290546" sldId="2147374225"/>
            <ac:spMk id="7" creationId="{FD420467-EF1E-C24E-B16A-0060A2106A3D}"/>
          </ac:spMkLst>
        </pc:spChg>
        <pc:spChg chg="del">
          <ac:chgData name="Nick Robinson" userId="d0c2b313-4ae0-4040-8c6a-fec7a720a7b5" providerId="ADAL" clId="{190131DE-6250-C84F-B491-721E6CF30BCB}" dt="2021-12-23T13:51:08.597" v="44317" actId="478"/>
          <ac:spMkLst>
            <pc:docMk/>
            <pc:sldMk cId="1368290546" sldId="2147374225"/>
            <ac:spMk id="8" creationId="{93A72959-7AA1-144A-9BA1-BBF7754400AD}"/>
          </ac:spMkLst>
        </pc:spChg>
        <pc:spChg chg="add mod">
          <ac:chgData name="Nick Robinson" userId="d0c2b313-4ae0-4040-8c6a-fec7a720a7b5" providerId="ADAL" clId="{190131DE-6250-C84F-B491-721E6CF30BCB}" dt="2021-12-23T13:51:10.012" v="44318"/>
          <ac:spMkLst>
            <pc:docMk/>
            <pc:sldMk cId="1368290546" sldId="2147374225"/>
            <ac:spMk id="11" creationId="{61B634CE-06B6-8A45-A954-5AE426A114A9}"/>
          </ac:spMkLst>
        </pc:spChg>
        <pc:spChg chg="add mod">
          <ac:chgData name="Nick Robinson" userId="d0c2b313-4ae0-4040-8c6a-fec7a720a7b5" providerId="ADAL" clId="{190131DE-6250-C84F-B491-721E6CF30BCB}" dt="2021-12-23T13:51:10.012" v="44318"/>
          <ac:spMkLst>
            <pc:docMk/>
            <pc:sldMk cId="1368290546" sldId="2147374225"/>
            <ac:spMk id="12" creationId="{70807BAB-E8EF-A04D-A23C-DC2845A0C488}"/>
          </ac:spMkLst>
        </pc:spChg>
        <pc:graphicFrameChg chg="mod modGraphic">
          <ac:chgData name="Nick Robinson" userId="d0c2b313-4ae0-4040-8c6a-fec7a720a7b5" providerId="ADAL" clId="{190131DE-6250-C84F-B491-721E6CF30BCB}" dt="2021-12-23T14:05:42.508" v="44570"/>
          <ac:graphicFrameMkLst>
            <pc:docMk/>
            <pc:sldMk cId="1368290546" sldId="2147374225"/>
            <ac:graphicFrameMk id="5" creationId="{1F73E11B-085A-AD47-B820-F62CD6BB7304}"/>
          </ac:graphicFrameMkLst>
        </pc:graphicFrameChg>
      </pc:sldChg>
      <pc:sldChg chg="addSp delSp modSp add mod">
        <pc:chgData name="Nick Robinson" userId="d0c2b313-4ae0-4040-8c6a-fec7a720a7b5" providerId="ADAL" clId="{190131DE-6250-C84F-B491-721E6CF30BCB}" dt="2021-12-23T14:06:18.558" v="44590" actId="122"/>
        <pc:sldMkLst>
          <pc:docMk/>
          <pc:sldMk cId="312590947" sldId="2147374226"/>
        </pc:sldMkLst>
        <pc:spChg chg="del">
          <ac:chgData name="Nick Robinson" userId="d0c2b313-4ae0-4040-8c6a-fec7a720a7b5" providerId="ADAL" clId="{190131DE-6250-C84F-B491-721E6CF30BCB}" dt="2021-12-23T13:51:15.148" v="44320" actId="478"/>
          <ac:spMkLst>
            <pc:docMk/>
            <pc:sldMk cId="312590947" sldId="2147374226"/>
            <ac:spMk id="7" creationId="{FD420467-EF1E-C24E-B16A-0060A2106A3D}"/>
          </ac:spMkLst>
        </pc:spChg>
        <pc:spChg chg="del">
          <ac:chgData name="Nick Robinson" userId="d0c2b313-4ae0-4040-8c6a-fec7a720a7b5" providerId="ADAL" clId="{190131DE-6250-C84F-B491-721E6CF30BCB}" dt="2021-12-23T13:51:15.148" v="44320" actId="478"/>
          <ac:spMkLst>
            <pc:docMk/>
            <pc:sldMk cId="312590947" sldId="2147374226"/>
            <ac:spMk id="8" creationId="{93A72959-7AA1-144A-9BA1-BBF7754400AD}"/>
          </ac:spMkLst>
        </pc:spChg>
        <pc:spChg chg="add mod">
          <ac:chgData name="Nick Robinson" userId="d0c2b313-4ae0-4040-8c6a-fec7a720a7b5" providerId="ADAL" clId="{190131DE-6250-C84F-B491-721E6CF30BCB}" dt="2021-12-23T13:51:16.187" v="44321"/>
          <ac:spMkLst>
            <pc:docMk/>
            <pc:sldMk cId="312590947" sldId="2147374226"/>
            <ac:spMk id="11" creationId="{0B3C06CE-C54E-CB4A-813D-657E7FBB70DA}"/>
          </ac:spMkLst>
        </pc:spChg>
        <pc:spChg chg="add mod">
          <ac:chgData name="Nick Robinson" userId="d0c2b313-4ae0-4040-8c6a-fec7a720a7b5" providerId="ADAL" clId="{190131DE-6250-C84F-B491-721E6CF30BCB}" dt="2021-12-23T13:51:16.187" v="44321"/>
          <ac:spMkLst>
            <pc:docMk/>
            <pc:sldMk cId="312590947" sldId="2147374226"/>
            <ac:spMk id="12" creationId="{1523C804-42E3-DA45-AA0B-F856558E7E2F}"/>
          </ac:spMkLst>
        </pc:spChg>
        <pc:graphicFrameChg chg="mod modGraphic">
          <ac:chgData name="Nick Robinson" userId="d0c2b313-4ae0-4040-8c6a-fec7a720a7b5" providerId="ADAL" clId="{190131DE-6250-C84F-B491-721E6CF30BCB}" dt="2021-12-23T14:06:18.558" v="44590" actId="122"/>
          <ac:graphicFrameMkLst>
            <pc:docMk/>
            <pc:sldMk cId="312590947" sldId="2147374226"/>
            <ac:graphicFrameMk id="5" creationId="{1F73E11B-085A-AD47-B820-F62CD6BB7304}"/>
          </ac:graphicFrameMkLst>
        </pc:graphicFrameChg>
      </pc:sldChg>
      <pc:sldChg chg="modSp add del mod">
        <pc:chgData name="Nick Robinson" userId="d0c2b313-4ae0-4040-8c6a-fec7a720a7b5" providerId="ADAL" clId="{190131DE-6250-C84F-B491-721E6CF30BCB}" dt="2021-12-23T11:18:53.399" v="42308" actId="2696"/>
        <pc:sldMkLst>
          <pc:docMk/>
          <pc:sldMk cId="1100929689" sldId="2147374227"/>
        </pc:sldMkLst>
        <pc:graphicFrameChg chg="modGraphic">
          <ac:chgData name="Nick Robinson" userId="d0c2b313-4ae0-4040-8c6a-fec7a720a7b5" providerId="ADAL" clId="{190131DE-6250-C84F-B491-721E6CF30BCB}" dt="2021-12-21T11:03:20.940" v="22219" actId="207"/>
          <ac:graphicFrameMkLst>
            <pc:docMk/>
            <pc:sldMk cId="1100929689" sldId="2147374227"/>
            <ac:graphicFrameMk id="10" creationId="{87CC6123-A617-E541-A25D-A2DC364BE962}"/>
          </ac:graphicFrameMkLst>
        </pc:graphicFrameChg>
      </pc:sldChg>
      <pc:sldChg chg="add del">
        <pc:chgData name="Nick Robinson" userId="d0c2b313-4ae0-4040-8c6a-fec7a720a7b5" providerId="ADAL" clId="{190131DE-6250-C84F-B491-721E6CF30BCB}" dt="2021-12-21T10:25:16.254" v="21303" actId="2696"/>
        <pc:sldMkLst>
          <pc:docMk/>
          <pc:sldMk cId="1338380357" sldId="2147374228"/>
        </pc:sldMkLst>
      </pc:sldChg>
      <pc:sldChg chg="addSp delSp modSp add mod">
        <pc:chgData name="Nick Robinson" userId="d0c2b313-4ae0-4040-8c6a-fec7a720a7b5" providerId="ADAL" clId="{190131DE-6250-C84F-B491-721E6CF30BCB}" dt="2021-12-23T08:21:43.820" v="37151" actId="14100"/>
        <pc:sldMkLst>
          <pc:docMk/>
          <pc:sldMk cId="3468478757" sldId="2147374229"/>
        </pc:sldMkLst>
        <pc:spChg chg="mod">
          <ac:chgData name="Nick Robinson" userId="d0c2b313-4ae0-4040-8c6a-fec7a720a7b5" providerId="ADAL" clId="{190131DE-6250-C84F-B491-721E6CF30BCB}" dt="2021-12-23T08:21:39.605" v="37150" actId="20577"/>
          <ac:spMkLst>
            <pc:docMk/>
            <pc:sldMk cId="3468478757" sldId="2147374229"/>
            <ac:spMk id="5" creationId="{869C288E-1D56-FF40-A83F-F98E1505A482}"/>
          </ac:spMkLst>
        </pc:spChg>
        <pc:spChg chg="add mod">
          <ac:chgData name="Nick Robinson" userId="d0c2b313-4ae0-4040-8c6a-fec7a720a7b5" providerId="ADAL" clId="{190131DE-6250-C84F-B491-721E6CF30BCB}" dt="2021-12-21T08:46:41.032" v="20205" actId="1076"/>
          <ac:spMkLst>
            <pc:docMk/>
            <pc:sldMk cId="3468478757" sldId="2147374229"/>
            <ac:spMk id="8" creationId="{EB55409D-C6DD-7440-AD53-D14B3823334B}"/>
          </ac:spMkLst>
        </pc:spChg>
        <pc:spChg chg="add mod">
          <ac:chgData name="Nick Robinson" userId="d0c2b313-4ae0-4040-8c6a-fec7a720a7b5" providerId="ADAL" clId="{190131DE-6250-C84F-B491-721E6CF30BCB}" dt="2021-12-21T08:46:41.032" v="20205" actId="1076"/>
          <ac:spMkLst>
            <pc:docMk/>
            <pc:sldMk cId="3468478757" sldId="2147374229"/>
            <ac:spMk id="9" creationId="{1568F58D-CEE7-8D44-9AA2-B3B855369563}"/>
          </ac:spMkLst>
        </pc:spChg>
        <pc:spChg chg="del">
          <ac:chgData name="Nick Robinson" userId="d0c2b313-4ae0-4040-8c6a-fec7a720a7b5" providerId="ADAL" clId="{190131DE-6250-C84F-B491-721E6CF30BCB}" dt="2021-12-21T08:46:33.508" v="20203" actId="478"/>
          <ac:spMkLst>
            <pc:docMk/>
            <pc:sldMk cId="3468478757" sldId="2147374229"/>
            <ac:spMk id="12" creationId="{0C5074E7-FDDC-4C4A-BC5C-6D347FD8F837}"/>
          </ac:spMkLst>
        </pc:spChg>
        <pc:graphicFrameChg chg="mod modGraphic">
          <ac:chgData name="Nick Robinson" userId="d0c2b313-4ae0-4040-8c6a-fec7a720a7b5" providerId="ADAL" clId="{190131DE-6250-C84F-B491-721E6CF30BCB}" dt="2021-12-23T08:21:43.820" v="37151" actId="14100"/>
          <ac:graphicFrameMkLst>
            <pc:docMk/>
            <pc:sldMk cId="3468478757" sldId="2147374229"/>
            <ac:graphicFrameMk id="7" creationId="{B0021113-E356-744D-9441-B64074BD5786}"/>
          </ac:graphicFrameMkLst>
        </pc:graphicFrameChg>
      </pc:sldChg>
      <pc:sldChg chg="addSp delSp modSp add del mod">
        <pc:chgData name="Nick Robinson" userId="d0c2b313-4ae0-4040-8c6a-fec7a720a7b5" providerId="ADAL" clId="{190131DE-6250-C84F-B491-721E6CF30BCB}" dt="2021-12-23T11:18:53.399" v="42308" actId="2696"/>
        <pc:sldMkLst>
          <pc:docMk/>
          <pc:sldMk cId="91996412" sldId="2147374230"/>
        </pc:sldMkLst>
        <pc:graphicFrameChg chg="del">
          <ac:chgData name="Nick Robinson" userId="d0c2b313-4ae0-4040-8c6a-fec7a720a7b5" providerId="ADAL" clId="{190131DE-6250-C84F-B491-721E6CF30BCB}" dt="2021-12-21T11:03:30.140" v="22220" actId="478"/>
          <ac:graphicFrameMkLst>
            <pc:docMk/>
            <pc:sldMk cId="91996412" sldId="2147374230"/>
            <ac:graphicFrameMk id="10" creationId="{87CC6123-A617-E541-A25D-A2DC364BE962}"/>
          </ac:graphicFrameMkLst>
        </pc:graphicFrameChg>
        <pc:graphicFrameChg chg="add mod">
          <ac:chgData name="Nick Robinson" userId="d0c2b313-4ae0-4040-8c6a-fec7a720a7b5" providerId="ADAL" clId="{190131DE-6250-C84F-B491-721E6CF30BCB}" dt="2021-12-21T11:03:31.806" v="22221"/>
          <ac:graphicFrameMkLst>
            <pc:docMk/>
            <pc:sldMk cId="91996412" sldId="2147374230"/>
            <ac:graphicFrameMk id="11" creationId="{3F8DA790-8A6B-C445-9138-740A541B7170}"/>
          </ac:graphicFrameMkLst>
        </pc:graphicFrameChg>
      </pc:sldChg>
      <pc:sldChg chg="del">
        <pc:chgData name="Nick Robinson" userId="d0c2b313-4ae0-4040-8c6a-fec7a720a7b5" providerId="ADAL" clId="{190131DE-6250-C84F-B491-721E6CF30BCB}" dt="2021-12-21T09:55:06.708" v="20781" actId="2696"/>
        <pc:sldMkLst>
          <pc:docMk/>
          <pc:sldMk cId="1414037004" sldId="2147374230"/>
        </pc:sldMkLst>
      </pc:sldChg>
      <pc:sldChg chg="add del">
        <pc:chgData name="Nick Robinson" userId="d0c2b313-4ae0-4040-8c6a-fec7a720a7b5" providerId="ADAL" clId="{190131DE-6250-C84F-B491-721E6CF30BCB}" dt="2021-12-21T09:05:16.704" v="20532" actId="2696"/>
        <pc:sldMkLst>
          <pc:docMk/>
          <pc:sldMk cId="3547160075" sldId="2147374230"/>
        </pc:sldMkLst>
      </pc:sldChg>
      <pc:sldChg chg="addSp delSp modSp add del mod ord delCm modCm">
        <pc:chgData name="Nick Robinson" userId="d0c2b313-4ae0-4040-8c6a-fec7a720a7b5" providerId="ADAL" clId="{190131DE-6250-C84F-B491-721E6CF30BCB}" dt="2021-12-23T11:18:53.399" v="42308" actId="2696"/>
        <pc:sldMkLst>
          <pc:docMk/>
          <pc:sldMk cId="3997382144" sldId="2147374231"/>
        </pc:sldMkLst>
        <pc:spChg chg="mod">
          <ac:chgData name="Nick Robinson" userId="d0c2b313-4ae0-4040-8c6a-fec7a720a7b5" providerId="ADAL" clId="{190131DE-6250-C84F-B491-721E6CF30BCB}" dt="2021-12-22T22:00:12.103" v="34365" actId="1035"/>
          <ac:spMkLst>
            <pc:docMk/>
            <pc:sldMk cId="3997382144" sldId="2147374231"/>
            <ac:spMk id="193" creationId="{BE66D792-D83F-4844-ADEF-A4BD1422887B}"/>
          </ac:spMkLst>
        </pc:spChg>
        <pc:spChg chg="mod">
          <ac:chgData name="Nick Robinson" userId="d0c2b313-4ae0-4040-8c6a-fec7a720a7b5" providerId="ADAL" clId="{190131DE-6250-C84F-B491-721E6CF30BCB}" dt="2021-12-22T22:00:12.103" v="34365" actId="1035"/>
          <ac:spMkLst>
            <pc:docMk/>
            <pc:sldMk cId="3997382144" sldId="2147374231"/>
            <ac:spMk id="194" creationId="{EDB0FC32-B142-8048-A0B8-7BBA4B7C3B83}"/>
          </ac:spMkLst>
        </pc:spChg>
        <pc:spChg chg="mod">
          <ac:chgData name="Nick Robinson" userId="d0c2b313-4ae0-4040-8c6a-fec7a720a7b5" providerId="ADAL" clId="{190131DE-6250-C84F-B491-721E6CF30BCB}" dt="2021-12-22T21:59:33.860" v="34358" actId="20577"/>
          <ac:spMkLst>
            <pc:docMk/>
            <pc:sldMk cId="3997382144" sldId="2147374231"/>
            <ac:spMk id="277" creationId="{D36CFC29-3B58-F846-8DB9-51E9AC13B8D2}"/>
          </ac:spMkLst>
        </pc:spChg>
        <pc:spChg chg="mod">
          <ac:chgData name="Nick Robinson" userId="d0c2b313-4ae0-4040-8c6a-fec7a720a7b5" providerId="ADAL" clId="{190131DE-6250-C84F-B491-721E6CF30BCB}" dt="2021-12-22T22:00:12.103" v="34365" actId="1035"/>
          <ac:spMkLst>
            <pc:docMk/>
            <pc:sldMk cId="3997382144" sldId="2147374231"/>
            <ac:spMk id="492" creationId="{B5AF9CFC-E46F-A84A-867D-E8681C6DDDBA}"/>
          </ac:spMkLst>
        </pc:spChg>
        <pc:spChg chg="mod">
          <ac:chgData name="Nick Robinson" userId="d0c2b313-4ae0-4040-8c6a-fec7a720a7b5" providerId="ADAL" clId="{190131DE-6250-C84F-B491-721E6CF30BCB}" dt="2021-12-22T22:00:12.103" v="34365" actId="1035"/>
          <ac:spMkLst>
            <pc:docMk/>
            <pc:sldMk cId="3997382144" sldId="2147374231"/>
            <ac:spMk id="493" creationId="{4D6912A5-0E11-0F46-A606-04800C7CF220}"/>
          </ac:spMkLst>
        </pc:spChg>
        <pc:spChg chg="mod">
          <ac:chgData name="Nick Robinson" userId="d0c2b313-4ae0-4040-8c6a-fec7a720a7b5" providerId="ADAL" clId="{190131DE-6250-C84F-B491-721E6CF30BCB}" dt="2021-12-22T22:00:12.103" v="34365" actId="1035"/>
          <ac:spMkLst>
            <pc:docMk/>
            <pc:sldMk cId="3997382144" sldId="2147374231"/>
            <ac:spMk id="494" creationId="{1014B8C1-84C0-3F44-BD05-A22063CFE4FF}"/>
          </ac:spMkLst>
        </pc:spChg>
        <pc:spChg chg="mod">
          <ac:chgData name="Nick Robinson" userId="d0c2b313-4ae0-4040-8c6a-fec7a720a7b5" providerId="ADAL" clId="{190131DE-6250-C84F-B491-721E6CF30BCB}" dt="2021-12-22T22:00:12.103" v="34365" actId="1035"/>
          <ac:spMkLst>
            <pc:docMk/>
            <pc:sldMk cId="3997382144" sldId="2147374231"/>
            <ac:spMk id="495" creationId="{61076B9F-2B80-174F-ACDA-8DA709C1C586}"/>
          </ac:spMkLst>
        </pc:spChg>
        <pc:grpChg chg="mod">
          <ac:chgData name="Nick Robinson" userId="d0c2b313-4ae0-4040-8c6a-fec7a720a7b5" providerId="ADAL" clId="{190131DE-6250-C84F-B491-721E6CF30BCB}" dt="2021-12-22T22:00:12.103" v="34365" actId="1035"/>
          <ac:grpSpMkLst>
            <pc:docMk/>
            <pc:sldMk cId="3997382144" sldId="2147374231"/>
            <ac:grpSpMk id="7" creationId="{80FDB39A-7AB9-5442-AF3F-2F22A9032F7F}"/>
          </ac:grpSpMkLst>
        </pc:grpChg>
        <pc:grpChg chg="mod">
          <ac:chgData name="Nick Robinson" userId="d0c2b313-4ae0-4040-8c6a-fec7a720a7b5" providerId="ADAL" clId="{190131DE-6250-C84F-B491-721E6CF30BCB}" dt="2021-12-22T22:00:12.103" v="34365" actId="1035"/>
          <ac:grpSpMkLst>
            <pc:docMk/>
            <pc:sldMk cId="3997382144" sldId="2147374231"/>
            <ac:grpSpMk id="10" creationId="{A5873C76-5908-8B41-8526-0CC85835EE20}"/>
          </ac:grpSpMkLst>
        </pc:grpChg>
        <pc:grpChg chg="mod">
          <ac:chgData name="Nick Robinson" userId="d0c2b313-4ae0-4040-8c6a-fec7a720a7b5" providerId="ADAL" clId="{190131DE-6250-C84F-B491-721E6CF30BCB}" dt="2021-12-22T22:00:12.103" v="34365" actId="1035"/>
          <ac:grpSpMkLst>
            <pc:docMk/>
            <pc:sldMk cId="3997382144" sldId="2147374231"/>
            <ac:grpSpMk id="23" creationId="{1D577D7F-2C3E-6C45-94C3-5774A6D5A66A}"/>
          </ac:grpSpMkLst>
        </pc:grpChg>
        <pc:grpChg chg="mod">
          <ac:chgData name="Nick Robinson" userId="d0c2b313-4ae0-4040-8c6a-fec7a720a7b5" providerId="ADAL" clId="{190131DE-6250-C84F-B491-721E6CF30BCB}" dt="2021-12-22T22:00:12.103" v="34365" actId="1035"/>
          <ac:grpSpMkLst>
            <pc:docMk/>
            <pc:sldMk cId="3997382144" sldId="2147374231"/>
            <ac:grpSpMk id="27" creationId="{247AD1D4-111D-DB4A-BC6C-4261BE3A8642}"/>
          </ac:grpSpMkLst>
        </pc:grpChg>
        <pc:grpChg chg="mod">
          <ac:chgData name="Nick Robinson" userId="d0c2b313-4ae0-4040-8c6a-fec7a720a7b5" providerId="ADAL" clId="{190131DE-6250-C84F-B491-721E6CF30BCB}" dt="2021-12-22T22:00:12.103" v="34365" actId="1035"/>
          <ac:grpSpMkLst>
            <pc:docMk/>
            <pc:sldMk cId="3997382144" sldId="2147374231"/>
            <ac:grpSpMk id="303" creationId="{60BE6AEF-42E3-8A4C-83CD-7238BA7BFEEA}"/>
          </ac:grpSpMkLst>
        </pc:grpChg>
        <pc:grpChg chg="mod">
          <ac:chgData name="Nick Robinson" userId="d0c2b313-4ae0-4040-8c6a-fec7a720a7b5" providerId="ADAL" clId="{190131DE-6250-C84F-B491-721E6CF30BCB}" dt="2021-12-22T22:00:12.103" v="34365" actId="1035"/>
          <ac:grpSpMkLst>
            <pc:docMk/>
            <pc:sldMk cId="3997382144" sldId="2147374231"/>
            <ac:grpSpMk id="306" creationId="{05B03753-2E07-BD4E-80DC-2BD0ADFDEA7C}"/>
          </ac:grpSpMkLst>
        </pc:grpChg>
        <pc:grpChg chg="mod">
          <ac:chgData name="Nick Robinson" userId="d0c2b313-4ae0-4040-8c6a-fec7a720a7b5" providerId="ADAL" clId="{190131DE-6250-C84F-B491-721E6CF30BCB}" dt="2021-12-22T22:00:12.103" v="34365" actId="1035"/>
          <ac:grpSpMkLst>
            <pc:docMk/>
            <pc:sldMk cId="3997382144" sldId="2147374231"/>
            <ac:grpSpMk id="309" creationId="{2B42518F-AC23-3D4D-B00F-24E635D2BA25}"/>
          </ac:grpSpMkLst>
        </pc:grpChg>
        <pc:grpChg chg="mod">
          <ac:chgData name="Nick Robinson" userId="d0c2b313-4ae0-4040-8c6a-fec7a720a7b5" providerId="ADAL" clId="{190131DE-6250-C84F-B491-721E6CF30BCB}" dt="2021-12-22T22:00:12.103" v="34365" actId="1035"/>
          <ac:grpSpMkLst>
            <pc:docMk/>
            <pc:sldMk cId="3997382144" sldId="2147374231"/>
            <ac:grpSpMk id="312" creationId="{94F077DE-89D7-F04D-826B-A6BFA6A220D5}"/>
          </ac:grpSpMkLst>
        </pc:grpChg>
        <pc:grpChg chg="mod">
          <ac:chgData name="Nick Robinson" userId="d0c2b313-4ae0-4040-8c6a-fec7a720a7b5" providerId="ADAL" clId="{190131DE-6250-C84F-B491-721E6CF30BCB}" dt="2021-12-22T22:00:12.103" v="34365" actId="1035"/>
          <ac:grpSpMkLst>
            <pc:docMk/>
            <pc:sldMk cId="3997382144" sldId="2147374231"/>
            <ac:grpSpMk id="315" creationId="{353A454E-00A3-DC45-A835-7DC83DEC7A26}"/>
          </ac:grpSpMkLst>
        </pc:grpChg>
        <pc:grpChg chg="mod">
          <ac:chgData name="Nick Robinson" userId="d0c2b313-4ae0-4040-8c6a-fec7a720a7b5" providerId="ADAL" clId="{190131DE-6250-C84F-B491-721E6CF30BCB}" dt="2021-12-22T22:00:12.103" v="34365" actId="1035"/>
          <ac:grpSpMkLst>
            <pc:docMk/>
            <pc:sldMk cId="3997382144" sldId="2147374231"/>
            <ac:grpSpMk id="321" creationId="{757C7EFB-9070-0E48-824C-A349462E2F47}"/>
          </ac:grpSpMkLst>
        </pc:grpChg>
        <pc:grpChg chg="mod">
          <ac:chgData name="Nick Robinson" userId="d0c2b313-4ae0-4040-8c6a-fec7a720a7b5" providerId="ADAL" clId="{190131DE-6250-C84F-B491-721E6CF30BCB}" dt="2021-12-22T22:00:12.103" v="34365" actId="1035"/>
          <ac:grpSpMkLst>
            <pc:docMk/>
            <pc:sldMk cId="3997382144" sldId="2147374231"/>
            <ac:grpSpMk id="324" creationId="{64C19406-33E9-454A-BD27-6FC2A0C0DF78}"/>
          </ac:grpSpMkLst>
        </pc:grpChg>
        <pc:grpChg chg="mod">
          <ac:chgData name="Nick Robinson" userId="d0c2b313-4ae0-4040-8c6a-fec7a720a7b5" providerId="ADAL" clId="{190131DE-6250-C84F-B491-721E6CF30BCB}" dt="2021-12-22T22:00:12.103" v="34365" actId="1035"/>
          <ac:grpSpMkLst>
            <pc:docMk/>
            <pc:sldMk cId="3997382144" sldId="2147374231"/>
            <ac:grpSpMk id="329" creationId="{F78F0E69-3BD3-3A4B-B9E8-825788C4EBEC}"/>
          </ac:grpSpMkLst>
        </pc:grpChg>
        <pc:grpChg chg="mod">
          <ac:chgData name="Nick Robinson" userId="d0c2b313-4ae0-4040-8c6a-fec7a720a7b5" providerId="ADAL" clId="{190131DE-6250-C84F-B491-721E6CF30BCB}" dt="2021-12-22T22:00:12.103" v="34365" actId="1035"/>
          <ac:grpSpMkLst>
            <pc:docMk/>
            <pc:sldMk cId="3997382144" sldId="2147374231"/>
            <ac:grpSpMk id="335" creationId="{2497B8E4-F87A-864D-9F71-A5EFC45F957D}"/>
          </ac:grpSpMkLst>
        </pc:grpChg>
        <pc:grpChg chg="mod">
          <ac:chgData name="Nick Robinson" userId="d0c2b313-4ae0-4040-8c6a-fec7a720a7b5" providerId="ADAL" clId="{190131DE-6250-C84F-B491-721E6CF30BCB}" dt="2021-12-22T22:00:12.103" v="34365" actId="1035"/>
          <ac:grpSpMkLst>
            <pc:docMk/>
            <pc:sldMk cId="3997382144" sldId="2147374231"/>
            <ac:grpSpMk id="338" creationId="{88997D13-BEAA-6A43-A252-90C58735F1B1}"/>
          </ac:grpSpMkLst>
        </pc:grpChg>
        <pc:grpChg chg="mod">
          <ac:chgData name="Nick Robinson" userId="d0c2b313-4ae0-4040-8c6a-fec7a720a7b5" providerId="ADAL" clId="{190131DE-6250-C84F-B491-721E6CF30BCB}" dt="2021-12-22T22:00:12.103" v="34365" actId="1035"/>
          <ac:grpSpMkLst>
            <pc:docMk/>
            <pc:sldMk cId="3997382144" sldId="2147374231"/>
            <ac:grpSpMk id="341" creationId="{C757D74A-7405-1F46-90B1-E07A0AA76B16}"/>
          </ac:grpSpMkLst>
        </pc:grpChg>
        <pc:grpChg chg="mod">
          <ac:chgData name="Nick Robinson" userId="d0c2b313-4ae0-4040-8c6a-fec7a720a7b5" providerId="ADAL" clId="{190131DE-6250-C84F-B491-721E6CF30BCB}" dt="2021-12-22T22:00:12.103" v="34365" actId="1035"/>
          <ac:grpSpMkLst>
            <pc:docMk/>
            <pc:sldMk cId="3997382144" sldId="2147374231"/>
            <ac:grpSpMk id="344" creationId="{9761C009-21BE-5D49-9E55-86C19993649F}"/>
          </ac:grpSpMkLst>
        </pc:grpChg>
        <pc:grpChg chg="mod">
          <ac:chgData name="Nick Robinson" userId="d0c2b313-4ae0-4040-8c6a-fec7a720a7b5" providerId="ADAL" clId="{190131DE-6250-C84F-B491-721E6CF30BCB}" dt="2021-12-22T22:00:12.103" v="34365" actId="1035"/>
          <ac:grpSpMkLst>
            <pc:docMk/>
            <pc:sldMk cId="3997382144" sldId="2147374231"/>
            <ac:grpSpMk id="347" creationId="{7CF0B40F-4F33-4B4C-97E7-F13B84697DBE}"/>
          </ac:grpSpMkLst>
        </pc:grpChg>
        <pc:grpChg chg="mod">
          <ac:chgData name="Nick Robinson" userId="d0c2b313-4ae0-4040-8c6a-fec7a720a7b5" providerId="ADAL" clId="{190131DE-6250-C84F-B491-721E6CF30BCB}" dt="2021-12-22T22:00:12.103" v="34365" actId="1035"/>
          <ac:grpSpMkLst>
            <pc:docMk/>
            <pc:sldMk cId="3997382144" sldId="2147374231"/>
            <ac:grpSpMk id="350" creationId="{75CE87BF-625B-1F4C-8482-38D764E8C8E2}"/>
          </ac:grpSpMkLst>
        </pc:grpChg>
        <pc:grpChg chg="mod">
          <ac:chgData name="Nick Robinson" userId="d0c2b313-4ae0-4040-8c6a-fec7a720a7b5" providerId="ADAL" clId="{190131DE-6250-C84F-B491-721E6CF30BCB}" dt="2021-12-22T22:00:12.103" v="34365" actId="1035"/>
          <ac:grpSpMkLst>
            <pc:docMk/>
            <pc:sldMk cId="3997382144" sldId="2147374231"/>
            <ac:grpSpMk id="497" creationId="{F90E03B8-7A69-E540-AF03-FD9BE34A66B6}"/>
          </ac:grpSpMkLst>
        </pc:grpChg>
        <pc:grpChg chg="mod">
          <ac:chgData name="Nick Robinson" userId="d0c2b313-4ae0-4040-8c6a-fec7a720a7b5" providerId="ADAL" clId="{190131DE-6250-C84F-B491-721E6CF30BCB}" dt="2021-12-22T22:00:12.103" v="34365" actId="1035"/>
          <ac:grpSpMkLst>
            <pc:docMk/>
            <pc:sldMk cId="3997382144" sldId="2147374231"/>
            <ac:grpSpMk id="500" creationId="{BCD26321-2AC6-C545-8B57-598526463049}"/>
          </ac:grpSpMkLst>
        </pc:grpChg>
        <pc:grpChg chg="mod">
          <ac:chgData name="Nick Robinson" userId="d0c2b313-4ae0-4040-8c6a-fec7a720a7b5" providerId="ADAL" clId="{190131DE-6250-C84F-B491-721E6CF30BCB}" dt="2021-12-22T22:00:12.103" v="34365" actId="1035"/>
          <ac:grpSpMkLst>
            <pc:docMk/>
            <pc:sldMk cId="3997382144" sldId="2147374231"/>
            <ac:grpSpMk id="503" creationId="{1FADDB06-58C5-0D4E-816D-8F914C2FADB4}"/>
          </ac:grpSpMkLst>
        </pc:grpChg>
        <pc:grpChg chg="mod">
          <ac:chgData name="Nick Robinson" userId="d0c2b313-4ae0-4040-8c6a-fec7a720a7b5" providerId="ADAL" clId="{190131DE-6250-C84F-B491-721E6CF30BCB}" dt="2021-12-22T22:00:12.103" v="34365" actId="1035"/>
          <ac:grpSpMkLst>
            <pc:docMk/>
            <pc:sldMk cId="3997382144" sldId="2147374231"/>
            <ac:grpSpMk id="509" creationId="{414A8093-3486-5B4A-A5B2-4C4247FE1046}"/>
          </ac:grpSpMkLst>
        </pc:grpChg>
        <pc:grpChg chg="mod">
          <ac:chgData name="Nick Robinson" userId="d0c2b313-4ae0-4040-8c6a-fec7a720a7b5" providerId="ADAL" clId="{190131DE-6250-C84F-B491-721E6CF30BCB}" dt="2021-12-22T22:00:12.103" v="34365" actId="1035"/>
          <ac:grpSpMkLst>
            <pc:docMk/>
            <pc:sldMk cId="3997382144" sldId="2147374231"/>
            <ac:grpSpMk id="512" creationId="{BD45A7B6-B727-8F46-A69A-5ABC871A0030}"/>
          </ac:grpSpMkLst>
        </pc:grpChg>
        <pc:grpChg chg="mod">
          <ac:chgData name="Nick Robinson" userId="d0c2b313-4ae0-4040-8c6a-fec7a720a7b5" providerId="ADAL" clId="{190131DE-6250-C84F-B491-721E6CF30BCB}" dt="2021-12-22T22:00:12.103" v="34365" actId="1035"/>
          <ac:grpSpMkLst>
            <pc:docMk/>
            <pc:sldMk cId="3997382144" sldId="2147374231"/>
            <ac:grpSpMk id="549" creationId="{7D133B50-1CA5-4645-B0DE-27287A69AB03}"/>
          </ac:grpSpMkLst>
        </pc:grpChg>
        <pc:grpChg chg="mod">
          <ac:chgData name="Nick Robinson" userId="d0c2b313-4ae0-4040-8c6a-fec7a720a7b5" providerId="ADAL" clId="{190131DE-6250-C84F-B491-721E6CF30BCB}" dt="2021-12-22T22:00:12.103" v="34365" actId="1035"/>
          <ac:grpSpMkLst>
            <pc:docMk/>
            <pc:sldMk cId="3997382144" sldId="2147374231"/>
            <ac:grpSpMk id="552" creationId="{4AB496B8-8EBE-BD43-8002-7E401B7A0200}"/>
          </ac:grpSpMkLst>
        </pc:grpChg>
        <pc:grpChg chg="mod">
          <ac:chgData name="Nick Robinson" userId="d0c2b313-4ae0-4040-8c6a-fec7a720a7b5" providerId="ADAL" clId="{190131DE-6250-C84F-B491-721E6CF30BCB}" dt="2021-12-22T22:00:12.103" v="34365" actId="1035"/>
          <ac:grpSpMkLst>
            <pc:docMk/>
            <pc:sldMk cId="3997382144" sldId="2147374231"/>
            <ac:grpSpMk id="555" creationId="{FD27D65B-85BE-974D-A5D2-96CABADE13BB}"/>
          </ac:grpSpMkLst>
        </pc:grpChg>
        <pc:grpChg chg="mod">
          <ac:chgData name="Nick Robinson" userId="d0c2b313-4ae0-4040-8c6a-fec7a720a7b5" providerId="ADAL" clId="{190131DE-6250-C84F-B491-721E6CF30BCB}" dt="2021-12-22T22:00:12.103" v="34365" actId="1035"/>
          <ac:grpSpMkLst>
            <pc:docMk/>
            <pc:sldMk cId="3997382144" sldId="2147374231"/>
            <ac:grpSpMk id="561" creationId="{2C28106E-A1BA-3D4F-8801-DE6AB04EC415}"/>
          </ac:grpSpMkLst>
        </pc:grpChg>
        <pc:grpChg chg="mod">
          <ac:chgData name="Nick Robinson" userId="d0c2b313-4ae0-4040-8c6a-fec7a720a7b5" providerId="ADAL" clId="{190131DE-6250-C84F-B491-721E6CF30BCB}" dt="2021-12-22T22:00:12.103" v="34365" actId="1035"/>
          <ac:grpSpMkLst>
            <pc:docMk/>
            <pc:sldMk cId="3997382144" sldId="2147374231"/>
            <ac:grpSpMk id="564" creationId="{D92D8193-3828-2646-B203-67FFA79ACF1D}"/>
          </ac:grpSpMkLst>
        </pc:grpChg>
        <pc:grpChg chg="mod">
          <ac:chgData name="Nick Robinson" userId="d0c2b313-4ae0-4040-8c6a-fec7a720a7b5" providerId="ADAL" clId="{190131DE-6250-C84F-B491-721E6CF30BCB}" dt="2021-12-22T22:00:12.103" v="34365" actId="1035"/>
          <ac:grpSpMkLst>
            <pc:docMk/>
            <pc:sldMk cId="3997382144" sldId="2147374231"/>
            <ac:grpSpMk id="567" creationId="{76069F71-31D2-C842-961C-FA1C7F1B066B}"/>
          </ac:grpSpMkLst>
        </pc:grpChg>
        <pc:grpChg chg="mod">
          <ac:chgData name="Nick Robinson" userId="d0c2b313-4ae0-4040-8c6a-fec7a720a7b5" providerId="ADAL" clId="{190131DE-6250-C84F-B491-721E6CF30BCB}" dt="2021-12-22T22:00:12.103" v="34365" actId="1035"/>
          <ac:grpSpMkLst>
            <pc:docMk/>
            <pc:sldMk cId="3997382144" sldId="2147374231"/>
            <ac:grpSpMk id="570" creationId="{18F7E406-D8A6-314E-9BBE-EC34EC5D971D}"/>
          </ac:grpSpMkLst>
        </pc:grpChg>
        <pc:grpChg chg="mod">
          <ac:chgData name="Nick Robinson" userId="d0c2b313-4ae0-4040-8c6a-fec7a720a7b5" providerId="ADAL" clId="{190131DE-6250-C84F-B491-721E6CF30BCB}" dt="2021-12-22T22:00:12.103" v="34365" actId="1035"/>
          <ac:grpSpMkLst>
            <pc:docMk/>
            <pc:sldMk cId="3997382144" sldId="2147374231"/>
            <ac:grpSpMk id="573" creationId="{FEC2FEF6-5226-294D-A13E-3CFABB2F9DBA}"/>
          </ac:grpSpMkLst>
        </pc:grpChg>
        <pc:grpChg chg="mod">
          <ac:chgData name="Nick Robinson" userId="d0c2b313-4ae0-4040-8c6a-fec7a720a7b5" providerId="ADAL" clId="{190131DE-6250-C84F-B491-721E6CF30BCB}" dt="2021-12-22T22:00:12.103" v="34365" actId="1035"/>
          <ac:grpSpMkLst>
            <pc:docMk/>
            <pc:sldMk cId="3997382144" sldId="2147374231"/>
            <ac:grpSpMk id="576" creationId="{DA5C55AC-65C2-1D46-A772-62B7987E8F33}"/>
          </ac:grpSpMkLst>
        </pc:grpChg>
        <pc:grpChg chg="mod">
          <ac:chgData name="Nick Robinson" userId="d0c2b313-4ae0-4040-8c6a-fec7a720a7b5" providerId="ADAL" clId="{190131DE-6250-C84F-B491-721E6CF30BCB}" dt="2021-12-22T22:00:12.103" v="34365" actId="1035"/>
          <ac:grpSpMkLst>
            <pc:docMk/>
            <pc:sldMk cId="3997382144" sldId="2147374231"/>
            <ac:grpSpMk id="579" creationId="{273A3CFC-F2A0-5D45-832E-AC24DF5A5ACE}"/>
          </ac:grpSpMkLst>
        </pc:grpChg>
        <pc:grpChg chg="mod">
          <ac:chgData name="Nick Robinson" userId="d0c2b313-4ae0-4040-8c6a-fec7a720a7b5" providerId="ADAL" clId="{190131DE-6250-C84F-B491-721E6CF30BCB}" dt="2021-12-22T22:00:12.103" v="34365" actId="1035"/>
          <ac:grpSpMkLst>
            <pc:docMk/>
            <pc:sldMk cId="3997382144" sldId="2147374231"/>
            <ac:grpSpMk id="582" creationId="{3AF5CE05-4272-5747-BB70-05633DEAA1C5}"/>
          </ac:grpSpMkLst>
        </pc:grpChg>
        <pc:grpChg chg="mod">
          <ac:chgData name="Nick Robinson" userId="d0c2b313-4ae0-4040-8c6a-fec7a720a7b5" providerId="ADAL" clId="{190131DE-6250-C84F-B491-721E6CF30BCB}" dt="2021-12-22T22:00:12.103" v="34365" actId="1035"/>
          <ac:grpSpMkLst>
            <pc:docMk/>
            <pc:sldMk cId="3997382144" sldId="2147374231"/>
            <ac:grpSpMk id="585" creationId="{6F25DF8D-62D7-9B4C-A9FB-CAFBCEBC18D8}"/>
          </ac:grpSpMkLst>
        </pc:grpChg>
        <pc:grpChg chg="mod">
          <ac:chgData name="Nick Robinson" userId="d0c2b313-4ae0-4040-8c6a-fec7a720a7b5" providerId="ADAL" clId="{190131DE-6250-C84F-B491-721E6CF30BCB}" dt="2021-12-22T22:00:12.103" v="34365" actId="1035"/>
          <ac:grpSpMkLst>
            <pc:docMk/>
            <pc:sldMk cId="3997382144" sldId="2147374231"/>
            <ac:grpSpMk id="591" creationId="{47BF5209-9014-3649-90AF-BBA54DCB16E2}"/>
          </ac:grpSpMkLst>
        </pc:grpChg>
        <pc:grpChg chg="mod">
          <ac:chgData name="Nick Robinson" userId="d0c2b313-4ae0-4040-8c6a-fec7a720a7b5" providerId="ADAL" clId="{190131DE-6250-C84F-B491-721E6CF30BCB}" dt="2021-12-22T22:00:12.103" v="34365" actId="1035"/>
          <ac:grpSpMkLst>
            <pc:docMk/>
            <pc:sldMk cId="3997382144" sldId="2147374231"/>
            <ac:grpSpMk id="594" creationId="{624775B1-6CCF-4547-9A3F-503C48C0CD5F}"/>
          </ac:grpSpMkLst>
        </pc:grpChg>
        <pc:grpChg chg="mod">
          <ac:chgData name="Nick Robinson" userId="d0c2b313-4ae0-4040-8c6a-fec7a720a7b5" providerId="ADAL" clId="{190131DE-6250-C84F-B491-721E6CF30BCB}" dt="2021-12-22T22:00:12.103" v="34365" actId="1035"/>
          <ac:grpSpMkLst>
            <pc:docMk/>
            <pc:sldMk cId="3997382144" sldId="2147374231"/>
            <ac:grpSpMk id="597" creationId="{3F286EE6-1E67-E649-B34D-DEEEA7EC131C}"/>
          </ac:grpSpMkLst>
        </pc:grpChg>
        <pc:grpChg chg="mod">
          <ac:chgData name="Nick Robinson" userId="d0c2b313-4ae0-4040-8c6a-fec7a720a7b5" providerId="ADAL" clId="{190131DE-6250-C84F-B491-721E6CF30BCB}" dt="2021-12-22T22:00:12.103" v="34365" actId="1035"/>
          <ac:grpSpMkLst>
            <pc:docMk/>
            <pc:sldMk cId="3997382144" sldId="2147374231"/>
            <ac:grpSpMk id="600" creationId="{B2EF7EA7-CF50-5240-9071-EAAEF4BE8BB7}"/>
          </ac:grpSpMkLst>
        </pc:grpChg>
        <pc:grpChg chg="mod">
          <ac:chgData name="Nick Robinson" userId="d0c2b313-4ae0-4040-8c6a-fec7a720a7b5" providerId="ADAL" clId="{190131DE-6250-C84F-B491-721E6CF30BCB}" dt="2021-12-22T22:00:12.103" v="34365" actId="1035"/>
          <ac:grpSpMkLst>
            <pc:docMk/>
            <pc:sldMk cId="3997382144" sldId="2147374231"/>
            <ac:grpSpMk id="603" creationId="{EF9358A7-426B-904A-9EC3-C0E9724ABCD0}"/>
          </ac:grpSpMkLst>
        </pc:grpChg>
        <pc:grpChg chg="mod">
          <ac:chgData name="Nick Robinson" userId="d0c2b313-4ae0-4040-8c6a-fec7a720a7b5" providerId="ADAL" clId="{190131DE-6250-C84F-B491-721E6CF30BCB}" dt="2021-12-22T22:00:12.103" v="34365" actId="1035"/>
          <ac:grpSpMkLst>
            <pc:docMk/>
            <pc:sldMk cId="3997382144" sldId="2147374231"/>
            <ac:grpSpMk id="606" creationId="{023ABE9D-8564-0E43-94AA-4CB5A1D66007}"/>
          </ac:grpSpMkLst>
        </pc:grpChg>
        <pc:grpChg chg="mod">
          <ac:chgData name="Nick Robinson" userId="d0c2b313-4ae0-4040-8c6a-fec7a720a7b5" providerId="ADAL" clId="{190131DE-6250-C84F-B491-721E6CF30BCB}" dt="2021-12-22T22:00:12.103" v="34365" actId="1035"/>
          <ac:grpSpMkLst>
            <pc:docMk/>
            <pc:sldMk cId="3997382144" sldId="2147374231"/>
            <ac:grpSpMk id="609" creationId="{06044CCD-D366-1643-BC74-A097A905795A}"/>
          </ac:grpSpMkLst>
        </pc:grpChg>
        <pc:grpChg chg="mod">
          <ac:chgData name="Nick Robinson" userId="d0c2b313-4ae0-4040-8c6a-fec7a720a7b5" providerId="ADAL" clId="{190131DE-6250-C84F-B491-721E6CF30BCB}" dt="2021-12-22T22:00:12.103" v="34365" actId="1035"/>
          <ac:grpSpMkLst>
            <pc:docMk/>
            <pc:sldMk cId="3997382144" sldId="2147374231"/>
            <ac:grpSpMk id="612" creationId="{C93EC510-1D7B-1445-AC1A-D3B936A6FCAD}"/>
          </ac:grpSpMkLst>
        </pc:grpChg>
        <pc:grpChg chg="mod">
          <ac:chgData name="Nick Robinson" userId="d0c2b313-4ae0-4040-8c6a-fec7a720a7b5" providerId="ADAL" clId="{190131DE-6250-C84F-B491-721E6CF30BCB}" dt="2021-12-22T22:00:12.103" v="34365" actId="1035"/>
          <ac:grpSpMkLst>
            <pc:docMk/>
            <pc:sldMk cId="3997382144" sldId="2147374231"/>
            <ac:grpSpMk id="615" creationId="{68179C25-E475-B24B-A2DF-EF3ABDCC67C1}"/>
          </ac:grpSpMkLst>
        </pc:grpChg>
        <pc:grpChg chg="mod">
          <ac:chgData name="Nick Robinson" userId="d0c2b313-4ae0-4040-8c6a-fec7a720a7b5" providerId="ADAL" clId="{190131DE-6250-C84F-B491-721E6CF30BCB}" dt="2021-12-22T22:00:12.103" v="34365" actId="1035"/>
          <ac:grpSpMkLst>
            <pc:docMk/>
            <pc:sldMk cId="3997382144" sldId="2147374231"/>
            <ac:grpSpMk id="618" creationId="{24C3ED54-5947-FA45-A66E-41018EA0E861}"/>
          </ac:grpSpMkLst>
        </pc:grpChg>
        <pc:grpChg chg="mod">
          <ac:chgData name="Nick Robinson" userId="d0c2b313-4ae0-4040-8c6a-fec7a720a7b5" providerId="ADAL" clId="{190131DE-6250-C84F-B491-721E6CF30BCB}" dt="2021-12-22T22:00:12.103" v="34365" actId="1035"/>
          <ac:grpSpMkLst>
            <pc:docMk/>
            <pc:sldMk cId="3997382144" sldId="2147374231"/>
            <ac:grpSpMk id="621" creationId="{636D733D-92DA-CD4F-ABD4-298296C09389}"/>
          </ac:grpSpMkLst>
        </pc:grpChg>
        <pc:grpChg chg="mod">
          <ac:chgData name="Nick Robinson" userId="d0c2b313-4ae0-4040-8c6a-fec7a720a7b5" providerId="ADAL" clId="{190131DE-6250-C84F-B491-721E6CF30BCB}" dt="2021-12-22T22:00:12.103" v="34365" actId="1035"/>
          <ac:grpSpMkLst>
            <pc:docMk/>
            <pc:sldMk cId="3997382144" sldId="2147374231"/>
            <ac:grpSpMk id="624" creationId="{B9640ADD-CC2D-EC43-82BA-AE2C81E47FD2}"/>
          </ac:grpSpMkLst>
        </pc:grpChg>
        <pc:grpChg chg="mod">
          <ac:chgData name="Nick Robinson" userId="d0c2b313-4ae0-4040-8c6a-fec7a720a7b5" providerId="ADAL" clId="{190131DE-6250-C84F-B491-721E6CF30BCB}" dt="2021-12-22T22:00:12.103" v="34365" actId="1035"/>
          <ac:grpSpMkLst>
            <pc:docMk/>
            <pc:sldMk cId="3997382144" sldId="2147374231"/>
            <ac:grpSpMk id="627" creationId="{751A5D16-4D1F-BA44-9235-13E532C07D4B}"/>
          </ac:grpSpMkLst>
        </pc:grpChg>
        <pc:grpChg chg="mod">
          <ac:chgData name="Nick Robinson" userId="d0c2b313-4ae0-4040-8c6a-fec7a720a7b5" providerId="ADAL" clId="{190131DE-6250-C84F-B491-721E6CF30BCB}" dt="2021-12-22T22:00:12.103" v="34365" actId="1035"/>
          <ac:grpSpMkLst>
            <pc:docMk/>
            <pc:sldMk cId="3997382144" sldId="2147374231"/>
            <ac:grpSpMk id="630" creationId="{B1B191F7-0AA8-4B43-B520-34D3BD5C12A2}"/>
          </ac:grpSpMkLst>
        </pc:grpChg>
        <pc:grpChg chg="mod">
          <ac:chgData name="Nick Robinson" userId="d0c2b313-4ae0-4040-8c6a-fec7a720a7b5" providerId="ADAL" clId="{190131DE-6250-C84F-B491-721E6CF30BCB}" dt="2021-12-22T22:00:12.103" v="34365" actId="1035"/>
          <ac:grpSpMkLst>
            <pc:docMk/>
            <pc:sldMk cId="3997382144" sldId="2147374231"/>
            <ac:grpSpMk id="633" creationId="{A9CFA15A-E583-D845-84D2-EC146D46A771}"/>
          </ac:grpSpMkLst>
        </pc:grpChg>
        <pc:grpChg chg="mod">
          <ac:chgData name="Nick Robinson" userId="d0c2b313-4ae0-4040-8c6a-fec7a720a7b5" providerId="ADAL" clId="{190131DE-6250-C84F-B491-721E6CF30BCB}" dt="2021-12-22T22:00:12.103" v="34365" actId="1035"/>
          <ac:grpSpMkLst>
            <pc:docMk/>
            <pc:sldMk cId="3997382144" sldId="2147374231"/>
            <ac:grpSpMk id="636" creationId="{E94A6474-9531-6141-8DCE-4B099874A355}"/>
          </ac:grpSpMkLst>
        </pc:grpChg>
        <pc:grpChg chg="mod">
          <ac:chgData name="Nick Robinson" userId="d0c2b313-4ae0-4040-8c6a-fec7a720a7b5" providerId="ADAL" clId="{190131DE-6250-C84F-B491-721E6CF30BCB}" dt="2021-12-22T22:00:12.103" v="34365" actId="1035"/>
          <ac:grpSpMkLst>
            <pc:docMk/>
            <pc:sldMk cId="3997382144" sldId="2147374231"/>
            <ac:grpSpMk id="639" creationId="{9A9D06F2-D773-C645-9D41-A8B819A251D2}"/>
          </ac:grpSpMkLst>
        </pc:grpChg>
        <pc:grpChg chg="mod">
          <ac:chgData name="Nick Robinson" userId="d0c2b313-4ae0-4040-8c6a-fec7a720a7b5" providerId="ADAL" clId="{190131DE-6250-C84F-B491-721E6CF30BCB}" dt="2021-12-22T22:00:12.103" v="34365" actId="1035"/>
          <ac:grpSpMkLst>
            <pc:docMk/>
            <pc:sldMk cId="3997382144" sldId="2147374231"/>
            <ac:grpSpMk id="642" creationId="{FF514277-F8E3-5F43-B78D-F6BAD05F6E13}"/>
          </ac:grpSpMkLst>
        </pc:grpChg>
        <pc:grpChg chg="mod">
          <ac:chgData name="Nick Robinson" userId="d0c2b313-4ae0-4040-8c6a-fec7a720a7b5" providerId="ADAL" clId="{190131DE-6250-C84F-B491-721E6CF30BCB}" dt="2021-12-22T22:00:12.103" v="34365" actId="1035"/>
          <ac:grpSpMkLst>
            <pc:docMk/>
            <pc:sldMk cId="3997382144" sldId="2147374231"/>
            <ac:grpSpMk id="645" creationId="{6BE6DE9F-8C85-4C4A-A2BF-239D216FE239}"/>
          </ac:grpSpMkLst>
        </pc:grpChg>
        <pc:grpChg chg="mod">
          <ac:chgData name="Nick Robinson" userId="d0c2b313-4ae0-4040-8c6a-fec7a720a7b5" providerId="ADAL" clId="{190131DE-6250-C84F-B491-721E6CF30BCB}" dt="2021-12-23T09:21:54.232" v="39226" actId="1076"/>
          <ac:grpSpMkLst>
            <pc:docMk/>
            <pc:sldMk cId="3997382144" sldId="2147374231"/>
            <ac:grpSpMk id="648" creationId="{540BDCAB-AFE6-214D-8130-96025BF2B3EB}"/>
          </ac:grpSpMkLst>
        </pc:grpChg>
        <pc:grpChg chg="mod">
          <ac:chgData name="Nick Robinson" userId="d0c2b313-4ae0-4040-8c6a-fec7a720a7b5" providerId="ADAL" clId="{190131DE-6250-C84F-B491-721E6CF30BCB}" dt="2021-12-23T09:21:50.932" v="39225" actId="1076"/>
          <ac:grpSpMkLst>
            <pc:docMk/>
            <pc:sldMk cId="3997382144" sldId="2147374231"/>
            <ac:grpSpMk id="651" creationId="{F530E45B-AD6E-3A4B-965E-5CDBDF27F94B}"/>
          </ac:grpSpMkLst>
        </pc:grpChg>
        <pc:grpChg chg="mod">
          <ac:chgData name="Nick Robinson" userId="d0c2b313-4ae0-4040-8c6a-fec7a720a7b5" providerId="ADAL" clId="{190131DE-6250-C84F-B491-721E6CF30BCB}" dt="2021-12-22T22:00:12.103" v="34365" actId="1035"/>
          <ac:grpSpMkLst>
            <pc:docMk/>
            <pc:sldMk cId="3997382144" sldId="2147374231"/>
            <ac:grpSpMk id="654" creationId="{44D66C39-79E6-F84D-AB2B-B1EC80ACE0CA}"/>
          </ac:grpSpMkLst>
        </pc:grpChg>
        <pc:grpChg chg="mod">
          <ac:chgData name="Nick Robinson" userId="d0c2b313-4ae0-4040-8c6a-fec7a720a7b5" providerId="ADAL" clId="{190131DE-6250-C84F-B491-721E6CF30BCB}" dt="2021-12-22T22:00:12.103" v="34365" actId="1035"/>
          <ac:grpSpMkLst>
            <pc:docMk/>
            <pc:sldMk cId="3997382144" sldId="2147374231"/>
            <ac:grpSpMk id="657" creationId="{3B4D55B3-0363-4847-B786-AE2957C66B55}"/>
          </ac:grpSpMkLst>
        </pc:grpChg>
        <pc:grpChg chg="mod">
          <ac:chgData name="Nick Robinson" userId="d0c2b313-4ae0-4040-8c6a-fec7a720a7b5" providerId="ADAL" clId="{190131DE-6250-C84F-B491-721E6CF30BCB}" dt="2021-12-22T22:00:12.103" v="34365" actId="1035"/>
          <ac:grpSpMkLst>
            <pc:docMk/>
            <pc:sldMk cId="3997382144" sldId="2147374231"/>
            <ac:grpSpMk id="660" creationId="{E067C0A6-D706-A746-9D1D-6865C01CAEE6}"/>
          </ac:grpSpMkLst>
        </pc:grpChg>
        <pc:grpChg chg="mod">
          <ac:chgData name="Nick Robinson" userId="d0c2b313-4ae0-4040-8c6a-fec7a720a7b5" providerId="ADAL" clId="{190131DE-6250-C84F-B491-721E6CF30BCB}" dt="2021-12-22T22:00:12.103" v="34365" actId="1035"/>
          <ac:grpSpMkLst>
            <pc:docMk/>
            <pc:sldMk cId="3997382144" sldId="2147374231"/>
            <ac:grpSpMk id="666" creationId="{EFD0FAB5-F343-0D4E-806B-F794B4DE192B}"/>
          </ac:grpSpMkLst>
        </pc:grpChg>
        <pc:grpChg chg="mod">
          <ac:chgData name="Nick Robinson" userId="d0c2b313-4ae0-4040-8c6a-fec7a720a7b5" providerId="ADAL" clId="{190131DE-6250-C84F-B491-721E6CF30BCB}" dt="2021-12-22T22:00:12.103" v="34365" actId="1035"/>
          <ac:grpSpMkLst>
            <pc:docMk/>
            <pc:sldMk cId="3997382144" sldId="2147374231"/>
            <ac:grpSpMk id="669" creationId="{7DC2748B-7BB2-3744-981D-12E04C3532D8}"/>
          </ac:grpSpMkLst>
        </pc:grpChg>
        <pc:grpChg chg="mod">
          <ac:chgData name="Nick Robinson" userId="d0c2b313-4ae0-4040-8c6a-fec7a720a7b5" providerId="ADAL" clId="{190131DE-6250-C84F-B491-721E6CF30BCB}" dt="2021-12-22T22:00:12.103" v="34365" actId="1035"/>
          <ac:grpSpMkLst>
            <pc:docMk/>
            <pc:sldMk cId="3997382144" sldId="2147374231"/>
            <ac:grpSpMk id="672" creationId="{5F854C5B-DBA8-5E46-A85A-CB7AFA77D960}"/>
          </ac:grpSpMkLst>
        </pc:grpChg>
        <pc:grpChg chg="mod">
          <ac:chgData name="Nick Robinson" userId="d0c2b313-4ae0-4040-8c6a-fec7a720a7b5" providerId="ADAL" clId="{190131DE-6250-C84F-B491-721E6CF30BCB}" dt="2021-12-22T22:00:12.103" v="34365" actId="1035"/>
          <ac:grpSpMkLst>
            <pc:docMk/>
            <pc:sldMk cId="3997382144" sldId="2147374231"/>
            <ac:grpSpMk id="675" creationId="{A4BFE93B-1FEF-FD4A-9E01-D8BF8C8EDED4}"/>
          </ac:grpSpMkLst>
        </pc:grpChg>
        <pc:grpChg chg="mod">
          <ac:chgData name="Nick Robinson" userId="d0c2b313-4ae0-4040-8c6a-fec7a720a7b5" providerId="ADAL" clId="{190131DE-6250-C84F-B491-721E6CF30BCB}" dt="2021-12-22T22:00:12.103" v="34365" actId="1035"/>
          <ac:grpSpMkLst>
            <pc:docMk/>
            <pc:sldMk cId="3997382144" sldId="2147374231"/>
            <ac:grpSpMk id="678" creationId="{B39D135A-6E9C-194D-8694-85AD41B6F033}"/>
          </ac:grpSpMkLst>
        </pc:grpChg>
        <pc:grpChg chg="mod">
          <ac:chgData name="Nick Robinson" userId="d0c2b313-4ae0-4040-8c6a-fec7a720a7b5" providerId="ADAL" clId="{190131DE-6250-C84F-B491-721E6CF30BCB}" dt="2021-12-22T22:00:12.103" v="34365" actId="1035"/>
          <ac:grpSpMkLst>
            <pc:docMk/>
            <pc:sldMk cId="3997382144" sldId="2147374231"/>
            <ac:grpSpMk id="681" creationId="{8C28C60A-380D-0D48-9FE3-C04C6C7B973E}"/>
          </ac:grpSpMkLst>
        </pc:grpChg>
        <pc:grpChg chg="mod">
          <ac:chgData name="Nick Robinson" userId="d0c2b313-4ae0-4040-8c6a-fec7a720a7b5" providerId="ADAL" clId="{190131DE-6250-C84F-B491-721E6CF30BCB}" dt="2021-12-22T22:00:12.103" v="34365" actId="1035"/>
          <ac:grpSpMkLst>
            <pc:docMk/>
            <pc:sldMk cId="3997382144" sldId="2147374231"/>
            <ac:grpSpMk id="684" creationId="{628DD375-CD67-9C44-8443-5958CD504DC3}"/>
          </ac:grpSpMkLst>
        </pc:grpChg>
        <pc:grpChg chg="mod">
          <ac:chgData name="Nick Robinson" userId="d0c2b313-4ae0-4040-8c6a-fec7a720a7b5" providerId="ADAL" clId="{190131DE-6250-C84F-B491-721E6CF30BCB}" dt="2021-12-22T22:00:12.103" v="34365" actId="1035"/>
          <ac:grpSpMkLst>
            <pc:docMk/>
            <pc:sldMk cId="3997382144" sldId="2147374231"/>
            <ac:grpSpMk id="687" creationId="{7AE78289-2C21-5541-AF14-89B71E119356}"/>
          </ac:grpSpMkLst>
        </pc:grpChg>
        <pc:grpChg chg="mod">
          <ac:chgData name="Nick Robinson" userId="d0c2b313-4ae0-4040-8c6a-fec7a720a7b5" providerId="ADAL" clId="{190131DE-6250-C84F-B491-721E6CF30BCB}" dt="2021-12-22T22:00:12.103" v="34365" actId="1035"/>
          <ac:grpSpMkLst>
            <pc:docMk/>
            <pc:sldMk cId="3997382144" sldId="2147374231"/>
            <ac:grpSpMk id="690" creationId="{A6739226-4C2F-864B-8765-9E33106F6EB8}"/>
          </ac:grpSpMkLst>
        </pc:grpChg>
        <pc:grpChg chg="mod">
          <ac:chgData name="Nick Robinson" userId="d0c2b313-4ae0-4040-8c6a-fec7a720a7b5" providerId="ADAL" clId="{190131DE-6250-C84F-B491-721E6CF30BCB}" dt="2021-12-22T22:00:12.103" v="34365" actId="1035"/>
          <ac:grpSpMkLst>
            <pc:docMk/>
            <pc:sldMk cId="3997382144" sldId="2147374231"/>
            <ac:grpSpMk id="693" creationId="{EFBA1095-D7F3-7441-A9A4-C2CCB429892F}"/>
          </ac:grpSpMkLst>
        </pc:grpChg>
        <pc:grpChg chg="mod">
          <ac:chgData name="Nick Robinson" userId="d0c2b313-4ae0-4040-8c6a-fec7a720a7b5" providerId="ADAL" clId="{190131DE-6250-C84F-B491-721E6CF30BCB}" dt="2021-12-22T22:00:12.103" v="34365" actId="1035"/>
          <ac:grpSpMkLst>
            <pc:docMk/>
            <pc:sldMk cId="3997382144" sldId="2147374231"/>
            <ac:grpSpMk id="696" creationId="{24B4A911-55B4-A942-9CA0-A140CB0B6DAF}"/>
          </ac:grpSpMkLst>
        </pc:grpChg>
        <pc:grpChg chg="mod">
          <ac:chgData name="Nick Robinson" userId="d0c2b313-4ae0-4040-8c6a-fec7a720a7b5" providerId="ADAL" clId="{190131DE-6250-C84F-B491-721E6CF30BCB}" dt="2021-12-23T10:47:28.471" v="42178" actId="1076"/>
          <ac:grpSpMkLst>
            <pc:docMk/>
            <pc:sldMk cId="3997382144" sldId="2147374231"/>
            <ac:grpSpMk id="702" creationId="{878C7CBD-7643-1D42-A08A-D5E69C7B2D76}"/>
          </ac:grpSpMkLst>
        </pc:grpChg>
        <pc:grpChg chg="mod">
          <ac:chgData name="Nick Robinson" userId="d0c2b313-4ae0-4040-8c6a-fec7a720a7b5" providerId="ADAL" clId="{190131DE-6250-C84F-B491-721E6CF30BCB}" dt="2021-12-22T22:00:12.103" v="34365" actId="1035"/>
          <ac:grpSpMkLst>
            <pc:docMk/>
            <pc:sldMk cId="3997382144" sldId="2147374231"/>
            <ac:grpSpMk id="744" creationId="{536C3678-A84E-FF4A-8780-AD29E4D0BC72}"/>
          </ac:grpSpMkLst>
        </pc:grpChg>
        <pc:grpChg chg="mod">
          <ac:chgData name="Nick Robinson" userId="d0c2b313-4ae0-4040-8c6a-fec7a720a7b5" providerId="ADAL" clId="{190131DE-6250-C84F-B491-721E6CF30BCB}" dt="2021-12-22T22:00:12.103" v="34365" actId="1035"/>
          <ac:grpSpMkLst>
            <pc:docMk/>
            <pc:sldMk cId="3997382144" sldId="2147374231"/>
            <ac:grpSpMk id="747" creationId="{BDD7B930-E0F5-C646-8E68-0773565F1B8A}"/>
          </ac:grpSpMkLst>
        </pc:grpChg>
        <pc:grpChg chg="mod">
          <ac:chgData name="Nick Robinson" userId="d0c2b313-4ae0-4040-8c6a-fec7a720a7b5" providerId="ADAL" clId="{190131DE-6250-C84F-B491-721E6CF30BCB}" dt="2021-12-22T22:00:12.103" v="34365" actId="1035"/>
          <ac:grpSpMkLst>
            <pc:docMk/>
            <pc:sldMk cId="3997382144" sldId="2147374231"/>
            <ac:grpSpMk id="750" creationId="{BB6CC24C-767D-024B-8A80-683FA2AADCD0}"/>
          </ac:grpSpMkLst>
        </pc:grpChg>
        <pc:grpChg chg="mod">
          <ac:chgData name="Nick Robinson" userId="d0c2b313-4ae0-4040-8c6a-fec7a720a7b5" providerId="ADAL" clId="{190131DE-6250-C84F-B491-721E6CF30BCB}" dt="2021-12-22T22:00:12.103" v="34365" actId="1035"/>
          <ac:grpSpMkLst>
            <pc:docMk/>
            <pc:sldMk cId="3997382144" sldId="2147374231"/>
            <ac:grpSpMk id="753" creationId="{95B805B6-0C65-7046-BF93-D5519EDCE508}"/>
          </ac:grpSpMkLst>
        </pc:grpChg>
        <pc:grpChg chg="mod">
          <ac:chgData name="Nick Robinson" userId="d0c2b313-4ae0-4040-8c6a-fec7a720a7b5" providerId="ADAL" clId="{190131DE-6250-C84F-B491-721E6CF30BCB}" dt="2021-12-22T22:00:12.103" v="34365" actId="1035"/>
          <ac:grpSpMkLst>
            <pc:docMk/>
            <pc:sldMk cId="3997382144" sldId="2147374231"/>
            <ac:grpSpMk id="759" creationId="{A474AB66-6071-6040-B3E5-94A7118F3E66}"/>
          </ac:grpSpMkLst>
        </pc:grpChg>
        <pc:grpChg chg="mod">
          <ac:chgData name="Nick Robinson" userId="d0c2b313-4ae0-4040-8c6a-fec7a720a7b5" providerId="ADAL" clId="{190131DE-6250-C84F-B491-721E6CF30BCB}" dt="2021-12-22T22:00:12.103" v="34365" actId="1035"/>
          <ac:grpSpMkLst>
            <pc:docMk/>
            <pc:sldMk cId="3997382144" sldId="2147374231"/>
            <ac:grpSpMk id="768" creationId="{F57DB804-94A1-6944-9832-D10EB987E2CD}"/>
          </ac:grpSpMkLst>
        </pc:grpChg>
        <pc:grpChg chg="mod">
          <ac:chgData name="Nick Robinson" userId="d0c2b313-4ae0-4040-8c6a-fec7a720a7b5" providerId="ADAL" clId="{190131DE-6250-C84F-B491-721E6CF30BCB}" dt="2021-12-22T22:00:12.103" v="34365" actId="1035"/>
          <ac:grpSpMkLst>
            <pc:docMk/>
            <pc:sldMk cId="3997382144" sldId="2147374231"/>
            <ac:grpSpMk id="771" creationId="{1BA9F96C-4FD4-994B-B8E0-6B1E1FB07F97}"/>
          </ac:grpSpMkLst>
        </pc:grpChg>
        <pc:grpChg chg="mod">
          <ac:chgData name="Nick Robinson" userId="d0c2b313-4ae0-4040-8c6a-fec7a720a7b5" providerId="ADAL" clId="{190131DE-6250-C84F-B491-721E6CF30BCB}" dt="2021-12-22T22:00:12.103" v="34365" actId="1035"/>
          <ac:grpSpMkLst>
            <pc:docMk/>
            <pc:sldMk cId="3997382144" sldId="2147374231"/>
            <ac:grpSpMk id="774" creationId="{6372ECA2-9234-574A-9828-5CFD1BEB634E}"/>
          </ac:grpSpMkLst>
        </pc:grpChg>
        <pc:grpChg chg="mod">
          <ac:chgData name="Nick Robinson" userId="d0c2b313-4ae0-4040-8c6a-fec7a720a7b5" providerId="ADAL" clId="{190131DE-6250-C84F-B491-721E6CF30BCB}" dt="2021-12-22T22:00:12.103" v="34365" actId="1035"/>
          <ac:grpSpMkLst>
            <pc:docMk/>
            <pc:sldMk cId="3997382144" sldId="2147374231"/>
            <ac:grpSpMk id="777" creationId="{8CEA52F3-2288-1C4F-A266-3E5DB734A4ED}"/>
          </ac:grpSpMkLst>
        </pc:grpChg>
        <pc:grpChg chg="mod">
          <ac:chgData name="Nick Robinson" userId="d0c2b313-4ae0-4040-8c6a-fec7a720a7b5" providerId="ADAL" clId="{190131DE-6250-C84F-B491-721E6CF30BCB}" dt="2021-12-22T22:00:12.103" v="34365" actId="1035"/>
          <ac:grpSpMkLst>
            <pc:docMk/>
            <pc:sldMk cId="3997382144" sldId="2147374231"/>
            <ac:grpSpMk id="780" creationId="{3DCFFC92-AA22-C647-85F0-8128D51C96DA}"/>
          </ac:grpSpMkLst>
        </pc:grpChg>
        <pc:grpChg chg="mod">
          <ac:chgData name="Nick Robinson" userId="d0c2b313-4ae0-4040-8c6a-fec7a720a7b5" providerId="ADAL" clId="{190131DE-6250-C84F-B491-721E6CF30BCB}" dt="2021-12-22T22:00:12.103" v="34365" actId="1035"/>
          <ac:grpSpMkLst>
            <pc:docMk/>
            <pc:sldMk cId="3997382144" sldId="2147374231"/>
            <ac:grpSpMk id="788" creationId="{C7DF215B-9090-834E-BB4A-BCC22A2937A8}"/>
          </ac:grpSpMkLst>
        </pc:grpChg>
        <pc:grpChg chg="mod">
          <ac:chgData name="Nick Robinson" userId="d0c2b313-4ae0-4040-8c6a-fec7a720a7b5" providerId="ADAL" clId="{190131DE-6250-C84F-B491-721E6CF30BCB}" dt="2021-12-22T22:00:12.103" v="34365" actId="1035"/>
          <ac:grpSpMkLst>
            <pc:docMk/>
            <pc:sldMk cId="3997382144" sldId="2147374231"/>
            <ac:grpSpMk id="791" creationId="{3EDF34F3-C8AC-1C49-9DFB-58A46421B507}"/>
          </ac:grpSpMkLst>
        </pc:grpChg>
        <pc:graphicFrameChg chg="del">
          <ac:chgData name="Nick Robinson" userId="d0c2b313-4ae0-4040-8c6a-fec7a720a7b5" providerId="ADAL" clId="{190131DE-6250-C84F-B491-721E6CF30BCB}" dt="2021-12-21T11:03:40.790" v="22222" actId="478"/>
          <ac:graphicFrameMkLst>
            <pc:docMk/>
            <pc:sldMk cId="3997382144" sldId="2147374231"/>
            <ac:graphicFrameMk id="296" creationId="{C44ACD9A-94B9-1D47-9BC3-85A41E9F66CE}"/>
          </ac:graphicFrameMkLst>
        </pc:graphicFrameChg>
        <pc:graphicFrameChg chg="add mod">
          <ac:chgData name="Nick Robinson" userId="d0c2b313-4ae0-4040-8c6a-fec7a720a7b5" providerId="ADAL" clId="{190131DE-6250-C84F-B491-721E6CF30BCB}" dt="2021-12-21T11:03:42.745" v="22223"/>
          <ac:graphicFrameMkLst>
            <pc:docMk/>
            <pc:sldMk cId="3997382144" sldId="2147374231"/>
            <ac:graphicFrameMk id="332" creationId="{E1BB641E-C952-1141-8439-55FB9EDA3F02}"/>
          </ac:graphicFrameMkLst>
        </pc:graphicFrameChg>
        <pc:picChg chg="mod">
          <ac:chgData name="Nick Robinson" userId="d0c2b313-4ae0-4040-8c6a-fec7a720a7b5" providerId="ADAL" clId="{190131DE-6250-C84F-B491-721E6CF30BCB}" dt="2021-12-22T22:00:12.103" v="34365" actId="1035"/>
          <ac:picMkLst>
            <pc:docMk/>
            <pc:sldMk cId="3997382144" sldId="2147374231"/>
            <ac:picMk id="288" creationId="{4AA9D168-14EA-7240-A619-AC1F7CF55D5F}"/>
          </ac:picMkLst>
        </pc:picChg>
        <pc:picChg chg="mod">
          <ac:chgData name="Nick Robinson" userId="d0c2b313-4ae0-4040-8c6a-fec7a720a7b5" providerId="ADAL" clId="{190131DE-6250-C84F-B491-721E6CF30BCB}" dt="2021-12-22T22:00:12.103" v="34365" actId="1035"/>
          <ac:picMkLst>
            <pc:docMk/>
            <pc:sldMk cId="3997382144" sldId="2147374231"/>
            <ac:picMk id="289" creationId="{D39C4EAE-5015-B34E-B407-31239A8B31A0}"/>
          </ac:picMkLst>
        </pc:picChg>
        <pc:picChg chg="mod">
          <ac:chgData name="Nick Robinson" userId="d0c2b313-4ae0-4040-8c6a-fec7a720a7b5" providerId="ADAL" clId="{190131DE-6250-C84F-B491-721E6CF30BCB}" dt="2021-12-22T22:00:12.103" v="34365" actId="1035"/>
          <ac:picMkLst>
            <pc:docMk/>
            <pc:sldMk cId="3997382144" sldId="2147374231"/>
            <ac:picMk id="290" creationId="{B7EA43BA-563D-0749-B0A7-EC3CC3BBEDCE}"/>
          </ac:picMkLst>
        </pc:picChg>
        <pc:picChg chg="mod">
          <ac:chgData name="Nick Robinson" userId="d0c2b313-4ae0-4040-8c6a-fec7a720a7b5" providerId="ADAL" clId="{190131DE-6250-C84F-B491-721E6CF30BCB}" dt="2021-12-22T22:00:12.103" v="34365" actId="1035"/>
          <ac:picMkLst>
            <pc:docMk/>
            <pc:sldMk cId="3997382144" sldId="2147374231"/>
            <ac:picMk id="291" creationId="{7917534B-7E44-B54E-9A2E-4EDF65179F12}"/>
          </ac:picMkLst>
        </pc:picChg>
        <pc:picChg chg="mod">
          <ac:chgData name="Nick Robinson" userId="d0c2b313-4ae0-4040-8c6a-fec7a720a7b5" providerId="ADAL" clId="{190131DE-6250-C84F-B491-721E6CF30BCB}" dt="2021-12-22T22:00:12.103" v="34365" actId="1035"/>
          <ac:picMkLst>
            <pc:docMk/>
            <pc:sldMk cId="3997382144" sldId="2147374231"/>
            <ac:picMk id="293" creationId="{7944E608-3BEB-D14B-9FFD-53998CB65FA0}"/>
          </ac:picMkLst>
        </pc:picChg>
        <pc:picChg chg="mod">
          <ac:chgData name="Nick Robinson" userId="d0c2b313-4ae0-4040-8c6a-fec7a720a7b5" providerId="ADAL" clId="{190131DE-6250-C84F-B491-721E6CF30BCB}" dt="2021-12-22T22:00:12.103" v="34365" actId="1035"/>
          <ac:picMkLst>
            <pc:docMk/>
            <pc:sldMk cId="3997382144" sldId="2147374231"/>
            <ac:picMk id="294" creationId="{9CDB88EB-3D02-7540-9B36-63233783E34A}"/>
          </ac:picMkLst>
        </pc:picChg>
      </pc:sldChg>
      <pc:sldChg chg="addSp delSp modSp add mod">
        <pc:chgData name="Nick Robinson" userId="d0c2b313-4ae0-4040-8c6a-fec7a720a7b5" providerId="ADAL" clId="{190131DE-6250-C84F-B491-721E6CF30BCB}" dt="2021-12-23T14:06:47.434" v="44592"/>
        <pc:sldMkLst>
          <pc:docMk/>
          <pc:sldMk cId="2480481558" sldId="2147374232"/>
        </pc:sldMkLst>
        <pc:spChg chg="del">
          <ac:chgData name="Nick Robinson" userId="d0c2b313-4ae0-4040-8c6a-fec7a720a7b5" providerId="ADAL" clId="{190131DE-6250-C84F-B491-721E6CF30BCB}" dt="2021-12-23T13:48:57.697" v="44270" actId="478"/>
          <ac:spMkLst>
            <pc:docMk/>
            <pc:sldMk cId="2480481558" sldId="2147374232"/>
            <ac:spMk id="7" creationId="{FD420467-EF1E-C24E-B16A-0060A2106A3D}"/>
          </ac:spMkLst>
        </pc:spChg>
        <pc:spChg chg="del">
          <ac:chgData name="Nick Robinson" userId="d0c2b313-4ae0-4040-8c6a-fec7a720a7b5" providerId="ADAL" clId="{190131DE-6250-C84F-B491-721E6CF30BCB}" dt="2021-12-23T13:48:57.697" v="44270" actId="478"/>
          <ac:spMkLst>
            <pc:docMk/>
            <pc:sldMk cId="2480481558" sldId="2147374232"/>
            <ac:spMk id="8" creationId="{93A72959-7AA1-144A-9BA1-BBF7754400AD}"/>
          </ac:spMkLst>
        </pc:spChg>
        <pc:spChg chg="add mod">
          <ac:chgData name="Nick Robinson" userId="d0c2b313-4ae0-4040-8c6a-fec7a720a7b5" providerId="ADAL" clId="{190131DE-6250-C84F-B491-721E6CF30BCB}" dt="2021-12-23T13:48:58.026" v="44271"/>
          <ac:spMkLst>
            <pc:docMk/>
            <pc:sldMk cId="2480481558" sldId="2147374232"/>
            <ac:spMk id="11" creationId="{B78A30A2-1E27-4F40-90B6-7A5B4336E410}"/>
          </ac:spMkLst>
        </pc:spChg>
        <pc:spChg chg="add mod">
          <ac:chgData name="Nick Robinson" userId="d0c2b313-4ae0-4040-8c6a-fec7a720a7b5" providerId="ADAL" clId="{190131DE-6250-C84F-B491-721E6CF30BCB}" dt="2021-12-23T13:48:58.026" v="44271"/>
          <ac:spMkLst>
            <pc:docMk/>
            <pc:sldMk cId="2480481558" sldId="2147374232"/>
            <ac:spMk id="12" creationId="{AC820CAF-21DA-C244-B963-8324ABA310F0}"/>
          </ac:spMkLst>
        </pc:spChg>
        <pc:spChg chg="add mod">
          <ac:chgData name="Nick Robinson" userId="d0c2b313-4ae0-4040-8c6a-fec7a720a7b5" providerId="ADAL" clId="{190131DE-6250-C84F-B491-721E6CF30BCB}" dt="2021-12-23T14:06:47.434" v="44592"/>
          <ac:spMkLst>
            <pc:docMk/>
            <pc:sldMk cId="2480481558" sldId="2147374232"/>
            <ac:spMk id="13" creationId="{F1489F1F-B8A8-4A44-98B7-FEBABB1FEBEA}"/>
          </ac:spMkLst>
        </pc:spChg>
        <pc:spChg chg="del">
          <ac:chgData name="Nick Robinson" userId="d0c2b313-4ae0-4040-8c6a-fec7a720a7b5" providerId="ADAL" clId="{190131DE-6250-C84F-B491-721E6CF30BCB}" dt="2021-12-23T14:06:47.059" v="44591" actId="478"/>
          <ac:spMkLst>
            <pc:docMk/>
            <pc:sldMk cId="2480481558" sldId="2147374232"/>
            <ac:spMk id="21" creationId="{FE740462-AEED-0B41-92DC-3A54DEB718C8}"/>
          </ac:spMkLst>
        </pc:spChg>
        <pc:graphicFrameChg chg="del modGraphic">
          <ac:chgData name="Nick Robinson" userId="d0c2b313-4ae0-4040-8c6a-fec7a720a7b5" providerId="ADAL" clId="{190131DE-6250-C84F-B491-721E6CF30BCB}" dt="2021-12-23T14:06:47.059" v="44591" actId="478"/>
          <ac:graphicFrameMkLst>
            <pc:docMk/>
            <pc:sldMk cId="2480481558" sldId="2147374232"/>
            <ac:graphicFrameMk id="5" creationId="{1F73E11B-085A-AD47-B820-F62CD6BB7304}"/>
          </ac:graphicFrameMkLst>
        </pc:graphicFrameChg>
        <pc:graphicFrameChg chg="add mod">
          <ac:chgData name="Nick Robinson" userId="d0c2b313-4ae0-4040-8c6a-fec7a720a7b5" providerId="ADAL" clId="{190131DE-6250-C84F-B491-721E6CF30BCB}" dt="2021-12-23T14:06:47.434" v="44592"/>
          <ac:graphicFrameMkLst>
            <pc:docMk/>
            <pc:sldMk cId="2480481558" sldId="2147374232"/>
            <ac:graphicFrameMk id="14" creationId="{F0D1BDF9-E36C-BC44-94C4-D1BCB2170E63}"/>
          </ac:graphicFrameMkLst>
        </pc:graphicFrameChg>
      </pc:sldChg>
      <pc:sldChg chg="addSp delSp modSp add mod ord delCm">
        <pc:chgData name="Nick Robinson" userId="d0c2b313-4ae0-4040-8c6a-fec7a720a7b5" providerId="ADAL" clId="{190131DE-6250-C84F-B491-721E6CF30BCB}" dt="2021-12-23T13:52:51.160" v="44326"/>
        <pc:sldMkLst>
          <pc:docMk/>
          <pc:sldMk cId="315647566" sldId="2147374233"/>
        </pc:sldMkLst>
        <pc:spChg chg="mod">
          <ac:chgData name="Nick Robinson" userId="d0c2b313-4ae0-4040-8c6a-fec7a720a7b5" providerId="ADAL" clId="{190131DE-6250-C84F-B491-721E6CF30BCB}" dt="2021-12-21T13:34:13.962" v="23376" actId="20577"/>
          <ac:spMkLst>
            <pc:docMk/>
            <pc:sldMk cId="315647566" sldId="2147374233"/>
            <ac:spMk id="2" creationId="{00000000-0000-0000-0000-000000000000}"/>
          </ac:spMkLst>
        </pc:spChg>
        <pc:spChg chg="add del mod">
          <ac:chgData name="Nick Robinson" userId="d0c2b313-4ae0-4040-8c6a-fec7a720a7b5" providerId="ADAL" clId="{190131DE-6250-C84F-B491-721E6CF30BCB}" dt="2021-12-23T09:44:31.892" v="40348" actId="478"/>
          <ac:spMkLst>
            <pc:docMk/>
            <pc:sldMk cId="315647566" sldId="2147374233"/>
            <ac:spMk id="5" creationId="{531CBFEE-8210-1F4F-9878-574966FA6FFA}"/>
          </ac:spMkLst>
        </pc:spChg>
        <pc:spChg chg="add mod">
          <ac:chgData name="Nick Robinson" userId="d0c2b313-4ae0-4040-8c6a-fec7a720a7b5" providerId="ADAL" clId="{190131DE-6250-C84F-B491-721E6CF30BCB}" dt="2021-12-23T13:51:48.746" v="44323" actId="13926"/>
          <ac:spMkLst>
            <pc:docMk/>
            <pc:sldMk cId="315647566" sldId="2147374233"/>
            <ac:spMk id="6" creationId="{7C616F68-C6E3-1F45-8BEE-9F90691ED017}"/>
          </ac:spMkLst>
        </pc:spChg>
        <pc:spChg chg="del">
          <ac:chgData name="Nick Robinson" userId="d0c2b313-4ae0-4040-8c6a-fec7a720a7b5" providerId="ADAL" clId="{190131DE-6250-C84F-B491-721E6CF30BCB}" dt="2021-12-21T13:31:54.364" v="23366" actId="478"/>
          <ac:spMkLst>
            <pc:docMk/>
            <pc:sldMk cId="315647566" sldId="2147374233"/>
            <ac:spMk id="7" creationId="{FD420467-EF1E-C24E-B16A-0060A2106A3D}"/>
          </ac:spMkLst>
        </pc:spChg>
        <pc:spChg chg="del">
          <ac:chgData name="Nick Robinson" userId="d0c2b313-4ae0-4040-8c6a-fec7a720a7b5" providerId="ADAL" clId="{190131DE-6250-C84F-B491-721E6CF30BCB}" dt="2021-12-21T13:31:52.235" v="23365" actId="478"/>
          <ac:spMkLst>
            <pc:docMk/>
            <pc:sldMk cId="315647566" sldId="2147374233"/>
            <ac:spMk id="8" creationId="{93A72959-7AA1-144A-9BA1-BBF7754400AD}"/>
          </ac:spMkLst>
        </pc:spChg>
        <pc:spChg chg="add del mod">
          <ac:chgData name="Nick Robinson" userId="d0c2b313-4ae0-4040-8c6a-fec7a720a7b5" providerId="ADAL" clId="{190131DE-6250-C84F-B491-721E6CF30BCB}" dt="2021-12-23T09:42:05.239" v="40277" actId="478"/>
          <ac:spMkLst>
            <pc:docMk/>
            <pc:sldMk cId="315647566" sldId="2147374233"/>
            <ac:spMk id="13" creationId="{A54605A7-F8F1-4C47-9E80-3D4FDCF294F7}"/>
          </ac:spMkLst>
        </pc:spChg>
        <pc:spChg chg="del">
          <ac:chgData name="Nick Robinson" userId="d0c2b313-4ae0-4040-8c6a-fec7a720a7b5" providerId="ADAL" clId="{190131DE-6250-C84F-B491-721E6CF30BCB}" dt="2021-12-21T13:31:50.634" v="23364" actId="478"/>
          <ac:spMkLst>
            <pc:docMk/>
            <pc:sldMk cId="315647566" sldId="2147374233"/>
            <ac:spMk id="21" creationId="{FE740462-AEED-0B41-92DC-3A54DEB718C8}"/>
          </ac:spMkLst>
        </pc:spChg>
        <pc:graphicFrameChg chg="del">
          <ac:chgData name="Nick Robinson" userId="d0c2b313-4ae0-4040-8c6a-fec7a720a7b5" providerId="ADAL" clId="{190131DE-6250-C84F-B491-721E6CF30BCB}" dt="2021-12-21T13:31:50.634" v="23364" actId="478"/>
          <ac:graphicFrameMkLst>
            <pc:docMk/>
            <pc:sldMk cId="315647566" sldId="2147374233"/>
            <ac:graphicFrameMk id="5" creationId="{1F73E11B-085A-AD47-B820-F62CD6BB7304}"/>
          </ac:graphicFrameMkLst>
        </pc:graphicFrameChg>
        <pc:graphicFrameChg chg="add mod modGraphic">
          <ac:chgData name="Nick Robinson" userId="d0c2b313-4ae0-4040-8c6a-fec7a720a7b5" providerId="ADAL" clId="{190131DE-6250-C84F-B491-721E6CF30BCB}" dt="2021-12-23T13:51:54.346" v="44324" actId="1076"/>
          <ac:graphicFrameMkLst>
            <pc:docMk/>
            <pc:sldMk cId="315647566" sldId="2147374233"/>
            <ac:graphicFrameMk id="7" creationId="{F919ECF1-966C-E64F-BFF9-AD986DD4639F}"/>
          </ac:graphicFrameMkLst>
        </pc:graphicFrameChg>
        <pc:graphicFrameChg chg="modGraphic">
          <ac:chgData name="Nick Robinson" userId="d0c2b313-4ae0-4040-8c6a-fec7a720a7b5" providerId="ADAL" clId="{190131DE-6250-C84F-B491-721E6CF30BCB}" dt="2021-12-21T16:52:41.144" v="24470" actId="207"/>
          <ac:graphicFrameMkLst>
            <pc:docMk/>
            <pc:sldMk cId="315647566" sldId="2147374233"/>
            <ac:graphicFrameMk id="10" creationId="{87CC6123-A617-E541-A25D-A2DC364BE962}"/>
          </ac:graphicFrameMkLst>
        </pc:graphicFrameChg>
        <pc:picChg chg="add mod">
          <ac:chgData name="Nick Robinson" userId="d0c2b313-4ae0-4040-8c6a-fec7a720a7b5" providerId="ADAL" clId="{190131DE-6250-C84F-B491-721E6CF30BCB}" dt="2021-12-23T13:51:54.346" v="44324" actId="1076"/>
          <ac:picMkLst>
            <pc:docMk/>
            <pc:sldMk cId="315647566" sldId="2147374233"/>
            <ac:picMk id="9" creationId="{0478AE81-C2BE-144C-89AC-22D699053E57}"/>
          </ac:picMkLst>
        </pc:picChg>
        <pc:picChg chg="add mod">
          <ac:chgData name="Nick Robinson" userId="d0c2b313-4ae0-4040-8c6a-fec7a720a7b5" providerId="ADAL" clId="{190131DE-6250-C84F-B491-721E6CF30BCB}" dt="2021-12-23T13:51:54.346" v="44324" actId="1076"/>
          <ac:picMkLst>
            <pc:docMk/>
            <pc:sldMk cId="315647566" sldId="2147374233"/>
            <ac:picMk id="12" creationId="{EB6539E4-0CBF-7245-9247-092C7CAF2FC7}"/>
          </ac:picMkLst>
        </pc:picChg>
        <pc:picChg chg="mod">
          <ac:chgData name="Nick Robinson" userId="d0c2b313-4ae0-4040-8c6a-fec7a720a7b5" providerId="ADAL" clId="{190131DE-6250-C84F-B491-721E6CF30BCB}" dt="2021-12-23T13:51:54.346" v="44324" actId="1076"/>
          <ac:picMkLst>
            <pc:docMk/>
            <pc:sldMk cId="315647566" sldId="2147374233"/>
            <ac:picMk id="13" creationId="{ABF38610-DEDC-DE46-9B2E-741AF0C7ADF6}"/>
          </ac:picMkLst>
        </pc:picChg>
        <pc:picChg chg="add mod">
          <ac:chgData name="Nick Robinson" userId="d0c2b313-4ae0-4040-8c6a-fec7a720a7b5" providerId="ADAL" clId="{190131DE-6250-C84F-B491-721E6CF30BCB}" dt="2021-12-23T13:51:54.346" v="44324" actId="1076"/>
          <ac:picMkLst>
            <pc:docMk/>
            <pc:sldMk cId="315647566" sldId="2147374233"/>
            <ac:picMk id="15" creationId="{EF5D179E-7341-544A-B0D3-6EE345AE524F}"/>
          </ac:picMkLst>
        </pc:picChg>
        <pc:picChg chg="add mod">
          <ac:chgData name="Nick Robinson" userId="d0c2b313-4ae0-4040-8c6a-fec7a720a7b5" providerId="ADAL" clId="{190131DE-6250-C84F-B491-721E6CF30BCB}" dt="2021-12-23T13:51:54.346" v="44324" actId="1076"/>
          <ac:picMkLst>
            <pc:docMk/>
            <pc:sldMk cId="315647566" sldId="2147374233"/>
            <ac:picMk id="17" creationId="{482A96AD-C745-3E43-B64C-68C8FF6EB28E}"/>
          </ac:picMkLst>
        </pc:picChg>
        <pc:picChg chg="add mod">
          <ac:chgData name="Nick Robinson" userId="d0c2b313-4ae0-4040-8c6a-fec7a720a7b5" providerId="ADAL" clId="{190131DE-6250-C84F-B491-721E6CF30BCB}" dt="2021-12-23T13:51:54.346" v="44324" actId="1076"/>
          <ac:picMkLst>
            <pc:docMk/>
            <pc:sldMk cId="315647566" sldId="2147374233"/>
            <ac:picMk id="19" creationId="{27583989-1D4A-3948-9DC1-EFFAD7C69AF5}"/>
          </ac:picMkLst>
        </pc:picChg>
      </pc:sldChg>
      <pc:sldChg chg="add del mod modShow modCm">
        <pc:chgData name="Nick Robinson" userId="d0c2b313-4ae0-4040-8c6a-fec7a720a7b5" providerId="ADAL" clId="{190131DE-6250-C84F-B491-721E6CF30BCB}" dt="2021-12-21T16:41:56.170" v="24453" actId="2696"/>
        <pc:sldMkLst>
          <pc:docMk/>
          <pc:sldMk cId="2271873400" sldId="2147374234"/>
        </pc:sldMkLst>
      </pc:sldChg>
      <pc:sldChg chg="del">
        <pc:chgData name="Nick Robinson" userId="d0c2b313-4ae0-4040-8c6a-fec7a720a7b5" providerId="ADAL" clId="{190131DE-6250-C84F-B491-721E6CF30BCB}" dt="2021-12-23T11:18:28.519" v="42307" actId="2696"/>
        <pc:sldMkLst>
          <pc:docMk/>
          <pc:sldMk cId="3347182016" sldId="2147374234"/>
        </pc:sldMkLst>
      </pc:sldChg>
      <pc:sldChg chg="addSp delSp modSp add del mod">
        <pc:chgData name="Nick Robinson" userId="d0c2b313-4ae0-4040-8c6a-fec7a720a7b5" providerId="ADAL" clId="{190131DE-6250-C84F-B491-721E6CF30BCB}" dt="2021-12-21T16:41:44.907" v="24452" actId="2696"/>
        <pc:sldMkLst>
          <pc:docMk/>
          <pc:sldMk cId="221493696" sldId="2147374235"/>
        </pc:sldMkLst>
        <pc:spChg chg="add mod">
          <ac:chgData name="Nick Robinson" userId="d0c2b313-4ae0-4040-8c6a-fec7a720a7b5" providerId="ADAL" clId="{190131DE-6250-C84F-B491-721E6CF30BCB}" dt="2021-12-21T16:41:03.949" v="24449" actId="108"/>
          <ac:spMkLst>
            <pc:docMk/>
            <pc:sldMk cId="221493696" sldId="2147374235"/>
            <ac:spMk id="42" creationId="{55C16587-7576-1943-908E-F89E246720F2}"/>
          </ac:spMkLst>
        </pc:spChg>
        <pc:spChg chg="add mod">
          <ac:chgData name="Nick Robinson" userId="d0c2b313-4ae0-4040-8c6a-fec7a720a7b5" providerId="ADAL" clId="{190131DE-6250-C84F-B491-721E6CF30BCB}" dt="2021-12-21T16:41:00.793" v="24448" actId="108"/>
          <ac:spMkLst>
            <pc:docMk/>
            <pc:sldMk cId="221493696" sldId="2147374235"/>
            <ac:spMk id="43" creationId="{EEDB20FC-9C1B-5B46-BD2F-15B4C027188E}"/>
          </ac:spMkLst>
        </pc:spChg>
        <pc:spChg chg="add mod">
          <ac:chgData name="Nick Robinson" userId="d0c2b313-4ae0-4040-8c6a-fec7a720a7b5" providerId="ADAL" clId="{190131DE-6250-C84F-B491-721E6CF30BCB}" dt="2021-12-21T16:40:55.617" v="24447" actId="208"/>
          <ac:spMkLst>
            <pc:docMk/>
            <pc:sldMk cId="221493696" sldId="2147374235"/>
            <ac:spMk id="44" creationId="{162E968C-0CD1-844F-99A5-33C17928053A}"/>
          </ac:spMkLst>
        </pc:spChg>
        <pc:spChg chg="del mod">
          <ac:chgData name="Nick Robinson" userId="d0c2b313-4ae0-4040-8c6a-fec7a720a7b5" providerId="ADAL" clId="{190131DE-6250-C84F-B491-721E6CF30BCB}" dt="2021-12-21T16:40:11.974" v="24440"/>
          <ac:spMkLst>
            <pc:docMk/>
            <pc:sldMk cId="221493696" sldId="2147374235"/>
            <ac:spMk id="57" creationId="{7B478493-97AF-7649-82B5-318A553CA254}"/>
          </ac:spMkLst>
        </pc:spChg>
        <pc:spChg chg="del mod">
          <ac:chgData name="Nick Robinson" userId="d0c2b313-4ae0-4040-8c6a-fec7a720a7b5" providerId="ADAL" clId="{190131DE-6250-C84F-B491-721E6CF30BCB}" dt="2021-12-21T16:40:11.971" v="24436"/>
          <ac:spMkLst>
            <pc:docMk/>
            <pc:sldMk cId="221493696" sldId="2147374235"/>
            <ac:spMk id="119" creationId="{95E9DA34-0721-8A42-8A41-27F6E62E3B2B}"/>
          </ac:spMkLst>
        </pc:spChg>
        <pc:spChg chg="del mod">
          <ac:chgData name="Nick Robinson" userId="d0c2b313-4ae0-4040-8c6a-fec7a720a7b5" providerId="ADAL" clId="{190131DE-6250-C84F-B491-721E6CF30BCB}" dt="2021-12-21T16:40:11.973" v="24438"/>
          <ac:spMkLst>
            <pc:docMk/>
            <pc:sldMk cId="221493696" sldId="2147374235"/>
            <ac:spMk id="120" creationId="{0CFBD61C-87F7-F541-83ED-1D0B438FF45F}"/>
          </ac:spMkLst>
        </pc:spChg>
        <pc:graphicFrameChg chg="add mod modGraphic">
          <ac:chgData name="Nick Robinson" userId="d0c2b313-4ae0-4040-8c6a-fec7a720a7b5" providerId="ADAL" clId="{190131DE-6250-C84F-B491-721E6CF30BCB}" dt="2021-12-21T16:36:55.189" v="24393" actId="167"/>
          <ac:graphicFrameMkLst>
            <pc:docMk/>
            <pc:sldMk cId="221493696" sldId="2147374235"/>
            <ac:graphicFrameMk id="41" creationId="{88329BFC-B18C-ED49-86AA-549C418F5083}"/>
          </ac:graphicFrameMkLst>
        </pc:graphicFrameChg>
        <pc:graphicFrameChg chg="mod modGraphic">
          <ac:chgData name="Nick Robinson" userId="d0c2b313-4ae0-4040-8c6a-fec7a720a7b5" providerId="ADAL" clId="{190131DE-6250-C84F-B491-721E6CF30BCB}" dt="2021-12-21T16:36:11.157" v="24387" actId="167"/>
          <ac:graphicFrameMkLst>
            <pc:docMk/>
            <pc:sldMk cId="221493696" sldId="2147374235"/>
            <ac:graphicFrameMk id="121" creationId="{3AB314B1-D01D-BF4A-87D2-DCCFDAC3E3D7}"/>
          </ac:graphicFrameMkLst>
        </pc:graphicFrameChg>
        <pc:picChg chg="mod">
          <ac:chgData name="Nick Robinson" userId="d0c2b313-4ae0-4040-8c6a-fec7a720a7b5" providerId="ADAL" clId="{190131DE-6250-C84F-B491-721E6CF30BCB}" dt="2021-12-21T16:35:29.729" v="24381" actId="1035"/>
          <ac:picMkLst>
            <pc:docMk/>
            <pc:sldMk cId="221493696" sldId="2147374235"/>
            <ac:picMk id="122" creationId="{78E207EA-36EB-504D-93ED-3B9703C31322}"/>
          </ac:picMkLst>
        </pc:picChg>
        <pc:picChg chg="mod">
          <ac:chgData name="Nick Robinson" userId="d0c2b313-4ae0-4040-8c6a-fec7a720a7b5" providerId="ADAL" clId="{190131DE-6250-C84F-B491-721E6CF30BCB}" dt="2021-12-21T16:35:20.391" v="24377" actId="1035"/>
          <ac:picMkLst>
            <pc:docMk/>
            <pc:sldMk cId="221493696" sldId="2147374235"/>
            <ac:picMk id="123" creationId="{EA29F15E-FF05-C340-8787-C3F6B88343B4}"/>
          </ac:picMkLst>
        </pc:picChg>
        <pc:picChg chg="mod">
          <ac:chgData name="Nick Robinson" userId="d0c2b313-4ae0-4040-8c6a-fec7a720a7b5" providerId="ADAL" clId="{190131DE-6250-C84F-B491-721E6CF30BCB}" dt="2021-12-21T16:35:37.268" v="24384" actId="1035"/>
          <ac:picMkLst>
            <pc:docMk/>
            <pc:sldMk cId="221493696" sldId="2147374235"/>
            <ac:picMk id="124" creationId="{2003B5CB-DC98-364A-9073-44502A14C537}"/>
          </ac:picMkLst>
        </pc:picChg>
        <pc:picChg chg="mod">
          <ac:chgData name="Nick Robinson" userId="d0c2b313-4ae0-4040-8c6a-fec7a720a7b5" providerId="ADAL" clId="{190131DE-6250-C84F-B491-721E6CF30BCB}" dt="2021-12-21T16:37:02.296" v="24394" actId="1076"/>
          <ac:picMkLst>
            <pc:docMk/>
            <pc:sldMk cId="221493696" sldId="2147374235"/>
            <ac:picMk id="125" creationId="{D2B6D9C9-BCF9-6A4B-9D95-991D125A9165}"/>
          </ac:picMkLst>
        </pc:picChg>
        <pc:picChg chg="mod">
          <ac:chgData name="Nick Robinson" userId="d0c2b313-4ae0-4040-8c6a-fec7a720a7b5" providerId="ADAL" clId="{190131DE-6250-C84F-B491-721E6CF30BCB}" dt="2021-12-21T16:36:30.607" v="24389" actId="1076"/>
          <ac:picMkLst>
            <pc:docMk/>
            <pc:sldMk cId="221493696" sldId="2147374235"/>
            <ac:picMk id="126" creationId="{DFC9960D-FB8C-D741-81F4-F3DBDAC532A1}"/>
          </ac:picMkLst>
        </pc:picChg>
        <pc:picChg chg="mod">
          <ac:chgData name="Nick Robinson" userId="d0c2b313-4ae0-4040-8c6a-fec7a720a7b5" providerId="ADAL" clId="{190131DE-6250-C84F-B491-721E6CF30BCB}" dt="2021-12-21T16:36:34.967" v="24390" actId="1076"/>
          <ac:picMkLst>
            <pc:docMk/>
            <pc:sldMk cId="221493696" sldId="2147374235"/>
            <ac:picMk id="127" creationId="{3E8112A4-8294-5845-A42B-EF233B425DD6}"/>
          </ac:picMkLst>
        </pc:picChg>
        <pc:picChg chg="mod">
          <ac:chgData name="Nick Robinson" userId="d0c2b313-4ae0-4040-8c6a-fec7a720a7b5" providerId="ADAL" clId="{190131DE-6250-C84F-B491-721E6CF30BCB}" dt="2021-12-21T16:36:39.696" v="24391" actId="1076"/>
          <ac:picMkLst>
            <pc:docMk/>
            <pc:sldMk cId="221493696" sldId="2147374235"/>
            <ac:picMk id="128" creationId="{099B0D44-7B3A-0449-B09E-D275383420BD}"/>
          </ac:picMkLst>
        </pc:picChg>
        <pc:picChg chg="mod">
          <ac:chgData name="Nick Robinson" userId="d0c2b313-4ae0-4040-8c6a-fec7a720a7b5" providerId="ADAL" clId="{190131DE-6250-C84F-B491-721E6CF30BCB}" dt="2021-12-21T16:36:46.646" v="24392" actId="1076"/>
          <ac:picMkLst>
            <pc:docMk/>
            <pc:sldMk cId="221493696" sldId="2147374235"/>
            <ac:picMk id="129" creationId="{6810602F-4E35-F340-B094-572641872081}"/>
          </ac:picMkLst>
        </pc:picChg>
      </pc:sldChg>
      <pc:sldChg chg="del">
        <pc:chgData name="Nick Robinson" userId="d0c2b313-4ae0-4040-8c6a-fec7a720a7b5" providerId="ADAL" clId="{190131DE-6250-C84F-B491-721E6CF30BCB}" dt="2021-12-23T11:18:28.519" v="42307" actId="2696"/>
        <pc:sldMkLst>
          <pc:docMk/>
          <pc:sldMk cId="1325974997" sldId="2147374235"/>
        </pc:sldMkLst>
      </pc:sldChg>
      <pc:sldChg chg="del">
        <pc:chgData name="Nick Robinson" userId="d0c2b313-4ae0-4040-8c6a-fec7a720a7b5" providerId="ADAL" clId="{190131DE-6250-C84F-B491-721E6CF30BCB}" dt="2021-12-23T11:18:28.519" v="42307" actId="2696"/>
        <pc:sldMkLst>
          <pc:docMk/>
          <pc:sldMk cId="2880595461" sldId="2147374236"/>
        </pc:sldMkLst>
      </pc:sldChg>
      <pc:sldChg chg="del">
        <pc:chgData name="Nick Robinson" userId="d0c2b313-4ae0-4040-8c6a-fec7a720a7b5" providerId="ADAL" clId="{190131DE-6250-C84F-B491-721E6CF30BCB}" dt="2021-12-23T11:18:28.519" v="42307" actId="2696"/>
        <pc:sldMkLst>
          <pc:docMk/>
          <pc:sldMk cId="2129875948" sldId="2147374237"/>
        </pc:sldMkLst>
      </pc:sldChg>
      <pc:sldChg chg="del">
        <pc:chgData name="Nick Robinson" userId="d0c2b313-4ae0-4040-8c6a-fec7a720a7b5" providerId="ADAL" clId="{190131DE-6250-C84F-B491-721E6CF30BCB}" dt="2021-12-23T11:18:28.519" v="42307" actId="2696"/>
        <pc:sldMkLst>
          <pc:docMk/>
          <pc:sldMk cId="519564363" sldId="2147374238"/>
        </pc:sldMkLst>
      </pc:sldChg>
      <pc:sldChg chg="del">
        <pc:chgData name="Nick Robinson" userId="d0c2b313-4ae0-4040-8c6a-fec7a720a7b5" providerId="ADAL" clId="{190131DE-6250-C84F-B491-721E6CF30BCB}" dt="2021-12-23T11:18:28.519" v="42307" actId="2696"/>
        <pc:sldMkLst>
          <pc:docMk/>
          <pc:sldMk cId="585038897" sldId="2147374239"/>
        </pc:sldMkLst>
      </pc:sldChg>
      <pc:sldChg chg="del">
        <pc:chgData name="Nick Robinson" userId="d0c2b313-4ae0-4040-8c6a-fec7a720a7b5" providerId="ADAL" clId="{190131DE-6250-C84F-B491-721E6CF30BCB}" dt="2021-12-23T11:18:28.519" v="42307" actId="2696"/>
        <pc:sldMkLst>
          <pc:docMk/>
          <pc:sldMk cId="4288719239" sldId="2147374240"/>
        </pc:sldMkLst>
      </pc:sldChg>
      <pc:sldChg chg="addSp delSp modSp add mod">
        <pc:chgData name="Nick Robinson" userId="d0c2b313-4ae0-4040-8c6a-fec7a720a7b5" providerId="ADAL" clId="{190131DE-6250-C84F-B491-721E6CF30BCB}" dt="2021-12-23T13:45:58.248" v="44193" actId="113"/>
        <pc:sldMkLst>
          <pc:docMk/>
          <pc:sldMk cId="3413238529" sldId="2147374241"/>
        </pc:sldMkLst>
        <pc:spChg chg="mod">
          <ac:chgData name="Nick Robinson" userId="d0c2b313-4ae0-4040-8c6a-fec7a720a7b5" providerId="ADAL" clId="{190131DE-6250-C84F-B491-721E6CF30BCB}" dt="2021-12-23T13:45:58.248" v="44193" actId="113"/>
          <ac:spMkLst>
            <pc:docMk/>
            <pc:sldMk cId="3413238529" sldId="2147374241"/>
            <ac:spMk id="6" creationId="{71DEC92A-C88D-F946-A1A9-8B38E6C4179D}"/>
          </ac:spMkLst>
        </pc:spChg>
        <pc:spChg chg="add mod">
          <ac:chgData name="Nick Robinson" userId="d0c2b313-4ae0-4040-8c6a-fec7a720a7b5" providerId="ADAL" clId="{190131DE-6250-C84F-B491-721E6CF30BCB}" dt="2021-12-23T13:45:58.248" v="44193" actId="113"/>
          <ac:spMkLst>
            <pc:docMk/>
            <pc:sldMk cId="3413238529" sldId="2147374241"/>
            <ac:spMk id="19" creationId="{7D5E1CC4-74C3-3F46-8E37-8DD1394DDCE1}"/>
          </ac:spMkLst>
        </pc:spChg>
        <pc:spChg chg="add mod">
          <ac:chgData name="Nick Robinson" userId="d0c2b313-4ae0-4040-8c6a-fec7a720a7b5" providerId="ADAL" clId="{190131DE-6250-C84F-B491-721E6CF30BCB}" dt="2021-12-23T13:45:58.248" v="44193" actId="113"/>
          <ac:spMkLst>
            <pc:docMk/>
            <pc:sldMk cId="3413238529" sldId="2147374241"/>
            <ac:spMk id="20" creationId="{11EC81B9-48F8-914D-A40C-2077FB419641}"/>
          </ac:spMkLst>
        </pc:spChg>
        <pc:spChg chg="mod">
          <ac:chgData name="Nick Robinson" userId="d0c2b313-4ae0-4040-8c6a-fec7a720a7b5" providerId="ADAL" clId="{190131DE-6250-C84F-B491-721E6CF30BCB}" dt="2021-12-22T14:39:15.886" v="25335" actId="552"/>
          <ac:spMkLst>
            <pc:docMk/>
            <pc:sldMk cId="3413238529" sldId="2147374241"/>
            <ac:spMk id="21" creationId="{6330D18C-34F1-924A-BF1E-ACB7585DE856}"/>
          </ac:spMkLst>
        </pc:spChg>
        <pc:spChg chg="mod">
          <ac:chgData name="Nick Robinson" userId="d0c2b313-4ae0-4040-8c6a-fec7a720a7b5" providerId="ADAL" clId="{190131DE-6250-C84F-B491-721E6CF30BCB}" dt="2021-12-22T21:33:26.723" v="32773" actId="1035"/>
          <ac:spMkLst>
            <pc:docMk/>
            <pc:sldMk cId="3413238529" sldId="2147374241"/>
            <ac:spMk id="23" creationId="{EDB73B83-733C-864A-9946-6F0F0076127C}"/>
          </ac:spMkLst>
        </pc:spChg>
        <pc:spChg chg="add mod">
          <ac:chgData name="Nick Robinson" userId="d0c2b313-4ae0-4040-8c6a-fec7a720a7b5" providerId="ADAL" clId="{190131DE-6250-C84F-B491-721E6CF30BCB}" dt="2021-12-23T13:45:58.248" v="44193" actId="113"/>
          <ac:spMkLst>
            <pc:docMk/>
            <pc:sldMk cId="3413238529" sldId="2147374241"/>
            <ac:spMk id="24" creationId="{A08D1652-4F93-6C45-9802-7F71789C033B}"/>
          </ac:spMkLst>
        </pc:spChg>
        <pc:spChg chg="add mod">
          <ac:chgData name="Nick Robinson" userId="d0c2b313-4ae0-4040-8c6a-fec7a720a7b5" providerId="ADAL" clId="{190131DE-6250-C84F-B491-721E6CF30BCB}" dt="2021-12-23T13:45:58.248" v="44193" actId="113"/>
          <ac:spMkLst>
            <pc:docMk/>
            <pc:sldMk cId="3413238529" sldId="2147374241"/>
            <ac:spMk id="25" creationId="{23EAB4A1-A103-5A4E-BEFF-7A10FBF29F52}"/>
          </ac:spMkLst>
        </pc:spChg>
        <pc:spChg chg="mod">
          <ac:chgData name="Nick Robinson" userId="d0c2b313-4ae0-4040-8c6a-fec7a720a7b5" providerId="ADAL" clId="{190131DE-6250-C84F-B491-721E6CF30BCB}" dt="2021-12-22T21:33:16.347" v="32769" actId="20577"/>
          <ac:spMkLst>
            <pc:docMk/>
            <pc:sldMk cId="3413238529" sldId="2147374241"/>
            <ac:spMk id="27" creationId="{4EFAD1A4-9034-8448-A693-CCB4220B8B5E}"/>
          </ac:spMkLst>
        </pc:spChg>
        <pc:spChg chg="add mod">
          <ac:chgData name="Nick Robinson" userId="d0c2b313-4ae0-4040-8c6a-fec7a720a7b5" providerId="ADAL" clId="{190131DE-6250-C84F-B491-721E6CF30BCB}" dt="2021-12-22T21:20:25.250" v="31836" actId="20577"/>
          <ac:spMkLst>
            <pc:docMk/>
            <pc:sldMk cId="3413238529" sldId="2147374241"/>
            <ac:spMk id="36" creationId="{EA72B162-6661-274C-BE24-06DC87241815}"/>
          </ac:spMkLst>
        </pc:spChg>
        <pc:spChg chg="add mod">
          <ac:chgData name="Nick Robinson" userId="d0c2b313-4ae0-4040-8c6a-fec7a720a7b5" providerId="ADAL" clId="{190131DE-6250-C84F-B491-721E6CF30BCB}" dt="2021-12-22T21:06:42.762" v="30737" actId="1036"/>
          <ac:spMkLst>
            <pc:docMk/>
            <pc:sldMk cId="3413238529" sldId="2147374241"/>
            <ac:spMk id="37" creationId="{5F8FFDF1-D293-F24E-9A48-1D11FA6E1BC6}"/>
          </ac:spMkLst>
        </pc:spChg>
        <pc:spChg chg="add mod">
          <ac:chgData name="Nick Robinson" userId="d0c2b313-4ae0-4040-8c6a-fec7a720a7b5" providerId="ADAL" clId="{190131DE-6250-C84F-B491-721E6CF30BCB}" dt="2021-12-22T21:28:36.958" v="32230" actId="20577"/>
          <ac:spMkLst>
            <pc:docMk/>
            <pc:sldMk cId="3413238529" sldId="2147374241"/>
            <ac:spMk id="38" creationId="{4C49A6F2-8130-F94B-90FE-21C8CDF5A418}"/>
          </ac:spMkLst>
        </pc:spChg>
        <pc:spChg chg="add mod">
          <ac:chgData name="Nick Robinson" userId="d0c2b313-4ae0-4040-8c6a-fec7a720a7b5" providerId="ADAL" clId="{190131DE-6250-C84F-B491-721E6CF30BCB}" dt="2021-12-22T21:13:52.718" v="31312" actId="1035"/>
          <ac:spMkLst>
            <pc:docMk/>
            <pc:sldMk cId="3413238529" sldId="2147374241"/>
            <ac:spMk id="39" creationId="{9DB2F3D1-178D-1B44-B0A9-5420B0D2E696}"/>
          </ac:spMkLst>
        </pc:spChg>
        <pc:spChg chg="add mod">
          <ac:chgData name="Nick Robinson" userId="d0c2b313-4ae0-4040-8c6a-fec7a720a7b5" providerId="ADAL" clId="{190131DE-6250-C84F-B491-721E6CF30BCB}" dt="2021-12-22T21:13:52.718" v="31312" actId="1035"/>
          <ac:spMkLst>
            <pc:docMk/>
            <pc:sldMk cId="3413238529" sldId="2147374241"/>
            <ac:spMk id="40" creationId="{3FF8F3EC-00F9-1244-BA65-329218716879}"/>
          </ac:spMkLst>
        </pc:spChg>
        <pc:spChg chg="add del mod">
          <ac:chgData name="Nick Robinson" userId="d0c2b313-4ae0-4040-8c6a-fec7a720a7b5" providerId="ADAL" clId="{190131DE-6250-C84F-B491-721E6CF30BCB}" dt="2021-12-22T21:06:24.449" v="30730" actId="478"/>
          <ac:spMkLst>
            <pc:docMk/>
            <pc:sldMk cId="3413238529" sldId="2147374241"/>
            <ac:spMk id="41" creationId="{89FE1D38-03F8-F944-A619-91BA2ECA9D36}"/>
          </ac:spMkLst>
        </pc:spChg>
        <pc:spChg chg="add mod">
          <ac:chgData name="Nick Robinson" userId="d0c2b313-4ae0-4040-8c6a-fec7a720a7b5" providerId="ADAL" clId="{190131DE-6250-C84F-B491-721E6CF30BCB}" dt="2021-12-22T20:59:50.569" v="30494" actId="20577"/>
          <ac:spMkLst>
            <pc:docMk/>
            <pc:sldMk cId="3413238529" sldId="2147374241"/>
            <ac:spMk id="42" creationId="{A2013135-99AB-344D-BFCA-6609625D6674}"/>
          </ac:spMkLst>
        </pc:spChg>
        <pc:spChg chg="mod">
          <ac:chgData name="Nick Robinson" userId="d0c2b313-4ae0-4040-8c6a-fec7a720a7b5" providerId="ADAL" clId="{190131DE-6250-C84F-B491-721E6CF30BCB}" dt="2021-12-22T14:39:15.886" v="25335" actId="552"/>
          <ac:spMkLst>
            <pc:docMk/>
            <pc:sldMk cId="3413238529" sldId="2147374241"/>
            <ac:spMk id="43" creationId="{6722C459-EA4B-9046-BFE4-5ADCCCE9822B}"/>
          </ac:spMkLst>
        </pc:spChg>
        <pc:spChg chg="mod">
          <ac:chgData name="Nick Robinson" userId="d0c2b313-4ae0-4040-8c6a-fec7a720a7b5" providerId="ADAL" clId="{190131DE-6250-C84F-B491-721E6CF30BCB}" dt="2021-12-22T21:34:49.888" v="32777" actId="14100"/>
          <ac:spMkLst>
            <pc:docMk/>
            <pc:sldMk cId="3413238529" sldId="2147374241"/>
            <ac:spMk id="44" creationId="{94F77078-9FB8-334E-9C10-E9F04E16BBA7}"/>
          </ac:spMkLst>
        </pc:spChg>
        <pc:spChg chg="add del mod">
          <ac:chgData name="Nick Robinson" userId="d0c2b313-4ae0-4040-8c6a-fec7a720a7b5" providerId="ADAL" clId="{190131DE-6250-C84F-B491-721E6CF30BCB}" dt="2021-12-22T21:01:22.706" v="30505" actId="478"/>
          <ac:spMkLst>
            <pc:docMk/>
            <pc:sldMk cId="3413238529" sldId="2147374241"/>
            <ac:spMk id="47" creationId="{EC259D5C-9944-0543-A338-E6B2DEAFB566}"/>
          </ac:spMkLst>
        </pc:spChg>
        <pc:spChg chg="mod">
          <ac:chgData name="Nick Robinson" userId="d0c2b313-4ae0-4040-8c6a-fec7a720a7b5" providerId="ADAL" clId="{190131DE-6250-C84F-B491-721E6CF30BCB}" dt="2021-12-22T21:06:42.762" v="30737" actId="1036"/>
          <ac:spMkLst>
            <pc:docMk/>
            <pc:sldMk cId="3413238529" sldId="2147374241"/>
            <ac:spMk id="48" creationId="{A64AE93D-4341-5940-88E2-777BF375B524}"/>
          </ac:spMkLst>
        </pc:spChg>
        <pc:spChg chg="mod">
          <ac:chgData name="Nick Robinson" userId="d0c2b313-4ae0-4040-8c6a-fec7a720a7b5" providerId="ADAL" clId="{190131DE-6250-C84F-B491-721E6CF30BCB}" dt="2021-12-22T21:06:42.762" v="30737" actId="1036"/>
          <ac:spMkLst>
            <pc:docMk/>
            <pc:sldMk cId="3413238529" sldId="2147374241"/>
            <ac:spMk id="49" creationId="{EB12C5EA-D5E9-6642-B105-31F682D36F5D}"/>
          </ac:spMkLst>
        </pc:spChg>
        <pc:spChg chg="add del mod">
          <ac:chgData name="Nick Robinson" userId="d0c2b313-4ae0-4040-8c6a-fec7a720a7b5" providerId="ADAL" clId="{190131DE-6250-C84F-B491-721E6CF30BCB}" dt="2021-12-22T21:06:33.452" v="30731" actId="478"/>
          <ac:spMkLst>
            <pc:docMk/>
            <pc:sldMk cId="3413238529" sldId="2147374241"/>
            <ac:spMk id="50" creationId="{C5E36FA6-0BD9-BE4B-B1ED-950AAECA5C92}"/>
          </ac:spMkLst>
        </pc:spChg>
        <pc:spChg chg="add mod">
          <ac:chgData name="Nick Robinson" userId="d0c2b313-4ae0-4040-8c6a-fec7a720a7b5" providerId="ADAL" clId="{190131DE-6250-C84F-B491-721E6CF30BCB}" dt="2021-12-23T08:26:31.193" v="37354" actId="20577"/>
          <ac:spMkLst>
            <pc:docMk/>
            <pc:sldMk cId="3413238529" sldId="2147374241"/>
            <ac:spMk id="51" creationId="{9344A515-A4F0-E24B-ACA6-57E2FAC220E9}"/>
          </ac:spMkLst>
        </pc:spChg>
        <pc:spChg chg="add del mod">
          <ac:chgData name="Nick Robinson" userId="d0c2b313-4ae0-4040-8c6a-fec7a720a7b5" providerId="ADAL" clId="{190131DE-6250-C84F-B491-721E6CF30BCB}" dt="2021-12-22T21:11:11.498" v="31038" actId="478"/>
          <ac:spMkLst>
            <pc:docMk/>
            <pc:sldMk cId="3413238529" sldId="2147374241"/>
            <ac:spMk id="52" creationId="{6794D959-F5A0-0F44-8C21-A16995F07B65}"/>
          </ac:spMkLst>
        </pc:spChg>
        <pc:spChg chg="add del mod">
          <ac:chgData name="Nick Robinson" userId="d0c2b313-4ae0-4040-8c6a-fec7a720a7b5" providerId="ADAL" clId="{190131DE-6250-C84F-B491-721E6CF30BCB}" dt="2021-12-22T21:13:35.504" v="31309" actId="478"/>
          <ac:spMkLst>
            <pc:docMk/>
            <pc:sldMk cId="3413238529" sldId="2147374241"/>
            <ac:spMk id="53" creationId="{838FBECF-03B7-BF4F-9726-BE51020845B9}"/>
          </ac:spMkLst>
        </pc:spChg>
        <pc:spChg chg="add mod">
          <ac:chgData name="Nick Robinson" userId="d0c2b313-4ae0-4040-8c6a-fec7a720a7b5" providerId="ADAL" clId="{190131DE-6250-C84F-B491-721E6CF30BCB}" dt="2021-12-22T21:13:52.718" v="31312" actId="1035"/>
          <ac:spMkLst>
            <pc:docMk/>
            <pc:sldMk cId="3413238529" sldId="2147374241"/>
            <ac:spMk id="54" creationId="{85B0520C-F632-E94A-8EC8-76AC2F603AF9}"/>
          </ac:spMkLst>
        </pc:spChg>
        <pc:spChg chg="add mod">
          <ac:chgData name="Nick Robinson" userId="d0c2b313-4ae0-4040-8c6a-fec7a720a7b5" providerId="ADAL" clId="{190131DE-6250-C84F-B491-721E6CF30BCB}" dt="2021-12-22T21:13:33.815" v="31308" actId="20577"/>
          <ac:spMkLst>
            <pc:docMk/>
            <pc:sldMk cId="3413238529" sldId="2147374241"/>
            <ac:spMk id="55" creationId="{8D965589-506A-EC4B-A4B9-129A9F44D235}"/>
          </ac:spMkLst>
        </pc:spChg>
        <pc:spChg chg="add mod">
          <ac:chgData name="Nick Robinson" userId="d0c2b313-4ae0-4040-8c6a-fec7a720a7b5" providerId="ADAL" clId="{190131DE-6250-C84F-B491-721E6CF30BCB}" dt="2021-12-22T21:15:56.945" v="31392" actId="20577"/>
          <ac:spMkLst>
            <pc:docMk/>
            <pc:sldMk cId="3413238529" sldId="2147374241"/>
            <ac:spMk id="56" creationId="{6D60066A-6633-9642-ACF8-3BA5D5AC4875}"/>
          </ac:spMkLst>
        </pc:spChg>
        <pc:spChg chg="add del mod">
          <ac:chgData name="Nick Robinson" userId="d0c2b313-4ae0-4040-8c6a-fec7a720a7b5" providerId="ADAL" clId="{190131DE-6250-C84F-B491-721E6CF30BCB}" dt="2021-12-22T21:16:06.976" v="31393" actId="478"/>
          <ac:spMkLst>
            <pc:docMk/>
            <pc:sldMk cId="3413238529" sldId="2147374241"/>
            <ac:spMk id="57" creationId="{A711C9E1-ACDE-A249-8F59-8009F4477483}"/>
          </ac:spMkLst>
        </pc:spChg>
        <pc:spChg chg="add del mod">
          <ac:chgData name="Nick Robinson" userId="d0c2b313-4ae0-4040-8c6a-fec7a720a7b5" providerId="ADAL" clId="{190131DE-6250-C84F-B491-721E6CF30BCB}" dt="2021-12-22T21:20:38.598" v="31844" actId="478"/>
          <ac:spMkLst>
            <pc:docMk/>
            <pc:sldMk cId="3413238529" sldId="2147374241"/>
            <ac:spMk id="58" creationId="{B7F02C07-94D1-9B4D-A76D-D51ADB54E4AF}"/>
          </ac:spMkLst>
        </pc:spChg>
        <pc:spChg chg="add mod">
          <ac:chgData name="Nick Robinson" userId="d0c2b313-4ae0-4040-8c6a-fec7a720a7b5" providerId="ADAL" clId="{190131DE-6250-C84F-B491-721E6CF30BCB}" dt="2021-12-22T21:20:34.579" v="31843" actId="20577"/>
          <ac:spMkLst>
            <pc:docMk/>
            <pc:sldMk cId="3413238529" sldId="2147374241"/>
            <ac:spMk id="59" creationId="{54C0D4CF-9A84-7143-8A2D-955DDE7D0C58}"/>
          </ac:spMkLst>
        </pc:spChg>
        <pc:spChg chg="add del mod">
          <ac:chgData name="Nick Robinson" userId="d0c2b313-4ae0-4040-8c6a-fec7a720a7b5" providerId="ADAL" clId="{190131DE-6250-C84F-B491-721E6CF30BCB}" dt="2021-12-22T21:20:27.173" v="31837" actId="478"/>
          <ac:spMkLst>
            <pc:docMk/>
            <pc:sldMk cId="3413238529" sldId="2147374241"/>
            <ac:spMk id="60" creationId="{C99591CF-F793-4742-AD8B-C7999CC05D4D}"/>
          </ac:spMkLst>
        </pc:spChg>
        <pc:spChg chg="add del mod">
          <ac:chgData name="Nick Robinson" userId="d0c2b313-4ae0-4040-8c6a-fec7a720a7b5" providerId="ADAL" clId="{190131DE-6250-C84F-B491-721E6CF30BCB}" dt="2021-12-22T21:28:40.495" v="32231" actId="478"/>
          <ac:spMkLst>
            <pc:docMk/>
            <pc:sldMk cId="3413238529" sldId="2147374241"/>
            <ac:spMk id="61" creationId="{877909B6-4575-D442-9650-F2076846738D}"/>
          </ac:spMkLst>
        </pc:spChg>
        <pc:spChg chg="add mod">
          <ac:chgData name="Nick Robinson" userId="d0c2b313-4ae0-4040-8c6a-fec7a720a7b5" providerId="ADAL" clId="{190131DE-6250-C84F-B491-721E6CF30BCB}" dt="2021-12-22T21:23:36.079" v="31870" actId="20577"/>
          <ac:spMkLst>
            <pc:docMk/>
            <pc:sldMk cId="3413238529" sldId="2147374241"/>
            <ac:spMk id="62" creationId="{4EF9FCB4-840B-E64B-AEDF-66A1A15B7D7C}"/>
          </ac:spMkLst>
        </pc:spChg>
        <pc:spChg chg="add mod">
          <ac:chgData name="Nick Robinson" userId="d0c2b313-4ae0-4040-8c6a-fec7a720a7b5" providerId="ADAL" clId="{190131DE-6250-C84F-B491-721E6CF30BCB}" dt="2021-12-22T21:28:19.568" v="32215" actId="20577"/>
          <ac:spMkLst>
            <pc:docMk/>
            <pc:sldMk cId="3413238529" sldId="2147374241"/>
            <ac:spMk id="63" creationId="{90C3E5E6-1C54-114D-BC6F-3A7C14C202D4}"/>
          </ac:spMkLst>
        </pc:spChg>
        <pc:graphicFrameChg chg="add mod">
          <ac:chgData name="Nick Robinson" userId="d0c2b313-4ae0-4040-8c6a-fec7a720a7b5" providerId="ADAL" clId="{190131DE-6250-C84F-B491-721E6CF30BCB}" dt="2021-12-22T14:34:59.283" v="25199"/>
          <ac:graphicFrameMkLst>
            <pc:docMk/>
            <pc:sldMk cId="3413238529" sldId="2147374241"/>
            <ac:graphicFrameMk id="18" creationId="{40F8BD7B-1BFE-8143-B5D4-635B515EFECC}"/>
          </ac:graphicFrameMkLst>
        </pc:graphicFrameChg>
        <pc:picChg chg="add mod">
          <ac:chgData name="Nick Robinson" userId="d0c2b313-4ae0-4040-8c6a-fec7a720a7b5" providerId="ADAL" clId="{190131DE-6250-C84F-B491-721E6CF30BCB}" dt="2021-12-22T21:06:42.762" v="30737" actId="1036"/>
          <ac:picMkLst>
            <pc:docMk/>
            <pc:sldMk cId="3413238529" sldId="2147374241"/>
            <ac:picMk id="33" creationId="{AA8728F6-BE4A-A94B-B853-B20ACC057BE5}"/>
          </ac:picMkLst>
        </pc:picChg>
        <pc:picChg chg="add mod">
          <ac:chgData name="Nick Robinson" userId="d0c2b313-4ae0-4040-8c6a-fec7a720a7b5" providerId="ADAL" clId="{190131DE-6250-C84F-B491-721E6CF30BCB}" dt="2021-12-22T21:06:42.762" v="30737" actId="1036"/>
          <ac:picMkLst>
            <pc:docMk/>
            <pc:sldMk cId="3413238529" sldId="2147374241"/>
            <ac:picMk id="34" creationId="{58C02BF7-7D04-204F-BFED-4F955D6D5FD4}"/>
          </ac:picMkLst>
        </pc:picChg>
        <pc:picChg chg="add mod">
          <ac:chgData name="Nick Robinson" userId="d0c2b313-4ae0-4040-8c6a-fec7a720a7b5" providerId="ADAL" clId="{190131DE-6250-C84F-B491-721E6CF30BCB}" dt="2021-12-22T21:06:42.762" v="30737" actId="1036"/>
          <ac:picMkLst>
            <pc:docMk/>
            <pc:sldMk cId="3413238529" sldId="2147374241"/>
            <ac:picMk id="35" creationId="{BE5F0901-A583-6042-8314-B9788EC29E23}"/>
          </ac:picMkLst>
        </pc:picChg>
        <pc:picChg chg="mod">
          <ac:chgData name="Nick Robinson" userId="d0c2b313-4ae0-4040-8c6a-fec7a720a7b5" providerId="ADAL" clId="{190131DE-6250-C84F-B491-721E6CF30BCB}" dt="2021-12-22T21:06:42.762" v="30737" actId="1036"/>
          <ac:picMkLst>
            <pc:docMk/>
            <pc:sldMk cId="3413238529" sldId="2147374241"/>
            <ac:picMk id="45" creationId="{948F28F6-61E2-7243-997A-555466F62827}"/>
          </ac:picMkLst>
        </pc:picChg>
        <pc:picChg chg="mod">
          <ac:chgData name="Nick Robinson" userId="d0c2b313-4ae0-4040-8c6a-fec7a720a7b5" providerId="ADAL" clId="{190131DE-6250-C84F-B491-721E6CF30BCB}" dt="2021-12-22T21:06:42.762" v="30737" actId="1036"/>
          <ac:picMkLst>
            <pc:docMk/>
            <pc:sldMk cId="3413238529" sldId="2147374241"/>
            <ac:picMk id="46" creationId="{6BA8DE75-D227-DB40-A572-28050B78841A}"/>
          </ac:picMkLst>
        </pc:picChg>
        <pc:cxnChg chg="add mod">
          <ac:chgData name="Nick Robinson" userId="d0c2b313-4ae0-4040-8c6a-fec7a720a7b5" providerId="ADAL" clId="{190131DE-6250-C84F-B491-721E6CF30BCB}" dt="2021-12-22T14:37:38.085" v="25312" actId="1038"/>
          <ac:cxnSpMkLst>
            <pc:docMk/>
            <pc:sldMk cId="3413238529" sldId="2147374241"/>
            <ac:cxnSpMk id="26" creationId="{64C469A9-93DC-F442-AB59-DB059E1B50B8}"/>
          </ac:cxnSpMkLst>
        </pc:cxnChg>
        <pc:cxnChg chg="add mod">
          <ac:chgData name="Nick Robinson" userId="d0c2b313-4ae0-4040-8c6a-fec7a720a7b5" providerId="ADAL" clId="{190131DE-6250-C84F-B491-721E6CF30BCB}" dt="2021-12-22T14:37:55.258" v="25322" actId="1035"/>
          <ac:cxnSpMkLst>
            <pc:docMk/>
            <pc:sldMk cId="3413238529" sldId="2147374241"/>
            <ac:cxnSpMk id="28" creationId="{D8E1F995-A6C7-F74B-BB6E-AA630959EBAF}"/>
          </ac:cxnSpMkLst>
        </pc:cxnChg>
        <pc:cxnChg chg="mod">
          <ac:chgData name="Nick Robinson" userId="d0c2b313-4ae0-4040-8c6a-fec7a720a7b5" providerId="ADAL" clId="{190131DE-6250-C84F-B491-721E6CF30BCB}" dt="2021-12-22T21:07:03.923" v="30741" actId="166"/>
          <ac:cxnSpMkLst>
            <pc:docMk/>
            <pc:sldMk cId="3413238529" sldId="2147374241"/>
            <ac:cxnSpMk id="29" creationId="{614F206B-05A2-7C4C-95E4-28B2D9B67F64}"/>
          </ac:cxnSpMkLst>
        </pc:cxnChg>
        <pc:cxnChg chg="add mod">
          <ac:chgData name="Nick Robinson" userId="d0c2b313-4ae0-4040-8c6a-fec7a720a7b5" providerId="ADAL" clId="{190131DE-6250-C84F-B491-721E6CF30BCB}" dt="2021-12-22T14:37:53.230" v="25321" actId="1035"/>
          <ac:cxnSpMkLst>
            <pc:docMk/>
            <pc:sldMk cId="3413238529" sldId="2147374241"/>
            <ac:cxnSpMk id="30" creationId="{38DC9F6E-4DF7-2643-97F1-A325EACAD91E}"/>
          </ac:cxnSpMkLst>
        </pc:cxnChg>
        <pc:cxnChg chg="add mod">
          <ac:chgData name="Nick Robinson" userId="d0c2b313-4ae0-4040-8c6a-fec7a720a7b5" providerId="ADAL" clId="{190131DE-6250-C84F-B491-721E6CF30BCB}" dt="2021-12-22T14:38:31.187" v="25328" actId="693"/>
          <ac:cxnSpMkLst>
            <pc:docMk/>
            <pc:sldMk cId="3413238529" sldId="2147374241"/>
            <ac:cxnSpMk id="31" creationId="{EB8AC0AA-7B8B-AC42-8223-073113E4B600}"/>
          </ac:cxnSpMkLst>
        </pc:cxnChg>
        <pc:cxnChg chg="add mod">
          <ac:chgData name="Nick Robinson" userId="d0c2b313-4ae0-4040-8c6a-fec7a720a7b5" providerId="ADAL" clId="{190131DE-6250-C84F-B491-721E6CF30BCB}" dt="2021-12-22T21:06:53.553" v="30740" actId="1036"/>
          <ac:cxnSpMkLst>
            <pc:docMk/>
            <pc:sldMk cId="3413238529" sldId="2147374241"/>
            <ac:cxnSpMk id="32" creationId="{902CADAA-5F5B-2B44-9F5D-CFC60478E069}"/>
          </ac:cxnSpMkLst>
        </pc:cxnChg>
      </pc:sldChg>
      <pc:sldChg chg="addSp delSp modSp add mod">
        <pc:chgData name="Nick Robinson" userId="d0c2b313-4ae0-4040-8c6a-fec7a720a7b5" providerId="ADAL" clId="{190131DE-6250-C84F-B491-721E6CF30BCB}" dt="2021-12-23T13:46:05.551" v="44195" actId="20577"/>
        <pc:sldMkLst>
          <pc:docMk/>
          <pc:sldMk cId="4184742268" sldId="2147374242"/>
        </pc:sldMkLst>
        <pc:spChg chg="mod">
          <ac:chgData name="Nick Robinson" userId="d0c2b313-4ae0-4040-8c6a-fec7a720a7b5" providerId="ADAL" clId="{190131DE-6250-C84F-B491-721E6CF30BCB}" dt="2021-12-22T21:39:05.649" v="32791" actId="20577"/>
          <ac:spMkLst>
            <pc:docMk/>
            <pc:sldMk cId="4184742268" sldId="2147374242"/>
            <ac:spMk id="2" creationId="{00000000-0000-0000-0000-000000000000}"/>
          </ac:spMkLst>
        </pc:spChg>
        <pc:spChg chg="mod">
          <ac:chgData name="Nick Robinson" userId="d0c2b313-4ae0-4040-8c6a-fec7a720a7b5" providerId="ADAL" clId="{190131DE-6250-C84F-B491-721E6CF30BCB}" dt="2021-12-23T13:46:05.551" v="44195" actId="20577"/>
          <ac:spMkLst>
            <pc:docMk/>
            <pc:sldMk cId="4184742268" sldId="2147374242"/>
            <ac:spMk id="6" creationId="{71DEC92A-C88D-F946-A1A9-8B38E6C4179D}"/>
          </ac:spMkLst>
        </pc:spChg>
        <pc:spChg chg="add del mod">
          <ac:chgData name="Nick Robinson" userId="d0c2b313-4ae0-4040-8c6a-fec7a720a7b5" providerId="ADAL" clId="{190131DE-6250-C84F-B491-721E6CF30BCB}" dt="2021-12-22T15:03:14.859" v="25512" actId="478"/>
          <ac:spMkLst>
            <pc:docMk/>
            <pc:sldMk cId="4184742268" sldId="2147374242"/>
            <ac:spMk id="21" creationId="{0027A363-528F-8A41-8B39-C81131DC6BBF}"/>
          </ac:spMkLst>
        </pc:spChg>
        <pc:spChg chg="add mod">
          <ac:chgData name="Nick Robinson" userId="d0c2b313-4ae0-4040-8c6a-fec7a720a7b5" providerId="ADAL" clId="{190131DE-6250-C84F-B491-721E6CF30BCB}" dt="2021-12-23T07:49:36.238" v="35669" actId="20577"/>
          <ac:spMkLst>
            <pc:docMk/>
            <pc:sldMk cId="4184742268" sldId="2147374242"/>
            <ac:spMk id="24" creationId="{774854AB-C44D-0E4B-B80A-C2F5D8CBADEE}"/>
          </ac:spMkLst>
        </pc:spChg>
        <pc:spChg chg="add del mod">
          <ac:chgData name="Nick Robinson" userId="d0c2b313-4ae0-4040-8c6a-fec7a720a7b5" providerId="ADAL" clId="{190131DE-6250-C84F-B491-721E6CF30BCB}" dt="2021-12-23T07:48:28.285" v="35528" actId="478"/>
          <ac:spMkLst>
            <pc:docMk/>
            <pc:sldMk cId="4184742268" sldId="2147374242"/>
            <ac:spMk id="25" creationId="{C118CF8A-D8A3-CE4B-9B39-CE61A9AC5CDB}"/>
          </ac:spMkLst>
        </pc:spChg>
        <pc:spChg chg="mod">
          <ac:chgData name="Nick Robinson" userId="d0c2b313-4ae0-4040-8c6a-fec7a720a7b5" providerId="ADAL" clId="{190131DE-6250-C84F-B491-721E6CF30BCB}" dt="2021-12-23T08:26:57.233" v="37356" actId="20577"/>
          <ac:spMkLst>
            <pc:docMk/>
            <pc:sldMk cId="4184742268" sldId="2147374242"/>
            <ac:spMk id="27" creationId="{4EFAD1A4-9034-8448-A693-CCB4220B8B5E}"/>
          </ac:spMkLst>
        </pc:spChg>
        <pc:spChg chg="mod">
          <ac:chgData name="Nick Robinson" userId="d0c2b313-4ae0-4040-8c6a-fec7a720a7b5" providerId="ADAL" clId="{190131DE-6250-C84F-B491-721E6CF30BCB}" dt="2021-12-22T20:22:47.903" v="30220" actId="113"/>
          <ac:spMkLst>
            <pc:docMk/>
            <pc:sldMk cId="4184742268" sldId="2147374242"/>
            <ac:spMk id="39" creationId="{5831CEDB-D38E-1343-BE9C-83F0EFBBD13F}"/>
          </ac:spMkLst>
        </pc:spChg>
        <pc:spChg chg="mod">
          <ac:chgData name="Nick Robinson" userId="d0c2b313-4ae0-4040-8c6a-fec7a720a7b5" providerId="ADAL" clId="{190131DE-6250-C84F-B491-721E6CF30BCB}" dt="2021-12-22T20:22:47.903" v="30220" actId="113"/>
          <ac:spMkLst>
            <pc:docMk/>
            <pc:sldMk cId="4184742268" sldId="2147374242"/>
            <ac:spMk id="40" creationId="{E1C0E2C8-7B47-E548-A07D-68D7A4F22BA7}"/>
          </ac:spMkLst>
        </pc:spChg>
        <pc:spChg chg="mod">
          <ac:chgData name="Nick Robinson" userId="d0c2b313-4ae0-4040-8c6a-fec7a720a7b5" providerId="ADAL" clId="{190131DE-6250-C84F-B491-721E6CF30BCB}" dt="2021-12-22T20:23:09.339" v="30224" actId="14100"/>
          <ac:spMkLst>
            <pc:docMk/>
            <pc:sldMk cId="4184742268" sldId="2147374242"/>
            <ac:spMk id="44" creationId="{94F77078-9FB8-334E-9C10-E9F04E16BBA7}"/>
          </ac:spMkLst>
        </pc:spChg>
        <pc:spChg chg="mod">
          <ac:chgData name="Nick Robinson" userId="d0c2b313-4ae0-4040-8c6a-fec7a720a7b5" providerId="ADAL" clId="{190131DE-6250-C84F-B491-721E6CF30BCB}" dt="2021-12-22T20:23:16.436" v="30225" actId="1076"/>
          <ac:spMkLst>
            <pc:docMk/>
            <pc:sldMk cId="4184742268" sldId="2147374242"/>
            <ac:spMk id="48" creationId="{A64AE93D-4341-5940-88E2-777BF375B524}"/>
          </ac:spMkLst>
        </pc:spChg>
        <pc:spChg chg="mod">
          <ac:chgData name="Nick Robinson" userId="d0c2b313-4ae0-4040-8c6a-fec7a720a7b5" providerId="ADAL" clId="{190131DE-6250-C84F-B491-721E6CF30BCB}" dt="2021-12-22T20:23:16.436" v="30225" actId="1076"/>
          <ac:spMkLst>
            <pc:docMk/>
            <pc:sldMk cId="4184742268" sldId="2147374242"/>
            <ac:spMk id="49" creationId="{EB12C5EA-D5E9-6642-B105-31F682D36F5D}"/>
          </ac:spMkLst>
        </pc:spChg>
        <pc:spChg chg="mod">
          <ac:chgData name="Nick Robinson" userId="d0c2b313-4ae0-4040-8c6a-fec7a720a7b5" providerId="ADAL" clId="{190131DE-6250-C84F-B491-721E6CF30BCB}" dt="2021-12-22T15:56:52.879" v="25752" actId="1076"/>
          <ac:spMkLst>
            <pc:docMk/>
            <pc:sldMk cId="4184742268" sldId="2147374242"/>
            <ac:spMk id="51" creationId="{390FA1DD-16DF-2E48-8A6B-AA33E10B0B14}"/>
          </ac:spMkLst>
        </pc:spChg>
        <pc:spChg chg="mod">
          <ac:chgData name="Nick Robinson" userId="d0c2b313-4ae0-4040-8c6a-fec7a720a7b5" providerId="ADAL" clId="{190131DE-6250-C84F-B491-721E6CF30BCB}" dt="2021-12-23T08:27:20.981" v="37358" actId="20577"/>
          <ac:spMkLst>
            <pc:docMk/>
            <pc:sldMk cId="4184742268" sldId="2147374242"/>
            <ac:spMk id="52" creationId="{C37DDBA5-5D7E-DA48-82EE-A53F018A0B51}"/>
          </ac:spMkLst>
        </pc:spChg>
        <pc:graphicFrameChg chg="add del mod">
          <ac:chgData name="Nick Robinson" userId="d0c2b313-4ae0-4040-8c6a-fec7a720a7b5" providerId="ADAL" clId="{190131DE-6250-C84F-B491-721E6CF30BCB}" dt="2021-12-23T07:48:49.274" v="35530" actId="478"/>
          <ac:graphicFrameMkLst>
            <pc:docMk/>
            <pc:sldMk cId="4184742268" sldId="2147374242"/>
            <ac:graphicFrameMk id="7" creationId="{F0E80B4C-27ED-1E4D-A81E-5AE62F1FA14C}"/>
          </ac:graphicFrameMkLst>
        </pc:graphicFrameChg>
        <pc:graphicFrameChg chg="del modGraphic">
          <ac:chgData name="Nick Robinson" userId="d0c2b313-4ae0-4040-8c6a-fec7a720a7b5" providerId="ADAL" clId="{190131DE-6250-C84F-B491-721E6CF30BCB}" dt="2021-12-22T15:04:04.139" v="25514" actId="478"/>
          <ac:graphicFrameMkLst>
            <pc:docMk/>
            <pc:sldMk cId="4184742268" sldId="2147374242"/>
            <ac:graphicFrameMk id="22" creationId="{F49BE803-D0CE-E645-BDFC-6EB9FDBDA6A4}"/>
          </ac:graphicFrameMkLst>
        </pc:graphicFrameChg>
        <pc:graphicFrameChg chg="add del mod">
          <ac:chgData name="Nick Robinson" userId="d0c2b313-4ae0-4040-8c6a-fec7a720a7b5" providerId="ADAL" clId="{190131DE-6250-C84F-B491-721E6CF30BCB}" dt="2021-12-22T15:04:51.438" v="25525"/>
          <ac:graphicFrameMkLst>
            <pc:docMk/>
            <pc:sldMk cId="4184742268" sldId="2147374242"/>
            <ac:graphicFrameMk id="23" creationId="{BF01113C-4355-AA41-ACC8-FB5FB953F491}"/>
          </ac:graphicFrameMkLst>
        </pc:graphicFrameChg>
        <pc:picChg chg="mod">
          <ac:chgData name="Nick Robinson" userId="d0c2b313-4ae0-4040-8c6a-fec7a720a7b5" providerId="ADAL" clId="{190131DE-6250-C84F-B491-721E6CF30BCB}" dt="2021-12-22T20:23:16.436" v="30225" actId="1076"/>
          <ac:picMkLst>
            <pc:docMk/>
            <pc:sldMk cId="4184742268" sldId="2147374242"/>
            <ac:picMk id="45" creationId="{948F28F6-61E2-7243-997A-555466F62827}"/>
          </ac:picMkLst>
        </pc:picChg>
        <pc:picChg chg="mod">
          <ac:chgData name="Nick Robinson" userId="d0c2b313-4ae0-4040-8c6a-fec7a720a7b5" providerId="ADAL" clId="{190131DE-6250-C84F-B491-721E6CF30BCB}" dt="2021-12-22T20:23:16.436" v="30225" actId="1076"/>
          <ac:picMkLst>
            <pc:docMk/>
            <pc:sldMk cId="4184742268" sldId="2147374242"/>
            <ac:picMk id="46" creationId="{6BA8DE75-D227-DB40-A572-28050B78841A}"/>
          </ac:picMkLst>
        </pc:picChg>
      </pc:sldChg>
      <pc:sldChg chg="delSp modSp add del mod">
        <pc:chgData name="Nick Robinson" userId="d0c2b313-4ae0-4040-8c6a-fec7a720a7b5" providerId="ADAL" clId="{190131DE-6250-C84F-B491-721E6CF30BCB}" dt="2021-12-22T15:56:12.113" v="25748" actId="2696"/>
        <pc:sldMkLst>
          <pc:docMk/>
          <pc:sldMk cId="654408472" sldId="2147374243"/>
        </pc:sldMkLst>
        <pc:spChg chg="mod">
          <ac:chgData name="Nick Robinson" userId="d0c2b313-4ae0-4040-8c6a-fec7a720a7b5" providerId="ADAL" clId="{190131DE-6250-C84F-B491-721E6CF30BCB}" dt="2021-12-22T15:14:03.946" v="25648" actId="20577"/>
          <ac:spMkLst>
            <pc:docMk/>
            <pc:sldMk cId="654408472" sldId="2147374243"/>
            <ac:spMk id="6" creationId="{71DEC92A-C88D-F946-A1A9-8B38E6C4179D}"/>
          </ac:spMkLst>
        </pc:spChg>
        <pc:spChg chg="mod">
          <ac:chgData name="Nick Robinson" userId="d0c2b313-4ae0-4040-8c6a-fec7a720a7b5" providerId="ADAL" clId="{190131DE-6250-C84F-B491-721E6CF30BCB}" dt="2021-12-22T15:14:16.971" v="25654" actId="20577"/>
          <ac:spMkLst>
            <pc:docMk/>
            <pc:sldMk cId="654408472" sldId="2147374243"/>
            <ac:spMk id="39" creationId="{5831CEDB-D38E-1343-BE9C-83F0EFBBD13F}"/>
          </ac:spMkLst>
        </pc:spChg>
        <pc:spChg chg="mod">
          <ac:chgData name="Nick Robinson" userId="d0c2b313-4ae0-4040-8c6a-fec7a720a7b5" providerId="ADAL" clId="{190131DE-6250-C84F-B491-721E6CF30BCB}" dt="2021-12-22T15:14:22.961" v="25677" actId="20577"/>
          <ac:spMkLst>
            <pc:docMk/>
            <pc:sldMk cId="654408472" sldId="2147374243"/>
            <ac:spMk id="40" creationId="{E1C0E2C8-7B47-E548-A07D-68D7A4F22BA7}"/>
          </ac:spMkLst>
        </pc:spChg>
        <pc:spChg chg="del">
          <ac:chgData name="Nick Robinson" userId="d0c2b313-4ae0-4040-8c6a-fec7a720a7b5" providerId="ADAL" clId="{190131DE-6250-C84F-B491-721E6CF30BCB}" dt="2021-12-22T15:14:53.944" v="25684" actId="478"/>
          <ac:spMkLst>
            <pc:docMk/>
            <pc:sldMk cId="654408472" sldId="2147374243"/>
            <ac:spMk id="43" creationId="{6722C459-EA4B-9046-BFE4-5ADCCCE9822B}"/>
          </ac:spMkLst>
        </pc:spChg>
        <pc:spChg chg="del">
          <ac:chgData name="Nick Robinson" userId="d0c2b313-4ae0-4040-8c6a-fec7a720a7b5" providerId="ADAL" clId="{190131DE-6250-C84F-B491-721E6CF30BCB}" dt="2021-12-22T15:14:51.334" v="25683" actId="478"/>
          <ac:spMkLst>
            <pc:docMk/>
            <pc:sldMk cId="654408472" sldId="2147374243"/>
            <ac:spMk id="44" creationId="{94F77078-9FB8-334E-9C10-E9F04E16BBA7}"/>
          </ac:spMkLst>
        </pc:spChg>
        <pc:spChg chg="mod">
          <ac:chgData name="Nick Robinson" userId="d0c2b313-4ae0-4040-8c6a-fec7a720a7b5" providerId="ADAL" clId="{190131DE-6250-C84F-B491-721E6CF30BCB}" dt="2021-12-22T15:14:49.955" v="25682" actId="1076"/>
          <ac:spMkLst>
            <pc:docMk/>
            <pc:sldMk cId="654408472" sldId="2147374243"/>
            <ac:spMk id="48" creationId="{A64AE93D-4341-5940-88E2-777BF375B524}"/>
          </ac:spMkLst>
        </pc:spChg>
        <pc:spChg chg="mod">
          <ac:chgData name="Nick Robinson" userId="d0c2b313-4ae0-4040-8c6a-fec7a720a7b5" providerId="ADAL" clId="{190131DE-6250-C84F-B491-721E6CF30BCB}" dt="2021-12-22T15:14:46.890" v="25681" actId="1076"/>
          <ac:spMkLst>
            <pc:docMk/>
            <pc:sldMk cId="654408472" sldId="2147374243"/>
            <ac:spMk id="49" creationId="{EB12C5EA-D5E9-6642-B105-31F682D36F5D}"/>
          </ac:spMkLst>
        </pc:spChg>
        <pc:spChg chg="mod">
          <ac:chgData name="Nick Robinson" userId="d0c2b313-4ae0-4040-8c6a-fec7a720a7b5" providerId="ADAL" clId="{190131DE-6250-C84F-B491-721E6CF30BCB}" dt="2021-12-22T15:15:37.144" v="25686" actId="948"/>
          <ac:spMkLst>
            <pc:docMk/>
            <pc:sldMk cId="654408472" sldId="2147374243"/>
            <ac:spMk id="51" creationId="{390FA1DD-16DF-2E48-8A6B-AA33E10B0B14}"/>
          </ac:spMkLst>
        </pc:spChg>
        <pc:spChg chg="mod">
          <ac:chgData name="Nick Robinson" userId="d0c2b313-4ae0-4040-8c6a-fec7a720a7b5" providerId="ADAL" clId="{190131DE-6250-C84F-B491-721E6CF30BCB}" dt="2021-12-22T15:14:31.839" v="25678" actId="1076"/>
          <ac:spMkLst>
            <pc:docMk/>
            <pc:sldMk cId="654408472" sldId="2147374243"/>
            <ac:spMk id="52" creationId="{C37DDBA5-5D7E-DA48-82EE-A53F018A0B51}"/>
          </ac:spMkLst>
        </pc:spChg>
        <pc:picChg chg="mod">
          <ac:chgData name="Nick Robinson" userId="d0c2b313-4ae0-4040-8c6a-fec7a720a7b5" providerId="ADAL" clId="{190131DE-6250-C84F-B491-721E6CF30BCB}" dt="2021-12-22T15:14:42.914" v="25680" actId="1076"/>
          <ac:picMkLst>
            <pc:docMk/>
            <pc:sldMk cId="654408472" sldId="2147374243"/>
            <ac:picMk id="45" creationId="{948F28F6-61E2-7243-997A-555466F62827}"/>
          </ac:picMkLst>
        </pc:picChg>
        <pc:picChg chg="mod">
          <ac:chgData name="Nick Robinson" userId="d0c2b313-4ae0-4040-8c6a-fec7a720a7b5" providerId="ADAL" clId="{190131DE-6250-C84F-B491-721E6CF30BCB}" dt="2021-12-22T15:14:40.289" v="25679" actId="1076"/>
          <ac:picMkLst>
            <pc:docMk/>
            <pc:sldMk cId="654408472" sldId="2147374243"/>
            <ac:picMk id="46" creationId="{6BA8DE75-D227-DB40-A572-28050B78841A}"/>
          </ac:picMkLst>
        </pc:picChg>
      </pc:sldChg>
      <pc:sldChg chg="addSp delSp modSp add mod">
        <pc:chgData name="Nick Robinson" userId="d0c2b313-4ae0-4040-8c6a-fec7a720a7b5" providerId="ADAL" clId="{190131DE-6250-C84F-B491-721E6CF30BCB}" dt="2021-12-23T13:45:46.945" v="44192" actId="20577"/>
        <pc:sldMkLst>
          <pc:docMk/>
          <pc:sldMk cId="2563585727" sldId="2147374244"/>
        </pc:sldMkLst>
        <pc:spChg chg="mod">
          <ac:chgData name="Nick Robinson" userId="d0c2b313-4ae0-4040-8c6a-fec7a720a7b5" providerId="ADAL" clId="{190131DE-6250-C84F-B491-721E6CF30BCB}" dt="2021-12-22T15:49:41.019" v="25710" actId="20577"/>
          <ac:spMkLst>
            <pc:docMk/>
            <pc:sldMk cId="2563585727" sldId="2147374244"/>
            <ac:spMk id="2" creationId="{00000000-0000-0000-0000-000000000000}"/>
          </ac:spMkLst>
        </pc:spChg>
        <pc:spChg chg="mod">
          <ac:chgData name="Nick Robinson" userId="d0c2b313-4ae0-4040-8c6a-fec7a720a7b5" providerId="ADAL" clId="{190131DE-6250-C84F-B491-721E6CF30BCB}" dt="2021-12-23T13:45:46.945" v="44192" actId="20577"/>
          <ac:spMkLst>
            <pc:docMk/>
            <pc:sldMk cId="2563585727" sldId="2147374244"/>
            <ac:spMk id="6" creationId="{71DEC92A-C88D-F946-A1A9-8B38E6C4179D}"/>
          </ac:spMkLst>
        </pc:spChg>
        <pc:spChg chg="add del mod">
          <ac:chgData name="Nick Robinson" userId="d0c2b313-4ae0-4040-8c6a-fec7a720a7b5" providerId="ADAL" clId="{190131DE-6250-C84F-B491-721E6CF30BCB}" dt="2021-12-23T09:28:20.881" v="39270" actId="478"/>
          <ac:spMkLst>
            <pc:docMk/>
            <pc:sldMk cId="2563585727" sldId="2147374244"/>
            <ac:spMk id="10" creationId="{9951FE8F-EC0B-9E47-B149-CF229EEE8E8B}"/>
          </ac:spMkLst>
        </pc:spChg>
        <pc:spChg chg="add mod">
          <ac:chgData name="Nick Robinson" userId="d0c2b313-4ae0-4040-8c6a-fec7a720a7b5" providerId="ADAL" clId="{190131DE-6250-C84F-B491-721E6CF30BCB}" dt="2021-12-23T09:26:57.518" v="39263" actId="404"/>
          <ac:spMkLst>
            <pc:docMk/>
            <pc:sldMk cId="2563585727" sldId="2147374244"/>
            <ac:spMk id="21" creationId="{A304E711-3C9F-5048-87C2-367B868CA4C9}"/>
          </ac:spMkLst>
        </pc:spChg>
        <pc:spChg chg="add mod">
          <ac:chgData name="Nick Robinson" userId="d0c2b313-4ae0-4040-8c6a-fec7a720a7b5" providerId="ADAL" clId="{190131DE-6250-C84F-B491-721E6CF30BCB}" dt="2021-12-23T08:09:37.524" v="36627" actId="20577"/>
          <ac:spMkLst>
            <pc:docMk/>
            <pc:sldMk cId="2563585727" sldId="2147374244"/>
            <ac:spMk id="22" creationId="{6B47840B-56F0-5440-A0A4-30994039B249}"/>
          </ac:spMkLst>
        </pc:spChg>
        <pc:spChg chg="add mod">
          <ac:chgData name="Nick Robinson" userId="d0c2b313-4ae0-4040-8c6a-fec7a720a7b5" providerId="ADAL" clId="{190131DE-6250-C84F-B491-721E6CF30BCB}" dt="2021-12-22T20:24:51.895" v="30244" actId="1037"/>
          <ac:spMkLst>
            <pc:docMk/>
            <pc:sldMk cId="2563585727" sldId="2147374244"/>
            <ac:spMk id="26" creationId="{27A44249-673A-9A48-BCCB-06257C40F871}"/>
          </ac:spMkLst>
        </pc:spChg>
        <pc:spChg chg="mod">
          <ac:chgData name="Nick Robinson" userId="d0c2b313-4ae0-4040-8c6a-fec7a720a7b5" providerId="ADAL" clId="{190131DE-6250-C84F-B491-721E6CF30BCB}" dt="2021-12-23T09:31:09.402" v="39435" actId="20577"/>
          <ac:spMkLst>
            <pc:docMk/>
            <pc:sldMk cId="2563585727" sldId="2147374244"/>
            <ac:spMk id="27" creationId="{4EFAD1A4-9034-8448-A693-CCB4220B8B5E}"/>
          </ac:spMkLst>
        </pc:spChg>
        <pc:spChg chg="mod">
          <ac:chgData name="Nick Robinson" userId="d0c2b313-4ae0-4040-8c6a-fec7a720a7b5" providerId="ADAL" clId="{190131DE-6250-C84F-B491-721E6CF30BCB}" dt="2021-12-22T20:24:24.727" v="30238" actId="207"/>
          <ac:spMkLst>
            <pc:docMk/>
            <pc:sldMk cId="2563585727" sldId="2147374244"/>
            <ac:spMk id="39" creationId="{5831CEDB-D38E-1343-BE9C-83F0EFBBD13F}"/>
          </ac:spMkLst>
        </pc:spChg>
        <pc:spChg chg="mod">
          <ac:chgData name="Nick Robinson" userId="d0c2b313-4ae0-4040-8c6a-fec7a720a7b5" providerId="ADAL" clId="{190131DE-6250-C84F-B491-721E6CF30BCB}" dt="2021-12-22T20:24:24.727" v="30238" actId="207"/>
          <ac:spMkLst>
            <pc:docMk/>
            <pc:sldMk cId="2563585727" sldId="2147374244"/>
            <ac:spMk id="40" creationId="{E1C0E2C8-7B47-E548-A07D-68D7A4F22BA7}"/>
          </ac:spMkLst>
        </pc:spChg>
        <pc:spChg chg="mod">
          <ac:chgData name="Nick Robinson" userId="d0c2b313-4ae0-4040-8c6a-fec7a720a7b5" providerId="ADAL" clId="{190131DE-6250-C84F-B491-721E6CF30BCB}" dt="2021-12-23T09:27:22.525" v="39268" actId="1037"/>
          <ac:spMkLst>
            <pc:docMk/>
            <pc:sldMk cId="2563585727" sldId="2147374244"/>
            <ac:spMk id="43" creationId="{6722C459-EA4B-9046-BFE4-5ADCCCE9822B}"/>
          </ac:spMkLst>
        </pc:spChg>
        <pc:spChg chg="mod">
          <ac:chgData name="Nick Robinson" userId="d0c2b313-4ae0-4040-8c6a-fec7a720a7b5" providerId="ADAL" clId="{190131DE-6250-C84F-B491-721E6CF30BCB}" dt="2021-12-22T20:24:40.695" v="30242" actId="14100"/>
          <ac:spMkLst>
            <pc:docMk/>
            <pc:sldMk cId="2563585727" sldId="2147374244"/>
            <ac:spMk id="44" creationId="{94F77078-9FB8-334E-9C10-E9F04E16BBA7}"/>
          </ac:spMkLst>
        </pc:spChg>
        <pc:spChg chg="mod">
          <ac:chgData name="Nick Robinson" userId="d0c2b313-4ae0-4040-8c6a-fec7a720a7b5" providerId="ADAL" clId="{190131DE-6250-C84F-B491-721E6CF30BCB}" dt="2021-12-22T20:24:47.745" v="30243" actId="1076"/>
          <ac:spMkLst>
            <pc:docMk/>
            <pc:sldMk cId="2563585727" sldId="2147374244"/>
            <ac:spMk id="48" creationId="{A64AE93D-4341-5940-88E2-777BF375B524}"/>
          </ac:spMkLst>
        </pc:spChg>
        <pc:spChg chg="mod">
          <ac:chgData name="Nick Robinson" userId="d0c2b313-4ae0-4040-8c6a-fec7a720a7b5" providerId="ADAL" clId="{190131DE-6250-C84F-B491-721E6CF30BCB}" dt="2021-12-22T20:24:47.745" v="30243" actId="1076"/>
          <ac:spMkLst>
            <pc:docMk/>
            <pc:sldMk cId="2563585727" sldId="2147374244"/>
            <ac:spMk id="49" creationId="{EB12C5EA-D5E9-6642-B105-31F682D36F5D}"/>
          </ac:spMkLst>
        </pc:spChg>
        <pc:spChg chg="mod">
          <ac:chgData name="Nick Robinson" userId="d0c2b313-4ae0-4040-8c6a-fec7a720a7b5" providerId="ADAL" clId="{190131DE-6250-C84F-B491-721E6CF30BCB}" dt="2021-12-22T16:19:11.927" v="26720" actId="20577"/>
          <ac:spMkLst>
            <pc:docMk/>
            <pc:sldMk cId="2563585727" sldId="2147374244"/>
            <ac:spMk id="51" creationId="{390FA1DD-16DF-2E48-8A6B-AA33E10B0B14}"/>
          </ac:spMkLst>
        </pc:spChg>
        <pc:spChg chg="del mod">
          <ac:chgData name="Nick Robinson" userId="d0c2b313-4ae0-4040-8c6a-fec7a720a7b5" providerId="ADAL" clId="{190131DE-6250-C84F-B491-721E6CF30BCB}" dt="2021-12-22T16:17:05.492" v="26715"/>
          <ac:spMkLst>
            <pc:docMk/>
            <pc:sldMk cId="2563585727" sldId="2147374244"/>
            <ac:spMk id="52" creationId="{C37DDBA5-5D7E-DA48-82EE-A53F018A0B51}"/>
          </ac:spMkLst>
        </pc:spChg>
        <pc:graphicFrameChg chg="modGraphic">
          <ac:chgData name="Nick Robinson" userId="d0c2b313-4ae0-4040-8c6a-fec7a720a7b5" providerId="ADAL" clId="{190131DE-6250-C84F-B491-721E6CF30BCB}" dt="2021-12-23T09:22:47.183" v="39230" actId="207"/>
          <ac:graphicFrameMkLst>
            <pc:docMk/>
            <pc:sldMk cId="2563585727" sldId="2147374244"/>
            <ac:graphicFrameMk id="23" creationId="{BF01113C-4355-AA41-ACC8-FB5FB953F491}"/>
          </ac:graphicFrameMkLst>
        </pc:graphicFrameChg>
        <pc:picChg chg="add mod">
          <ac:chgData name="Nick Robinson" userId="d0c2b313-4ae0-4040-8c6a-fec7a720a7b5" providerId="ADAL" clId="{190131DE-6250-C84F-B491-721E6CF30BCB}" dt="2021-12-22T20:24:47.745" v="30243" actId="1076"/>
          <ac:picMkLst>
            <pc:docMk/>
            <pc:sldMk cId="2563585727" sldId="2147374244"/>
            <ac:picMk id="7" creationId="{36411416-0443-D740-85C2-8523B88D0425}"/>
          </ac:picMkLst>
        </pc:picChg>
        <pc:picChg chg="add mod">
          <ac:chgData name="Nick Robinson" userId="d0c2b313-4ae0-4040-8c6a-fec7a720a7b5" providerId="ADAL" clId="{190131DE-6250-C84F-B491-721E6CF30BCB}" dt="2021-12-22T20:24:47.745" v="30243" actId="1076"/>
          <ac:picMkLst>
            <pc:docMk/>
            <pc:sldMk cId="2563585727" sldId="2147374244"/>
            <ac:picMk id="8" creationId="{E435291F-1767-9C46-A749-B3CE734B9698}"/>
          </ac:picMkLst>
        </pc:picChg>
        <pc:picChg chg="add mod">
          <ac:chgData name="Nick Robinson" userId="d0c2b313-4ae0-4040-8c6a-fec7a720a7b5" providerId="ADAL" clId="{190131DE-6250-C84F-B491-721E6CF30BCB}" dt="2021-12-22T20:24:47.745" v="30243" actId="1076"/>
          <ac:picMkLst>
            <pc:docMk/>
            <pc:sldMk cId="2563585727" sldId="2147374244"/>
            <ac:picMk id="9" creationId="{400C6BE4-A822-6E44-9B24-F756FDE9E77D}"/>
          </ac:picMkLst>
        </pc:picChg>
        <pc:picChg chg="del">
          <ac:chgData name="Nick Robinson" userId="d0c2b313-4ae0-4040-8c6a-fec7a720a7b5" providerId="ADAL" clId="{190131DE-6250-C84F-B491-721E6CF30BCB}" dt="2021-12-22T16:14:22.389" v="26612" actId="478"/>
          <ac:picMkLst>
            <pc:docMk/>
            <pc:sldMk cId="2563585727" sldId="2147374244"/>
            <ac:picMk id="45" creationId="{948F28F6-61E2-7243-997A-555466F62827}"/>
          </ac:picMkLst>
        </pc:picChg>
        <pc:picChg chg="del">
          <ac:chgData name="Nick Robinson" userId="d0c2b313-4ae0-4040-8c6a-fec7a720a7b5" providerId="ADAL" clId="{190131DE-6250-C84F-B491-721E6CF30BCB}" dt="2021-12-22T16:14:23.277" v="26613" actId="478"/>
          <ac:picMkLst>
            <pc:docMk/>
            <pc:sldMk cId="2563585727" sldId="2147374244"/>
            <ac:picMk id="46" creationId="{6BA8DE75-D227-DB40-A572-28050B78841A}"/>
          </ac:picMkLst>
        </pc:picChg>
      </pc:sldChg>
      <pc:sldChg chg="addSp delSp modSp add mod delCm">
        <pc:chgData name="Nick Robinson" userId="d0c2b313-4ae0-4040-8c6a-fec7a720a7b5" providerId="ADAL" clId="{190131DE-6250-C84F-B491-721E6CF30BCB}" dt="2021-12-23T16:06:48.367" v="44705"/>
        <pc:sldMkLst>
          <pc:docMk/>
          <pc:sldMk cId="2319724506" sldId="2147374245"/>
        </pc:sldMkLst>
        <pc:spChg chg="mod">
          <ac:chgData name="Nick Robinson" userId="d0c2b313-4ae0-4040-8c6a-fec7a720a7b5" providerId="ADAL" clId="{190131DE-6250-C84F-B491-721E6CF30BCB}" dt="2021-12-22T16:44:26.125" v="28037" actId="1076"/>
          <ac:spMkLst>
            <pc:docMk/>
            <pc:sldMk cId="2319724506" sldId="2147374245"/>
            <ac:spMk id="2" creationId="{00000000-0000-0000-0000-000000000000}"/>
          </ac:spMkLst>
        </pc:spChg>
        <pc:spChg chg="mod">
          <ac:chgData name="Nick Robinson" userId="d0c2b313-4ae0-4040-8c6a-fec7a720a7b5" providerId="ADAL" clId="{190131DE-6250-C84F-B491-721E6CF30BCB}" dt="2021-12-22T20:26:32.689" v="30251" actId="113"/>
          <ac:spMkLst>
            <pc:docMk/>
            <pc:sldMk cId="2319724506" sldId="2147374245"/>
            <ac:spMk id="6" creationId="{71DEC92A-C88D-F946-A1A9-8B38E6C4179D}"/>
          </ac:spMkLst>
        </pc:spChg>
        <pc:spChg chg="mod">
          <ac:chgData name="Nick Robinson" userId="d0c2b313-4ae0-4040-8c6a-fec7a720a7b5" providerId="ADAL" clId="{190131DE-6250-C84F-B491-721E6CF30BCB}" dt="2021-12-23T11:16:38.707" v="42303" actId="255"/>
          <ac:spMkLst>
            <pc:docMk/>
            <pc:sldMk cId="2319724506" sldId="2147374245"/>
            <ac:spMk id="21" creationId="{A304E711-3C9F-5048-87C2-367B868CA4C9}"/>
          </ac:spMkLst>
        </pc:spChg>
        <pc:spChg chg="mod">
          <ac:chgData name="Nick Robinson" userId="d0c2b313-4ae0-4040-8c6a-fec7a720a7b5" providerId="ADAL" clId="{190131DE-6250-C84F-B491-721E6CF30BCB}" dt="2021-12-23T13:44:47.148" v="44183" actId="13926"/>
          <ac:spMkLst>
            <pc:docMk/>
            <pc:sldMk cId="2319724506" sldId="2147374245"/>
            <ac:spMk id="22" creationId="{6B47840B-56F0-5440-A0A4-30994039B249}"/>
          </ac:spMkLst>
        </pc:spChg>
        <pc:spChg chg="mod">
          <ac:chgData name="Nick Robinson" userId="d0c2b313-4ae0-4040-8c6a-fec7a720a7b5" providerId="ADAL" clId="{190131DE-6250-C84F-B491-721E6CF30BCB}" dt="2021-12-22T20:26:46.119" v="30262" actId="1037"/>
          <ac:spMkLst>
            <pc:docMk/>
            <pc:sldMk cId="2319724506" sldId="2147374245"/>
            <ac:spMk id="26" creationId="{27A44249-673A-9A48-BCCB-06257C40F871}"/>
          </ac:spMkLst>
        </pc:spChg>
        <pc:spChg chg="mod">
          <ac:chgData name="Nick Robinson" userId="d0c2b313-4ae0-4040-8c6a-fec7a720a7b5" providerId="ADAL" clId="{190131DE-6250-C84F-B491-721E6CF30BCB}" dt="2021-12-23T08:54:59.251" v="38021" actId="13926"/>
          <ac:spMkLst>
            <pc:docMk/>
            <pc:sldMk cId="2319724506" sldId="2147374245"/>
            <ac:spMk id="27" creationId="{4EFAD1A4-9034-8448-A693-CCB4220B8B5E}"/>
          </ac:spMkLst>
        </pc:spChg>
        <pc:spChg chg="mod">
          <ac:chgData name="Nick Robinson" userId="d0c2b313-4ae0-4040-8c6a-fec7a720a7b5" providerId="ADAL" clId="{190131DE-6250-C84F-B491-721E6CF30BCB}" dt="2021-12-22T20:26:32.689" v="30251" actId="113"/>
          <ac:spMkLst>
            <pc:docMk/>
            <pc:sldMk cId="2319724506" sldId="2147374245"/>
            <ac:spMk id="39" creationId="{5831CEDB-D38E-1343-BE9C-83F0EFBBD13F}"/>
          </ac:spMkLst>
        </pc:spChg>
        <pc:spChg chg="mod">
          <ac:chgData name="Nick Robinson" userId="d0c2b313-4ae0-4040-8c6a-fec7a720a7b5" providerId="ADAL" clId="{190131DE-6250-C84F-B491-721E6CF30BCB}" dt="2021-12-22T20:26:32.689" v="30251" actId="113"/>
          <ac:spMkLst>
            <pc:docMk/>
            <pc:sldMk cId="2319724506" sldId="2147374245"/>
            <ac:spMk id="40" creationId="{E1C0E2C8-7B47-E548-A07D-68D7A4F22BA7}"/>
          </ac:spMkLst>
        </pc:spChg>
        <pc:spChg chg="mod">
          <ac:chgData name="Nick Robinson" userId="d0c2b313-4ae0-4040-8c6a-fec7a720a7b5" providerId="ADAL" clId="{190131DE-6250-C84F-B491-721E6CF30BCB}" dt="2021-12-23T08:55:04.666" v="38023" actId="1035"/>
          <ac:spMkLst>
            <pc:docMk/>
            <pc:sldMk cId="2319724506" sldId="2147374245"/>
            <ac:spMk id="43" creationId="{6722C459-EA4B-9046-BFE4-5ADCCCE9822B}"/>
          </ac:spMkLst>
        </pc:spChg>
        <pc:spChg chg="mod">
          <ac:chgData name="Nick Robinson" userId="d0c2b313-4ae0-4040-8c6a-fec7a720a7b5" providerId="ADAL" clId="{190131DE-6250-C84F-B491-721E6CF30BCB}" dt="2021-12-22T20:26:41.826" v="30253" actId="14100"/>
          <ac:spMkLst>
            <pc:docMk/>
            <pc:sldMk cId="2319724506" sldId="2147374245"/>
            <ac:spMk id="44" creationId="{94F77078-9FB8-334E-9C10-E9F04E16BBA7}"/>
          </ac:spMkLst>
        </pc:spChg>
        <pc:spChg chg="del">
          <ac:chgData name="Nick Robinson" userId="d0c2b313-4ae0-4040-8c6a-fec7a720a7b5" providerId="ADAL" clId="{190131DE-6250-C84F-B491-721E6CF30BCB}" dt="2021-12-22T16:45:07.129" v="28043" actId="478"/>
          <ac:spMkLst>
            <pc:docMk/>
            <pc:sldMk cId="2319724506" sldId="2147374245"/>
            <ac:spMk id="48" creationId="{A64AE93D-4341-5940-88E2-777BF375B524}"/>
          </ac:spMkLst>
        </pc:spChg>
        <pc:spChg chg="mod">
          <ac:chgData name="Nick Robinson" userId="d0c2b313-4ae0-4040-8c6a-fec7a720a7b5" providerId="ADAL" clId="{190131DE-6250-C84F-B491-721E6CF30BCB}" dt="2021-12-22T16:45:17.332" v="28063" actId="20577"/>
          <ac:spMkLst>
            <pc:docMk/>
            <pc:sldMk cId="2319724506" sldId="2147374245"/>
            <ac:spMk id="49" creationId="{EB12C5EA-D5E9-6642-B105-31F682D36F5D}"/>
          </ac:spMkLst>
        </pc:spChg>
        <pc:spChg chg="mod">
          <ac:chgData name="Nick Robinson" userId="d0c2b313-4ae0-4040-8c6a-fec7a720a7b5" providerId="ADAL" clId="{190131DE-6250-C84F-B491-721E6CF30BCB}" dt="2021-12-23T11:16:57.393" v="42306" actId="948"/>
          <ac:spMkLst>
            <pc:docMk/>
            <pc:sldMk cId="2319724506" sldId="2147374245"/>
            <ac:spMk id="51" creationId="{390FA1DD-16DF-2E48-8A6B-AA33E10B0B14}"/>
          </ac:spMkLst>
        </pc:spChg>
        <pc:graphicFrameChg chg="add del mod modGraphic">
          <ac:chgData name="Nick Robinson" userId="d0c2b313-4ae0-4040-8c6a-fec7a720a7b5" providerId="ADAL" clId="{190131DE-6250-C84F-B491-721E6CF30BCB}" dt="2021-12-22T17:33:04.902" v="28970" actId="478"/>
          <ac:graphicFrameMkLst>
            <pc:docMk/>
            <pc:sldMk cId="2319724506" sldId="2147374245"/>
            <ac:graphicFrameMk id="10" creationId="{C507A0C2-F8E3-804C-A19C-E86CDF0DDEEF}"/>
          </ac:graphicFrameMkLst>
        </pc:graphicFrameChg>
        <pc:graphicFrameChg chg="del">
          <ac:chgData name="Nick Robinson" userId="d0c2b313-4ae0-4040-8c6a-fec7a720a7b5" providerId="ADAL" clId="{190131DE-6250-C84F-B491-721E6CF30BCB}" dt="2021-12-23T16:06:43.356" v="44704" actId="478"/>
          <ac:graphicFrameMkLst>
            <pc:docMk/>
            <pc:sldMk cId="2319724506" sldId="2147374245"/>
            <ac:graphicFrameMk id="23" creationId="{BF01113C-4355-AA41-ACC8-FB5FB953F491}"/>
          </ac:graphicFrameMkLst>
        </pc:graphicFrameChg>
        <pc:graphicFrameChg chg="add mod">
          <ac:chgData name="Nick Robinson" userId="d0c2b313-4ae0-4040-8c6a-fec7a720a7b5" providerId="ADAL" clId="{190131DE-6250-C84F-B491-721E6CF30BCB}" dt="2021-12-23T16:06:48.367" v="44705"/>
          <ac:graphicFrameMkLst>
            <pc:docMk/>
            <pc:sldMk cId="2319724506" sldId="2147374245"/>
            <ac:graphicFrameMk id="28" creationId="{56874D02-E3C8-AA49-9C14-12271406F470}"/>
          </ac:graphicFrameMkLst>
        </pc:graphicFrameChg>
        <pc:picChg chg="del">
          <ac:chgData name="Nick Robinson" userId="d0c2b313-4ae0-4040-8c6a-fec7a720a7b5" providerId="ADAL" clId="{190131DE-6250-C84F-B491-721E6CF30BCB}" dt="2021-12-22T16:44:44.844" v="28038" actId="478"/>
          <ac:picMkLst>
            <pc:docMk/>
            <pc:sldMk cId="2319724506" sldId="2147374245"/>
            <ac:picMk id="7" creationId="{36411416-0443-D740-85C2-8523B88D0425}"/>
          </ac:picMkLst>
        </pc:picChg>
        <pc:picChg chg="del">
          <ac:chgData name="Nick Robinson" userId="d0c2b313-4ae0-4040-8c6a-fec7a720a7b5" providerId="ADAL" clId="{190131DE-6250-C84F-B491-721E6CF30BCB}" dt="2021-12-22T16:44:44.844" v="28038" actId="478"/>
          <ac:picMkLst>
            <pc:docMk/>
            <pc:sldMk cId="2319724506" sldId="2147374245"/>
            <ac:picMk id="8" creationId="{E435291F-1767-9C46-A749-B3CE734B9698}"/>
          </ac:picMkLst>
        </pc:picChg>
        <pc:picChg chg="del">
          <ac:chgData name="Nick Robinson" userId="d0c2b313-4ae0-4040-8c6a-fec7a720a7b5" providerId="ADAL" clId="{190131DE-6250-C84F-B491-721E6CF30BCB}" dt="2021-12-22T16:44:44.844" v="28038" actId="478"/>
          <ac:picMkLst>
            <pc:docMk/>
            <pc:sldMk cId="2319724506" sldId="2147374245"/>
            <ac:picMk id="9" creationId="{400C6BE4-A822-6E44-9B24-F756FDE9E77D}"/>
          </ac:picMkLst>
        </pc:picChg>
        <pc:picChg chg="add mod">
          <ac:chgData name="Nick Robinson" userId="d0c2b313-4ae0-4040-8c6a-fec7a720a7b5" providerId="ADAL" clId="{190131DE-6250-C84F-B491-721E6CF30BCB}" dt="2021-12-22T16:45:35.954" v="28084" actId="1036"/>
          <ac:picMkLst>
            <pc:docMk/>
            <pc:sldMk cId="2319724506" sldId="2147374245"/>
            <ac:picMk id="24" creationId="{E4EC5E62-0674-1D4E-AD21-7CCA08CAB0A2}"/>
          </ac:picMkLst>
        </pc:picChg>
        <pc:picChg chg="add mod">
          <ac:chgData name="Nick Robinson" userId="d0c2b313-4ae0-4040-8c6a-fec7a720a7b5" providerId="ADAL" clId="{190131DE-6250-C84F-B491-721E6CF30BCB}" dt="2021-12-22T20:26:46.119" v="30262" actId="1037"/>
          <ac:picMkLst>
            <pc:docMk/>
            <pc:sldMk cId="2319724506" sldId="2147374245"/>
            <ac:picMk id="25" creationId="{A5BE0438-DEFC-F341-A9E8-148205E3A022}"/>
          </ac:picMkLst>
        </pc:picChg>
      </pc:sldChg>
      <pc:sldChg chg="addSp delSp modSp add mod delCm modCm">
        <pc:chgData name="Nick Robinson" userId="d0c2b313-4ae0-4040-8c6a-fec7a720a7b5" providerId="ADAL" clId="{190131DE-6250-C84F-B491-721E6CF30BCB}" dt="2021-12-23T13:47:45.597" v="44243" actId="13926"/>
        <pc:sldMkLst>
          <pc:docMk/>
          <pc:sldMk cId="2554591005" sldId="2147374246"/>
        </pc:sldMkLst>
        <pc:spChg chg="mod">
          <ac:chgData name="Nick Robinson" userId="d0c2b313-4ae0-4040-8c6a-fec7a720a7b5" providerId="ADAL" clId="{190131DE-6250-C84F-B491-721E6CF30BCB}" dt="2021-12-22T17:37:09.476" v="29154" actId="20577"/>
          <ac:spMkLst>
            <pc:docMk/>
            <pc:sldMk cId="2554591005" sldId="2147374246"/>
            <ac:spMk id="2" creationId="{00000000-0000-0000-0000-000000000000}"/>
          </ac:spMkLst>
        </pc:spChg>
        <pc:spChg chg="mod">
          <ac:chgData name="Nick Robinson" userId="d0c2b313-4ae0-4040-8c6a-fec7a720a7b5" providerId="ADAL" clId="{190131DE-6250-C84F-B491-721E6CF30BCB}" dt="2021-12-23T13:45:28.503" v="44186" actId="20577"/>
          <ac:spMkLst>
            <pc:docMk/>
            <pc:sldMk cId="2554591005" sldId="2147374246"/>
            <ac:spMk id="6" creationId="{71DEC92A-C88D-F946-A1A9-8B38E6C4179D}"/>
          </ac:spMkLst>
        </pc:spChg>
        <pc:spChg chg="mod">
          <ac:chgData name="Nick Robinson" userId="d0c2b313-4ae0-4040-8c6a-fec7a720a7b5" providerId="ADAL" clId="{190131DE-6250-C84F-B491-721E6CF30BCB}" dt="2021-12-23T08:49:59.041" v="37758" actId="948"/>
          <ac:spMkLst>
            <pc:docMk/>
            <pc:sldMk cId="2554591005" sldId="2147374246"/>
            <ac:spMk id="21" creationId="{A304E711-3C9F-5048-87C2-367B868CA4C9}"/>
          </ac:spMkLst>
        </pc:spChg>
        <pc:spChg chg="mod">
          <ac:chgData name="Nick Robinson" userId="d0c2b313-4ae0-4040-8c6a-fec7a720a7b5" providerId="ADAL" clId="{190131DE-6250-C84F-B491-721E6CF30BCB}" dt="2021-12-23T09:02:32.040" v="39023" actId="113"/>
          <ac:spMkLst>
            <pc:docMk/>
            <pc:sldMk cId="2554591005" sldId="2147374246"/>
            <ac:spMk id="22" creationId="{6B47840B-56F0-5440-A0A4-30994039B249}"/>
          </ac:spMkLst>
        </pc:spChg>
        <pc:spChg chg="mod">
          <ac:chgData name="Nick Robinson" userId="d0c2b313-4ae0-4040-8c6a-fec7a720a7b5" providerId="ADAL" clId="{190131DE-6250-C84F-B491-721E6CF30BCB}" dt="2021-12-22T20:40:36.340" v="30284" actId="1038"/>
          <ac:spMkLst>
            <pc:docMk/>
            <pc:sldMk cId="2554591005" sldId="2147374246"/>
            <ac:spMk id="26" creationId="{27A44249-673A-9A48-BCCB-06257C40F871}"/>
          </ac:spMkLst>
        </pc:spChg>
        <pc:spChg chg="mod">
          <ac:chgData name="Nick Robinson" userId="d0c2b313-4ae0-4040-8c6a-fec7a720a7b5" providerId="ADAL" clId="{190131DE-6250-C84F-B491-721E6CF30BCB}" dt="2021-12-23T08:58:02.705" v="38272" actId="20577"/>
          <ac:spMkLst>
            <pc:docMk/>
            <pc:sldMk cId="2554591005" sldId="2147374246"/>
            <ac:spMk id="27" creationId="{4EFAD1A4-9034-8448-A693-CCB4220B8B5E}"/>
          </ac:spMkLst>
        </pc:spChg>
        <pc:spChg chg="mod">
          <ac:chgData name="Nick Robinson" userId="d0c2b313-4ae0-4040-8c6a-fec7a720a7b5" providerId="ADAL" clId="{190131DE-6250-C84F-B491-721E6CF30BCB}" dt="2021-12-22T20:40:11.938" v="30266" actId="113"/>
          <ac:spMkLst>
            <pc:docMk/>
            <pc:sldMk cId="2554591005" sldId="2147374246"/>
            <ac:spMk id="39" creationId="{5831CEDB-D38E-1343-BE9C-83F0EFBBD13F}"/>
          </ac:spMkLst>
        </pc:spChg>
        <pc:spChg chg="mod">
          <ac:chgData name="Nick Robinson" userId="d0c2b313-4ae0-4040-8c6a-fec7a720a7b5" providerId="ADAL" clId="{190131DE-6250-C84F-B491-721E6CF30BCB}" dt="2021-12-23T13:47:45.597" v="44243" actId="13926"/>
          <ac:spMkLst>
            <pc:docMk/>
            <pc:sldMk cId="2554591005" sldId="2147374246"/>
            <ac:spMk id="40" creationId="{E1C0E2C8-7B47-E548-A07D-68D7A4F22BA7}"/>
          </ac:spMkLst>
        </pc:spChg>
        <pc:spChg chg="mod">
          <ac:chgData name="Nick Robinson" userId="d0c2b313-4ae0-4040-8c6a-fec7a720a7b5" providerId="ADAL" clId="{190131DE-6250-C84F-B491-721E6CF30BCB}" dt="2021-12-22T20:40:30.158" v="30276" actId="1037"/>
          <ac:spMkLst>
            <pc:docMk/>
            <pc:sldMk cId="2554591005" sldId="2147374246"/>
            <ac:spMk id="43" creationId="{6722C459-EA4B-9046-BFE4-5ADCCCE9822B}"/>
          </ac:spMkLst>
        </pc:spChg>
        <pc:spChg chg="mod">
          <ac:chgData name="Nick Robinson" userId="d0c2b313-4ae0-4040-8c6a-fec7a720a7b5" providerId="ADAL" clId="{190131DE-6250-C84F-B491-721E6CF30BCB}" dt="2021-12-22T20:40:27.587" v="30270" actId="14100"/>
          <ac:spMkLst>
            <pc:docMk/>
            <pc:sldMk cId="2554591005" sldId="2147374246"/>
            <ac:spMk id="44" creationId="{94F77078-9FB8-334E-9C10-E9F04E16BBA7}"/>
          </ac:spMkLst>
        </pc:spChg>
        <pc:spChg chg="mod">
          <ac:chgData name="Nick Robinson" userId="d0c2b313-4ae0-4040-8c6a-fec7a720a7b5" providerId="ADAL" clId="{190131DE-6250-C84F-B491-721E6CF30BCB}" dt="2021-12-22T20:40:36.340" v="30284" actId="1038"/>
          <ac:spMkLst>
            <pc:docMk/>
            <pc:sldMk cId="2554591005" sldId="2147374246"/>
            <ac:spMk id="49" creationId="{EB12C5EA-D5E9-6642-B105-31F682D36F5D}"/>
          </ac:spMkLst>
        </pc:spChg>
        <pc:spChg chg="mod">
          <ac:chgData name="Nick Robinson" userId="d0c2b313-4ae0-4040-8c6a-fec7a720a7b5" providerId="ADAL" clId="{190131DE-6250-C84F-B491-721E6CF30BCB}" dt="2021-12-23T10:53:12.257" v="42266" actId="207"/>
          <ac:spMkLst>
            <pc:docMk/>
            <pc:sldMk cId="2554591005" sldId="2147374246"/>
            <ac:spMk id="51" creationId="{390FA1DD-16DF-2E48-8A6B-AA33E10B0B14}"/>
          </ac:spMkLst>
        </pc:spChg>
        <pc:graphicFrameChg chg="del">
          <ac:chgData name="Nick Robinson" userId="d0c2b313-4ae0-4040-8c6a-fec7a720a7b5" providerId="ADAL" clId="{190131DE-6250-C84F-B491-721E6CF30BCB}" dt="2021-12-22T17:36:55.541" v="29146" actId="478"/>
          <ac:graphicFrameMkLst>
            <pc:docMk/>
            <pc:sldMk cId="2554591005" sldId="2147374246"/>
            <ac:graphicFrameMk id="23" creationId="{BF01113C-4355-AA41-ACC8-FB5FB953F491}"/>
          </ac:graphicFrameMkLst>
        </pc:graphicFrameChg>
        <pc:graphicFrameChg chg="add mod">
          <ac:chgData name="Nick Robinson" userId="d0c2b313-4ae0-4040-8c6a-fec7a720a7b5" providerId="ADAL" clId="{190131DE-6250-C84F-B491-721E6CF30BCB}" dt="2021-12-22T17:37:02.820" v="29147"/>
          <ac:graphicFrameMkLst>
            <pc:docMk/>
            <pc:sldMk cId="2554591005" sldId="2147374246"/>
            <ac:graphicFrameMk id="28" creationId="{FFB0A569-F60A-BA4F-8DCE-EABB197840A0}"/>
          </ac:graphicFrameMkLst>
        </pc:graphicFrameChg>
        <pc:picChg chg="add mod">
          <ac:chgData name="Nick Robinson" userId="d0c2b313-4ae0-4040-8c6a-fec7a720a7b5" providerId="ADAL" clId="{190131DE-6250-C84F-B491-721E6CF30BCB}" dt="2021-12-22T20:40:36.340" v="30284" actId="1038"/>
          <ac:picMkLst>
            <pc:docMk/>
            <pc:sldMk cId="2554591005" sldId="2147374246"/>
            <ac:picMk id="7" creationId="{62713D0C-A1FC-BA45-A939-9FEBAC921831}"/>
          </ac:picMkLst>
        </pc:picChg>
        <pc:picChg chg="del">
          <ac:chgData name="Nick Robinson" userId="d0c2b313-4ae0-4040-8c6a-fec7a720a7b5" providerId="ADAL" clId="{190131DE-6250-C84F-B491-721E6CF30BCB}" dt="2021-12-22T17:39:58.958" v="29194" actId="478"/>
          <ac:picMkLst>
            <pc:docMk/>
            <pc:sldMk cId="2554591005" sldId="2147374246"/>
            <ac:picMk id="24" creationId="{E4EC5E62-0674-1D4E-AD21-7CCA08CAB0A2}"/>
          </ac:picMkLst>
        </pc:picChg>
        <pc:picChg chg="del">
          <ac:chgData name="Nick Robinson" userId="d0c2b313-4ae0-4040-8c6a-fec7a720a7b5" providerId="ADAL" clId="{190131DE-6250-C84F-B491-721E6CF30BCB}" dt="2021-12-22T17:40:06.828" v="29197" actId="478"/>
          <ac:picMkLst>
            <pc:docMk/>
            <pc:sldMk cId="2554591005" sldId="2147374246"/>
            <ac:picMk id="25" creationId="{A5BE0438-DEFC-F341-A9E8-148205E3A022}"/>
          </ac:picMkLst>
        </pc:picChg>
        <pc:picChg chg="add mod">
          <ac:chgData name="Nick Robinson" userId="d0c2b313-4ae0-4040-8c6a-fec7a720a7b5" providerId="ADAL" clId="{190131DE-6250-C84F-B491-721E6CF30BCB}" dt="2021-12-22T20:40:36.340" v="30284" actId="1038"/>
          <ac:picMkLst>
            <pc:docMk/>
            <pc:sldMk cId="2554591005" sldId="2147374246"/>
            <ac:picMk id="30" creationId="{FAAECF3D-310E-874F-8EB6-20AB06B441CC}"/>
          </ac:picMkLst>
        </pc:picChg>
      </pc:sldChg>
      <pc:sldChg chg="delSp modSp add mod">
        <pc:chgData name="Nick Robinson" userId="d0c2b313-4ae0-4040-8c6a-fec7a720a7b5" providerId="ADAL" clId="{190131DE-6250-C84F-B491-721E6CF30BCB}" dt="2021-12-23T11:25:14.222" v="42314" actId="1076"/>
        <pc:sldMkLst>
          <pc:docMk/>
          <pc:sldMk cId="3285962627" sldId="2147374247"/>
        </pc:sldMkLst>
        <pc:picChg chg="del">
          <ac:chgData name="Nick Robinson" userId="d0c2b313-4ae0-4040-8c6a-fec7a720a7b5" providerId="ADAL" clId="{190131DE-6250-C84F-B491-721E6CF30BCB}" dt="2021-12-23T11:25:11.373" v="42313" actId="478"/>
          <ac:picMkLst>
            <pc:docMk/>
            <pc:sldMk cId="3285962627" sldId="2147374247"/>
            <ac:picMk id="11" creationId="{959A01F3-2F2E-604F-852E-A36A4FC80DAD}"/>
          </ac:picMkLst>
        </pc:picChg>
        <pc:picChg chg="mod">
          <ac:chgData name="Nick Robinson" userId="d0c2b313-4ae0-4040-8c6a-fec7a720a7b5" providerId="ADAL" clId="{190131DE-6250-C84F-B491-721E6CF30BCB}" dt="2021-12-23T11:25:14.222" v="42314" actId="1076"/>
          <ac:picMkLst>
            <pc:docMk/>
            <pc:sldMk cId="3285962627" sldId="2147374247"/>
            <ac:picMk id="13" creationId="{7F1ADE29-4FA0-2A49-9B17-45C03569E81A}"/>
          </ac:picMkLst>
        </pc:picChg>
      </pc:sldChg>
      <pc:sldChg chg="delSp modSp add mod ord">
        <pc:chgData name="Nick Robinson" userId="d0c2b313-4ae0-4040-8c6a-fec7a720a7b5" providerId="ADAL" clId="{190131DE-6250-C84F-B491-721E6CF30BCB}" dt="2021-12-23T14:12:54.658" v="44636" actId="478"/>
        <pc:sldMkLst>
          <pc:docMk/>
          <pc:sldMk cId="3391740053" sldId="2147374248"/>
        </pc:sldMkLst>
        <pc:spChg chg="mod">
          <ac:chgData name="Nick Robinson" userId="d0c2b313-4ae0-4040-8c6a-fec7a720a7b5" providerId="ADAL" clId="{190131DE-6250-C84F-B491-721E6CF30BCB}" dt="2021-12-23T13:46:52.780" v="44237" actId="404"/>
          <ac:spMkLst>
            <pc:docMk/>
            <pc:sldMk cId="3391740053" sldId="2147374248"/>
            <ac:spMk id="2" creationId="{97DF49F5-76E4-D045-9AE5-C5DFB0E4B946}"/>
          </ac:spMkLst>
        </pc:spChg>
        <pc:graphicFrameChg chg="del">
          <ac:chgData name="Nick Robinson" userId="d0c2b313-4ae0-4040-8c6a-fec7a720a7b5" providerId="ADAL" clId="{190131DE-6250-C84F-B491-721E6CF30BCB}" dt="2021-12-23T14:12:54.658" v="44636" actId="478"/>
          <ac:graphicFrameMkLst>
            <pc:docMk/>
            <pc:sldMk cId="3391740053" sldId="2147374248"/>
            <ac:graphicFrameMk id="7" creationId="{55491300-71DD-9D4D-9A39-2ECB09F71D19}"/>
          </ac:graphicFrameMkLst>
        </pc:graphicFrameChg>
      </pc:sldChg>
      <pc:sldChg chg="addSp delSp modSp add mod">
        <pc:chgData name="Nick Robinson" userId="d0c2b313-4ae0-4040-8c6a-fec7a720a7b5" providerId="ADAL" clId="{190131DE-6250-C84F-B491-721E6CF30BCB}" dt="2021-12-23T16:07:38.310" v="44726" actId="20577"/>
        <pc:sldMkLst>
          <pc:docMk/>
          <pc:sldMk cId="2069866720" sldId="2147374249"/>
        </pc:sldMkLst>
        <pc:spChg chg="mod">
          <ac:chgData name="Nick Robinson" userId="d0c2b313-4ae0-4040-8c6a-fec7a720a7b5" providerId="ADAL" clId="{190131DE-6250-C84F-B491-721E6CF30BCB}" dt="2021-12-23T16:07:38.310" v="44726" actId="20577"/>
          <ac:spMkLst>
            <pc:docMk/>
            <pc:sldMk cId="2069866720" sldId="2147374249"/>
            <ac:spMk id="2" creationId="{00000000-0000-0000-0000-000000000000}"/>
          </ac:spMkLst>
        </pc:spChg>
        <pc:spChg chg="mod">
          <ac:chgData name="Nick Robinson" userId="d0c2b313-4ae0-4040-8c6a-fec7a720a7b5" providerId="ADAL" clId="{190131DE-6250-C84F-B491-721E6CF30BCB}" dt="2021-12-23T14:11:36.459" v="44622" actId="14100"/>
          <ac:spMkLst>
            <pc:docMk/>
            <pc:sldMk cId="2069866720" sldId="2147374249"/>
            <ac:spMk id="47" creationId="{D9C929F6-41CE-AB46-A900-A92451DD1F9A}"/>
          </ac:spMkLst>
        </pc:spChg>
        <pc:graphicFrameChg chg="add del modGraphic">
          <ac:chgData name="Nick Robinson" userId="d0c2b313-4ae0-4040-8c6a-fec7a720a7b5" providerId="ADAL" clId="{190131DE-6250-C84F-B491-721E6CF30BCB}" dt="2021-12-23T14:11:42.567" v="44624" actId="207"/>
          <ac:graphicFrameMkLst>
            <pc:docMk/>
            <pc:sldMk cId="2069866720" sldId="2147374249"/>
            <ac:graphicFrameMk id="22" creationId="{F49BE803-D0CE-E645-BDFC-6EB9FDBDA6A4}"/>
          </ac:graphicFrameMkLst>
        </pc:graphicFrameChg>
      </pc:sldChg>
      <pc:sldChg chg="addSp delSp modSp add mod">
        <pc:chgData name="Nick Robinson" userId="d0c2b313-4ae0-4040-8c6a-fec7a720a7b5" providerId="ADAL" clId="{190131DE-6250-C84F-B491-721E6CF30BCB}" dt="2021-12-23T14:11:47.056" v="44626"/>
        <pc:sldMkLst>
          <pc:docMk/>
          <pc:sldMk cId="605517361" sldId="2147374250"/>
        </pc:sldMkLst>
        <pc:graphicFrameChg chg="add mod">
          <ac:chgData name="Nick Robinson" userId="d0c2b313-4ae0-4040-8c6a-fec7a720a7b5" providerId="ADAL" clId="{190131DE-6250-C84F-B491-721E6CF30BCB}" dt="2021-12-23T14:11:47.056" v="44626"/>
          <ac:graphicFrameMkLst>
            <pc:docMk/>
            <pc:sldMk cId="605517361" sldId="2147374250"/>
            <ac:graphicFrameMk id="22" creationId="{EC95EC7F-70FF-5B43-AAB5-D230137C9B77}"/>
          </ac:graphicFrameMkLst>
        </pc:graphicFrameChg>
        <pc:graphicFrameChg chg="del">
          <ac:chgData name="Nick Robinson" userId="d0c2b313-4ae0-4040-8c6a-fec7a720a7b5" providerId="ADAL" clId="{190131DE-6250-C84F-B491-721E6CF30BCB}" dt="2021-12-23T14:11:46.808" v="44625" actId="478"/>
          <ac:graphicFrameMkLst>
            <pc:docMk/>
            <pc:sldMk cId="605517361" sldId="2147374250"/>
            <ac:graphicFrameMk id="23" creationId="{BF01113C-4355-AA41-ACC8-FB5FB953F491}"/>
          </ac:graphicFrameMkLst>
        </pc:graphicFrameChg>
      </pc:sldChg>
      <pc:sldChg chg="addSp delSp modSp add mod">
        <pc:chgData name="Nick Robinson" userId="d0c2b313-4ae0-4040-8c6a-fec7a720a7b5" providerId="ADAL" clId="{190131DE-6250-C84F-B491-721E6CF30BCB}" dt="2021-12-23T14:11:49.494" v="44628"/>
        <pc:sldMkLst>
          <pc:docMk/>
          <pc:sldMk cId="3048337085" sldId="2147374251"/>
        </pc:sldMkLst>
        <pc:graphicFrameChg chg="del">
          <ac:chgData name="Nick Robinson" userId="d0c2b313-4ae0-4040-8c6a-fec7a720a7b5" providerId="ADAL" clId="{190131DE-6250-C84F-B491-721E6CF30BCB}" dt="2021-12-23T14:11:49.157" v="44627" actId="478"/>
          <ac:graphicFrameMkLst>
            <pc:docMk/>
            <pc:sldMk cId="3048337085" sldId="2147374251"/>
            <ac:graphicFrameMk id="23" creationId="{BF01113C-4355-AA41-ACC8-FB5FB953F491}"/>
          </ac:graphicFrameMkLst>
        </pc:graphicFrameChg>
        <pc:graphicFrameChg chg="add mod">
          <ac:chgData name="Nick Robinson" userId="d0c2b313-4ae0-4040-8c6a-fec7a720a7b5" providerId="ADAL" clId="{190131DE-6250-C84F-B491-721E6CF30BCB}" dt="2021-12-23T14:11:49.494" v="44628"/>
          <ac:graphicFrameMkLst>
            <pc:docMk/>
            <pc:sldMk cId="3048337085" sldId="2147374251"/>
            <ac:graphicFrameMk id="24" creationId="{8999902F-A701-7F41-B506-A7645DA3C09B}"/>
          </ac:graphicFrameMkLst>
        </pc:graphicFrameChg>
      </pc:sldChg>
      <pc:sldChg chg="addSp delSp modSp add mod">
        <pc:chgData name="Nick Robinson" userId="d0c2b313-4ae0-4040-8c6a-fec7a720a7b5" providerId="ADAL" clId="{190131DE-6250-C84F-B491-721E6CF30BCB}" dt="2021-12-23T14:11:51.882" v="44630"/>
        <pc:sldMkLst>
          <pc:docMk/>
          <pc:sldMk cId="1519451198" sldId="2147374252"/>
        </pc:sldMkLst>
        <pc:graphicFrameChg chg="del">
          <ac:chgData name="Nick Robinson" userId="d0c2b313-4ae0-4040-8c6a-fec7a720a7b5" providerId="ADAL" clId="{190131DE-6250-C84F-B491-721E6CF30BCB}" dt="2021-12-23T14:11:51.608" v="44629" actId="478"/>
          <ac:graphicFrameMkLst>
            <pc:docMk/>
            <pc:sldMk cId="1519451198" sldId="2147374252"/>
            <ac:graphicFrameMk id="23" creationId="{BF01113C-4355-AA41-ACC8-FB5FB953F491}"/>
          </ac:graphicFrameMkLst>
        </pc:graphicFrameChg>
        <pc:graphicFrameChg chg="add mod">
          <ac:chgData name="Nick Robinson" userId="d0c2b313-4ae0-4040-8c6a-fec7a720a7b5" providerId="ADAL" clId="{190131DE-6250-C84F-B491-721E6CF30BCB}" dt="2021-12-23T14:11:51.882" v="44630"/>
          <ac:graphicFrameMkLst>
            <pc:docMk/>
            <pc:sldMk cId="1519451198" sldId="2147374252"/>
            <ac:graphicFrameMk id="28" creationId="{A1BC9E32-3B47-0545-A194-E3B091C8EE52}"/>
          </ac:graphicFrameMkLst>
        </pc:graphicFrameChg>
      </pc:sldChg>
      <pc:sldChg chg="addSp delSp modSp add mod">
        <pc:chgData name="Nick Robinson" userId="d0c2b313-4ae0-4040-8c6a-fec7a720a7b5" providerId="ADAL" clId="{190131DE-6250-C84F-B491-721E6CF30BCB}" dt="2021-12-23T14:11:54.268" v="44632"/>
        <pc:sldMkLst>
          <pc:docMk/>
          <pc:sldMk cId="3460546903" sldId="2147374253"/>
        </pc:sldMkLst>
        <pc:graphicFrameChg chg="add mod">
          <ac:chgData name="Nick Robinson" userId="d0c2b313-4ae0-4040-8c6a-fec7a720a7b5" providerId="ADAL" clId="{190131DE-6250-C84F-B491-721E6CF30BCB}" dt="2021-12-23T14:11:54.268" v="44632"/>
          <ac:graphicFrameMkLst>
            <pc:docMk/>
            <pc:sldMk cId="3460546903" sldId="2147374253"/>
            <ac:graphicFrameMk id="23" creationId="{A08D19B9-B70C-D249-8F94-133BDE3B85A2}"/>
          </ac:graphicFrameMkLst>
        </pc:graphicFrameChg>
        <pc:graphicFrameChg chg="del">
          <ac:chgData name="Nick Robinson" userId="d0c2b313-4ae0-4040-8c6a-fec7a720a7b5" providerId="ADAL" clId="{190131DE-6250-C84F-B491-721E6CF30BCB}" dt="2021-12-23T14:11:53.958" v="44631" actId="478"/>
          <ac:graphicFrameMkLst>
            <pc:docMk/>
            <pc:sldMk cId="3460546903" sldId="2147374253"/>
            <ac:graphicFrameMk id="28" creationId="{FFB0A569-F60A-BA4F-8DCE-EABB197840A0}"/>
          </ac:graphicFrameMkLst>
        </pc:graphicFrameChg>
      </pc:sldChg>
      <pc:sldChg chg="addSp delSp modSp add mod">
        <pc:chgData name="Nick Robinson" userId="d0c2b313-4ae0-4040-8c6a-fec7a720a7b5" providerId="ADAL" clId="{190131DE-6250-C84F-B491-721E6CF30BCB}" dt="2021-12-23T14:13:00.746" v="44638"/>
        <pc:sldMkLst>
          <pc:docMk/>
          <pc:sldMk cId="728513809" sldId="2147374254"/>
        </pc:sldMkLst>
        <pc:graphicFrameChg chg="del">
          <ac:chgData name="Nick Robinson" userId="d0c2b313-4ae0-4040-8c6a-fec7a720a7b5" providerId="ADAL" clId="{190131DE-6250-C84F-B491-721E6CF30BCB}" dt="2021-12-23T14:13:00.459" v="44637" actId="478"/>
          <ac:graphicFrameMkLst>
            <pc:docMk/>
            <pc:sldMk cId="728513809" sldId="2147374254"/>
            <ac:graphicFrameMk id="8" creationId="{D90532D5-FC69-1240-84DF-79F74138ACF2}"/>
          </ac:graphicFrameMkLst>
        </pc:graphicFrameChg>
        <pc:graphicFrameChg chg="add mod">
          <ac:chgData name="Nick Robinson" userId="d0c2b313-4ae0-4040-8c6a-fec7a720a7b5" providerId="ADAL" clId="{190131DE-6250-C84F-B491-721E6CF30BCB}" dt="2021-12-23T14:13:00.746" v="44638"/>
          <ac:graphicFrameMkLst>
            <pc:docMk/>
            <pc:sldMk cId="728513809" sldId="2147374254"/>
            <ac:graphicFrameMk id="35" creationId="{391F84A2-1F64-084A-A72C-E6E5600A0035}"/>
          </ac:graphicFrameMkLst>
        </pc:graphicFrameChg>
      </pc:sldChg>
      <pc:sldChg chg="add">
        <pc:chgData name="Nick Robinson" userId="d0c2b313-4ae0-4040-8c6a-fec7a720a7b5" providerId="ADAL" clId="{190131DE-6250-C84F-B491-721E6CF30BCB}" dt="2021-12-23T14:12:28.333" v="44634"/>
        <pc:sldMkLst>
          <pc:docMk/>
          <pc:sldMk cId="2065694648" sldId="2147374255"/>
        </pc:sldMkLst>
      </pc:sldChg>
      <pc:sldChg chg="addSp delSp modSp add mod">
        <pc:chgData name="Nick Robinson" userId="d0c2b313-4ae0-4040-8c6a-fec7a720a7b5" providerId="ADAL" clId="{190131DE-6250-C84F-B491-721E6CF30BCB}" dt="2021-12-23T14:13:08.840" v="44640"/>
        <pc:sldMkLst>
          <pc:docMk/>
          <pc:sldMk cId="2203449167" sldId="2147374256"/>
        </pc:sldMkLst>
        <pc:graphicFrameChg chg="del">
          <ac:chgData name="Nick Robinson" userId="d0c2b313-4ae0-4040-8c6a-fec7a720a7b5" providerId="ADAL" clId="{190131DE-6250-C84F-B491-721E6CF30BCB}" dt="2021-12-23T14:13:08.507" v="44639" actId="478"/>
          <ac:graphicFrameMkLst>
            <pc:docMk/>
            <pc:sldMk cId="2203449167" sldId="2147374256"/>
            <ac:graphicFrameMk id="296" creationId="{C44ACD9A-94B9-1D47-9BC3-85A41E9F66CE}"/>
          </ac:graphicFrameMkLst>
        </pc:graphicFrameChg>
        <pc:graphicFrameChg chg="add mod">
          <ac:chgData name="Nick Robinson" userId="d0c2b313-4ae0-4040-8c6a-fec7a720a7b5" providerId="ADAL" clId="{190131DE-6250-C84F-B491-721E6CF30BCB}" dt="2021-12-23T14:13:08.840" v="44640"/>
          <ac:graphicFrameMkLst>
            <pc:docMk/>
            <pc:sldMk cId="2203449167" sldId="2147374256"/>
            <ac:graphicFrameMk id="336" creationId="{CEDFC79A-A5E5-3143-A9C1-641FA4746255}"/>
          </ac:graphicFrameMkLst>
        </pc:graphicFrameChg>
      </pc:sldChg>
      <pc:sldChg chg="addSp delSp modSp add mod">
        <pc:chgData name="Nick Robinson" userId="d0c2b313-4ae0-4040-8c6a-fec7a720a7b5" providerId="ADAL" clId="{190131DE-6250-C84F-B491-721E6CF30BCB}" dt="2021-12-23T14:14:03.990" v="44648"/>
        <pc:sldMkLst>
          <pc:docMk/>
          <pc:sldMk cId="1277055691" sldId="2147374257"/>
        </pc:sldMkLst>
        <pc:graphicFrameChg chg="mod">
          <ac:chgData name="Nick Robinson" userId="d0c2b313-4ae0-4040-8c6a-fec7a720a7b5" providerId="ADAL" clId="{190131DE-6250-C84F-B491-721E6CF30BCB}" dt="2021-12-23T14:14:03.990" v="44648"/>
          <ac:graphicFrameMkLst>
            <pc:docMk/>
            <pc:sldMk cId="1277055691" sldId="2147374257"/>
            <ac:graphicFrameMk id="5" creationId="{1F73E11B-085A-AD47-B820-F62CD6BB7304}"/>
          </ac:graphicFrameMkLst>
        </pc:graphicFrameChg>
        <pc:graphicFrameChg chg="del">
          <ac:chgData name="Nick Robinson" userId="d0c2b313-4ae0-4040-8c6a-fec7a720a7b5" providerId="ADAL" clId="{190131DE-6250-C84F-B491-721E6CF30BCB}" dt="2021-12-23T14:13:13.657" v="44641" actId="478"/>
          <ac:graphicFrameMkLst>
            <pc:docMk/>
            <pc:sldMk cId="1277055691" sldId="2147374257"/>
            <ac:graphicFrameMk id="10" creationId="{87CC6123-A617-E541-A25D-A2DC364BE962}"/>
          </ac:graphicFrameMkLst>
        </pc:graphicFrameChg>
        <pc:graphicFrameChg chg="add mod">
          <ac:chgData name="Nick Robinson" userId="d0c2b313-4ae0-4040-8c6a-fec7a720a7b5" providerId="ADAL" clId="{190131DE-6250-C84F-B491-721E6CF30BCB}" dt="2021-12-23T14:13:13.947" v="44642"/>
          <ac:graphicFrameMkLst>
            <pc:docMk/>
            <pc:sldMk cId="1277055691" sldId="2147374257"/>
            <ac:graphicFrameMk id="13" creationId="{3915E3EE-38E8-8A4B-8C09-25EEC377CDE7}"/>
          </ac:graphicFrameMkLst>
        </pc:graphicFrameChg>
      </pc:sldChg>
      <pc:sldChg chg="addSp delSp modSp add mod">
        <pc:chgData name="Nick Robinson" userId="d0c2b313-4ae0-4040-8c6a-fec7a720a7b5" providerId="ADAL" clId="{190131DE-6250-C84F-B491-721E6CF30BCB}" dt="2021-12-23T14:14:10.148" v="44649"/>
        <pc:sldMkLst>
          <pc:docMk/>
          <pc:sldMk cId="799749972" sldId="2147374258"/>
        </pc:sldMkLst>
        <pc:graphicFrameChg chg="mod">
          <ac:chgData name="Nick Robinson" userId="d0c2b313-4ae0-4040-8c6a-fec7a720a7b5" providerId="ADAL" clId="{190131DE-6250-C84F-B491-721E6CF30BCB}" dt="2021-12-23T14:14:10.148" v="44649"/>
          <ac:graphicFrameMkLst>
            <pc:docMk/>
            <pc:sldMk cId="799749972" sldId="2147374258"/>
            <ac:graphicFrameMk id="5" creationId="{1F73E11B-085A-AD47-B820-F62CD6BB7304}"/>
          </ac:graphicFrameMkLst>
        </pc:graphicFrameChg>
        <pc:graphicFrameChg chg="del">
          <ac:chgData name="Nick Robinson" userId="d0c2b313-4ae0-4040-8c6a-fec7a720a7b5" providerId="ADAL" clId="{190131DE-6250-C84F-B491-721E6CF30BCB}" dt="2021-12-23T14:13:18.658" v="44643" actId="478"/>
          <ac:graphicFrameMkLst>
            <pc:docMk/>
            <pc:sldMk cId="799749972" sldId="2147374258"/>
            <ac:graphicFrameMk id="10" creationId="{87CC6123-A617-E541-A25D-A2DC364BE962}"/>
          </ac:graphicFrameMkLst>
        </pc:graphicFrameChg>
        <pc:graphicFrameChg chg="add mod">
          <ac:chgData name="Nick Robinson" userId="d0c2b313-4ae0-4040-8c6a-fec7a720a7b5" providerId="ADAL" clId="{190131DE-6250-C84F-B491-721E6CF30BCB}" dt="2021-12-23T14:13:18.860" v="44644"/>
          <ac:graphicFrameMkLst>
            <pc:docMk/>
            <pc:sldMk cId="799749972" sldId="2147374258"/>
            <ac:graphicFrameMk id="13" creationId="{4C09B602-221D-7A42-9AED-CBF7226F323F}"/>
          </ac:graphicFrameMkLst>
        </pc:graphicFrameChg>
      </pc:sldChg>
      <pc:sldChg chg="addSp delSp modSp add mod">
        <pc:chgData name="Nick Robinson" userId="d0c2b313-4ae0-4040-8c6a-fec7a720a7b5" providerId="ADAL" clId="{190131DE-6250-C84F-B491-721E6CF30BCB}" dt="2021-12-23T14:13:51.209" v="44647"/>
        <pc:sldMkLst>
          <pc:docMk/>
          <pc:sldMk cId="3107692849" sldId="2147374259"/>
        </pc:sldMkLst>
        <pc:graphicFrameChg chg="del">
          <ac:chgData name="Nick Robinson" userId="d0c2b313-4ae0-4040-8c6a-fec7a720a7b5" providerId="ADAL" clId="{190131DE-6250-C84F-B491-721E6CF30BCB}" dt="2021-12-23T14:13:50.968" v="44646" actId="478"/>
          <ac:graphicFrameMkLst>
            <pc:docMk/>
            <pc:sldMk cId="3107692849" sldId="2147374259"/>
            <ac:graphicFrameMk id="10" creationId="{87CC6123-A617-E541-A25D-A2DC364BE962}"/>
          </ac:graphicFrameMkLst>
        </pc:graphicFrameChg>
        <pc:graphicFrameChg chg="add mod">
          <ac:chgData name="Nick Robinson" userId="d0c2b313-4ae0-4040-8c6a-fec7a720a7b5" providerId="ADAL" clId="{190131DE-6250-C84F-B491-721E6CF30BCB}" dt="2021-12-23T14:13:51.209" v="44647"/>
          <ac:graphicFrameMkLst>
            <pc:docMk/>
            <pc:sldMk cId="3107692849" sldId="2147374259"/>
            <ac:graphicFrameMk id="14" creationId="{903395B8-578B-114E-A53B-7EDAB280AE56}"/>
          </ac:graphicFrameMkLst>
        </pc:graphicFrameChg>
      </pc:sldChg>
      <pc:sldMasterChg chg="addSp delSp modSp mod delSldLayout modSldLayout">
        <pc:chgData name="Nick Robinson" userId="d0c2b313-4ae0-4040-8c6a-fec7a720a7b5" providerId="ADAL" clId="{190131DE-6250-C84F-B491-721E6CF30BCB}" dt="2021-12-17T11:21:06.081" v="6998" actId="478"/>
        <pc:sldMasterMkLst>
          <pc:docMk/>
          <pc:sldMasterMk cId="848992802" sldId="2147483938"/>
        </pc:sldMasterMkLst>
        <pc:spChg chg="del">
          <ac:chgData name="Nick Robinson" userId="d0c2b313-4ae0-4040-8c6a-fec7a720a7b5" providerId="ADAL" clId="{190131DE-6250-C84F-B491-721E6CF30BCB}" dt="2021-12-13T15:31:55.311" v="1051" actId="478"/>
          <ac:spMkLst>
            <pc:docMk/>
            <pc:sldMasterMk cId="848992802" sldId="2147483938"/>
            <ac:spMk id="4" creationId="{8BF95622-BC38-5F47-A922-3F7837912672}"/>
          </ac:spMkLst>
        </pc:spChg>
        <pc:spChg chg="mod">
          <ac:chgData name="Nick Robinson" userId="d0c2b313-4ae0-4040-8c6a-fec7a720a7b5" providerId="ADAL" clId="{190131DE-6250-C84F-B491-721E6CF30BCB}" dt="2021-12-13T15:37:29.077" v="1207" actId="1076"/>
          <ac:spMkLst>
            <pc:docMk/>
            <pc:sldMasterMk cId="848992802" sldId="2147483938"/>
            <ac:spMk id="5" creationId="{D9B7120D-ED4D-9345-8F86-3331D1CE8D18}"/>
          </ac:spMkLst>
        </pc:spChg>
        <pc:spChg chg="add mod">
          <ac:chgData name="Nick Robinson" userId="d0c2b313-4ae0-4040-8c6a-fec7a720a7b5" providerId="ADAL" clId="{190131DE-6250-C84F-B491-721E6CF30BCB}" dt="2021-12-13T15:37:29.077" v="1207" actId="1076"/>
          <ac:spMkLst>
            <pc:docMk/>
            <pc:sldMasterMk cId="848992802" sldId="2147483938"/>
            <ac:spMk id="6" creationId="{56E51056-6EA7-9D4A-AF20-4104F07EC989}"/>
          </ac:spMkLst>
        </pc:spChg>
        <pc:sldLayoutChg chg="addSp delSp modSp mod">
          <pc:chgData name="Nick Robinson" userId="d0c2b313-4ae0-4040-8c6a-fec7a720a7b5" providerId="ADAL" clId="{190131DE-6250-C84F-B491-721E6CF30BCB}" dt="2021-12-13T15:32:36.018" v="1057"/>
          <pc:sldLayoutMkLst>
            <pc:docMk/>
            <pc:sldMasterMk cId="848992802" sldId="2147483938"/>
            <pc:sldLayoutMk cId="4288962063" sldId="2147483943"/>
          </pc:sldLayoutMkLst>
          <pc:spChg chg="add del mod">
            <ac:chgData name="Nick Robinson" userId="d0c2b313-4ae0-4040-8c6a-fec7a720a7b5" providerId="ADAL" clId="{190131DE-6250-C84F-B491-721E6CF30BCB}" dt="2021-12-13T15:32:36.018" v="1057"/>
            <ac:spMkLst>
              <pc:docMk/>
              <pc:sldMasterMk cId="848992802" sldId="2147483938"/>
              <pc:sldLayoutMk cId="4288962063" sldId="2147483943"/>
              <ac:spMk id="5" creationId="{207D2E1C-2C6A-F041-97FE-A983F01DAC08}"/>
            </ac:spMkLst>
          </pc:spChg>
        </pc:sldLayoutChg>
        <pc:sldLayoutChg chg="addSp delSp mod">
          <pc:chgData name="Nick Robinson" userId="d0c2b313-4ae0-4040-8c6a-fec7a720a7b5" providerId="ADAL" clId="{190131DE-6250-C84F-B491-721E6CF30BCB}" dt="2021-12-17T11:21:06.081" v="6998" actId="478"/>
          <pc:sldLayoutMkLst>
            <pc:docMk/>
            <pc:sldMasterMk cId="848992802" sldId="2147483938"/>
            <pc:sldLayoutMk cId="2326008288" sldId="2147483948"/>
          </pc:sldLayoutMkLst>
          <pc:picChg chg="add del">
            <ac:chgData name="Nick Robinson" userId="d0c2b313-4ae0-4040-8c6a-fec7a720a7b5" providerId="ADAL" clId="{190131DE-6250-C84F-B491-721E6CF30BCB}" dt="2021-12-17T11:21:06.081" v="6998" actId="478"/>
            <ac:picMkLst>
              <pc:docMk/>
              <pc:sldMasterMk cId="848992802" sldId="2147483938"/>
              <pc:sldLayoutMk cId="2326008288" sldId="2147483948"/>
              <ac:picMk id="6" creationId="{569B6D7D-E3AE-2A44-A75D-B75F30B880A3}"/>
            </ac:picMkLst>
          </pc:picChg>
        </pc:sldLayoutChg>
        <pc:sldLayoutChg chg="delSp mod">
          <pc:chgData name="Nick Robinson" userId="d0c2b313-4ae0-4040-8c6a-fec7a720a7b5" providerId="ADAL" clId="{190131DE-6250-C84F-B491-721E6CF30BCB}" dt="2021-12-14T15:11:43.949" v="2103" actId="478"/>
          <pc:sldLayoutMkLst>
            <pc:docMk/>
            <pc:sldMasterMk cId="848992802" sldId="2147483938"/>
            <pc:sldLayoutMk cId="831851170" sldId="2147483949"/>
          </pc:sldLayoutMkLst>
          <pc:picChg chg="del">
            <ac:chgData name="Nick Robinson" userId="d0c2b313-4ae0-4040-8c6a-fec7a720a7b5" providerId="ADAL" clId="{190131DE-6250-C84F-B491-721E6CF30BCB}" dt="2021-12-14T15:11:43.949" v="2103" actId="478"/>
            <ac:picMkLst>
              <pc:docMk/>
              <pc:sldMasterMk cId="848992802" sldId="2147483938"/>
              <pc:sldLayoutMk cId="831851170" sldId="2147483949"/>
              <ac:picMk id="5" creationId="{5420BEE6-C168-C441-A4F8-3F0C36FF0767}"/>
            </ac:picMkLst>
          </pc:picChg>
        </pc:sldLayoutChg>
        <pc:sldLayoutChg chg="del">
          <pc:chgData name="Nick Robinson" userId="d0c2b313-4ae0-4040-8c6a-fec7a720a7b5" providerId="ADAL" clId="{190131DE-6250-C84F-B491-721E6CF30BCB}" dt="2021-12-15T11:42:52.519" v="3092" actId="2696"/>
          <pc:sldLayoutMkLst>
            <pc:docMk/>
            <pc:sldMasterMk cId="848992802" sldId="2147483938"/>
            <pc:sldLayoutMk cId="1867703338" sldId="2147483972"/>
          </pc:sldLayoutMkLst>
        </pc:sldLayoutChg>
        <pc:sldLayoutChg chg="del">
          <pc:chgData name="Nick Robinson" userId="d0c2b313-4ae0-4040-8c6a-fec7a720a7b5" providerId="ADAL" clId="{190131DE-6250-C84F-B491-721E6CF30BCB}" dt="2021-12-16T10:27:55.921" v="4280" actId="2696"/>
          <pc:sldLayoutMkLst>
            <pc:docMk/>
            <pc:sldMasterMk cId="848992802" sldId="2147483938"/>
            <pc:sldLayoutMk cId="3169067766" sldId="2147483989"/>
          </pc:sldLayoutMkLst>
        </pc:sldLayoutChg>
        <pc:sldLayoutChg chg="del">
          <pc:chgData name="Nick Robinson" userId="d0c2b313-4ae0-4040-8c6a-fec7a720a7b5" providerId="ADAL" clId="{190131DE-6250-C84F-B491-721E6CF30BCB}" dt="2021-12-17T09:07:40.904" v="4297" actId="2696"/>
          <pc:sldLayoutMkLst>
            <pc:docMk/>
            <pc:sldMasterMk cId="848992802" sldId="2147483938"/>
            <pc:sldLayoutMk cId="3155823319" sldId="2147484005"/>
          </pc:sldLayoutMkLst>
        </pc:sldLayoutChg>
        <pc:sldLayoutChg chg="del">
          <pc:chgData name="Nick Robinson" userId="d0c2b313-4ae0-4040-8c6a-fec7a720a7b5" providerId="ADAL" clId="{190131DE-6250-C84F-B491-721E6CF30BCB}" dt="2021-12-17T09:10:21.338" v="4353" actId="2696"/>
          <pc:sldLayoutMkLst>
            <pc:docMk/>
            <pc:sldMasterMk cId="848992802" sldId="2147483938"/>
            <pc:sldLayoutMk cId="3845795732" sldId="2147484005"/>
          </pc:sldLayoutMkLst>
        </pc:sldLayoutChg>
        <pc:sldLayoutChg chg="del">
          <pc:chgData name="Nick Robinson" userId="d0c2b313-4ae0-4040-8c6a-fec7a720a7b5" providerId="ADAL" clId="{190131DE-6250-C84F-B491-721E6CF30BCB}" dt="2021-12-15T11:08:13.168" v="2697" actId="2696"/>
          <pc:sldLayoutMkLst>
            <pc:docMk/>
            <pc:sldMasterMk cId="848992802" sldId="2147483938"/>
            <pc:sldLayoutMk cId="977779796" sldId="2147484021"/>
          </pc:sldLayoutMkLst>
        </pc:sldLayoutChg>
        <pc:sldLayoutChg chg="del">
          <pc:chgData name="Nick Robinson" userId="d0c2b313-4ae0-4040-8c6a-fec7a720a7b5" providerId="ADAL" clId="{190131DE-6250-C84F-B491-721E6CF30BCB}" dt="2021-12-15T11:10:50.016" v="2723" actId="2696"/>
          <pc:sldLayoutMkLst>
            <pc:docMk/>
            <pc:sldMasterMk cId="848992802" sldId="2147483938"/>
            <pc:sldLayoutMk cId="1240376898" sldId="2147484021"/>
          </pc:sldLayoutMkLst>
        </pc:sldLayoutChg>
      </pc:sldMasterChg>
      <pc:sldMasterChg chg="addSp delSp modSp mod modSldLayout">
        <pc:chgData name="Nick Robinson" userId="d0c2b313-4ae0-4040-8c6a-fec7a720a7b5" providerId="ADAL" clId="{190131DE-6250-C84F-B491-721E6CF30BCB}" dt="2021-12-20T09:23:09.630" v="11439" actId="478"/>
        <pc:sldMasterMkLst>
          <pc:docMk/>
          <pc:sldMasterMk cId="1907958553" sldId="2147483955"/>
        </pc:sldMasterMkLst>
        <pc:spChg chg="del">
          <ac:chgData name="Nick Robinson" userId="d0c2b313-4ae0-4040-8c6a-fec7a720a7b5" providerId="ADAL" clId="{190131DE-6250-C84F-B491-721E6CF30BCB}" dt="2021-12-13T15:37:47.561" v="1208" actId="478"/>
          <ac:spMkLst>
            <pc:docMk/>
            <pc:sldMasterMk cId="1907958553" sldId="2147483955"/>
            <ac:spMk id="4" creationId="{8BF95622-BC38-5F47-A922-3F7837912672}"/>
          </ac:spMkLst>
        </pc:spChg>
        <pc:spChg chg="del">
          <ac:chgData name="Nick Robinson" userId="d0c2b313-4ae0-4040-8c6a-fec7a720a7b5" providerId="ADAL" clId="{190131DE-6250-C84F-B491-721E6CF30BCB}" dt="2021-12-13T15:37:47.561" v="1208" actId="478"/>
          <ac:spMkLst>
            <pc:docMk/>
            <pc:sldMasterMk cId="1907958553" sldId="2147483955"/>
            <ac:spMk id="5" creationId="{D9B7120D-ED4D-9345-8F86-3331D1CE8D18}"/>
          </ac:spMkLst>
        </pc:spChg>
        <pc:spChg chg="add mod">
          <ac:chgData name="Nick Robinson" userId="d0c2b313-4ae0-4040-8c6a-fec7a720a7b5" providerId="ADAL" clId="{190131DE-6250-C84F-B491-721E6CF30BCB}" dt="2021-12-15T11:45:58.524" v="3129" actId="14100"/>
          <ac:spMkLst>
            <pc:docMk/>
            <pc:sldMasterMk cId="1907958553" sldId="2147483955"/>
            <ac:spMk id="8" creationId="{EB8E992C-747B-1A4A-B733-D685A4858066}"/>
          </ac:spMkLst>
        </pc:spChg>
        <pc:spChg chg="add mod">
          <ac:chgData name="Nick Robinson" userId="d0c2b313-4ae0-4040-8c6a-fec7a720a7b5" providerId="ADAL" clId="{190131DE-6250-C84F-B491-721E6CF30BCB}" dt="2021-12-13T15:37:47.894" v="1209"/>
          <ac:spMkLst>
            <pc:docMk/>
            <pc:sldMasterMk cId="1907958553" sldId="2147483955"/>
            <ac:spMk id="9" creationId="{F8E8B56F-4686-B147-A120-AB1EFA09439A}"/>
          </ac:spMkLst>
        </pc:spChg>
        <pc:graphicFrameChg chg="add del mod">
          <ac:chgData name="Nick Robinson" userId="d0c2b313-4ae0-4040-8c6a-fec7a720a7b5" providerId="ADAL" clId="{190131DE-6250-C84F-B491-721E6CF30BCB}" dt="2021-12-15T11:45:58.992" v="3130"/>
          <ac:graphicFrameMkLst>
            <pc:docMk/>
            <pc:sldMasterMk cId="1907958553" sldId="2147483955"/>
            <ac:graphicFrameMk id="10" creationId="{3D0EFB01-1A8A-764D-8CBA-4B4CDAA20E60}"/>
          </ac:graphicFrameMkLst>
        </pc:graphicFrameChg>
        <pc:sldLayoutChg chg="delSp mod">
          <pc:chgData name="Nick Robinson" userId="d0c2b313-4ae0-4040-8c6a-fec7a720a7b5" providerId="ADAL" clId="{190131DE-6250-C84F-B491-721E6CF30BCB}" dt="2021-12-20T09:23:09.630" v="11439" actId="478"/>
          <pc:sldLayoutMkLst>
            <pc:docMk/>
            <pc:sldMasterMk cId="1907958553" sldId="2147483955"/>
            <pc:sldLayoutMk cId="2608672721" sldId="2147483965"/>
          </pc:sldLayoutMkLst>
          <pc:picChg chg="del">
            <ac:chgData name="Nick Robinson" userId="d0c2b313-4ae0-4040-8c6a-fec7a720a7b5" providerId="ADAL" clId="{190131DE-6250-C84F-B491-721E6CF30BCB}" dt="2021-12-20T09:23:09.630" v="11439" actId="478"/>
            <ac:picMkLst>
              <pc:docMk/>
              <pc:sldMasterMk cId="1907958553" sldId="2147483955"/>
              <pc:sldLayoutMk cId="2608672721" sldId="2147483965"/>
              <ac:picMk id="6" creationId="{569B6D7D-E3AE-2A44-A75D-B75F30B880A3}"/>
            </ac:picMkLst>
          </pc:picChg>
        </pc:sldLayoutChg>
        <pc:sldLayoutChg chg="delSp mod">
          <pc:chgData name="Nick Robinson" userId="d0c2b313-4ae0-4040-8c6a-fec7a720a7b5" providerId="ADAL" clId="{190131DE-6250-C84F-B491-721E6CF30BCB}" dt="2021-12-15T11:44:23.507" v="3105" actId="478"/>
          <pc:sldLayoutMkLst>
            <pc:docMk/>
            <pc:sldMasterMk cId="1907958553" sldId="2147483955"/>
            <pc:sldLayoutMk cId="3594815432" sldId="2147483966"/>
          </pc:sldLayoutMkLst>
          <pc:picChg chg="del">
            <ac:chgData name="Nick Robinson" userId="d0c2b313-4ae0-4040-8c6a-fec7a720a7b5" providerId="ADAL" clId="{190131DE-6250-C84F-B491-721E6CF30BCB}" dt="2021-12-15T11:44:23.507" v="3105" actId="478"/>
            <ac:picMkLst>
              <pc:docMk/>
              <pc:sldMasterMk cId="1907958553" sldId="2147483955"/>
              <pc:sldLayoutMk cId="3594815432" sldId="2147483966"/>
              <ac:picMk id="5" creationId="{5420BEE6-C168-C441-A4F8-3F0C36FF0767}"/>
            </ac:picMkLst>
          </pc:picChg>
        </pc:sldLayoutChg>
      </pc:sldMasterChg>
      <pc:sldMasterChg chg="del delSldLayout">
        <pc:chgData name="Nick Robinson" userId="d0c2b313-4ae0-4040-8c6a-fec7a720a7b5" providerId="ADAL" clId="{190131DE-6250-C84F-B491-721E6CF30BCB}" dt="2021-12-15T11:33:27.271" v="2965" actId="2696"/>
        <pc:sldMasterMkLst>
          <pc:docMk/>
          <pc:sldMasterMk cId="1144333151" sldId="2147483973"/>
        </pc:sldMasterMkLst>
        <pc:sldLayoutChg chg="del">
          <pc:chgData name="Nick Robinson" userId="d0c2b313-4ae0-4040-8c6a-fec7a720a7b5" providerId="ADAL" clId="{190131DE-6250-C84F-B491-721E6CF30BCB}" dt="2021-12-15T11:33:27.271" v="2965" actId="2696"/>
          <pc:sldLayoutMkLst>
            <pc:docMk/>
            <pc:sldMasterMk cId="1144333151" sldId="2147483973"/>
            <pc:sldLayoutMk cId="941350275" sldId="2147483974"/>
          </pc:sldLayoutMkLst>
        </pc:sldLayoutChg>
        <pc:sldLayoutChg chg="del">
          <pc:chgData name="Nick Robinson" userId="d0c2b313-4ae0-4040-8c6a-fec7a720a7b5" providerId="ADAL" clId="{190131DE-6250-C84F-B491-721E6CF30BCB}" dt="2021-12-15T11:33:27.271" v="2965" actId="2696"/>
          <pc:sldLayoutMkLst>
            <pc:docMk/>
            <pc:sldMasterMk cId="1144333151" sldId="2147483973"/>
            <pc:sldLayoutMk cId="2414814194" sldId="2147483975"/>
          </pc:sldLayoutMkLst>
        </pc:sldLayoutChg>
        <pc:sldLayoutChg chg="del">
          <pc:chgData name="Nick Robinson" userId="d0c2b313-4ae0-4040-8c6a-fec7a720a7b5" providerId="ADAL" clId="{190131DE-6250-C84F-B491-721E6CF30BCB}" dt="2021-12-15T11:33:27.271" v="2965" actId="2696"/>
          <pc:sldLayoutMkLst>
            <pc:docMk/>
            <pc:sldMasterMk cId="1144333151" sldId="2147483973"/>
            <pc:sldLayoutMk cId="18287871" sldId="2147483976"/>
          </pc:sldLayoutMkLst>
        </pc:sldLayoutChg>
        <pc:sldLayoutChg chg="del">
          <pc:chgData name="Nick Robinson" userId="d0c2b313-4ae0-4040-8c6a-fec7a720a7b5" providerId="ADAL" clId="{190131DE-6250-C84F-B491-721E6CF30BCB}" dt="2021-12-15T11:33:27.271" v="2965" actId="2696"/>
          <pc:sldLayoutMkLst>
            <pc:docMk/>
            <pc:sldMasterMk cId="1144333151" sldId="2147483973"/>
            <pc:sldLayoutMk cId="23831013" sldId="2147483977"/>
          </pc:sldLayoutMkLst>
        </pc:sldLayoutChg>
        <pc:sldLayoutChg chg="del">
          <pc:chgData name="Nick Robinson" userId="d0c2b313-4ae0-4040-8c6a-fec7a720a7b5" providerId="ADAL" clId="{190131DE-6250-C84F-B491-721E6CF30BCB}" dt="2021-12-15T11:33:27.271" v="2965" actId="2696"/>
          <pc:sldLayoutMkLst>
            <pc:docMk/>
            <pc:sldMasterMk cId="1144333151" sldId="2147483973"/>
            <pc:sldLayoutMk cId="3290633135" sldId="2147483978"/>
          </pc:sldLayoutMkLst>
        </pc:sldLayoutChg>
        <pc:sldLayoutChg chg="del">
          <pc:chgData name="Nick Robinson" userId="d0c2b313-4ae0-4040-8c6a-fec7a720a7b5" providerId="ADAL" clId="{190131DE-6250-C84F-B491-721E6CF30BCB}" dt="2021-12-15T11:33:27.271" v="2965" actId="2696"/>
          <pc:sldLayoutMkLst>
            <pc:docMk/>
            <pc:sldMasterMk cId="1144333151" sldId="2147483973"/>
            <pc:sldLayoutMk cId="2686694639" sldId="2147483979"/>
          </pc:sldLayoutMkLst>
        </pc:sldLayoutChg>
        <pc:sldLayoutChg chg="del">
          <pc:chgData name="Nick Robinson" userId="d0c2b313-4ae0-4040-8c6a-fec7a720a7b5" providerId="ADAL" clId="{190131DE-6250-C84F-B491-721E6CF30BCB}" dt="2021-12-15T11:33:27.271" v="2965" actId="2696"/>
          <pc:sldLayoutMkLst>
            <pc:docMk/>
            <pc:sldMasterMk cId="1144333151" sldId="2147483973"/>
            <pc:sldLayoutMk cId="4243724127" sldId="2147483980"/>
          </pc:sldLayoutMkLst>
        </pc:sldLayoutChg>
        <pc:sldLayoutChg chg="del">
          <pc:chgData name="Nick Robinson" userId="d0c2b313-4ae0-4040-8c6a-fec7a720a7b5" providerId="ADAL" clId="{190131DE-6250-C84F-B491-721E6CF30BCB}" dt="2021-12-15T11:33:27.271" v="2965" actId="2696"/>
          <pc:sldLayoutMkLst>
            <pc:docMk/>
            <pc:sldMasterMk cId="1144333151" sldId="2147483973"/>
            <pc:sldLayoutMk cId="1084423746" sldId="2147483981"/>
          </pc:sldLayoutMkLst>
        </pc:sldLayoutChg>
        <pc:sldLayoutChg chg="del">
          <pc:chgData name="Nick Robinson" userId="d0c2b313-4ae0-4040-8c6a-fec7a720a7b5" providerId="ADAL" clId="{190131DE-6250-C84F-B491-721E6CF30BCB}" dt="2021-12-15T11:33:27.271" v="2965" actId="2696"/>
          <pc:sldLayoutMkLst>
            <pc:docMk/>
            <pc:sldMasterMk cId="1144333151" sldId="2147483973"/>
            <pc:sldLayoutMk cId="199048322" sldId="2147483982"/>
          </pc:sldLayoutMkLst>
        </pc:sldLayoutChg>
        <pc:sldLayoutChg chg="del">
          <pc:chgData name="Nick Robinson" userId="d0c2b313-4ae0-4040-8c6a-fec7a720a7b5" providerId="ADAL" clId="{190131DE-6250-C84F-B491-721E6CF30BCB}" dt="2021-12-15T11:33:27.271" v="2965" actId="2696"/>
          <pc:sldLayoutMkLst>
            <pc:docMk/>
            <pc:sldMasterMk cId="1144333151" sldId="2147483973"/>
            <pc:sldLayoutMk cId="2035255371" sldId="2147483983"/>
          </pc:sldLayoutMkLst>
        </pc:sldLayoutChg>
        <pc:sldLayoutChg chg="del">
          <pc:chgData name="Nick Robinson" userId="d0c2b313-4ae0-4040-8c6a-fec7a720a7b5" providerId="ADAL" clId="{190131DE-6250-C84F-B491-721E6CF30BCB}" dt="2021-12-15T11:33:27.271" v="2965" actId="2696"/>
          <pc:sldLayoutMkLst>
            <pc:docMk/>
            <pc:sldMasterMk cId="1144333151" sldId="2147483973"/>
            <pc:sldLayoutMk cId="529395705" sldId="2147483984"/>
          </pc:sldLayoutMkLst>
        </pc:sldLayoutChg>
        <pc:sldLayoutChg chg="del">
          <pc:chgData name="Nick Robinson" userId="d0c2b313-4ae0-4040-8c6a-fec7a720a7b5" providerId="ADAL" clId="{190131DE-6250-C84F-B491-721E6CF30BCB}" dt="2021-12-15T11:33:27.271" v="2965" actId="2696"/>
          <pc:sldLayoutMkLst>
            <pc:docMk/>
            <pc:sldMasterMk cId="1144333151" sldId="2147483973"/>
            <pc:sldLayoutMk cId="3180448551" sldId="2147483985"/>
          </pc:sldLayoutMkLst>
        </pc:sldLayoutChg>
        <pc:sldLayoutChg chg="del">
          <pc:chgData name="Nick Robinson" userId="d0c2b313-4ae0-4040-8c6a-fec7a720a7b5" providerId="ADAL" clId="{190131DE-6250-C84F-B491-721E6CF30BCB}" dt="2021-12-15T11:33:27.271" v="2965" actId="2696"/>
          <pc:sldLayoutMkLst>
            <pc:docMk/>
            <pc:sldMasterMk cId="1144333151" sldId="2147483973"/>
            <pc:sldLayoutMk cId="2890533034" sldId="2147483986"/>
          </pc:sldLayoutMkLst>
        </pc:sldLayoutChg>
        <pc:sldLayoutChg chg="del">
          <pc:chgData name="Nick Robinson" userId="d0c2b313-4ae0-4040-8c6a-fec7a720a7b5" providerId="ADAL" clId="{190131DE-6250-C84F-B491-721E6CF30BCB}" dt="2021-12-15T11:33:27.271" v="2965" actId="2696"/>
          <pc:sldLayoutMkLst>
            <pc:docMk/>
            <pc:sldMasterMk cId="1144333151" sldId="2147483973"/>
            <pc:sldLayoutMk cId="4088366088" sldId="2147483987"/>
          </pc:sldLayoutMkLst>
        </pc:sldLayoutChg>
        <pc:sldLayoutChg chg="del">
          <pc:chgData name="Nick Robinson" userId="d0c2b313-4ae0-4040-8c6a-fec7a720a7b5" providerId="ADAL" clId="{190131DE-6250-C84F-B491-721E6CF30BCB}" dt="2021-12-15T11:33:27.271" v="2965" actId="2696"/>
          <pc:sldLayoutMkLst>
            <pc:docMk/>
            <pc:sldMasterMk cId="1144333151" sldId="2147483973"/>
            <pc:sldLayoutMk cId="2232692714" sldId="2147483988"/>
          </pc:sldLayoutMkLst>
        </pc:sldLayoutChg>
        <pc:sldLayoutChg chg="del">
          <pc:chgData name="Nick Robinson" userId="d0c2b313-4ae0-4040-8c6a-fec7a720a7b5" providerId="ADAL" clId="{190131DE-6250-C84F-B491-721E6CF30BCB}" dt="2021-12-15T11:33:27.271" v="2965" actId="2696"/>
          <pc:sldLayoutMkLst>
            <pc:docMk/>
            <pc:sldMasterMk cId="1144333151" sldId="2147483973"/>
            <pc:sldLayoutMk cId="448581135" sldId="2147483989"/>
          </pc:sldLayoutMkLst>
        </pc:sldLayoutChg>
        <pc:sldLayoutChg chg="del">
          <pc:chgData name="Nick Robinson" userId="d0c2b313-4ae0-4040-8c6a-fec7a720a7b5" providerId="ADAL" clId="{190131DE-6250-C84F-B491-721E6CF30BCB}" dt="2021-12-15T11:33:27.271" v="2965" actId="2696"/>
          <pc:sldLayoutMkLst>
            <pc:docMk/>
            <pc:sldMasterMk cId="1144333151" sldId="2147483973"/>
            <pc:sldLayoutMk cId="3779074949" sldId="2147483990"/>
          </pc:sldLayoutMkLst>
        </pc:sldLayoutChg>
        <pc:sldLayoutChg chg="del">
          <pc:chgData name="Nick Robinson" userId="d0c2b313-4ae0-4040-8c6a-fec7a720a7b5" providerId="ADAL" clId="{190131DE-6250-C84F-B491-721E6CF30BCB}" dt="2021-12-15T11:33:27.271" v="2965" actId="2696"/>
          <pc:sldLayoutMkLst>
            <pc:docMk/>
            <pc:sldMasterMk cId="1144333151" sldId="2147483973"/>
            <pc:sldLayoutMk cId="3803388173" sldId="2147483991"/>
          </pc:sldLayoutMkLst>
        </pc:sldLayoutChg>
        <pc:sldLayoutChg chg="del">
          <pc:chgData name="Nick Robinson" userId="d0c2b313-4ae0-4040-8c6a-fec7a720a7b5" providerId="ADAL" clId="{190131DE-6250-C84F-B491-721E6CF30BCB}" dt="2021-12-15T11:33:27.271" v="2965" actId="2696"/>
          <pc:sldLayoutMkLst>
            <pc:docMk/>
            <pc:sldMasterMk cId="1144333151" sldId="2147483973"/>
            <pc:sldLayoutMk cId="3129216231" sldId="2147483992"/>
          </pc:sldLayoutMkLst>
        </pc:sldLayoutChg>
        <pc:sldLayoutChg chg="del">
          <pc:chgData name="Nick Robinson" userId="d0c2b313-4ae0-4040-8c6a-fec7a720a7b5" providerId="ADAL" clId="{190131DE-6250-C84F-B491-721E6CF30BCB}" dt="2021-12-15T11:33:27.271" v="2965" actId="2696"/>
          <pc:sldLayoutMkLst>
            <pc:docMk/>
            <pc:sldMasterMk cId="1144333151" sldId="2147483973"/>
            <pc:sldLayoutMk cId="2023800452" sldId="2147483993"/>
          </pc:sldLayoutMkLst>
        </pc:sldLayoutChg>
        <pc:sldLayoutChg chg="del">
          <pc:chgData name="Nick Robinson" userId="d0c2b313-4ae0-4040-8c6a-fec7a720a7b5" providerId="ADAL" clId="{190131DE-6250-C84F-B491-721E6CF30BCB}" dt="2021-12-15T11:33:27.271" v="2965" actId="2696"/>
          <pc:sldLayoutMkLst>
            <pc:docMk/>
            <pc:sldMasterMk cId="1144333151" sldId="2147483973"/>
            <pc:sldLayoutMk cId="1573964931" sldId="2147483994"/>
          </pc:sldLayoutMkLst>
        </pc:sldLayoutChg>
        <pc:sldLayoutChg chg="del">
          <pc:chgData name="Nick Robinson" userId="d0c2b313-4ae0-4040-8c6a-fec7a720a7b5" providerId="ADAL" clId="{190131DE-6250-C84F-B491-721E6CF30BCB}" dt="2021-12-15T11:33:27.271" v="2965" actId="2696"/>
          <pc:sldLayoutMkLst>
            <pc:docMk/>
            <pc:sldMasterMk cId="1144333151" sldId="2147483973"/>
            <pc:sldLayoutMk cId="1052211345" sldId="2147483995"/>
          </pc:sldLayoutMkLst>
        </pc:sldLayoutChg>
        <pc:sldLayoutChg chg="del">
          <pc:chgData name="Nick Robinson" userId="d0c2b313-4ae0-4040-8c6a-fec7a720a7b5" providerId="ADAL" clId="{190131DE-6250-C84F-B491-721E6CF30BCB}" dt="2021-12-15T11:33:27.271" v="2965" actId="2696"/>
          <pc:sldLayoutMkLst>
            <pc:docMk/>
            <pc:sldMasterMk cId="1144333151" sldId="2147483973"/>
            <pc:sldLayoutMk cId="2046498177" sldId="2147483996"/>
          </pc:sldLayoutMkLst>
        </pc:sldLayoutChg>
        <pc:sldLayoutChg chg="del">
          <pc:chgData name="Nick Robinson" userId="d0c2b313-4ae0-4040-8c6a-fec7a720a7b5" providerId="ADAL" clId="{190131DE-6250-C84F-B491-721E6CF30BCB}" dt="2021-12-15T11:33:27.271" v="2965" actId="2696"/>
          <pc:sldLayoutMkLst>
            <pc:docMk/>
            <pc:sldMasterMk cId="1144333151" sldId="2147483973"/>
            <pc:sldLayoutMk cId="3640533827" sldId="2147483997"/>
          </pc:sldLayoutMkLst>
        </pc:sldLayoutChg>
        <pc:sldLayoutChg chg="del">
          <pc:chgData name="Nick Robinson" userId="d0c2b313-4ae0-4040-8c6a-fec7a720a7b5" providerId="ADAL" clId="{190131DE-6250-C84F-B491-721E6CF30BCB}" dt="2021-12-15T11:33:27.271" v="2965" actId="2696"/>
          <pc:sldLayoutMkLst>
            <pc:docMk/>
            <pc:sldMasterMk cId="1144333151" sldId="2147483973"/>
            <pc:sldLayoutMk cId="1601428940" sldId="2147483998"/>
          </pc:sldLayoutMkLst>
        </pc:sldLayoutChg>
        <pc:sldLayoutChg chg="del">
          <pc:chgData name="Nick Robinson" userId="d0c2b313-4ae0-4040-8c6a-fec7a720a7b5" providerId="ADAL" clId="{190131DE-6250-C84F-B491-721E6CF30BCB}" dt="2021-12-15T11:33:27.271" v="2965" actId="2696"/>
          <pc:sldLayoutMkLst>
            <pc:docMk/>
            <pc:sldMasterMk cId="1144333151" sldId="2147483973"/>
            <pc:sldLayoutMk cId="3173199723" sldId="2147483999"/>
          </pc:sldLayoutMkLst>
        </pc:sldLayoutChg>
        <pc:sldLayoutChg chg="del">
          <pc:chgData name="Nick Robinson" userId="d0c2b313-4ae0-4040-8c6a-fec7a720a7b5" providerId="ADAL" clId="{190131DE-6250-C84F-B491-721E6CF30BCB}" dt="2021-12-15T11:33:27.271" v="2965" actId="2696"/>
          <pc:sldLayoutMkLst>
            <pc:docMk/>
            <pc:sldMasterMk cId="1144333151" sldId="2147483973"/>
            <pc:sldLayoutMk cId="3291438021" sldId="2147484000"/>
          </pc:sldLayoutMkLst>
        </pc:sldLayoutChg>
        <pc:sldLayoutChg chg="del">
          <pc:chgData name="Nick Robinson" userId="d0c2b313-4ae0-4040-8c6a-fec7a720a7b5" providerId="ADAL" clId="{190131DE-6250-C84F-B491-721E6CF30BCB}" dt="2021-12-15T11:33:27.271" v="2965" actId="2696"/>
          <pc:sldLayoutMkLst>
            <pc:docMk/>
            <pc:sldMasterMk cId="1144333151" sldId="2147483973"/>
            <pc:sldLayoutMk cId="576874635" sldId="2147484001"/>
          </pc:sldLayoutMkLst>
        </pc:sldLayoutChg>
        <pc:sldLayoutChg chg="del">
          <pc:chgData name="Nick Robinson" userId="d0c2b313-4ae0-4040-8c6a-fec7a720a7b5" providerId="ADAL" clId="{190131DE-6250-C84F-B491-721E6CF30BCB}" dt="2021-12-15T11:33:27.271" v="2965" actId="2696"/>
          <pc:sldLayoutMkLst>
            <pc:docMk/>
            <pc:sldMasterMk cId="1144333151" sldId="2147483973"/>
            <pc:sldLayoutMk cId="1731776775" sldId="2147484002"/>
          </pc:sldLayoutMkLst>
        </pc:sldLayoutChg>
        <pc:sldLayoutChg chg="del">
          <pc:chgData name="Nick Robinson" userId="d0c2b313-4ae0-4040-8c6a-fec7a720a7b5" providerId="ADAL" clId="{190131DE-6250-C84F-B491-721E6CF30BCB}" dt="2021-12-15T11:33:27.271" v="2965" actId="2696"/>
          <pc:sldLayoutMkLst>
            <pc:docMk/>
            <pc:sldMasterMk cId="1144333151" sldId="2147483973"/>
            <pc:sldLayoutMk cId="2337825114" sldId="2147484003"/>
          </pc:sldLayoutMkLst>
        </pc:sldLayoutChg>
        <pc:sldLayoutChg chg="del">
          <pc:chgData name="Nick Robinson" userId="d0c2b313-4ae0-4040-8c6a-fec7a720a7b5" providerId="ADAL" clId="{190131DE-6250-C84F-B491-721E6CF30BCB}" dt="2021-12-15T11:33:27.271" v="2965" actId="2696"/>
          <pc:sldLayoutMkLst>
            <pc:docMk/>
            <pc:sldMasterMk cId="1144333151" sldId="2147483973"/>
            <pc:sldLayoutMk cId="417786355" sldId="2147484004"/>
          </pc:sldLayoutMkLst>
        </pc:sldLayoutChg>
        <pc:sldLayoutChg chg="del">
          <pc:chgData name="Nick Robinson" userId="d0c2b313-4ae0-4040-8c6a-fec7a720a7b5" providerId="ADAL" clId="{190131DE-6250-C84F-B491-721E6CF30BCB}" dt="2021-12-15T11:33:27.271" v="2965" actId="2696"/>
          <pc:sldLayoutMkLst>
            <pc:docMk/>
            <pc:sldMasterMk cId="1144333151" sldId="2147483973"/>
            <pc:sldLayoutMk cId="1788400701" sldId="2147484005"/>
          </pc:sldLayoutMkLst>
        </pc:sldLayoutChg>
        <pc:sldLayoutChg chg="del">
          <pc:chgData name="Nick Robinson" userId="d0c2b313-4ae0-4040-8c6a-fec7a720a7b5" providerId="ADAL" clId="{190131DE-6250-C84F-B491-721E6CF30BCB}" dt="2021-12-15T11:33:27.271" v="2965" actId="2696"/>
          <pc:sldLayoutMkLst>
            <pc:docMk/>
            <pc:sldMasterMk cId="1144333151" sldId="2147483973"/>
            <pc:sldLayoutMk cId="617750999" sldId="2147484006"/>
          </pc:sldLayoutMkLst>
        </pc:sldLayoutChg>
        <pc:sldLayoutChg chg="del">
          <pc:chgData name="Nick Robinson" userId="d0c2b313-4ae0-4040-8c6a-fec7a720a7b5" providerId="ADAL" clId="{190131DE-6250-C84F-B491-721E6CF30BCB}" dt="2021-12-15T11:33:27.271" v="2965" actId="2696"/>
          <pc:sldLayoutMkLst>
            <pc:docMk/>
            <pc:sldMasterMk cId="1144333151" sldId="2147483973"/>
            <pc:sldLayoutMk cId="508651964" sldId="2147484007"/>
          </pc:sldLayoutMkLst>
        </pc:sldLayoutChg>
        <pc:sldLayoutChg chg="del">
          <pc:chgData name="Nick Robinson" userId="d0c2b313-4ae0-4040-8c6a-fec7a720a7b5" providerId="ADAL" clId="{190131DE-6250-C84F-B491-721E6CF30BCB}" dt="2021-12-15T11:33:27.271" v="2965" actId="2696"/>
          <pc:sldLayoutMkLst>
            <pc:docMk/>
            <pc:sldMasterMk cId="1144333151" sldId="2147483973"/>
            <pc:sldLayoutMk cId="41207398" sldId="2147484008"/>
          </pc:sldLayoutMkLst>
        </pc:sldLayoutChg>
        <pc:sldLayoutChg chg="del">
          <pc:chgData name="Nick Robinson" userId="d0c2b313-4ae0-4040-8c6a-fec7a720a7b5" providerId="ADAL" clId="{190131DE-6250-C84F-B491-721E6CF30BCB}" dt="2021-12-15T11:33:27.271" v="2965" actId="2696"/>
          <pc:sldLayoutMkLst>
            <pc:docMk/>
            <pc:sldMasterMk cId="1144333151" sldId="2147483973"/>
            <pc:sldLayoutMk cId="3210451310" sldId="2147484009"/>
          </pc:sldLayoutMkLst>
        </pc:sldLayoutChg>
        <pc:sldLayoutChg chg="del">
          <pc:chgData name="Nick Robinson" userId="d0c2b313-4ae0-4040-8c6a-fec7a720a7b5" providerId="ADAL" clId="{190131DE-6250-C84F-B491-721E6CF30BCB}" dt="2021-12-15T11:33:27.271" v="2965" actId="2696"/>
          <pc:sldLayoutMkLst>
            <pc:docMk/>
            <pc:sldMasterMk cId="1144333151" sldId="2147483973"/>
            <pc:sldLayoutMk cId="3112604174" sldId="2147484010"/>
          </pc:sldLayoutMkLst>
        </pc:sldLayoutChg>
        <pc:sldLayoutChg chg="del">
          <pc:chgData name="Nick Robinson" userId="d0c2b313-4ae0-4040-8c6a-fec7a720a7b5" providerId="ADAL" clId="{190131DE-6250-C84F-B491-721E6CF30BCB}" dt="2021-12-15T11:33:27.271" v="2965" actId="2696"/>
          <pc:sldLayoutMkLst>
            <pc:docMk/>
            <pc:sldMasterMk cId="1144333151" sldId="2147483973"/>
            <pc:sldLayoutMk cId="1882240922" sldId="2147484011"/>
          </pc:sldLayoutMkLst>
        </pc:sldLayoutChg>
        <pc:sldLayoutChg chg="del">
          <pc:chgData name="Nick Robinson" userId="d0c2b313-4ae0-4040-8c6a-fec7a720a7b5" providerId="ADAL" clId="{190131DE-6250-C84F-B491-721E6CF30BCB}" dt="2021-12-15T11:33:27.271" v="2965" actId="2696"/>
          <pc:sldLayoutMkLst>
            <pc:docMk/>
            <pc:sldMasterMk cId="1144333151" sldId="2147483973"/>
            <pc:sldLayoutMk cId="2844269297" sldId="2147484012"/>
          </pc:sldLayoutMkLst>
        </pc:sldLayoutChg>
        <pc:sldLayoutChg chg="del">
          <pc:chgData name="Nick Robinson" userId="d0c2b313-4ae0-4040-8c6a-fec7a720a7b5" providerId="ADAL" clId="{190131DE-6250-C84F-B491-721E6CF30BCB}" dt="2021-12-15T11:33:27.271" v="2965" actId="2696"/>
          <pc:sldLayoutMkLst>
            <pc:docMk/>
            <pc:sldMasterMk cId="1144333151" sldId="2147483973"/>
            <pc:sldLayoutMk cId="223118424" sldId="2147484013"/>
          </pc:sldLayoutMkLst>
        </pc:sldLayoutChg>
        <pc:sldLayoutChg chg="del">
          <pc:chgData name="Nick Robinson" userId="d0c2b313-4ae0-4040-8c6a-fec7a720a7b5" providerId="ADAL" clId="{190131DE-6250-C84F-B491-721E6CF30BCB}" dt="2021-12-15T11:33:27.271" v="2965" actId="2696"/>
          <pc:sldLayoutMkLst>
            <pc:docMk/>
            <pc:sldMasterMk cId="1144333151" sldId="2147483973"/>
            <pc:sldLayoutMk cId="488875950" sldId="2147484014"/>
          </pc:sldLayoutMkLst>
        </pc:sldLayoutChg>
        <pc:sldLayoutChg chg="del">
          <pc:chgData name="Nick Robinson" userId="d0c2b313-4ae0-4040-8c6a-fec7a720a7b5" providerId="ADAL" clId="{190131DE-6250-C84F-B491-721E6CF30BCB}" dt="2021-12-15T11:33:27.271" v="2965" actId="2696"/>
          <pc:sldLayoutMkLst>
            <pc:docMk/>
            <pc:sldMasterMk cId="1144333151" sldId="2147483973"/>
            <pc:sldLayoutMk cId="1477070523" sldId="2147484015"/>
          </pc:sldLayoutMkLst>
        </pc:sldLayoutChg>
        <pc:sldLayoutChg chg="del">
          <pc:chgData name="Nick Robinson" userId="d0c2b313-4ae0-4040-8c6a-fec7a720a7b5" providerId="ADAL" clId="{190131DE-6250-C84F-B491-721E6CF30BCB}" dt="2021-12-15T11:33:27.271" v="2965" actId="2696"/>
          <pc:sldLayoutMkLst>
            <pc:docMk/>
            <pc:sldMasterMk cId="1144333151" sldId="2147483973"/>
            <pc:sldLayoutMk cId="1879003424" sldId="2147484016"/>
          </pc:sldLayoutMkLst>
        </pc:sldLayoutChg>
        <pc:sldLayoutChg chg="del">
          <pc:chgData name="Nick Robinson" userId="d0c2b313-4ae0-4040-8c6a-fec7a720a7b5" providerId="ADAL" clId="{190131DE-6250-C84F-B491-721E6CF30BCB}" dt="2021-12-15T11:33:27.271" v="2965" actId="2696"/>
          <pc:sldLayoutMkLst>
            <pc:docMk/>
            <pc:sldMasterMk cId="1144333151" sldId="2147483973"/>
            <pc:sldLayoutMk cId="1572588026" sldId="2147484017"/>
          </pc:sldLayoutMkLst>
        </pc:sldLayoutChg>
        <pc:sldLayoutChg chg="del">
          <pc:chgData name="Nick Robinson" userId="d0c2b313-4ae0-4040-8c6a-fec7a720a7b5" providerId="ADAL" clId="{190131DE-6250-C84F-B491-721E6CF30BCB}" dt="2021-12-15T11:33:27.271" v="2965" actId="2696"/>
          <pc:sldLayoutMkLst>
            <pc:docMk/>
            <pc:sldMasterMk cId="1144333151" sldId="2147483973"/>
            <pc:sldLayoutMk cId="3982541477" sldId="2147484018"/>
          </pc:sldLayoutMkLst>
        </pc:sldLayoutChg>
        <pc:sldLayoutChg chg="del">
          <pc:chgData name="Nick Robinson" userId="d0c2b313-4ae0-4040-8c6a-fec7a720a7b5" providerId="ADAL" clId="{190131DE-6250-C84F-B491-721E6CF30BCB}" dt="2021-12-15T11:33:27.271" v="2965" actId="2696"/>
          <pc:sldLayoutMkLst>
            <pc:docMk/>
            <pc:sldMasterMk cId="1144333151" sldId="2147483973"/>
            <pc:sldLayoutMk cId="3747851295" sldId="2147484019"/>
          </pc:sldLayoutMkLst>
        </pc:sldLayoutChg>
        <pc:sldLayoutChg chg="del">
          <pc:chgData name="Nick Robinson" userId="d0c2b313-4ae0-4040-8c6a-fec7a720a7b5" providerId="ADAL" clId="{190131DE-6250-C84F-B491-721E6CF30BCB}" dt="2021-12-15T11:33:27.271" v="2965" actId="2696"/>
          <pc:sldLayoutMkLst>
            <pc:docMk/>
            <pc:sldMasterMk cId="1144333151" sldId="2147483973"/>
            <pc:sldLayoutMk cId="4103281106" sldId="2147484020"/>
          </pc:sldLayoutMkLst>
        </pc:sldLayoutChg>
      </pc:sldMasterChg>
    </pc:docChg>
  </pc:docChgLst>
  <pc:docChgLst>
    <pc:chgData name="Nick Robinson" userId="d0c2b313-4ae0-4040-8c6a-fec7a720a7b5" providerId="ADAL" clId="{42699863-337D-3F42-BAB2-1E2940D16818}"/>
    <pc:docChg chg="modSld">
      <pc:chgData name="Nick Robinson" userId="d0c2b313-4ae0-4040-8c6a-fec7a720a7b5" providerId="ADAL" clId="{42699863-337D-3F42-BAB2-1E2940D16818}" dt="2022-01-12T09:55:36.744" v="11" actId="20577"/>
      <pc:docMkLst>
        <pc:docMk/>
      </pc:docMkLst>
      <pc:sldChg chg="modSp mod">
        <pc:chgData name="Nick Robinson" userId="d0c2b313-4ae0-4040-8c6a-fec7a720a7b5" providerId="ADAL" clId="{42699863-337D-3F42-BAB2-1E2940D16818}" dt="2022-01-12T09:55:36.744" v="11" actId="20577"/>
        <pc:sldMkLst>
          <pc:docMk/>
          <pc:sldMk cId="3899156713" sldId="500"/>
        </pc:sldMkLst>
        <pc:spChg chg="mod">
          <ac:chgData name="Nick Robinson" userId="d0c2b313-4ae0-4040-8c6a-fec7a720a7b5" providerId="ADAL" clId="{42699863-337D-3F42-BAB2-1E2940D16818}" dt="2022-01-12T09:55:36.744" v="11" actId="20577"/>
          <ac:spMkLst>
            <pc:docMk/>
            <pc:sldMk cId="3899156713" sldId="500"/>
            <ac:spMk id="8" creationId="{77BFE849-4BB6-1245-8013-9EC80472DD21}"/>
          </ac:spMkLst>
        </pc:spChg>
      </pc:sldChg>
    </pc:docChg>
  </pc:docChgLst>
  <pc:docChgLst>
    <pc:chgData name="Dan McTavish" userId="3bdd38c9-93c5-470d-b029-59656566a699" providerId="ADAL" clId="{63924E6F-2527-CD40-B54C-8ADE0C160F09}"/>
    <pc:docChg chg="undo redo custSel addSld delSld modSld sldOrd">
      <pc:chgData name="Dan McTavish" userId="3bdd38c9-93c5-470d-b029-59656566a699" providerId="ADAL" clId="{63924E6F-2527-CD40-B54C-8ADE0C160F09}" dt="2021-12-17T14:53:37.612" v="3834" actId="20577"/>
      <pc:docMkLst>
        <pc:docMk/>
      </pc:docMkLst>
      <pc:sldChg chg="modSp mod">
        <pc:chgData name="Dan McTavish" userId="3bdd38c9-93c5-470d-b029-59656566a699" providerId="ADAL" clId="{63924E6F-2527-CD40-B54C-8ADE0C160F09}" dt="2021-12-13T15:36:58.770" v="41" actId="14100"/>
        <pc:sldMkLst>
          <pc:docMk/>
          <pc:sldMk cId="715044660" sldId="6722"/>
        </pc:sldMkLst>
        <pc:picChg chg="mod">
          <ac:chgData name="Dan McTavish" userId="3bdd38c9-93c5-470d-b029-59656566a699" providerId="ADAL" clId="{63924E6F-2527-CD40-B54C-8ADE0C160F09}" dt="2021-12-13T15:36:58.770" v="41" actId="14100"/>
          <ac:picMkLst>
            <pc:docMk/>
            <pc:sldMk cId="715044660" sldId="6722"/>
            <ac:picMk id="111" creationId="{AA166542-989B-DA4A-97B8-86167B21259B}"/>
          </ac:picMkLst>
        </pc:picChg>
      </pc:sldChg>
      <pc:sldChg chg="add">
        <pc:chgData name="Dan McTavish" userId="3bdd38c9-93c5-470d-b029-59656566a699" providerId="ADAL" clId="{63924E6F-2527-CD40-B54C-8ADE0C160F09}" dt="2021-12-17T11:46:34.025" v="2725"/>
        <pc:sldMkLst>
          <pc:docMk/>
          <pc:sldMk cId="72529761" sldId="1448943263"/>
        </pc:sldMkLst>
      </pc:sldChg>
      <pc:sldChg chg="modSp add mod">
        <pc:chgData name="Dan McTavish" userId="3bdd38c9-93c5-470d-b029-59656566a699" providerId="ADAL" clId="{63924E6F-2527-CD40-B54C-8ADE0C160F09}" dt="2021-12-14T11:46:24.968" v="815" actId="20577"/>
        <pc:sldMkLst>
          <pc:docMk/>
          <pc:sldMk cId="3925339652" sldId="1448943276"/>
        </pc:sldMkLst>
        <pc:spChg chg="mod">
          <ac:chgData name="Dan McTavish" userId="3bdd38c9-93c5-470d-b029-59656566a699" providerId="ADAL" clId="{63924E6F-2527-CD40-B54C-8ADE0C160F09}" dt="2021-12-14T11:46:24.968" v="815" actId="20577"/>
          <ac:spMkLst>
            <pc:docMk/>
            <pc:sldMk cId="3925339652" sldId="1448943276"/>
            <ac:spMk id="24" creationId="{39B0B000-FB9F-7746-A164-953213452FEF}"/>
          </ac:spMkLst>
        </pc:spChg>
      </pc:sldChg>
      <pc:sldChg chg="modSp add mod">
        <pc:chgData name="Dan McTavish" userId="3bdd38c9-93c5-470d-b029-59656566a699" providerId="ADAL" clId="{63924E6F-2527-CD40-B54C-8ADE0C160F09}" dt="2021-12-17T14:32:59.417" v="3653" actId="1076"/>
        <pc:sldMkLst>
          <pc:docMk/>
          <pc:sldMk cId="1196644783" sldId="1448943279"/>
        </pc:sldMkLst>
        <pc:spChg chg="mod">
          <ac:chgData name="Dan McTavish" userId="3bdd38c9-93c5-470d-b029-59656566a699" providerId="ADAL" clId="{63924E6F-2527-CD40-B54C-8ADE0C160F09}" dt="2021-12-17T14:32:59.417" v="3653" actId="1076"/>
          <ac:spMkLst>
            <pc:docMk/>
            <pc:sldMk cId="1196644783" sldId="1448943279"/>
            <ac:spMk id="30" creationId="{E6B7EC03-736F-2F4E-BA56-F13F306F08A3}"/>
          </ac:spMkLst>
        </pc:spChg>
        <pc:cxnChg chg="mod">
          <ac:chgData name="Dan McTavish" userId="3bdd38c9-93c5-470d-b029-59656566a699" providerId="ADAL" clId="{63924E6F-2527-CD40-B54C-8ADE0C160F09}" dt="2021-12-17T14:26:17.719" v="3380" actId="1076"/>
          <ac:cxnSpMkLst>
            <pc:docMk/>
            <pc:sldMk cId="1196644783" sldId="1448943279"/>
            <ac:cxnSpMk id="48" creationId="{20F052DB-9B68-5546-9DDF-FD06514FDED4}"/>
          </ac:cxnSpMkLst>
        </pc:cxnChg>
      </pc:sldChg>
      <pc:sldChg chg="add">
        <pc:chgData name="Dan McTavish" userId="3bdd38c9-93c5-470d-b029-59656566a699" providerId="ADAL" clId="{63924E6F-2527-CD40-B54C-8ADE0C160F09}" dt="2021-12-17T11:30:25.156" v="2714"/>
        <pc:sldMkLst>
          <pc:docMk/>
          <pc:sldMk cId="3817828692" sldId="1448943280"/>
        </pc:sldMkLst>
      </pc:sldChg>
      <pc:sldChg chg="add">
        <pc:chgData name="Dan McTavish" userId="3bdd38c9-93c5-470d-b029-59656566a699" providerId="ADAL" clId="{63924E6F-2527-CD40-B54C-8ADE0C160F09}" dt="2021-12-13T14:47:28.244" v="0"/>
        <pc:sldMkLst>
          <pc:docMk/>
          <pc:sldMk cId="165000666" sldId="1448943281"/>
        </pc:sldMkLst>
      </pc:sldChg>
      <pc:sldChg chg="addSp modSp add mod">
        <pc:chgData name="Dan McTavish" userId="3bdd38c9-93c5-470d-b029-59656566a699" providerId="ADAL" clId="{63924E6F-2527-CD40-B54C-8ADE0C160F09}" dt="2021-12-17T14:23:18.768" v="3273" actId="20577"/>
        <pc:sldMkLst>
          <pc:docMk/>
          <pc:sldMk cId="3773516302" sldId="1448943282"/>
        </pc:sldMkLst>
        <pc:spChg chg="add">
          <ac:chgData name="Dan McTavish" userId="3bdd38c9-93c5-470d-b029-59656566a699" providerId="ADAL" clId="{63924E6F-2527-CD40-B54C-8ADE0C160F09}" dt="2021-12-17T14:21:47.424" v="3258"/>
          <ac:spMkLst>
            <pc:docMk/>
            <pc:sldMk cId="3773516302" sldId="1448943282"/>
            <ac:spMk id="5" creationId="{DD252F67-D6C4-AC43-B3F5-76C6988C1D08}"/>
          </ac:spMkLst>
        </pc:spChg>
        <pc:spChg chg="add mod">
          <ac:chgData name="Dan McTavish" userId="3bdd38c9-93c5-470d-b029-59656566a699" providerId="ADAL" clId="{63924E6F-2527-CD40-B54C-8ADE0C160F09}" dt="2021-12-17T14:23:18.768" v="3273" actId="20577"/>
          <ac:spMkLst>
            <pc:docMk/>
            <pc:sldMk cId="3773516302" sldId="1448943282"/>
            <ac:spMk id="23" creationId="{9A82B929-7F9C-2943-AF60-1C9AF5DD5D32}"/>
          </ac:spMkLst>
        </pc:spChg>
        <pc:picChg chg="add mod">
          <ac:chgData name="Dan McTavish" userId="3bdd38c9-93c5-470d-b029-59656566a699" providerId="ADAL" clId="{63924E6F-2527-CD40-B54C-8ADE0C160F09}" dt="2021-12-17T14:23:01.272" v="3267" actId="1076"/>
          <ac:picMkLst>
            <pc:docMk/>
            <pc:sldMk cId="3773516302" sldId="1448943282"/>
            <ac:picMk id="246788" creationId="{A148F276-9440-4440-A4EF-30C546103F1B}"/>
          </ac:picMkLst>
        </pc:picChg>
      </pc:sldChg>
      <pc:sldChg chg="add">
        <pc:chgData name="Dan McTavish" userId="3bdd38c9-93c5-470d-b029-59656566a699" providerId="ADAL" clId="{63924E6F-2527-CD40-B54C-8ADE0C160F09}" dt="2021-12-13T14:47:28.244" v="0"/>
        <pc:sldMkLst>
          <pc:docMk/>
          <pc:sldMk cId="2571804047" sldId="1448943283"/>
        </pc:sldMkLst>
      </pc:sldChg>
      <pc:sldChg chg="addSp delSp modSp add mod">
        <pc:chgData name="Dan McTavish" userId="3bdd38c9-93c5-470d-b029-59656566a699" providerId="ADAL" clId="{63924E6F-2527-CD40-B54C-8ADE0C160F09}" dt="2021-12-16T13:06:05.909" v="2579" actId="20577"/>
        <pc:sldMkLst>
          <pc:docMk/>
          <pc:sldMk cId="1907423324" sldId="1448943284"/>
        </pc:sldMkLst>
        <pc:spChg chg="mod">
          <ac:chgData name="Dan McTavish" userId="3bdd38c9-93c5-470d-b029-59656566a699" providerId="ADAL" clId="{63924E6F-2527-CD40-B54C-8ADE0C160F09}" dt="2021-12-16T13:06:05.909" v="2579" actId="20577"/>
          <ac:spMkLst>
            <pc:docMk/>
            <pc:sldMk cId="1907423324" sldId="1448943284"/>
            <ac:spMk id="22" creationId="{4C00F124-7851-DE41-A2ED-8D9A2CB47EBD}"/>
          </ac:spMkLst>
        </pc:spChg>
        <pc:spChg chg="add mod">
          <ac:chgData name="Dan McTavish" userId="3bdd38c9-93c5-470d-b029-59656566a699" providerId="ADAL" clId="{63924E6F-2527-CD40-B54C-8ADE0C160F09}" dt="2021-12-16T11:22:25.549" v="2143" actId="14100"/>
          <ac:spMkLst>
            <pc:docMk/>
            <pc:sldMk cId="1907423324" sldId="1448943284"/>
            <ac:spMk id="23" creationId="{9223C24A-8E13-EC45-9A54-922F8E8CE5AA}"/>
          </ac:spMkLst>
        </pc:spChg>
        <pc:spChg chg="mod">
          <ac:chgData name="Dan McTavish" userId="3bdd38c9-93c5-470d-b029-59656566a699" providerId="ADAL" clId="{63924E6F-2527-CD40-B54C-8ADE0C160F09}" dt="2021-12-16T11:21:28.536" v="2136" actId="20577"/>
          <ac:spMkLst>
            <pc:docMk/>
            <pc:sldMk cId="1907423324" sldId="1448943284"/>
            <ac:spMk id="30" creationId="{E6B7EC03-736F-2F4E-BA56-F13F306F08A3}"/>
          </ac:spMkLst>
        </pc:spChg>
        <pc:spChg chg="del">
          <ac:chgData name="Dan McTavish" userId="3bdd38c9-93c5-470d-b029-59656566a699" providerId="ADAL" clId="{63924E6F-2527-CD40-B54C-8ADE0C160F09}" dt="2021-12-16T11:21:23.332" v="2135" actId="478"/>
          <ac:spMkLst>
            <pc:docMk/>
            <pc:sldMk cId="1907423324" sldId="1448943284"/>
            <ac:spMk id="49" creationId="{9A666B14-0697-8F4B-9E3B-E6950375039C}"/>
          </ac:spMkLst>
        </pc:spChg>
        <pc:spChg chg="add del mod">
          <ac:chgData name="Dan McTavish" userId="3bdd38c9-93c5-470d-b029-59656566a699" providerId="ADAL" clId="{63924E6F-2527-CD40-B54C-8ADE0C160F09}" dt="2021-12-16T13:05:38.012" v="2571" actId="14100"/>
          <ac:spMkLst>
            <pc:docMk/>
            <pc:sldMk cId="1907423324" sldId="1448943284"/>
            <ac:spMk id="51" creationId="{23228B87-D8A3-AC4B-8389-4FD6CB03BCB4}"/>
          </ac:spMkLst>
        </pc:spChg>
        <pc:picChg chg="del mod">
          <ac:chgData name="Dan McTavish" userId="3bdd38c9-93c5-470d-b029-59656566a699" providerId="ADAL" clId="{63924E6F-2527-CD40-B54C-8ADE0C160F09}" dt="2021-12-16T13:04:02.152" v="2551" actId="478"/>
          <ac:picMkLst>
            <pc:docMk/>
            <pc:sldMk cId="1907423324" sldId="1448943284"/>
            <ac:picMk id="27652" creationId="{B2DCFFDA-9057-4741-B0DA-F651E99EF302}"/>
          </ac:picMkLst>
        </pc:picChg>
        <pc:picChg chg="del">
          <ac:chgData name="Dan McTavish" userId="3bdd38c9-93c5-470d-b029-59656566a699" providerId="ADAL" clId="{63924E6F-2527-CD40-B54C-8ADE0C160F09}" dt="2021-12-16T11:21:34.533" v="2137" actId="478"/>
          <ac:picMkLst>
            <pc:docMk/>
            <pc:sldMk cId="1907423324" sldId="1448943284"/>
            <ac:picMk id="27654" creationId="{A23B35DF-F555-DA40-B5F2-F0255E2AA95D}"/>
          </ac:picMkLst>
        </pc:picChg>
        <pc:picChg chg="add del mod">
          <ac:chgData name="Dan McTavish" userId="3bdd38c9-93c5-470d-b029-59656566a699" providerId="ADAL" clId="{63924E6F-2527-CD40-B54C-8ADE0C160F09}" dt="2021-12-16T13:05:58.618" v="2577" actId="478"/>
          <ac:picMkLst>
            <pc:docMk/>
            <pc:sldMk cId="1907423324" sldId="1448943284"/>
            <ac:picMk id="248834" creationId="{43939C7F-2D89-9048-AF8A-477302560C41}"/>
          </ac:picMkLst>
        </pc:picChg>
        <pc:picChg chg="add del mod">
          <ac:chgData name="Dan McTavish" userId="3bdd38c9-93c5-470d-b029-59656566a699" providerId="ADAL" clId="{63924E6F-2527-CD40-B54C-8ADE0C160F09}" dt="2021-12-16T13:05:38.891" v="2572"/>
          <ac:picMkLst>
            <pc:docMk/>
            <pc:sldMk cId="1907423324" sldId="1448943284"/>
            <ac:picMk id="248836" creationId="{DE514BE5-A816-6A4D-AADC-A11892176BBC}"/>
          </ac:picMkLst>
        </pc:picChg>
        <pc:picChg chg="add mod">
          <ac:chgData name="Dan McTavish" userId="3bdd38c9-93c5-470d-b029-59656566a699" providerId="ADAL" clId="{63924E6F-2527-CD40-B54C-8ADE0C160F09}" dt="2021-12-16T13:06:00.930" v="2578" actId="1076"/>
          <ac:picMkLst>
            <pc:docMk/>
            <pc:sldMk cId="1907423324" sldId="1448943284"/>
            <ac:picMk id="248838" creationId="{3BC34B15-8692-E348-AFBE-908F8EE0E738}"/>
          </ac:picMkLst>
        </pc:picChg>
        <pc:cxnChg chg="mod">
          <ac:chgData name="Dan McTavish" userId="3bdd38c9-93c5-470d-b029-59656566a699" providerId="ADAL" clId="{63924E6F-2527-CD40-B54C-8ADE0C160F09}" dt="2021-12-16T11:20:54.392" v="2130" actId="1076"/>
          <ac:cxnSpMkLst>
            <pc:docMk/>
            <pc:sldMk cId="1907423324" sldId="1448943284"/>
            <ac:cxnSpMk id="48" creationId="{20F052DB-9B68-5546-9DDF-FD06514FDED4}"/>
          </ac:cxnSpMkLst>
        </pc:cxnChg>
      </pc:sldChg>
      <pc:sldChg chg="modSp add mod">
        <pc:chgData name="Dan McTavish" userId="3bdd38c9-93c5-470d-b029-59656566a699" providerId="ADAL" clId="{63924E6F-2527-CD40-B54C-8ADE0C160F09}" dt="2021-12-17T09:08:59.314" v="2586" actId="20578"/>
        <pc:sldMkLst>
          <pc:docMk/>
          <pc:sldMk cId="3172643328" sldId="1448943285"/>
        </pc:sldMkLst>
        <pc:spChg chg="mod">
          <ac:chgData name="Dan McTavish" userId="3bdd38c9-93c5-470d-b029-59656566a699" providerId="ADAL" clId="{63924E6F-2527-CD40-B54C-8ADE0C160F09}" dt="2021-12-16T13:07:18.765" v="2585" actId="108"/>
          <ac:spMkLst>
            <pc:docMk/>
            <pc:sldMk cId="3172643328" sldId="1448943285"/>
            <ac:spMk id="30" creationId="{E6B7EC03-736F-2F4E-BA56-F13F306F08A3}"/>
          </ac:spMkLst>
        </pc:spChg>
        <pc:spChg chg="mod">
          <ac:chgData name="Dan McTavish" userId="3bdd38c9-93c5-470d-b029-59656566a699" providerId="ADAL" clId="{63924E6F-2527-CD40-B54C-8ADE0C160F09}" dt="2021-12-17T09:08:59.314" v="2586" actId="20578"/>
          <ac:spMkLst>
            <pc:docMk/>
            <pc:sldMk cId="3172643328" sldId="1448943285"/>
            <ac:spMk id="51" creationId="{23228B87-D8A3-AC4B-8389-4FD6CB03BCB4}"/>
          </ac:spMkLst>
        </pc:spChg>
      </pc:sldChg>
      <pc:sldChg chg="add">
        <pc:chgData name="Dan McTavish" userId="3bdd38c9-93c5-470d-b029-59656566a699" providerId="ADAL" clId="{63924E6F-2527-CD40-B54C-8ADE0C160F09}" dt="2021-12-17T13:44:56.655" v="2831"/>
        <pc:sldMkLst>
          <pc:docMk/>
          <pc:sldMk cId="1411985522" sldId="1448943286"/>
        </pc:sldMkLst>
      </pc:sldChg>
      <pc:sldChg chg="add">
        <pc:chgData name="Dan McTavish" userId="3bdd38c9-93c5-470d-b029-59656566a699" providerId="ADAL" clId="{63924E6F-2527-CD40-B54C-8ADE0C160F09}" dt="2021-12-17T13:45:06.226" v="2832"/>
        <pc:sldMkLst>
          <pc:docMk/>
          <pc:sldMk cId="525884006" sldId="1448943287"/>
        </pc:sldMkLst>
      </pc:sldChg>
      <pc:sldChg chg="add">
        <pc:chgData name="Dan McTavish" userId="3bdd38c9-93c5-470d-b029-59656566a699" providerId="ADAL" clId="{63924E6F-2527-CD40-B54C-8ADE0C160F09}" dt="2021-12-17T13:45:16.134" v="2833"/>
        <pc:sldMkLst>
          <pc:docMk/>
          <pc:sldMk cId="7141138" sldId="1448943289"/>
        </pc:sldMkLst>
      </pc:sldChg>
      <pc:sldChg chg="add">
        <pc:chgData name="Dan McTavish" userId="3bdd38c9-93c5-470d-b029-59656566a699" providerId="ADAL" clId="{63924E6F-2527-CD40-B54C-8ADE0C160F09}" dt="2021-12-17T13:45:24.984" v="2834"/>
        <pc:sldMkLst>
          <pc:docMk/>
          <pc:sldMk cId="2116238901" sldId="1448943290"/>
        </pc:sldMkLst>
      </pc:sldChg>
      <pc:sldChg chg="add">
        <pc:chgData name="Dan McTavish" userId="3bdd38c9-93c5-470d-b029-59656566a699" providerId="ADAL" clId="{63924E6F-2527-CD40-B54C-8ADE0C160F09}" dt="2021-12-17T13:45:39.642" v="2835"/>
        <pc:sldMkLst>
          <pc:docMk/>
          <pc:sldMk cId="2018098688" sldId="1448943291"/>
        </pc:sldMkLst>
      </pc:sldChg>
      <pc:sldChg chg="add">
        <pc:chgData name="Dan McTavish" userId="3bdd38c9-93c5-470d-b029-59656566a699" providerId="ADAL" clId="{63924E6F-2527-CD40-B54C-8ADE0C160F09}" dt="2021-12-17T13:45:48.552" v="2836"/>
        <pc:sldMkLst>
          <pc:docMk/>
          <pc:sldMk cId="1206377994" sldId="1448943292"/>
        </pc:sldMkLst>
      </pc:sldChg>
      <pc:sldChg chg="add">
        <pc:chgData name="Dan McTavish" userId="3bdd38c9-93c5-470d-b029-59656566a699" providerId="ADAL" clId="{63924E6F-2527-CD40-B54C-8ADE0C160F09}" dt="2021-12-17T13:45:56.317" v="2837"/>
        <pc:sldMkLst>
          <pc:docMk/>
          <pc:sldMk cId="3693507080" sldId="1448943293"/>
        </pc:sldMkLst>
      </pc:sldChg>
      <pc:sldChg chg="add">
        <pc:chgData name="Dan McTavish" userId="3bdd38c9-93c5-470d-b029-59656566a699" providerId="ADAL" clId="{63924E6F-2527-CD40-B54C-8ADE0C160F09}" dt="2021-12-17T13:44:47.342" v="2830"/>
        <pc:sldMkLst>
          <pc:docMk/>
          <pc:sldMk cId="3462209427" sldId="1448943294"/>
        </pc:sldMkLst>
      </pc:sldChg>
      <pc:sldChg chg="del">
        <pc:chgData name="Dan McTavish" userId="3bdd38c9-93c5-470d-b029-59656566a699" providerId="ADAL" clId="{63924E6F-2527-CD40-B54C-8ADE0C160F09}" dt="2021-12-13T15:42:06.921" v="42" actId="2696"/>
        <pc:sldMkLst>
          <pc:docMk/>
          <pc:sldMk cId="845138846" sldId="1448943328"/>
        </pc:sldMkLst>
      </pc:sldChg>
      <pc:sldChg chg="modSp mod">
        <pc:chgData name="Dan McTavish" userId="3bdd38c9-93c5-470d-b029-59656566a699" providerId="ADAL" clId="{63924E6F-2527-CD40-B54C-8ADE0C160F09}" dt="2021-12-17T09:20:54.513" v="2672" actId="313"/>
        <pc:sldMkLst>
          <pc:docMk/>
          <pc:sldMk cId="993447809" sldId="2144446013"/>
        </pc:sldMkLst>
        <pc:graphicFrameChg chg="modGraphic">
          <ac:chgData name="Dan McTavish" userId="3bdd38c9-93c5-470d-b029-59656566a699" providerId="ADAL" clId="{63924E6F-2527-CD40-B54C-8ADE0C160F09}" dt="2021-12-17T09:20:54.513" v="2672" actId="313"/>
          <ac:graphicFrameMkLst>
            <pc:docMk/>
            <pc:sldMk cId="993447809" sldId="2144446013"/>
            <ac:graphicFrameMk id="7" creationId="{E8B55483-B852-8D4D-8F15-95D0C251E583}"/>
          </ac:graphicFrameMkLst>
        </pc:graphicFrameChg>
      </pc:sldChg>
      <pc:sldChg chg="add ord">
        <pc:chgData name="Dan McTavish" userId="3bdd38c9-93c5-470d-b029-59656566a699" providerId="ADAL" clId="{63924E6F-2527-CD40-B54C-8ADE0C160F09}" dt="2021-12-17T11:31:18.341" v="2718" actId="20578"/>
        <pc:sldMkLst>
          <pc:docMk/>
          <pc:sldMk cId="2552193057" sldId="2145707170"/>
        </pc:sldMkLst>
      </pc:sldChg>
      <pc:sldChg chg="add del">
        <pc:chgData name="Dan McTavish" userId="3bdd38c9-93c5-470d-b029-59656566a699" providerId="ADAL" clId="{63924E6F-2527-CD40-B54C-8ADE0C160F09}" dt="2021-12-17T11:46:02.140" v="2724" actId="2696"/>
        <pc:sldMkLst>
          <pc:docMk/>
          <pc:sldMk cId="436909755" sldId="2145707175"/>
        </pc:sldMkLst>
      </pc:sldChg>
      <pc:sldChg chg="add del">
        <pc:chgData name="Dan McTavish" userId="3bdd38c9-93c5-470d-b029-59656566a699" providerId="ADAL" clId="{63924E6F-2527-CD40-B54C-8ADE0C160F09}" dt="2021-12-17T11:56:15.684" v="2726" actId="2696"/>
        <pc:sldMkLst>
          <pc:docMk/>
          <pc:sldMk cId="990398270" sldId="2145707177"/>
        </pc:sldMkLst>
      </pc:sldChg>
      <pc:sldChg chg="addSp delSp modSp mod">
        <pc:chgData name="Dan McTavish" userId="3bdd38c9-93c5-470d-b029-59656566a699" providerId="ADAL" clId="{63924E6F-2527-CD40-B54C-8ADE0C160F09}" dt="2021-12-14T15:11:35.251" v="2006"/>
        <pc:sldMkLst>
          <pc:docMk/>
          <pc:sldMk cId="3817542409" sldId="2145707180"/>
        </pc:sldMkLst>
        <pc:spChg chg="add del mod">
          <ac:chgData name="Dan McTavish" userId="3bdd38c9-93c5-470d-b029-59656566a699" providerId="ADAL" clId="{63924E6F-2527-CD40-B54C-8ADE0C160F09}" dt="2021-12-14T15:11:34.151" v="2004"/>
          <ac:spMkLst>
            <pc:docMk/>
            <pc:sldMk cId="3817542409" sldId="2145707180"/>
            <ac:spMk id="4" creationId="{AE59270D-695F-EF4F-A3AB-B90D1F9BC567}"/>
          </ac:spMkLst>
        </pc:spChg>
        <pc:spChg chg="add del mod">
          <ac:chgData name="Dan McTavish" userId="3bdd38c9-93c5-470d-b029-59656566a699" providerId="ADAL" clId="{63924E6F-2527-CD40-B54C-8ADE0C160F09}" dt="2021-12-14T15:11:32.002" v="2001"/>
          <ac:spMkLst>
            <pc:docMk/>
            <pc:sldMk cId="3817542409" sldId="2145707180"/>
            <ac:spMk id="5" creationId="{996E9608-E223-1A42-8A51-7F7828E4A767}"/>
          </ac:spMkLst>
        </pc:spChg>
        <pc:spChg chg="add del mod">
          <ac:chgData name="Dan McTavish" userId="3bdd38c9-93c5-470d-b029-59656566a699" providerId="ADAL" clId="{63924E6F-2527-CD40-B54C-8ADE0C160F09}" dt="2021-12-14T15:11:35.251" v="2006"/>
          <ac:spMkLst>
            <pc:docMk/>
            <pc:sldMk cId="3817542409" sldId="2145707180"/>
            <ac:spMk id="6" creationId="{FA37EC83-4530-C248-8AF7-85DB8DF9D157}"/>
          </ac:spMkLst>
        </pc:spChg>
      </pc:sldChg>
      <pc:sldChg chg="modSp mod">
        <pc:chgData name="Dan McTavish" userId="3bdd38c9-93c5-470d-b029-59656566a699" providerId="ADAL" clId="{63924E6F-2527-CD40-B54C-8ADE0C160F09}" dt="2021-12-13T15:21:54.090" v="35" actId="20577"/>
        <pc:sldMkLst>
          <pc:docMk/>
          <pc:sldMk cId="1279341331" sldId="2145707185"/>
        </pc:sldMkLst>
        <pc:spChg chg="mod">
          <ac:chgData name="Dan McTavish" userId="3bdd38c9-93c5-470d-b029-59656566a699" providerId="ADAL" clId="{63924E6F-2527-CD40-B54C-8ADE0C160F09}" dt="2021-12-13T15:21:54.090" v="35" actId="20577"/>
          <ac:spMkLst>
            <pc:docMk/>
            <pc:sldMk cId="1279341331" sldId="2145707185"/>
            <ac:spMk id="2" creationId="{97DF49F5-76E4-D045-9AE5-C5DFB0E4B946}"/>
          </ac:spMkLst>
        </pc:spChg>
      </pc:sldChg>
      <pc:sldChg chg="add">
        <pc:chgData name="Dan McTavish" userId="3bdd38c9-93c5-470d-b029-59656566a699" providerId="ADAL" clId="{63924E6F-2527-CD40-B54C-8ADE0C160F09}" dt="2021-12-17T11:31:45.215" v="2719"/>
        <pc:sldMkLst>
          <pc:docMk/>
          <pc:sldMk cId="3988442953" sldId="2145707193"/>
        </pc:sldMkLst>
      </pc:sldChg>
      <pc:sldChg chg="modSp mod">
        <pc:chgData name="Dan McTavish" userId="3bdd38c9-93c5-470d-b029-59656566a699" providerId="ADAL" clId="{63924E6F-2527-CD40-B54C-8ADE0C160F09}" dt="2021-12-13T15:21:13.860" v="34" actId="2166"/>
        <pc:sldMkLst>
          <pc:docMk/>
          <pc:sldMk cId="2537393026" sldId="2145707227"/>
        </pc:sldMkLst>
        <pc:graphicFrameChg chg="modGraphic">
          <ac:chgData name="Dan McTavish" userId="3bdd38c9-93c5-470d-b029-59656566a699" providerId="ADAL" clId="{63924E6F-2527-CD40-B54C-8ADE0C160F09}" dt="2021-12-13T15:21:13.860" v="34" actId="2166"/>
          <ac:graphicFrameMkLst>
            <pc:docMk/>
            <pc:sldMk cId="2537393026" sldId="2145707227"/>
            <ac:graphicFrameMk id="26" creationId="{B868C0AB-3D2C-4647-A123-6629F1806D7E}"/>
          </ac:graphicFrameMkLst>
        </pc:graphicFrameChg>
      </pc:sldChg>
      <pc:sldChg chg="del">
        <pc:chgData name="Dan McTavish" userId="3bdd38c9-93c5-470d-b029-59656566a699" providerId="ADAL" clId="{63924E6F-2527-CD40-B54C-8ADE0C160F09}" dt="2021-12-13T15:42:09.373" v="43" actId="2696"/>
        <pc:sldMkLst>
          <pc:docMk/>
          <pc:sldMk cId="3876722291" sldId="2145707234"/>
        </pc:sldMkLst>
      </pc:sldChg>
      <pc:sldChg chg="modSp add mod">
        <pc:chgData name="Dan McTavish" userId="3bdd38c9-93c5-470d-b029-59656566a699" providerId="ADAL" clId="{63924E6F-2527-CD40-B54C-8ADE0C160F09}" dt="2021-12-17T14:53:37.612" v="3834" actId="20577"/>
        <pc:sldMkLst>
          <pc:docMk/>
          <pc:sldMk cId="939449615" sldId="2145707244"/>
        </pc:sldMkLst>
        <pc:spChg chg="mod">
          <ac:chgData name="Dan McTavish" userId="3bdd38c9-93c5-470d-b029-59656566a699" providerId="ADAL" clId="{63924E6F-2527-CD40-B54C-8ADE0C160F09}" dt="2021-12-17T14:53:37.612" v="3834" actId="20577"/>
          <ac:spMkLst>
            <pc:docMk/>
            <pc:sldMk cId="939449615" sldId="2145707244"/>
            <ac:spMk id="30" creationId="{E6B7EC03-736F-2F4E-BA56-F13F306F08A3}"/>
          </ac:spMkLst>
        </pc:spChg>
      </pc:sldChg>
      <pc:sldChg chg="new del">
        <pc:chgData name="Dan McTavish" userId="3bdd38c9-93c5-470d-b029-59656566a699" providerId="ADAL" clId="{63924E6F-2527-CD40-B54C-8ADE0C160F09}" dt="2021-12-13T15:13:24.073" v="2" actId="2696"/>
        <pc:sldMkLst>
          <pc:docMk/>
          <pc:sldMk cId="51681584" sldId="2145707245"/>
        </pc:sldMkLst>
      </pc:sldChg>
      <pc:sldChg chg="modSp add mod">
        <pc:chgData name="Dan McTavish" userId="3bdd38c9-93c5-470d-b029-59656566a699" providerId="ADAL" clId="{63924E6F-2527-CD40-B54C-8ADE0C160F09}" dt="2021-12-13T15:13:51.187" v="33" actId="313"/>
        <pc:sldMkLst>
          <pc:docMk/>
          <pc:sldMk cId="4165506079" sldId="2145707245"/>
        </pc:sldMkLst>
        <pc:spChg chg="mod">
          <ac:chgData name="Dan McTavish" userId="3bdd38c9-93c5-470d-b029-59656566a699" providerId="ADAL" clId="{63924E6F-2527-CD40-B54C-8ADE0C160F09}" dt="2021-12-13T15:13:51.187" v="33" actId="313"/>
          <ac:spMkLst>
            <pc:docMk/>
            <pc:sldMk cId="4165506079" sldId="2145707245"/>
            <ac:spMk id="2" creationId="{97DF49F5-76E4-D045-9AE5-C5DFB0E4B946}"/>
          </ac:spMkLst>
        </pc:spChg>
      </pc:sldChg>
      <pc:sldChg chg="modSp mod">
        <pc:chgData name="Dan McTavish" userId="3bdd38c9-93c5-470d-b029-59656566a699" providerId="ADAL" clId="{63924E6F-2527-CD40-B54C-8ADE0C160F09}" dt="2021-12-14T13:19:02.022" v="1421" actId="20577"/>
        <pc:sldMkLst>
          <pc:docMk/>
          <pc:sldMk cId="1005619164" sldId="2145707246"/>
        </pc:sldMkLst>
        <pc:spChg chg="mod">
          <ac:chgData name="Dan McTavish" userId="3bdd38c9-93c5-470d-b029-59656566a699" providerId="ADAL" clId="{63924E6F-2527-CD40-B54C-8ADE0C160F09}" dt="2021-12-14T12:57:51.231" v="878" actId="1076"/>
          <ac:spMkLst>
            <pc:docMk/>
            <pc:sldMk cId="1005619164" sldId="2145707246"/>
            <ac:spMk id="14" creationId="{187D98F4-EB5A-E04B-B1AB-3062BCA3330F}"/>
          </ac:spMkLst>
        </pc:spChg>
        <pc:spChg chg="mod">
          <ac:chgData name="Dan McTavish" userId="3bdd38c9-93c5-470d-b029-59656566a699" providerId="ADAL" clId="{63924E6F-2527-CD40-B54C-8ADE0C160F09}" dt="2021-12-14T11:46:19.968" v="814" actId="20577"/>
          <ac:spMkLst>
            <pc:docMk/>
            <pc:sldMk cId="1005619164" sldId="2145707246"/>
            <ac:spMk id="24" creationId="{B4BA5025-0DD8-D240-9370-3C00775C2DF5}"/>
          </ac:spMkLst>
        </pc:spChg>
        <pc:graphicFrameChg chg="mod modGraphic">
          <ac:chgData name="Dan McTavish" userId="3bdd38c9-93c5-470d-b029-59656566a699" providerId="ADAL" clId="{63924E6F-2527-CD40-B54C-8ADE0C160F09}" dt="2021-12-14T13:19:02.022" v="1421" actId="20577"/>
          <ac:graphicFrameMkLst>
            <pc:docMk/>
            <pc:sldMk cId="1005619164" sldId="2145707246"/>
            <ac:graphicFrameMk id="5" creationId="{AC4AB7CF-4D4A-7B44-B1A6-4717A3E53B8F}"/>
          </ac:graphicFrameMkLst>
        </pc:graphicFrameChg>
      </pc:sldChg>
      <pc:sldChg chg="modSp mod">
        <pc:chgData name="Dan McTavish" userId="3bdd38c9-93c5-470d-b029-59656566a699" providerId="ADAL" clId="{63924E6F-2527-CD40-B54C-8ADE0C160F09}" dt="2021-12-13T15:46:28.965" v="44" actId="313"/>
        <pc:sldMkLst>
          <pc:docMk/>
          <pc:sldMk cId="2232312932" sldId="2145707247"/>
        </pc:sldMkLst>
        <pc:spChg chg="mod">
          <ac:chgData name="Dan McTavish" userId="3bdd38c9-93c5-470d-b029-59656566a699" providerId="ADAL" clId="{63924E6F-2527-CD40-B54C-8ADE0C160F09}" dt="2021-12-13T15:46:28.965" v="44" actId="313"/>
          <ac:spMkLst>
            <pc:docMk/>
            <pc:sldMk cId="2232312932" sldId="2145707247"/>
            <ac:spMk id="54" creationId="{A7DD93EE-2A6C-2D44-8C5F-34F2D3F3960E}"/>
          </ac:spMkLst>
        </pc:spChg>
      </pc:sldChg>
      <pc:sldChg chg="addSp delSp modSp mod">
        <pc:chgData name="Dan McTavish" userId="3bdd38c9-93c5-470d-b029-59656566a699" providerId="ADAL" clId="{63924E6F-2527-CD40-B54C-8ADE0C160F09}" dt="2021-12-14T12:12:08.922" v="856" actId="1076"/>
        <pc:sldMkLst>
          <pc:docMk/>
          <pc:sldMk cId="3375605156" sldId="2145707248"/>
        </pc:sldMkLst>
        <pc:spChg chg="mod">
          <ac:chgData name="Dan McTavish" userId="3bdd38c9-93c5-470d-b029-59656566a699" providerId="ADAL" clId="{63924E6F-2527-CD40-B54C-8ADE0C160F09}" dt="2021-12-14T11:46:35.921" v="816" actId="20577"/>
          <ac:spMkLst>
            <pc:docMk/>
            <pc:sldMk cId="3375605156" sldId="2145707248"/>
            <ac:spMk id="11" creationId="{3DE697EA-A53A-584E-A610-4F6891864679}"/>
          </ac:spMkLst>
        </pc:spChg>
        <pc:spChg chg="mod">
          <ac:chgData name="Dan McTavish" userId="3bdd38c9-93c5-470d-b029-59656566a699" providerId="ADAL" clId="{63924E6F-2527-CD40-B54C-8ADE0C160F09}" dt="2021-12-14T09:17:16.277" v="190" actId="20577"/>
          <ac:spMkLst>
            <pc:docMk/>
            <pc:sldMk cId="3375605156" sldId="2145707248"/>
            <ac:spMk id="23" creationId="{EE5358C1-0F63-4D42-BEA7-326221BEB778}"/>
          </ac:spMkLst>
        </pc:spChg>
        <pc:spChg chg="mod">
          <ac:chgData name="Dan McTavish" userId="3bdd38c9-93c5-470d-b029-59656566a699" providerId="ADAL" clId="{63924E6F-2527-CD40-B54C-8ADE0C160F09}" dt="2021-12-14T09:17:28.662" v="192" actId="1076"/>
          <ac:spMkLst>
            <pc:docMk/>
            <pc:sldMk cId="3375605156" sldId="2145707248"/>
            <ac:spMk id="26" creationId="{4A7F5C33-25B6-1B42-B613-76BC0B4F7FDF}"/>
          </ac:spMkLst>
        </pc:spChg>
        <pc:spChg chg="mod">
          <ac:chgData name="Dan McTavish" userId="3bdd38c9-93c5-470d-b029-59656566a699" providerId="ADAL" clId="{63924E6F-2527-CD40-B54C-8ADE0C160F09}" dt="2021-12-14T10:07:27.089" v="473" actId="207"/>
          <ac:spMkLst>
            <pc:docMk/>
            <pc:sldMk cId="3375605156" sldId="2145707248"/>
            <ac:spMk id="27" creationId="{C3FFCEA0-84B7-FA47-8A45-9FC45E77358A}"/>
          </ac:spMkLst>
        </pc:spChg>
        <pc:spChg chg="mod">
          <ac:chgData name="Dan McTavish" userId="3bdd38c9-93c5-470d-b029-59656566a699" providerId="ADAL" clId="{63924E6F-2527-CD40-B54C-8ADE0C160F09}" dt="2021-12-14T09:17:28.662" v="192" actId="1076"/>
          <ac:spMkLst>
            <pc:docMk/>
            <pc:sldMk cId="3375605156" sldId="2145707248"/>
            <ac:spMk id="29" creationId="{07CBFA51-FFCA-6745-9B2A-82ACCF380757}"/>
          </ac:spMkLst>
        </pc:spChg>
        <pc:spChg chg="mod">
          <ac:chgData name="Dan McTavish" userId="3bdd38c9-93c5-470d-b029-59656566a699" providerId="ADAL" clId="{63924E6F-2527-CD40-B54C-8ADE0C160F09}" dt="2021-12-14T09:17:28.662" v="192" actId="1076"/>
          <ac:spMkLst>
            <pc:docMk/>
            <pc:sldMk cId="3375605156" sldId="2145707248"/>
            <ac:spMk id="30" creationId="{6CB37A5A-6D1A-9149-B124-E2ABD39F965D}"/>
          </ac:spMkLst>
        </pc:spChg>
        <pc:graphicFrameChg chg="add del mod modGraphic">
          <ac:chgData name="Dan McTavish" userId="3bdd38c9-93c5-470d-b029-59656566a699" providerId="ADAL" clId="{63924E6F-2527-CD40-B54C-8ADE0C160F09}" dt="2021-12-14T10:07:04.359" v="468" actId="207"/>
          <ac:graphicFrameMkLst>
            <pc:docMk/>
            <pc:sldMk cId="3375605156" sldId="2145707248"/>
            <ac:graphicFrameMk id="21" creationId="{D2EFCA57-5521-F746-8723-4442BED321E9}"/>
          </ac:graphicFrameMkLst>
        </pc:graphicFrameChg>
        <pc:picChg chg="add mod">
          <ac:chgData name="Dan McTavish" userId="3bdd38c9-93c5-470d-b029-59656566a699" providerId="ADAL" clId="{63924E6F-2527-CD40-B54C-8ADE0C160F09}" dt="2021-12-14T09:27:43.743" v="211" actId="1036"/>
          <ac:picMkLst>
            <pc:docMk/>
            <pc:sldMk cId="3375605156" sldId="2145707248"/>
            <ac:picMk id="9" creationId="{64CF3AE0-603C-8944-B2BB-F7EF77B9472C}"/>
          </ac:picMkLst>
        </pc:picChg>
        <pc:picChg chg="mod">
          <ac:chgData name="Dan McTavish" userId="3bdd38c9-93c5-470d-b029-59656566a699" providerId="ADAL" clId="{63924E6F-2527-CD40-B54C-8ADE0C160F09}" dt="2021-12-14T10:03:49.756" v="436" actId="14100"/>
          <ac:picMkLst>
            <pc:docMk/>
            <pc:sldMk cId="3375605156" sldId="2145707248"/>
            <ac:picMk id="10" creationId="{23409642-8C7A-CE49-9325-2AAF2DD66344}"/>
          </ac:picMkLst>
        </pc:picChg>
        <pc:picChg chg="add mod">
          <ac:chgData name="Dan McTavish" userId="3bdd38c9-93c5-470d-b029-59656566a699" providerId="ADAL" clId="{63924E6F-2527-CD40-B54C-8ADE0C160F09}" dt="2021-12-14T10:03:56.811" v="437" actId="14100"/>
          <ac:picMkLst>
            <pc:docMk/>
            <pc:sldMk cId="3375605156" sldId="2145707248"/>
            <ac:picMk id="13" creationId="{B4DA1AA9-ED34-5F42-996E-94B21C2DFEE4}"/>
          </ac:picMkLst>
        </pc:picChg>
        <pc:picChg chg="add mod">
          <ac:chgData name="Dan McTavish" userId="3bdd38c9-93c5-470d-b029-59656566a699" providerId="ADAL" clId="{63924E6F-2527-CD40-B54C-8ADE0C160F09}" dt="2021-12-14T10:07:15.888" v="470" actId="207"/>
          <ac:picMkLst>
            <pc:docMk/>
            <pc:sldMk cId="3375605156" sldId="2145707248"/>
            <ac:picMk id="15" creationId="{958B776E-B358-8D44-A912-AAD94B95855D}"/>
          </ac:picMkLst>
        </pc:picChg>
        <pc:picChg chg="del mod">
          <ac:chgData name="Dan McTavish" userId="3bdd38c9-93c5-470d-b029-59656566a699" providerId="ADAL" clId="{63924E6F-2527-CD40-B54C-8ADE0C160F09}" dt="2021-12-14T09:27:31.146" v="206" actId="478"/>
          <ac:picMkLst>
            <pc:docMk/>
            <pc:sldMk cId="3375605156" sldId="2145707248"/>
            <ac:picMk id="24" creationId="{7D4F232D-52B7-3141-98A4-C1564228AAB4}"/>
          </ac:picMkLst>
        </pc:picChg>
        <pc:picChg chg="del mod">
          <ac:chgData name="Dan McTavish" userId="3bdd38c9-93c5-470d-b029-59656566a699" providerId="ADAL" clId="{63924E6F-2527-CD40-B54C-8ADE0C160F09}" dt="2021-12-14T12:11:47.366" v="852" actId="478"/>
          <ac:picMkLst>
            <pc:docMk/>
            <pc:sldMk cId="3375605156" sldId="2145707248"/>
            <ac:picMk id="25" creationId="{BCC901C7-1D28-C44D-9745-26E77343155D}"/>
          </ac:picMkLst>
        </pc:picChg>
        <pc:picChg chg="del mod">
          <ac:chgData name="Dan McTavish" userId="3bdd38c9-93c5-470d-b029-59656566a699" providerId="ADAL" clId="{63924E6F-2527-CD40-B54C-8ADE0C160F09}" dt="2021-12-14T09:48:31.432" v="288" actId="478"/>
          <ac:picMkLst>
            <pc:docMk/>
            <pc:sldMk cId="3375605156" sldId="2145707248"/>
            <ac:picMk id="28" creationId="{F784BBD7-A02A-1F41-8E07-B715D8FEBCDA}"/>
          </ac:picMkLst>
        </pc:picChg>
        <pc:picChg chg="add mod">
          <ac:chgData name="Dan McTavish" userId="3bdd38c9-93c5-470d-b029-59656566a699" providerId="ADAL" clId="{63924E6F-2527-CD40-B54C-8ADE0C160F09}" dt="2021-12-14T09:41:45.286" v="269" actId="1076"/>
          <ac:picMkLst>
            <pc:docMk/>
            <pc:sldMk cId="3375605156" sldId="2145707248"/>
            <ac:picMk id="31" creationId="{D2EFCBDF-AD73-B540-B25F-CAC899DA368B}"/>
          </ac:picMkLst>
        </pc:picChg>
        <pc:picChg chg="add del mod">
          <ac:chgData name="Dan McTavish" userId="3bdd38c9-93c5-470d-b029-59656566a699" providerId="ADAL" clId="{63924E6F-2527-CD40-B54C-8ADE0C160F09}" dt="2021-12-14T09:43:58.925" v="278" actId="478"/>
          <ac:picMkLst>
            <pc:docMk/>
            <pc:sldMk cId="3375605156" sldId="2145707248"/>
            <ac:picMk id="33" creationId="{B924CBC5-11DB-8346-BD23-E2B0DFCD2550}"/>
          </ac:picMkLst>
        </pc:picChg>
        <pc:picChg chg="add del mod">
          <ac:chgData name="Dan McTavish" userId="3bdd38c9-93c5-470d-b029-59656566a699" providerId="ADAL" clId="{63924E6F-2527-CD40-B54C-8ADE0C160F09}" dt="2021-12-14T09:47:55.540" v="283" actId="478"/>
          <ac:picMkLst>
            <pc:docMk/>
            <pc:sldMk cId="3375605156" sldId="2145707248"/>
            <ac:picMk id="38" creationId="{C931AAC1-AC75-BD4D-9AB3-BA5A0EA1E9BB}"/>
          </ac:picMkLst>
        </pc:picChg>
        <pc:picChg chg="add del mod">
          <ac:chgData name="Dan McTavish" userId="3bdd38c9-93c5-470d-b029-59656566a699" providerId="ADAL" clId="{63924E6F-2527-CD40-B54C-8ADE0C160F09}" dt="2021-12-14T09:47:53.496" v="282" actId="478"/>
          <ac:picMkLst>
            <pc:docMk/>
            <pc:sldMk cId="3375605156" sldId="2145707248"/>
            <ac:picMk id="41" creationId="{C36C4B50-97C2-2240-B28D-15341A565ED5}"/>
          </ac:picMkLst>
        </pc:picChg>
        <pc:picChg chg="add del mod">
          <ac:chgData name="Dan McTavish" userId="3bdd38c9-93c5-470d-b029-59656566a699" providerId="ADAL" clId="{63924E6F-2527-CD40-B54C-8ADE0C160F09}" dt="2021-12-14T09:49:35.042" v="290" actId="478"/>
          <ac:picMkLst>
            <pc:docMk/>
            <pc:sldMk cId="3375605156" sldId="2145707248"/>
            <ac:picMk id="43" creationId="{BC516432-9F1F-1341-8E49-B0E1967A2CC9}"/>
          </ac:picMkLst>
        </pc:picChg>
        <pc:picChg chg="add mod">
          <ac:chgData name="Dan McTavish" userId="3bdd38c9-93c5-470d-b029-59656566a699" providerId="ADAL" clId="{63924E6F-2527-CD40-B54C-8ADE0C160F09}" dt="2021-12-14T10:07:20.372" v="471" actId="207"/>
          <ac:picMkLst>
            <pc:docMk/>
            <pc:sldMk cId="3375605156" sldId="2145707248"/>
            <ac:picMk id="45" creationId="{627B0B52-11C4-D34D-ADB0-50DB9EBC139C}"/>
          </ac:picMkLst>
        </pc:picChg>
        <pc:picChg chg="add del mod">
          <ac:chgData name="Dan McTavish" userId="3bdd38c9-93c5-470d-b029-59656566a699" providerId="ADAL" clId="{63924E6F-2527-CD40-B54C-8ADE0C160F09}" dt="2021-12-14T09:50:04.088" v="296" actId="478"/>
          <ac:picMkLst>
            <pc:docMk/>
            <pc:sldMk cId="3375605156" sldId="2145707248"/>
            <ac:picMk id="47" creationId="{97254697-5CA2-A140-A206-B578E46933CD}"/>
          </ac:picMkLst>
        </pc:picChg>
        <pc:picChg chg="add mod">
          <ac:chgData name="Dan McTavish" userId="3bdd38c9-93c5-470d-b029-59656566a699" providerId="ADAL" clId="{63924E6F-2527-CD40-B54C-8ADE0C160F09}" dt="2021-12-14T09:55:55.422" v="308" actId="207"/>
          <ac:picMkLst>
            <pc:docMk/>
            <pc:sldMk cId="3375605156" sldId="2145707248"/>
            <ac:picMk id="49" creationId="{6999105C-14D7-8B42-B956-140D49617055}"/>
          </ac:picMkLst>
        </pc:picChg>
        <pc:picChg chg="add mod">
          <ac:chgData name="Dan McTavish" userId="3bdd38c9-93c5-470d-b029-59656566a699" providerId="ADAL" clId="{63924E6F-2527-CD40-B54C-8ADE0C160F09}" dt="2021-12-14T10:03:33.693" v="435" actId="14100"/>
          <ac:picMkLst>
            <pc:docMk/>
            <pc:sldMk cId="3375605156" sldId="2145707248"/>
            <ac:picMk id="51" creationId="{ACC5ED28-63C6-0D4A-BFBF-D2FB4CA0A56D}"/>
          </ac:picMkLst>
        </pc:picChg>
        <pc:picChg chg="add mod">
          <ac:chgData name="Dan McTavish" userId="3bdd38c9-93c5-470d-b029-59656566a699" providerId="ADAL" clId="{63924E6F-2527-CD40-B54C-8ADE0C160F09}" dt="2021-12-14T10:07:10.288" v="469" actId="207"/>
          <ac:picMkLst>
            <pc:docMk/>
            <pc:sldMk cId="3375605156" sldId="2145707248"/>
            <ac:picMk id="53" creationId="{28C8ECB7-83DD-B043-84D0-8688A6F7325C}"/>
          </ac:picMkLst>
        </pc:picChg>
        <pc:picChg chg="add del mod">
          <ac:chgData name="Dan McTavish" userId="3bdd38c9-93c5-470d-b029-59656566a699" providerId="ADAL" clId="{63924E6F-2527-CD40-B54C-8ADE0C160F09}" dt="2021-12-14T12:11:58.924" v="854" actId="478"/>
          <ac:picMkLst>
            <pc:docMk/>
            <pc:sldMk cId="3375605156" sldId="2145707248"/>
            <ac:picMk id="57" creationId="{F693BE80-7CB6-A743-8386-FFC1BC9E5FF3}"/>
          </ac:picMkLst>
        </pc:picChg>
        <pc:picChg chg="add del mod">
          <ac:chgData name="Dan McTavish" userId="3bdd38c9-93c5-470d-b029-59656566a699" providerId="ADAL" clId="{63924E6F-2527-CD40-B54C-8ADE0C160F09}" dt="2021-12-14T12:11:44.750" v="851" actId="478"/>
          <ac:picMkLst>
            <pc:docMk/>
            <pc:sldMk cId="3375605156" sldId="2145707248"/>
            <ac:picMk id="61" creationId="{060BF9F7-5BBA-E745-B774-29C2536EFB7D}"/>
          </ac:picMkLst>
        </pc:picChg>
        <pc:picChg chg="add mod">
          <ac:chgData name="Dan McTavish" userId="3bdd38c9-93c5-470d-b029-59656566a699" providerId="ADAL" clId="{63924E6F-2527-CD40-B54C-8ADE0C160F09}" dt="2021-12-14T12:12:08.922" v="856" actId="1076"/>
          <ac:picMkLst>
            <pc:docMk/>
            <pc:sldMk cId="3375605156" sldId="2145707248"/>
            <ac:picMk id="63" creationId="{BE2D5E7E-FEDF-CF47-8B19-1A779F6B66C1}"/>
          </ac:picMkLst>
        </pc:picChg>
        <pc:picChg chg="add del mod">
          <ac:chgData name="Dan McTavish" userId="3bdd38c9-93c5-470d-b029-59656566a699" providerId="ADAL" clId="{63924E6F-2527-CD40-B54C-8ADE0C160F09}" dt="2021-12-14T09:43:42.917" v="276"/>
          <ac:picMkLst>
            <pc:docMk/>
            <pc:sldMk cId="3375605156" sldId="2145707248"/>
            <ac:picMk id="259074" creationId="{7E59EB59-4FC3-0B4B-966D-CF0B7E8DB3C1}"/>
          </ac:picMkLst>
        </pc:picChg>
      </pc:sldChg>
      <pc:sldChg chg="modSp add mod">
        <pc:chgData name="Dan McTavish" userId="3bdd38c9-93c5-470d-b029-59656566a699" providerId="ADAL" clId="{63924E6F-2527-CD40-B54C-8ADE0C160F09}" dt="2021-12-14T17:05:04.122" v="2007" actId="6549"/>
        <pc:sldMkLst>
          <pc:docMk/>
          <pc:sldMk cId="302297991" sldId="2145707252"/>
        </pc:sldMkLst>
        <pc:spChg chg="mod">
          <ac:chgData name="Dan McTavish" userId="3bdd38c9-93c5-470d-b029-59656566a699" providerId="ADAL" clId="{63924E6F-2527-CD40-B54C-8ADE0C160F09}" dt="2021-12-14T13:20:30.624" v="1449" actId="20577"/>
          <ac:spMkLst>
            <pc:docMk/>
            <pc:sldMk cId="302297991" sldId="2145707252"/>
            <ac:spMk id="2" creationId="{00000000-0000-0000-0000-000000000000}"/>
          </ac:spMkLst>
        </pc:spChg>
        <pc:spChg chg="mod">
          <ac:chgData name="Dan McTavish" userId="3bdd38c9-93c5-470d-b029-59656566a699" providerId="ADAL" clId="{63924E6F-2527-CD40-B54C-8ADE0C160F09}" dt="2021-12-14T13:20:39.410" v="1450"/>
          <ac:spMkLst>
            <pc:docMk/>
            <pc:sldMk cId="302297991" sldId="2145707252"/>
            <ac:spMk id="14" creationId="{187D98F4-EB5A-E04B-B1AB-3062BCA3330F}"/>
          </ac:spMkLst>
        </pc:spChg>
        <pc:graphicFrameChg chg="modGraphic">
          <ac:chgData name="Dan McTavish" userId="3bdd38c9-93c5-470d-b029-59656566a699" providerId="ADAL" clId="{63924E6F-2527-CD40-B54C-8ADE0C160F09}" dt="2021-12-14T17:05:04.122" v="2007" actId="6549"/>
          <ac:graphicFrameMkLst>
            <pc:docMk/>
            <pc:sldMk cId="302297991" sldId="2145707252"/>
            <ac:graphicFrameMk id="5" creationId="{AC4AB7CF-4D4A-7B44-B1A6-4717A3E53B8F}"/>
          </ac:graphicFrameMkLst>
        </pc:graphicFrameChg>
      </pc:sldChg>
      <pc:sldChg chg="addSp delSp modSp add mod">
        <pc:chgData name="Dan McTavish" userId="3bdd38c9-93c5-470d-b029-59656566a699" providerId="ADAL" clId="{63924E6F-2527-CD40-B54C-8ADE0C160F09}" dt="2021-12-14T13:34:41.308" v="1997" actId="1076"/>
        <pc:sldMkLst>
          <pc:docMk/>
          <pc:sldMk cId="1932935611" sldId="2145707253"/>
        </pc:sldMkLst>
        <pc:spChg chg="mod">
          <ac:chgData name="Dan McTavish" userId="3bdd38c9-93c5-470d-b029-59656566a699" providerId="ADAL" clId="{63924E6F-2527-CD40-B54C-8ADE0C160F09}" dt="2021-12-14T13:19:46.926" v="1424"/>
          <ac:spMkLst>
            <pc:docMk/>
            <pc:sldMk cId="1932935611" sldId="2145707253"/>
            <ac:spMk id="2" creationId="{00000000-0000-0000-0000-000000000000}"/>
          </ac:spMkLst>
        </pc:spChg>
        <pc:spChg chg="mod">
          <ac:chgData name="Dan McTavish" userId="3bdd38c9-93c5-470d-b029-59656566a699" providerId="ADAL" clId="{63924E6F-2527-CD40-B54C-8ADE0C160F09}" dt="2021-12-14T13:34:41.308" v="1997" actId="1076"/>
          <ac:spMkLst>
            <pc:docMk/>
            <pc:sldMk cId="1932935611" sldId="2145707253"/>
            <ac:spMk id="23" creationId="{EE5358C1-0F63-4D42-BEA7-326221BEB778}"/>
          </ac:spMkLst>
        </pc:spChg>
        <pc:spChg chg="mod">
          <ac:chgData name="Dan McTavish" userId="3bdd38c9-93c5-470d-b029-59656566a699" providerId="ADAL" clId="{63924E6F-2527-CD40-B54C-8ADE0C160F09}" dt="2021-12-14T13:34:35.078" v="1996" actId="1076"/>
          <ac:spMkLst>
            <pc:docMk/>
            <pc:sldMk cId="1932935611" sldId="2145707253"/>
            <ac:spMk id="26" creationId="{4A7F5C33-25B6-1B42-B613-76BC0B4F7FDF}"/>
          </ac:spMkLst>
        </pc:spChg>
        <pc:spChg chg="mod">
          <ac:chgData name="Dan McTavish" userId="3bdd38c9-93c5-470d-b029-59656566a699" providerId="ADAL" clId="{63924E6F-2527-CD40-B54C-8ADE0C160F09}" dt="2021-12-14T13:34:35.078" v="1996" actId="1076"/>
          <ac:spMkLst>
            <pc:docMk/>
            <pc:sldMk cId="1932935611" sldId="2145707253"/>
            <ac:spMk id="27" creationId="{C3FFCEA0-84B7-FA47-8A45-9FC45E77358A}"/>
          </ac:spMkLst>
        </pc:spChg>
        <pc:spChg chg="mod">
          <ac:chgData name="Dan McTavish" userId="3bdd38c9-93c5-470d-b029-59656566a699" providerId="ADAL" clId="{63924E6F-2527-CD40-B54C-8ADE0C160F09}" dt="2021-12-14T13:34:35.078" v="1996" actId="1076"/>
          <ac:spMkLst>
            <pc:docMk/>
            <pc:sldMk cId="1932935611" sldId="2145707253"/>
            <ac:spMk id="29" creationId="{07CBFA51-FFCA-6745-9B2A-82ACCF380757}"/>
          </ac:spMkLst>
        </pc:spChg>
        <pc:spChg chg="mod">
          <ac:chgData name="Dan McTavish" userId="3bdd38c9-93c5-470d-b029-59656566a699" providerId="ADAL" clId="{63924E6F-2527-CD40-B54C-8ADE0C160F09}" dt="2021-12-14T13:34:35.078" v="1996" actId="1076"/>
          <ac:spMkLst>
            <pc:docMk/>
            <pc:sldMk cId="1932935611" sldId="2145707253"/>
            <ac:spMk id="30" creationId="{6CB37A5A-6D1A-9149-B124-E2ABD39F965D}"/>
          </ac:spMkLst>
        </pc:spChg>
        <pc:picChg chg="add mod">
          <ac:chgData name="Dan McTavish" userId="3bdd38c9-93c5-470d-b029-59656566a699" providerId="ADAL" clId="{63924E6F-2527-CD40-B54C-8ADE0C160F09}" dt="2021-12-14T13:23:14.407" v="1461" actId="108"/>
          <ac:picMkLst>
            <pc:docMk/>
            <pc:sldMk cId="1932935611" sldId="2145707253"/>
            <ac:picMk id="6" creationId="{A7C8206D-E4D8-B641-98EB-B821CAA39595}"/>
          </ac:picMkLst>
        </pc:picChg>
        <pc:picChg chg="del">
          <ac:chgData name="Dan McTavish" userId="3bdd38c9-93c5-470d-b029-59656566a699" providerId="ADAL" clId="{63924E6F-2527-CD40-B54C-8ADE0C160F09}" dt="2021-12-14T13:22:41.101" v="1456" actId="478"/>
          <ac:picMkLst>
            <pc:docMk/>
            <pc:sldMk cId="1932935611" sldId="2145707253"/>
            <ac:picMk id="8" creationId="{49C8AF9F-1103-FD4B-BB1B-A64B69C88185}"/>
          </ac:picMkLst>
        </pc:picChg>
        <pc:picChg chg="mod">
          <ac:chgData name="Dan McTavish" userId="3bdd38c9-93c5-470d-b029-59656566a699" providerId="ADAL" clId="{63924E6F-2527-CD40-B54C-8ADE0C160F09}" dt="2021-12-14T13:34:35.078" v="1996" actId="1076"/>
          <ac:picMkLst>
            <pc:docMk/>
            <pc:sldMk cId="1932935611" sldId="2145707253"/>
            <ac:picMk id="9" creationId="{64CF3AE0-603C-8944-B2BB-F7EF77B9472C}"/>
          </ac:picMkLst>
        </pc:picChg>
        <pc:picChg chg="add mod">
          <ac:chgData name="Dan McTavish" userId="3bdd38c9-93c5-470d-b029-59656566a699" providerId="ADAL" clId="{63924E6F-2527-CD40-B54C-8ADE0C160F09}" dt="2021-12-14T13:24:22.627" v="1465" actId="108"/>
          <ac:picMkLst>
            <pc:docMk/>
            <pc:sldMk cId="1932935611" sldId="2145707253"/>
            <ac:picMk id="12" creationId="{837BBC4F-5B5A-9E41-92B2-0B1990A03231}"/>
          </ac:picMkLst>
        </pc:picChg>
        <pc:picChg chg="mod">
          <ac:chgData name="Dan McTavish" userId="3bdd38c9-93c5-470d-b029-59656566a699" providerId="ADAL" clId="{63924E6F-2527-CD40-B54C-8ADE0C160F09}" dt="2021-12-14T13:34:35.078" v="1996" actId="1076"/>
          <ac:picMkLst>
            <pc:docMk/>
            <pc:sldMk cId="1932935611" sldId="2145707253"/>
            <ac:picMk id="45" creationId="{627B0B52-11C4-D34D-ADB0-50DB9EBC139C}"/>
          </ac:picMkLst>
        </pc:picChg>
        <pc:picChg chg="mod">
          <ac:chgData name="Dan McTavish" userId="3bdd38c9-93c5-470d-b029-59656566a699" providerId="ADAL" clId="{63924E6F-2527-CD40-B54C-8ADE0C160F09}" dt="2021-12-14T13:34:35.078" v="1996" actId="1076"/>
          <ac:picMkLst>
            <pc:docMk/>
            <pc:sldMk cId="1932935611" sldId="2145707253"/>
            <ac:picMk id="63" creationId="{BE2D5E7E-FEDF-CF47-8B19-1A779F6B66C1}"/>
          </ac:picMkLst>
        </pc:picChg>
      </pc:sldChg>
      <pc:sldChg chg="modSp mod">
        <pc:chgData name="Dan McTavish" userId="3bdd38c9-93c5-470d-b029-59656566a699" providerId="ADAL" clId="{63924E6F-2527-CD40-B54C-8ADE0C160F09}" dt="2021-12-16T09:52:03.633" v="2009" actId="313"/>
        <pc:sldMkLst>
          <pc:docMk/>
          <pc:sldMk cId="626826066" sldId="2145707260"/>
        </pc:sldMkLst>
        <pc:spChg chg="mod">
          <ac:chgData name="Dan McTavish" userId="3bdd38c9-93c5-470d-b029-59656566a699" providerId="ADAL" clId="{63924E6F-2527-CD40-B54C-8ADE0C160F09}" dt="2021-12-16T09:52:03.633" v="2009" actId="313"/>
          <ac:spMkLst>
            <pc:docMk/>
            <pc:sldMk cId="626826066" sldId="2145707260"/>
            <ac:spMk id="29" creationId="{39022F5C-1E96-1045-952F-DEA81FF7169E}"/>
          </ac:spMkLst>
        </pc:spChg>
      </pc:sldChg>
      <pc:sldChg chg="modSp mod">
        <pc:chgData name="Dan McTavish" userId="3bdd38c9-93c5-470d-b029-59656566a699" providerId="ADAL" clId="{63924E6F-2527-CD40-B54C-8ADE0C160F09}" dt="2021-12-17T13:44:26.525" v="2828" actId="20577"/>
        <pc:sldMkLst>
          <pc:docMk/>
          <pc:sldMk cId="4156687832" sldId="2145707261"/>
        </pc:sldMkLst>
        <pc:spChg chg="mod">
          <ac:chgData name="Dan McTavish" userId="3bdd38c9-93c5-470d-b029-59656566a699" providerId="ADAL" clId="{63924E6F-2527-CD40-B54C-8ADE0C160F09}" dt="2021-12-17T13:44:26.525" v="2828" actId="20577"/>
          <ac:spMkLst>
            <pc:docMk/>
            <pc:sldMk cId="4156687832" sldId="2145707261"/>
            <ac:spMk id="30" creationId="{E6B7EC03-736F-2F4E-BA56-F13F306F08A3}"/>
          </ac:spMkLst>
        </pc:spChg>
      </pc:sldChg>
      <pc:sldChg chg="del">
        <pc:chgData name="Dan McTavish" userId="3bdd38c9-93c5-470d-b029-59656566a699" providerId="ADAL" clId="{63924E6F-2527-CD40-B54C-8ADE0C160F09}" dt="2021-12-17T13:44:37.425" v="2829" actId="2696"/>
        <pc:sldMkLst>
          <pc:docMk/>
          <pc:sldMk cId="3977969123" sldId="2145707262"/>
        </pc:sldMkLst>
      </pc:sldChg>
      <pc:sldChg chg="modSp mod">
        <pc:chgData name="Dan McTavish" userId="3bdd38c9-93c5-470d-b029-59656566a699" providerId="ADAL" clId="{63924E6F-2527-CD40-B54C-8ADE0C160F09}" dt="2021-12-17T10:25:41.172" v="2703" actId="20577"/>
        <pc:sldMkLst>
          <pc:docMk/>
          <pc:sldMk cId="658714767" sldId="2145707263"/>
        </pc:sldMkLst>
        <pc:graphicFrameChg chg="modGraphic">
          <ac:chgData name="Dan McTavish" userId="3bdd38c9-93c5-470d-b029-59656566a699" providerId="ADAL" clId="{63924E6F-2527-CD40-B54C-8ADE0C160F09}" dt="2021-12-17T10:25:41.172" v="2703" actId="20577"/>
          <ac:graphicFrameMkLst>
            <pc:docMk/>
            <pc:sldMk cId="658714767" sldId="2145707263"/>
            <ac:graphicFrameMk id="7" creationId="{E8B55483-B852-8D4D-8F15-95D0C251E583}"/>
          </ac:graphicFrameMkLst>
        </pc:graphicFrameChg>
      </pc:sldChg>
      <pc:sldChg chg="modSp mod">
        <pc:chgData name="Dan McTavish" userId="3bdd38c9-93c5-470d-b029-59656566a699" providerId="ADAL" clId="{63924E6F-2527-CD40-B54C-8ADE0C160F09}" dt="2021-12-17T10:51:37.534" v="2712" actId="207"/>
        <pc:sldMkLst>
          <pc:docMk/>
          <pc:sldMk cId="257716761" sldId="2145707268"/>
        </pc:sldMkLst>
        <pc:picChg chg="mod">
          <ac:chgData name="Dan McTavish" userId="3bdd38c9-93c5-470d-b029-59656566a699" providerId="ADAL" clId="{63924E6F-2527-CD40-B54C-8ADE0C160F09}" dt="2021-12-17T10:51:37.534" v="2712" actId="207"/>
          <ac:picMkLst>
            <pc:docMk/>
            <pc:sldMk cId="257716761" sldId="2145707268"/>
            <ac:picMk id="331" creationId="{D0E88398-C277-3841-9790-A01A809201D2}"/>
          </ac:picMkLst>
        </pc:picChg>
      </pc:sldChg>
      <pc:sldChg chg="new del">
        <pc:chgData name="Dan McTavish" userId="3bdd38c9-93c5-470d-b029-59656566a699" providerId="ADAL" clId="{63924E6F-2527-CD40-B54C-8ADE0C160F09}" dt="2021-12-17T10:29:10.005" v="2705" actId="680"/>
        <pc:sldMkLst>
          <pc:docMk/>
          <pc:sldMk cId="4100060649" sldId="2145707278"/>
        </pc:sldMkLst>
      </pc:sldChg>
      <pc:sldChg chg="add">
        <pc:chgData name="Dan McTavish" userId="3bdd38c9-93c5-470d-b029-59656566a699" providerId="ADAL" clId="{63924E6F-2527-CD40-B54C-8ADE0C160F09}" dt="2021-12-17T11:29:09.542" v="2713"/>
        <pc:sldMkLst>
          <pc:docMk/>
          <pc:sldMk cId="2790482894" sldId="2147374152"/>
        </pc:sldMkLst>
      </pc:sldChg>
      <pc:sldChg chg="add">
        <pc:chgData name="Dan McTavish" userId="3bdd38c9-93c5-470d-b029-59656566a699" providerId="ADAL" clId="{63924E6F-2527-CD40-B54C-8ADE0C160F09}" dt="2021-12-17T11:29:09.542" v="2713"/>
        <pc:sldMkLst>
          <pc:docMk/>
          <pc:sldMk cId="3253188942" sldId="2147374153"/>
        </pc:sldMkLst>
      </pc:sldChg>
      <pc:sldChg chg="add">
        <pc:chgData name="Dan McTavish" userId="3bdd38c9-93c5-470d-b029-59656566a699" providerId="ADAL" clId="{63924E6F-2527-CD40-B54C-8ADE0C160F09}" dt="2021-12-17T11:29:09.542" v="2713"/>
        <pc:sldMkLst>
          <pc:docMk/>
          <pc:sldMk cId="1845029812" sldId="2147374154"/>
        </pc:sldMkLst>
      </pc:sldChg>
      <pc:sldChg chg="add">
        <pc:chgData name="Dan McTavish" userId="3bdd38c9-93c5-470d-b029-59656566a699" providerId="ADAL" clId="{63924E6F-2527-CD40-B54C-8ADE0C160F09}" dt="2021-12-17T11:29:09.542" v="2713"/>
        <pc:sldMkLst>
          <pc:docMk/>
          <pc:sldMk cId="3067175084" sldId="2147374155"/>
        </pc:sldMkLst>
      </pc:sldChg>
      <pc:sldChg chg="add">
        <pc:chgData name="Dan McTavish" userId="3bdd38c9-93c5-470d-b029-59656566a699" providerId="ADAL" clId="{63924E6F-2527-CD40-B54C-8ADE0C160F09}" dt="2021-12-17T11:30:25.156" v="2714"/>
        <pc:sldMkLst>
          <pc:docMk/>
          <pc:sldMk cId="3525553709" sldId="2147374156"/>
        </pc:sldMkLst>
      </pc:sldChg>
      <pc:sldChg chg="modSp">
        <pc:chgData name="Dan McTavish" userId="3bdd38c9-93c5-470d-b029-59656566a699" providerId="ADAL" clId="{63924E6F-2527-CD40-B54C-8ADE0C160F09}" dt="2021-12-17T11:44:23.070" v="2722"/>
        <pc:sldMkLst>
          <pc:docMk/>
          <pc:sldMk cId="2988138454" sldId="2147374160"/>
        </pc:sldMkLst>
        <pc:graphicFrameChg chg="mod">
          <ac:chgData name="Dan McTavish" userId="3bdd38c9-93c5-470d-b029-59656566a699" providerId="ADAL" clId="{63924E6F-2527-CD40-B54C-8ADE0C160F09}" dt="2021-12-17T11:44:23.070" v="2722"/>
          <ac:graphicFrameMkLst>
            <pc:docMk/>
            <pc:sldMk cId="2988138454" sldId="2147374160"/>
            <ac:graphicFrameMk id="26" creationId="{B868C0AB-3D2C-4647-A123-6629F1806D7E}"/>
          </ac:graphicFrameMkLst>
        </pc:graphicFrameChg>
      </pc:sldChg>
      <pc:sldChg chg="add">
        <pc:chgData name="Dan McTavish" userId="3bdd38c9-93c5-470d-b029-59656566a699" providerId="ADAL" clId="{63924E6F-2527-CD40-B54C-8ADE0C160F09}" dt="2021-12-17T11:46:34.025" v="2725"/>
        <pc:sldMkLst>
          <pc:docMk/>
          <pc:sldMk cId="3261431012" sldId="2147374168"/>
        </pc:sldMkLst>
      </pc:sldChg>
      <pc:sldChg chg="add del">
        <pc:chgData name="Dan McTavish" userId="3bdd38c9-93c5-470d-b029-59656566a699" providerId="ADAL" clId="{63924E6F-2527-CD40-B54C-8ADE0C160F09}" dt="2021-12-17T14:12:02.295" v="2841" actId="2696"/>
        <pc:sldMkLst>
          <pc:docMk/>
          <pc:sldMk cId="2945081603" sldId="2147374170"/>
        </pc:sldMkLst>
      </pc:sldChg>
      <pc:sldChg chg="delSp add del mod">
        <pc:chgData name="Dan McTavish" userId="3bdd38c9-93c5-470d-b029-59656566a699" providerId="ADAL" clId="{63924E6F-2527-CD40-B54C-8ADE0C160F09}" dt="2021-12-17T14:12:20.688" v="2844" actId="2696"/>
        <pc:sldMkLst>
          <pc:docMk/>
          <pc:sldMk cId="156777477" sldId="2147374173"/>
        </pc:sldMkLst>
        <pc:spChg chg="del">
          <ac:chgData name="Dan McTavish" userId="3bdd38c9-93c5-470d-b029-59656566a699" providerId="ADAL" clId="{63924E6F-2527-CD40-B54C-8ADE0C160F09}" dt="2021-12-17T14:11:51.124" v="2840" actId="478"/>
          <ac:spMkLst>
            <pc:docMk/>
            <pc:sldMk cId="156777477" sldId="2147374173"/>
            <ac:spMk id="12" creationId="{93578CBA-D3E3-E645-BB26-CB00890FF287}"/>
          </ac:spMkLst>
        </pc:spChg>
        <pc:graphicFrameChg chg="del">
          <ac:chgData name="Dan McTavish" userId="3bdd38c9-93c5-470d-b029-59656566a699" providerId="ADAL" clId="{63924E6F-2527-CD40-B54C-8ADE0C160F09}" dt="2021-12-17T14:11:46.600" v="2839" actId="478"/>
          <ac:graphicFrameMkLst>
            <pc:docMk/>
            <pc:sldMk cId="156777477" sldId="2147374173"/>
            <ac:graphicFrameMk id="11" creationId="{35441FE6-AE12-0245-B9F4-8F9D8C92969F}"/>
          </ac:graphicFrameMkLst>
        </pc:graphicFrameChg>
      </pc:sldChg>
      <pc:sldChg chg="delSp modSp add mod">
        <pc:chgData name="Dan McTavish" userId="3bdd38c9-93c5-470d-b029-59656566a699" providerId="ADAL" clId="{63924E6F-2527-CD40-B54C-8ADE0C160F09}" dt="2021-12-17T14:12:54.613" v="2870" actId="478"/>
        <pc:sldMkLst>
          <pc:docMk/>
          <pc:sldMk cId="3407069444" sldId="2147374174"/>
        </pc:sldMkLst>
        <pc:spChg chg="mod">
          <ac:chgData name="Dan McTavish" userId="3bdd38c9-93c5-470d-b029-59656566a699" providerId="ADAL" clId="{63924E6F-2527-CD40-B54C-8ADE0C160F09}" dt="2021-12-17T14:12:34.183" v="2859" actId="20577"/>
          <ac:spMkLst>
            <pc:docMk/>
            <pc:sldMk cId="3407069444" sldId="2147374174"/>
            <ac:spMk id="2" creationId="{00000000-0000-0000-0000-000000000000}"/>
          </ac:spMkLst>
        </pc:spChg>
        <pc:spChg chg="del">
          <ac:chgData name="Dan McTavish" userId="3bdd38c9-93c5-470d-b029-59656566a699" providerId="ADAL" clId="{63924E6F-2527-CD40-B54C-8ADE0C160F09}" dt="2021-12-17T14:12:39.699" v="2860" actId="478"/>
          <ac:spMkLst>
            <pc:docMk/>
            <pc:sldMk cId="3407069444" sldId="2147374174"/>
            <ac:spMk id="10" creationId="{6C0ABE6C-C405-DF44-B2EA-BBCF78C83957}"/>
          </ac:spMkLst>
        </pc:spChg>
        <pc:spChg chg="del">
          <ac:chgData name="Dan McTavish" userId="3bdd38c9-93c5-470d-b029-59656566a699" providerId="ADAL" clId="{63924E6F-2527-CD40-B54C-8ADE0C160F09}" dt="2021-12-17T14:12:26.948" v="2845" actId="478"/>
          <ac:spMkLst>
            <pc:docMk/>
            <pc:sldMk cId="3407069444" sldId="2147374174"/>
            <ac:spMk id="14" creationId="{187D98F4-EB5A-E04B-B1AB-3062BCA3330F}"/>
          </ac:spMkLst>
        </pc:spChg>
        <pc:spChg chg="del">
          <ac:chgData name="Dan McTavish" userId="3bdd38c9-93c5-470d-b029-59656566a699" providerId="ADAL" clId="{63924E6F-2527-CD40-B54C-8ADE0C160F09}" dt="2021-12-17T14:12:17.544" v="2843" actId="478"/>
          <ac:spMkLst>
            <pc:docMk/>
            <pc:sldMk cId="3407069444" sldId="2147374174"/>
            <ac:spMk id="29" creationId="{39022F5C-1E96-1045-952F-DEA81FF7169E}"/>
          </ac:spMkLst>
        </pc:spChg>
        <pc:spChg chg="del">
          <ac:chgData name="Dan McTavish" userId="3bdd38c9-93c5-470d-b029-59656566a699" providerId="ADAL" clId="{63924E6F-2527-CD40-B54C-8ADE0C160F09}" dt="2021-12-17T14:12:42.136" v="2861" actId="478"/>
          <ac:spMkLst>
            <pc:docMk/>
            <pc:sldMk cId="3407069444" sldId="2147374174"/>
            <ac:spMk id="30" creationId="{E6B7EC03-736F-2F4E-BA56-F13F306F08A3}"/>
          </ac:spMkLst>
        </pc:spChg>
        <pc:spChg chg="del">
          <ac:chgData name="Dan McTavish" userId="3bdd38c9-93c5-470d-b029-59656566a699" providerId="ADAL" clId="{63924E6F-2527-CD40-B54C-8ADE0C160F09}" dt="2021-12-17T14:12:44.002" v="2862" actId="478"/>
          <ac:spMkLst>
            <pc:docMk/>
            <pc:sldMk cId="3407069444" sldId="2147374174"/>
            <ac:spMk id="47" creationId="{866B5872-593A-5E46-84E0-635D18C6279D}"/>
          </ac:spMkLst>
        </pc:spChg>
        <pc:spChg chg="del mod">
          <ac:chgData name="Dan McTavish" userId="3bdd38c9-93c5-470d-b029-59656566a699" providerId="ADAL" clId="{63924E6F-2527-CD40-B54C-8ADE0C160F09}" dt="2021-12-17T14:12:53.168" v="2868" actId="478"/>
          <ac:spMkLst>
            <pc:docMk/>
            <pc:sldMk cId="3407069444" sldId="2147374174"/>
            <ac:spMk id="49" creationId="{9A666B14-0697-8F4B-9E3B-E6950375039C}"/>
          </ac:spMkLst>
        </pc:spChg>
        <pc:spChg chg="del">
          <ac:chgData name="Dan McTavish" userId="3bdd38c9-93c5-470d-b029-59656566a699" providerId="ADAL" clId="{63924E6F-2527-CD40-B54C-8ADE0C160F09}" dt="2021-12-17T14:12:51.047" v="2865" actId="478"/>
          <ac:spMkLst>
            <pc:docMk/>
            <pc:sldMk cId="3407069444" sldId="2147374174"/>
            <ac:spMk id="51" creationId="{23228B87-D8A3-AC4B-8389-4FD6CB03BCB4}"/>
          </ac:spMkLst>
        </pc:spChg>
        <pc:picChg chg="del">
          <ac:chgData name="Dan McTavish" userId="3bdd38c9-93c5-470d-b029-59656566a699" providerId="ADAL" clId="{63924E6F-2527-CD40-B54C-8ADE0C160F09}" dt="2021-12-17T14:12:53.813" v="2869" actId="478"/>
          <ac:picMkLst>
            <pc:docMk/>
            <pc:sldMk cId="3407069444" sldId="2147374174"/>
            <ac:picMk id="27652" creationId="{B2DCFFDA-9057-4741-B0DA-F651E99EF302}"/>
          </ac:picMkLst>
        </pc:picChg>
        <pc:picChg chg="del">
          <ac:chgData name="Dan McTavish" userId="3bdd38c9-93c5-470d-b029-59656566a699" providerId="ADAL" clId="{63924E6F-2527-CD40-B54C-8ADE0C160F09}" dt="2021-12-17T14:12:54.613" v="2870" actId="478"/>
          <ac:picMkLst>
            <pc:docMk/>
            <pc:sldMk cId="3407069444" sldId="2147374174"/>
            <ac:picMk id="27654" creationId="{A23B35DF-F555-DA40-B5F2-F0255E2AA95D}"/>
          </ac:picMkLst>
        </pc:picChg>
        <pc:cxnChg chg="del">
          <ac:chgData name="Dan McTavish" userId="3bdd38c9-93c5-470d-b029-59656566a699" providerId="ADAL" clId="{63924E6F-2527-CD40-B54C-8ADE0C160F09}" dt="2021-12-17T14:12:48.876" v="2864" actId="478"/>
          <ac:cxnSpMkLst>
            <pc:docMk/>
            <pc:sldMk cId="3407069444" sldId="2147374174"/>
            <ac:cxnSpMk id="7" creationId="{9C7CD68F-E26F-2245-A998-571CA36AFC05}"/>
          </ac:cxnSpMkLst>
        </pc:cxnChg>
        <pc:cxnChg chg="del">
          <ac:chgData name="Dan McTavish" userId="3bdd38c9-93c5-470d-b029-59656566a699" providerId="ADAL" clId="{63924E6F-2527-CD40-B54C-8ADE0C160F09}" dt="2021-12-17T14:12:47.087" v="2863" actId="478"/>
          <ac:cxnSpMkLst>
            <pc:docMk/>
            <pc:sldMk cId="3407069444" sldId="2147374174"/>
            <ac:cxnSpMk id="48" creationId="{20F052DB-9B68-5546-9DDF-FD06514FDED4}"/>
          </ac:cxnSpMkLst>
        </pc:cxnChg>
      </pc:sldChg>
    </pc:docChg>
  </pc:docChgLst>
  <pc:docChgLst>
    <pc:chgData name="Dan McTavish" userId="3bdd38c9-93c5-470d-b029-59656566a699" providerId="ADAL" clId="{A62F1AFA-2ED6-D843-B465-D07F5E5FFB75}"/>
    <pc:docChg chg="undo redo custSel addSld delSld modSld sldOrd addSection modSection">
      <pc:chgData name="Dan McTavish" userId="3bdd38c9-93c5-470d-b029-59656566a699" providerId="ADAL" clId="{A62F1AFA-2ED6-D843-B465-D07F5E5FFB75}" dt="2021-12-23T16:23:30.207" v="9001" actId="17846"/>
      <pc:docMkLst>
        <pc:docMk/>
      </pc:docMkLst>
      <pc:sldChg chg="del">
        <pc:chgData name="Dan McTavish" userId="3bdd38c9-93c5-470d-b029-59656566a699" providerId="ADAL" clId="{A62F1AFA-2ED6-D843-B465-D07F5E5FFB75}" dt="2021-12-21T12:13:45.997" v="5666" actId="2696"/>
        <pc:sldMkLst>
          <pc:docMk/>
          <pc:sldMk cId="1972466194" sldId="6690"/>
        </pc:sldMkLst>
      </pc:sldChg>
      <pc:sldChg chg="addSp delSp modSp mod">
        <pc:chgData name="Dan McTavish" userId="3bdd38c9-93c5-470d-b029-59656566a699" providerId="ADAL" clId="{A62F1AFA-2ED6-D843-B465-D07F5E5FFB75}" dt="2021-12-20T11:08:24.865" v="2624" actId="1076"/>
        <pc:sldMkLst>
          <pc:docMk/>
          <pc:sldMk cId="3574932048" sldId="1448943273"/>
        </pc:sldMkLst>
        <pc:spChg chg="mod">
          <ac:chgData name="Dan McTavish" userId="3bdd38c9-93c5-470d-b029-59656566a699" providerId="ADAL" clId="{A62F1AFA-2ED6-D843-B465-D07F5E5FFB75}" dt="2021-12-20T10:11:38.336" v="1449" actId="14100"/>
          <ac:spMkLst>
            <pc:docMk/>
            <pc:sldMk cId="3574932048" sldId="1448943273"/>
            <ac:spMk id="2" creationId="{081CB6C0-2FA7-AD4C-826C-F8CDF327C023}"/>
          </ac:spMkLst>
        </pc:spChg>
        <pc:spChg chg="add del mod">
          <ac:chgData name="Dan McTavish" userId="3bdd38c9-93c5-470d-b029-59656566a699" providerId="ADAL" clId="{A62F1AFA-2ED6-D843-B465-D07F5E5FFB75}" dt="2021-12-20T11:03:30.306" v="2608"/>
          <ac:spMkLst>
            <pc:docMk/>
            <pc:sldMk cId="3574932048" sldId="1448943273"/>
            <ac:spMk id="6" creationId="{C01A5D57-3C0F-0E4B-BD59-E82790265CE5}"/>
          </ac:spMkLst>
        </pc:spChg>
        <pc:spChg chg="mod">
          <ac:chgData name="Dan McTavish" userId="3bdd38c9-93c5-470d-b029-59656566a699" providerId="ADAL" clId="{A62F1AFA-2ED6-D843-B465-D07F5E5FFB75}" dt="2021-12-20T10:12:24.171" v="1455" actId="12"/>
          <ac:spMkLst>
            <pc:docMk/>
            <pc:sldMk cId="3574932048" sldId="1448943273"/>
            <ac:spMk id="8" creationId="{F1C83EA9-5794-4990-80E0-DF214A10237B}"/>
          </ac:spMkLst>
        </pc:spChg>
        <pc:spChg chg="del">
          <ac:chgData name="Dan McTavish" userId="3bdd38c9-93c5-470d-b029-59656566a699" providerId="ADAL" clId="{A62F1AFA-2ED6-D843-B465-D07F5E5FFB75}" dt="2021-12-20T10:09:19.847" v="1422" actId="478"/>
          <ac:spMkLst>
            <pc:docMk/>
            <pc:sldMk cId="3574932048" sldId="1448943273"/>
            <ac:spMk id="28" creationId="{D6831D75-3329-0A49-A3BD-2CC27C71B7DF}"/>
          </ac:spMkLst>
        </pc:spChg>
        <pc:spChg chg="del">
          <ac:chgData name="Dan McTavish" userId="3bdd38c9-93c5-470d-b029-59656566a699" providerId="ADAL" clId="{A62F1AFA-2ED6-D843-B465-D07F5E5FFB75}" dt="2021-12-20T10:08:55.249" v="1409" actId="478"/>
          <ac:spMkLst>
            <pc:docMk/>
            <pc:sldMk cId="3574932048" sldId="1448943273"/>
            <ac:spMk id="30" creationId="{F6F45185-7B93-8A42-97D3-8C1145627E68}"/>
          </ac:spMkLst>
        </pc:spChg>
        <pc:spChg chg="del mod">
          <ac:chgData name="Dan McTavish" userId="3bdd38c9-93c5-470d-b029-59656566a699" providerId="ADAL" clId="{A62F1AFA-2ED6-D843-B465-D07F5E5FFB75}" dt="2021-12-20T10:08:57.544" v="1411" actId="478"/>
          <ac:spMkLst>
            <pc:docMk/>
            <pc:sldMk cId="3574932048" sldId="1448943273"/>
            <ac:spMk id="31" creationId="{3E2CDD8B-D81D-B447-BE2F-E9BDCEAF3EDD}"/>
          </ac:spMkLst>
        </pc:spChg>
        <pc:spChg chg="del">
          <ac:chgData name="Dan McTavish" userId="3bdd38c9-93c5-470d-b029-59656566a699" providerId="ADAL" clId="{A62F1AFA-2ED6-D843-B465-D07F5E5FFB75}" dt="2021-12-20T10:08:58.534" v="1412" actId="478"/>
          <ac:spMkLst>
            <pc:docMk/>
            <pc:sldMk cId="3574932048" sldId="1448943273"/>
            <ac:spMk id="32" creationId="{EACF00AD-E858-2C4A-80E1-9967A9453FA2}"/>
          </ac:spMkLst>
        </pc:spChg>
        <pc:spChg chg="del">
          <ac:chgData name="Dan McTavish" userId="3bdd38c9-93c5-470d-b029-59656566a699" providerId="ADAL" clId="{A62F1AFA-2ED6-D843-B465-D07F5E5FFB75}" dt="2021-12-20T10:08:42.019" v="1398" actId="478"/>
          <ac:spMkLst>
            <pc:docMk/>
            <pc:sldMk cId="3574932048" sldId="1448943273"/>
            <ac:spMk id="33" creationId="{FC8C34FC-A970-DE44-BB08-382021861AB8}"/>
          </ac:spMkLst>
        </pc:spChg>
        <pc:spChg chg="del">
          <ac:chgData name="Dan McTavish" userId="3bdd38c9-93c5-470d-b029-59656566a699" providerId="ADAL" clId="{A62F1AFA-2ED6-D843-B465-D07F5E5FFB75}" dt="2021-12-20T10:08:43.908" v="1400" actId="478"/>
          <ac:spMkLst>
            <pc:docMk/>
            <pc:sldMk cId="3574932048" sldId="1448943273"/>
            <ac:spMk id="34" creationId="{152A5624-AA5E-984B-A76A-DF3DA114D798}"/>
          </ac:spMkLst>
        </pc:spChg>
        <pc:spChg chg="del">
          <ac:chgData name="Dan McTavish" userId="3bdd38c9-93c5-470d-b029-59656566a699" providerId="ADAL" clId="{A62F1AFA-2ED6-D843-B465-D07F5E5FFB75}" dt="2021-12-20T10:08:53.362" v="1407" actId="478"/>
          <ac:spMkLst>
            <pc:docMk/>
            <pc:sldMk cId="3574932048" sldId="1448943273"/>
            <ac:spMk id="35" creationId="{8F802CE7-D816-2149-A238-9E9070F840BF}"/>
          </ac:spMkLst>
        </pc:spChg>
        <pc:spChg chg="del mod">
          <ac:chgData name="Dan McTavish" userId="3bdd38c9-93c5-470d-b029-59656566a699" providerId="ADAL" clId="{A62F1AFA-2ED6-D843-B465-D07F5E5FFB75}" dt="2021-12-20T10:08:45.281" v="1401" actId="478"/>
          <ac:spMkLst>
            <pc:docMk/>
            <pc:sldMk cId="3574932048" sldId="1448943273"/>
            <ac:spMk id="37" creationId="{B911E7E4-25E7-EE40-84E6-83176E1DE1C6}"/>
          </ac:spMkLst>
        </pc:spChg>
        <pc:spChg chg="del">
          <ac:chgData name="Dan McTavish" userId="3bdd38c9-93c5-470d-b029-59656566a699" providerId="ADAL" clId="{A62F1AFA-2ED6-D843-B465-D07F5E5FFB75}" dt="2021-12-20T10:09:00.447" v="1413" actId="478"/>
          <ac:spMkLst>
            <pc:docMk/>
            <pc:sldMk cId="3574932048" sldId="1448943273"/>
            <ac:spMk id="38" creationId="{E58B6E56-D634-2842-B17F-925F60527F01}"/>
          </ac:spMkLst>
        </pc:spChg>
        <pc:spChg chg="del">
          <ac:chgData name="Dan McTavish" userId="3bdd38c9-93c5-470d-b029-59656566a699" providerId="ADAL" clId="{A62F1AFA-2ED6-D843-B465-D07F5E5FFB75}" dt="2021-12-20T10:08:50.774" v="1404" actId="478"/>
          <ac:spMkLst>
            <pc:docMk/>
            <pc:sldMk cId="3574932048" sldId="1448943273"/>
            <ac:spMk id="40" creationId="{28F7C7A1-91A4-C648-B917-B96102CE39FD}"/>
          </ac:spMkLst>
        </pc:spChg>
        <pc:spChg chg="del">
          <ac:chgData name="Dan McTavish" userId="3bdd38c9-93c5-470d-b029-59656566a699" providerId="ADAL" clId="{A62F1AFA-2ED6-D843-B465-D07F5E5FFB75}" dt="2021-12-20T10:08:54.484" v="1408" actId="478"/>
          <ac:spMkLst>
            <pc:docMk/>
            <pc:sldMk cId="3574932048" sldId="1448943273"/>
            <ac:spMk id="41" creationId="{9AC8FE32-9C73-1749-A7C8-C452F2B56A1B}"/>
          </ac:spMkLst>
        </pc:spChg>
        <pc:spChg chg="del">
          <ac:chgData name="Dan McTavish" userId="3bdd38c9-93c5-470d-b029-59656566a699" providerId="ADAL" clId="{A62F1AFA-2ED6-D843-B465-D07F5E5FFB75}" dt="2021-12-20T10:08:41.325" v="1397" actId="478"/>
          <ac:spMkLst>
            <pc:docMk/>
            <pc:sldMk cId="3574932048" sldId="1448943273"/>
            <ac:spMk id="42" creationId="{6381AC82-0F39-204D-9BF6-24C303257541}"/>
          </ac:spMkLst>
        </pc:spChg>
        <pc:spChg chg="del mod">
          <ac:chgData name="Dan McTavish" userId="3bdd38c9-93c5-470d-b029-59656566a699" providerId="ADAL" clId="{A62F1AFA-2ED6-D843-B465-D07F5E5FFB75}" dt="2021-12-20T10:08:52.302" v="1406" actId="478"/>
          <ac:spMkLst>
            <pc:docMk/>
            <pc:sldMk cId="3574932048" sldId="1448943273"/>
            <ac:spMk id="43" creationId="{AADF92E2-F397-9F45-9F4A-7F516DBBC19B}"/>
          </ac:spMkLst>
        </pc:spChg>
        <pc:spChg chg="del">
          <ac:chgData name="Dan McTavish" userId="3bdd38c9-93c5-470d-b029-59656566a699" providerId="ADAL" clId="{A62F1AFA-2ED6-D843-B465-D07F5E5FFB75}" dt="2021-12-20T10:09:11.821" v="1420" actId="478"/>
          <ac:spMkLst>
            <pc:docMk/>
            <pc:sldMk cId="3574932048" sldId="1448943273"/>
            <ac:spMk id="45" creationId="{63B12BBF-47A4-9349-874A-AA2A71D187B0}"/>
          </ac:spMkLst>
        </pc:spChg>
        <pc:spChg chg="del">
          <ac:chgData name="Dan McTavish" userId="3bdd38c9-93c5-470d-b029-59656566a699" providerId="ADAL" clId="{A62F1AFA-2ED6-D843-B465-D07F5E5FFB75}" dt="2021-12-20T10:09:02.719" v="1414" actId="478"/>
          <ac:spMkLst>
            <pc:docMk/>
            <pc:sldMk cId="3574932048" sldId="1448943273"/>
            <ac:spMk id="46" creationId="{9D4BD64C-5837-9D48-A548-E814257680B2}"/>
          </ac:spMkLst>
        </pc:spChg>
        <pc:spChg chg="del">
          <ac:chgData name="Dan McTavish" userId="3bdd38c9-93c5-470d-b029-59656566a699" providerId="ADAL" clId="{A62F1AFA-2ED6-D843-B465-D07F5E5FFB75}" dt="2021-12-20T10:09:08.418" v="1417" actId="478"/>
          <ac:spMkLst>
            <pc:docMk/>
            <pc:sldMk cId="3574932048" sldId="1448943273"/>
            <ac:spMk id="47" creationId="{0E4112BD-FB86-A743-8AB2-1F0454D9F68F}"/>
          </ac:spMkLst>
        </pc:spChg>
        <pc:spChg chg="del">
          <ac:chgData name="Dan McTavish" userId="3bdd38c9-93c5-470d-b029-59656566a699" providerId="ADAL" clId="{A62F1AFA-2ED6-D843-B465-D07F5E5FFB75}" dt="2021-12-20T10:09:09.540" v="1418" actId="478"/>
          <ac:spMkLst>
            <pc:docMk/>
            <pc:sldMk cId="3574932048" sldId="1448943273"/>
            <ac:spMk id="48" creationId="{258B7750-C5FF-264C-A056-BA23325CCEA4}"/>
          </ac:spMkLst>
        </pc:spChg>
        <pc:spChg chg="del">
          <ac:chgData name="Dan McTavish" userId="3bdd38c9-93c5-470d-b029-59656566a699" providerId="ADAL" clId="{A62F1AFA-2ED6-D843-B465-D07F5E5FFB75}" dt="2021-12-20T10:09:10.775" v="1419" actId="478"/>
          <ac:spMkLst>
            <pc:docMk/>
            <pc:sldMk cId="3574932048" sldId="1448943273"/>
            <ac:spMk id="49" creationId="{7FB3F381-4E3A-4348-8961-EF0A3D9907BE}"/>
          </ac:spMkLst>
        </pc:spChg>
        <pc:spChg chg="del">
          <ac:chgData name="Dan McTavish" userId="3bdd38c9-93c5-470d-b029-59656566a699" providerId="ADAL" clId="{A62F1AFA-2ED6-D843-B465-D07F5E5FFB75}" dt="2021-12-20T10:08:46.166" v="1402" actId="478"/>
          <ac:spMkLst>
            <pc:docMk/>
            <pc:sldMk cId="3574932048" sldId="1448943273"/>
            <ac:spMk id="50" creationId="{4A12C353-DBDA-AC4F-9259-A8F975796581}"/>
          </ac:spMkLst>
        </pc:spChg>
        <pc:spChg chg="del">
          <ac:chgData name="Dan McTavish" userId="3bdd38c9-93c5-470d-b029-59656566a699" providerId="ADAL" clId="{A62F1AFA-2ED6-D843-B465-D07F5E5FFB75}" dt="2021-12-20T10:09:04.476" v="1415" actId="478"/>
          <ac:spMkLst>
            <pc:docMk/>
            <pc:sldMk cId="3574932048" sldId="1448943273"/>
            <ac:spMk id="51" creationId="{7DEC82C9-C815-5943-B730-EE8FE8E631CC}"/>
          </ac:spMkLst>
        </pc:spChg>
        <pc:spChg chg="del">
          <ac:chgData name="Dan McTavish" userId="3bdd38c9-93c5-470d-b029-59656566a699" providerId="ADAL" clId="{A62F1AFA-2ED6-D843-B465-D07F5E5FFB75}" dt="2021-12-20T10:09:06.095" v="1416" actId="478"/>
          <ac:spMkLst>
            <pc:docMk/>
            <pc:sldMk cId="3574932048" sldId="1448943273"/>
            <ac:spMk id="52" creationId="{E03BADD9-BA8B-5641-8E3B-5F82D9372910}"/>
          </ac:spMkLst>
        </pc:spChg>
        <pc:graphicFrameChg chg="add mod modGraphic">
          <ac:chgData name="Dan McTavish" userId="3bdd38c9-93c5-470d-b029-59656566a699" providerId="ADAL" clId="{A62F1AFA-2ED6-D843-B465-D07F5E5FFB75}" dt="2021-12-20T11:04:02.872" v="2615" actId="20577"/>
          <ac:graphicFrameMkLst>
            <pc:docMk/>
            <pc:sldMk cId="3574932048" sldId="1448943273"/>
            <ac:graphicFrameMk id="4" creationId="{5B85875E-159E-C242-A11A-2F415E56E063}"/>
          </ac:graphicFrameMkLst>
        </pc:graphicFrameChg>
        <pc:picChg chg="add del mod">
          <ac:chgData name="Dan McTavish" userId="3bdd38c9-93c5-470d-b029-59656566a699" providerId="ADAL" clId="{A62F1AFA-2ED6-D843-B465-D07F5E5FFB75}" dt="2021-12-20T11:07:28.742" v="2619" actId="478"/>
          <ac:picMkLst>
            <pc:docMk/>
            <pc:sldMk cId="3574932048" sldId="1448943273"/>
            <ac:picMk id="10" creationId="{AE92B7B0-1629-E245-9125-1F9E108B65AE}"/>
          </ac:picMkLst>
        </pc:picChg>
        <pc:picChg chg="add del mod">
          <ac:chgData name="Dan McTavish" userId="3bdd38c9-93c5-470d-b029-59656566a699" providerId="ADAL" clId="{A62F1AFA-2ED6-D843-B465-D07F5E5FFB75}" dt="2021-12-20T11:08:22.472" v="2623" actId="478"/>
          <ac:picMkLst>
            <pc:docMk/>
            <pc:sldMk cId="3574932048" sldId="1448943273"/>
            <ac:picMk id="14" creationId="{B12A374A-9656-E24F-9E31-61028CF0C5C1}"/>
          </ac:picMkLst>
        </pc:picChg>
        <pc:picChg chg="add mod">
          <ac:chgData name="Dan McTavish" userId="3bdd38c9-93c5-470d-b029-59656566a699" providerId="ADAL" clId="{A62F1AFA-2ED6-D843-B465-D07F5E5FFB75}" dt="2021-12-20T11:08:24.865" v="2624" actId="1076"/>
          <ac:picMkLst>
            <pc:docMk/>
            <pc:sldMk cId="3574932048" sldId="1448943273"/>
            <ac:picMk id="17" creationId="{22490EBC-C193-E14C-BB54-A4D508A8C2EE}"/>
          </ac:picMkLst>
        </pc:picChg>
      </pc:sldChg>
      <pc:sldChg chg="modSp del">
        <pc:chgData name="Dan McTavish" userId="3bdd38c9-93c5-470d-b029-59656566a699" providerId="ADAL" clId="{A62F1AFA-2ED6-D843-B465-D07F5E5FFB75}" dt="2021-12-20T12:01:36.594" v="3197" actId="2696"/>
        <pc:sldMkLst>
          <pc:docMk/>
          <pc:sldMk cId="1196644783" sldId="1448943279"/>
        </pc:sldMkLst>
        <pc:spChg chg="mod">
          <ac:chgData name="Dan McTavish" userId="3bdd38c9-93c5-470d-b029-59656566a699" providerId="ADAL" clId="{A62F1AFA-2ED6-D843-B465-D07F5E5FFB75}" dt="2021-12-17T16:52:52.345" v="447" actId="20578"/>
          <ac:spMkLst>
            <pc:docMk/>
            <pc:sldMk cId="1196644783" sldId="1448943279"/>
            <ac:spMk id="30" creationId="{E6B7EC03-736F-2F4E-BA56-F13F306F08A3}"/>
          </ac:spMkLst>
        </pc:spChg>
      </pc:sldChg>
      <pc:sldChg chg="modSp mod">
        <pc:chgData name="Dan McTavish" userId="3bdd38c9-93c5-470d-b029-59656566a699" providerId="ADAL" clId="{A62F1AFA-2ED6-D843-B465-D07F5E5FFB75}" dt="2021-12-20T11:48:07.092" v="3193" actId="20577"/>
        <pc:sldMkLst>
          <pc:docMk/>
          <pc:sldMk cId="165000666" sldId="1448943281"/>
        </pc:sldMkLst>
        <pc:spChg chg="mod">
          <ac:chgData name="Dan McTavish" userId="3bdd38c9-93c5-470d-b029-59656566a699" providerId="ADAL" clId="{A62F1AFA-2ED6-D843-B465-D07F5E5FFB75}" dt="2021-12-20T11:48:07.092" v="3193" actId="20577"/>
          <ac:spMkLst>
            <pc:docMk/>
            <pc:sldMk cId="165000666" sldId="1448943281"/>
            <ac:spMk id="29" creationId="{39022F5C-1E96-1045-952F-DEA81FF7169E}"/>
          </ac:spMkLst>
        </pc:spChg>
        <pc:spChg chg="mod">
          <ac:chgData name="Dan McTavish" userId="3bdd38c9-93c5-470d-b029-59656566a699" providerId="ADAL" clId="{A62F1AFA-2ED6-D843-B465-D07F5E5FFB75}" dt="2021-12-17T15:36:35.221" v="21" actId="108"/>
          <ac:spMkLst>
            <pc:docMk/>
            <pc:sldMk cId="165000666" sldId="1448943281"/>
            <ac:spMk id="30" creationId="{E6B7EC03-736F-2F4E-BA56-F13F306F08A3}"/>
          </ac:spMkLst>
        </pc:spChg>
      </pc:sldChg>
      <pc:sldChg chg="modSp mod">
        <pc:chgData name="Dan McTavish" userId="3bdd38c9-93c5-470d-b029-59656566a699" providerId="ADAL" clId="{A62F1AFA-2ED6-D843-B465-D07F5E5FFB75}" dt="2021-12-17T15:37:17.642" v="26" actId="108"/>
        <pc:sldMkLst>
          <pc:docMk/>
          <pc:sldMk cId="3773516302" sldId="1448943282"/>
        </pc:sldMkLst>
        <pc:spChg chg="mod">
          <ac:chgData name="Dan McTavish" userId="3bdd38c9-93c5-470d-b029-59656566a699" providerId="ADAL" clId="{A62F1AFA-2ED6-D843-B465-D07F5E5FFB75}" dt="2021-12-17T15:37:17.642" v="26" actId="108"/>
          <ac:spMkLst>
            <pc:docMk/>
            <pc:sldMk cId="3773516302" sldId="1448943282"/>
            <ac:spMk id="30" creationId="{E6B7EC03-736F-2F4E-BA56-F13F306F08A3}"/>
          </ac:spMkLst>
        </pc:spChg>
      </pc:sldChg>
      <pc:sldChg chg="modSp mod">
        <pc:chgData name="Dan McTavish" userId="3bdd38c9-93c5-470d-b029-59656566a699" providerId="ADAL" clId="{A62F1AFA-2ED6-D843-B465-D07F5E5FFB75}" dt="2021-12-20T12:23:38.113" v="3303" actId="20577"/>
        <pc:sldMkLst>
          <pc:docMk/>
          <pc:sldMk cId="2571804047" sldId="1448943283"/>
        </pc:sldMkLst>
        <pc:spChg chg="mod">
          <ac:chgData name="Dan McTavish" userId="3bdd38c9-93c5-470d-b029-59656566a699" providerId="ADAL" clId="{A62F1AFA-2ED6-D843-B465-D07F5E5FFB75}" dt="2021-12-20T12:23:38.113" v="3303" actId="20577"/>
          <ac:spMkLst>
            <pc:docMk/>
            <pc:sldMk cId="2571804047" sldId="1448943283"/>
            <ac:spMk id="22" creationId="{0190B387-C998-E341-902F-68B6C1702D19}"/>
          </ac:spMkLst>
        </pc:spChg>
        <pc:spChg chg="mod">
          <ac:chgData name="Dan McTavish" userId="3bdd38c9-93c5-470d-b029-59656566a699" providerId="ADAL" clId="{A62F1AFA-2ED6-D843-B465-D07F5E5FFB75}" dt="2021-12-17T15:42:04.101" v="72" actId="20577"/>
          <ac:spMkLst>
            <pc:docMk/>
            <pc:sldMk cId="2571804047" sldId="1448943283"/>
            <ac:spMk id="30" creationId="{E6B7EC03-736F-2F4E-BA56-F13F306F08A3}"/>
          </ac:spMkLst>
        </pc:spChg>
      </pc:sldChg>
      <pc:sldChg chg="modSp mod">
        <pc:chgData name="Dan McTavish" userId="3bdd38c9-93c5-470d-b029-59656566a699" providerId="ADAL" clId="{A62F1AFA-2ED6-D843-B465-D07F5E5FFB75}" dt="2021-12-20T12:09:49.562" v="3245" actId="108"/>
        <pc:sldMkLst>
          <pc:docMk/>
          <pc:sldMk cId="3172643328" sldId="1448943285"/>
        </pc:sldMkLst>
        <pc:spChg chg="mod">
          <ac:chgData name="Dan McTavish" userId="3bdd38c9-93c5-470d-b029-59656566a699" providerId="ADAL" clId="{A62F1AFA-2ED6-D843-B465-D07F5E5FFB75}" dt="2021-12-20T12:09:49.562" v="3245" actId="108"/>
          <ac:spMkLst>
            <pc:docMk/>
            <pc:sldMk cId="3172643328" sldId="1448943285"/>
            <ac:spMk id="23" creationId="{54CE2DC2-11DA-1F4F-AB45-7C9281E742DC}"/>
          </ac:spMkLst>
        </pc:spChg>
      </pc:sldChg>
      <pc:sldChg chg="add del">
        <pc:chgData name="Dan McTavish" userId="3bdd38c9-93c5-470d-b029-59656566a699" providerId="ADAL" clId="{A62F1AFA-2ED6-D843-B465-D07F5E5FFB75}" dt="2021-12-20T14:46:44.167" v="4223" actId="2696"/>
        <pc:sldMkLst>
          <pc:docMk/>
          <pc:sldMk cId="1411985522" sldId="1448943286"/>
        </pc:sldMkLst>
      </pc:sldChg>
      <pc:sldChg chg="add del">
        <pc:chgData name="Dan McTavish" userId="3bdd38c9-93c5-470d-b029-59656566a699" providerId="ADAL" clId="{A62F1AFA-2ED6-D843-B465-D07F5E5FFB75}" dt="2021-12-20T14:46:45.142" v="4224" actId="2696"/>
        <pc:sldMkLst>
          <pc:docMk/>
          <pc:sldMk cId="525884006" sldId="1448943287"/>
        </pc:sldMkLst>
      </pc:sldChg>
      <pc:sldChg chg="add del">
        <pc:chgData name="Dan McTavish" userId="3bdd38c9-93c5-470d-b029-59656566a699" providerId="ADAL" clId="{A62F1AFA-2ED6-D843-B465-D07F5E5FFB75}" dt="2021-12-20T14:46:45.710" v="4225" actId="2696"/>
        <pc:sldMkLst>
          <pc:docMk/>
          <pc:sldMk cId="7141138" sldId="1448943289"/>
        </pc:sldMkLst>
      </pc:sldChg>
      <pc:sldChg chg="add del">
        <pc:chgData name="Dan McTavish" userId="3bdd38c9-93c5-470d-b029-59656566a699" providerId="ADAL" clId="{A62F1AFA-2ED6-D843-B465-D07F5E5FFB75}" dt="2021-12-20T14:46:46.188" v="4226" actId="2696"/>
        <pc:sldMkLst>
          <pc:docMk/>
          <pc:sldMk cId="2116238901" sldId="1448943290"/>
        </pc:sldMkLst>
      </pc:sldChg>
      <pc:sldChg chg="add del">
        <pc:chgData name="Dan McTavish" userId="3bdd38c9-93c5-470d-b029-59656566a699" providerId="ADAL" clId="{A62F1AFA-2ED6-D843-B465-D07F5E5FFB75}" dt="2021-12-20T14:46:46.591" v="4227" actId="2696"/>
        <pc:sldMkLst>
          <pc:docMk/>
          <pc:sldMk cId="2018098688" sldId="1448943291"/>
        </pc:sldMkLst>
      </pc:sldChg>
      <pc:sldChg chg="add del">
        <pc:chgData name="Dan McTavish" userId="3bdd38c9-93c5-470d-b029-59656566a699" providerId="ADAL" clId="{A62F1AFA-2ED6-D843-B465-D07F5E5FFB75}" dt="2021-12-20T14:46:47.141" v="4228" actId="2696"/>
        <pc:sldMkLst>
          <pc:docMk/>
          <pc:sldMk cId="1206377994" sldId="1448943292"/>
        </pc:sldMkLst>
      </pc:sldChg>
      <pc:sldChg chg="add del">
        <pc:chgData name="Dan McTavish" userId="3bdd38c9-93c5-470d-b029-59656566a699" providerId="ADAL" clId="{A62F1AFA-2ED6-D843-B465-D07F5E5FFB75}" dt="2021-12-20T14:46:48.901" v="4229" actId="2696"/>
        <pc:sldMkLst>
          <pc:docMk/>
          <pc:sldMk cId="3693507080" sldId="1448943293"/>
        </pc:sldMkLst>
      </pc:sldChg>
      <pc:sldChg chg="modSp add mod">
        <pc:chgData name="Dan McTavish" userId="3bdd38c9-93c5-470d-b029-59656566a699" providerId="ADAL" clId="{A62F1AFA-2ED6-D843-B465-D07F5E5FFB75}" dt="2021-12-22T12:27:44.813" v="6014" actId="20577"/>
        <pc:sldMkLst>
          <pc:docMk/>
          <pc:sldMk cId="3462209427" sldId="1448943294"/>
        </pc:sldMkLst>
        <pc:graphicFrameChg chg="mod modGraphic">
          <ac:chgData name="Dan McTavish" userId="3bdd38c9-93c5-470d-b029-59656566a699" providerId="ADAL" clId="{A62F1AFA-2ED6-D843-B465-D07F5E5FFB75}" dt="2021-12-22T12:27:44.813" v="6014" actId="20577"/>
          <ac:graphicFrameMkLst>
            <pc:docMk/>
            <pc:sldMk cId="3462209427" sldId="1448943294"/>
            <ac:graphicFrameMk id="5" creationId="{1F73E11B-085A-AD47-B820-F62CD6BB7304}"/>
          </ac:graphicFrameMkLst>
        </pc:graphicFrameChg>
      </pc:sldChg>
      <pc:sldChg chg="addSp delSp modSp mod">
        <pc:chgData name="Dan McTavish" userId="3bdd38c9-93c5-470d-b029-59656566a699" providerId="ADAL" clId="{A62F1AFA-2ED6-D843-B465-D07F5E5FFB75}" dt="2021-12-23T11:40:49.158" v="8452" actId="20577"/>
        <pc:sldMkLst>
          <pc:docMk/>
          <pc:sldMk cId="3988442953" sldId="2145707193"/>
        </pc:sldMkLst>
        <pc:spChg chg="mod">
          <ac:chgData name="Dan McTavish" userId="3bdd38c9-93c5-470d-b029-59656566a699" providerId="ADAL" clId="{A62F1AFA-2ED6-D843-B465-D07F5E5FFB75}" dt="2021-12-20T11:21:17.287" v="2720" actId="20577"/>
          <ac:spMkLst>
            <pc:docMk/>
            <pc:sldMk cId="3988442953" sldId="2145707193"/>
            <ac:spMk id="7" creationId="{5BB623E2-AC3D-4349-A345-A1F53B4FDDA5}"/>
          </ac:spMkLst>
        </pc:spChg>
        <pc:spChg chg="mod">
          <ac:chgData name="Dan McTavish" userId="3bdd38c9-93c5-470d-b029-59656566a699" providerId="ADAL" clId="{A62F1AFA-2ED6-D843-B465-D07F5E5FFB75}" dt="2021-12-20T09:43:16.090" v="552" actId="14100"/>
          <ac:spMkLst>
            <pc:docMk/>
            <pc:sldMk cId="3988442953" sldId="2145707193"/>
            <ac:spMk id="10" creationId="{25ECA66A-E3AD-CE4E-B06F-DF096F4B12FD}"/>
          </ac:spMkLst>
        </pc:spChg>
        <pc:spChg chg="add mod">
          <ac:chgData name="Dan McTavish" userId="3bdd38c9-93c5-470d-b029-59656566a699" providerId="ADAL" clId="{A62F1AFA-2ED6-D843-B465-D07F5E5FFB75}" dt="2021-12-20T11:13:22.354" v="2682" actId="1076"/>
          <ac:spMkLst>
            <pc:docMk/>
            <pc:sldMk cId="3988442953" sldId="2145707193"/>
            <ac:spMk id="11" creationId="{B3612BE6-847A-C84C-AE63-9694333C9F0E}"/>
          </ac:spMkLst>
        </pc:spChg>
        <pc:spChg chg="mod">
          <ac:chgData name="Dan McTavish" userId="3bdd38c9-93c5-470d-b029-59656566a699" providerId="ADAL" clId="{A62F1AFA-2ED6-D843-B465-D07F5E5FFB75}" dt="2021-12-23T11:40:49.158" v="8452" actId="20577"/>
          <ac:spMkLst>
            <pc:docMk/>
            <pc:sldMk cId="3988442953" sldId="2145707193"/>
            <ac:spMk id="17" creationId="{1B83EBFB-E478-4F4D-8C65-20E3FA5669B7}"/>
          </ac:spMkLst>
        </pc:spChg>
        <pc:spChg chg="del mod">
          <ac:chgData name="Dan McTavish" userId="3bdd38c9-93c5-470d-b029-59656566a699" providerId="ADAL" clId="{A62F1AFA-2ED6-D843-B465-D07F5E5FFB75}" dt="2021-12-20T09:42:35.066" v="542"/>
          <ac:spMkLst>
            <pc:docMk/>
            <pc:sldMk cId="3988442953" sldId="2145707193"/>
            <ac:spMk id="18" creationId="{D19CF441-862B-DE41-AC3E-4595ADDF8171}"/>
          </ac:spMkLst>
        </pc:spChg>
        <pc:spChg chg="mod">
          <ac:chgData name="Dan McTavish" userId="3bdd38c9-93c5-470d-b029-59656566a699" providerId="ADAL" clId="{A62F1AFA-2ED6-D843-B465-D07F5E5FFB75}" dt="2021-12-20T11:21:13.098" v="2712" actId="20577"/>
          <ac:spMkLst>
            <pc:docMk/>
            <pc:sldMk cId="3988442953" sldId="2145707193"/>
            <ac:spMk id="20" creationId="{A1F15CE9-0276-4C4A-AEAA-98E634F323C3}"/>
          </ac:spMkLst>
        </pc:spChg>
        <pc:picChg chg="add del mod">
          <ac:chgData name="Dan McTavish" userId="3bdd38c9-93c5-470d-b029-59656566a699" providerId="ADAL" clId="{A62F1AFA-2ED6-D843-B465-D07F5E5FFB75}" dt="2021-12-20T11:13:03.506" v="2678" actId="478"/>
          <ac:picMkLst>
            <pc:docMk/>
            <pc:sldMk cId="3988442953" sldId="2145707193"/>
            <ac:picMk id="5" creationId="{ECE1B156-E7F9-5744-BC60-E7437C075547}"/>
          </ac:picMkLst>
        </pc:picChg>
        <pc:picChg chg="add mod">
          <ac:chgData name="Dan McTavish" userId="3bdd38c9-93c5-470d-b029-59656566a699" providerId="ADAL" clId="{A62F1AFA-2ED6-D843-B465-D07F5E5FFB75}" dt="2021-12-20T11:14:28.724" v="2694" actId="1076"/>
          <ac:picMkLst>
            <pc:docMk/>
            <pc:sldMk cId="3988442953" sldId="2145707193"/>
            <ac:picMk id="8" creationId="{42A67C92-8685-0D47-8D96-D84673CAC75A}"/>
          </ac:picMkLst>
        </pc:picChg>
        <pc:picChg chg="mod">
          <ac:chgData name="Dan McTavish" userId="3bdd38c9-93c5-470d-b029-59656566a699" providerId="ADAL" clId="{A62F1AFA-2ED6-D843-B465-D07F5E5FFB75}" dt="2021-12-20T11:14:24.539" v="2693" actId="1076"/>
          <ac:picMkLst>
            <pc:docMk/>
            <pc:sldMk cId="3988442953" sldId="2145707193"/>
            <ac:picMk id="12" creationId="{0D7B83A4-C3C6-294C-9DCD-A2A58145ADBC}"/>
          </ac:picMkLst>
        </pc:picChg>
        <pc:picChg chg="del mod">
          <ac:chgData name="Dan McTavish" userId="3bdd38c9-93c5-470d-b029-59656566a699" providerId="ADAL" clId="{A62F1AFA-2ED6-D843-B465-D07F5E5FFB75}" dt="2021-12-20T09:42:24.346" v="537" actId="478"/>
          <ac:picMkLst>
            <pc:docMk/>
            <pc:sldMk cId="3988442953" sldId="2145707193"/>
            <ac:picMk id="16" creationId="{7C8C8B54-38BB-1441-BF15-BFF0E8ED802C}"/>
          </ac:picMkLst>
        </pc:picChg>
        <pc:cxnChg chg="add mod">
          <ac:chgData name="Dan McTavish" userId="3bdd38c9-93c5-470d-b029-59656566a699" providerId="ADAL" clId="{A62F1AFA-2ED6-D843-B465-D07F5E5FFB75}" dt="2021-12-20T11:14:20.221" v="2692" actId="14100"/>
          <ac:cxnSpMkLst>
            <pc:docMk/>
            <pc:sldMk cId="3988442953" sldId="2145707193"/>
            <ac:cxnSpMk id="19" creationId="{E76F1EDD-710E-5E4E-A6FB-CD1503BD4064}"/>
          </ac:cxnSpMkLst>
        </pc:cxnChg>
      </pc:sldChg>
      <pc:sldChg chg="modSp mod">
        <pc:chgData name="Dan McTavish" userId="3bdd38c9-93c5-470d-b029-59656566a699" providerId="ADAL" clId="{A62F1AFA-2ED6-D843-B465-D07F5E5FFB75}" dt="2021-12-20T09:23:15.976" v="451" actId="1076"/>
        <pc:sldMkLst>
          <pc:docMk/>
          <pc:sldMk cId="939449615" sldId="2145707244"/>
        </pc:sldMkLst>
        <pc:spChg chg="mod">
          <ac:chgData name="Dan McTavish" userId="3bdd38c9-93c5-470d-b029-59656566a699" providerId="ADAL" clId="{A62F1AFA-2ED6-D843-B465-D07F5E5FFB75}" dt="2021-12-20T09:23:15.976" v="451" actId="1076"/>
          <ac:spMkLst>
            <pc:docMk/>
            <pc:sldMk cId="939449615" sldId="2145707244"/>
            <ac:spMk id="22" creationId="{50CCFB9E-6993-3F44-B7BD-7BB09E66189D}"/>
          </ac:spMkLst>
        </pc:spChg>
      </pc:sldChg>
      <pc:sldChg chg="modSp del mod">
        <pc:chgData name="Dan McTavish" userId="3bdd38c9-93c5-470d-b029-59656566a699" providerId="ADAL" clId="{A62F1AFA-2ED6-D843-B465-D07F5E5FFB75}" dt="2021-12-17T17:09:59.861" v="449" actId="2696"/>
        <pc:sldMkLst>
          <pc:docMk/>
          <pc:sldMk cId="302297991" sldId="2145707252"/>
        </pc:sldMkLst>
        <pc:graphicFrameChg chg="modGraphic">
          <ac:chgData name="Dan McTavish" userId="3bdd38c9-93c5-470d-b029-59656566a699" providerId="ADAL" clId="{A62F1AFA-2ED6-D843-B465-D07F5E5FFB75}" dt="2021-12-17T17:09:58.280" v="448" actId="20577"/>
          <ac:graphicFrameMkLst>
            <pc:docMk/>
            <pc:sldMk cId="302297991" sldId="2145707252"/>
            <ac:graphicFrameMk id="5" creationId="{AC4AB7CF-4D4A-7B44-B1A6-4717A3E53B8F}"/>
          </ac:graphicFrameMkLst>
        </pc:graphicFrameChg>
      </pc:sldChg>
      <pc:sldChg chg="modSp mod">
        <pc:chgData name="Dan McTavish" userId="3bdd38c9-93c5-470d-b029-59656566a699" providerId="ADAL" clId="{A62F1AFA-2ED6-D843-B465-D07F5E5FFB75}" dt="2021-12-20T11:49:14.402" v="3196" actId="108"/>
        <pc:sldMkLst>
          <pc:docMk/>
          <pc:sldMk cId="4156687832" sldId="2145707261"/>
        </pc:sldMkLst>
        <pc:spChg chg="mod">
          <ac:chgData name="Dan McTavish" userId="3bdd38c9-93c5-470d-b029-59656566a699" providerId="ADAL" clId="{A62F1AFA-2ED6-D843-B465-D07F5E5FFB75}" dt="2021-12-20T11:49:14.402" v="3196" actId="108"/>
          <ac:spMkLst>
            <pc:docMk/>
            <pc:sldMk cId="4156687832" sldId="2145707261"/>
            <ac:spMk id="29" creationId="{39022F5C-1E96-1045-952F-DEA81FF7169E}"/>
          </ac:spMkLst>
        </pc:spChg>
      </pc:sldChg>
      <pc:sldChg chg="del">
        <pc:chgData name="Dan McTavish" userId="3bdd38c9-93c5-470d-b029-59656566a699" providerId="ADAL" clId="{A62F1AFA-2ED6-D843-B465-D07F5E5FFB75}" dt="2021-12-23T13:46:53.477" v="8700" actId="2696"/>
        <pc:sldMkLst>
          <pc:docMk/>
          <pc:sldMk cId="658714767" sldId="2145707263"/>
        </pc:sldMkLst>
      </pc:sldChg>
      <pc:sldChg chg="addSp delSp modSp mod">
        <pc:chgData name="Dan McTavish" userId="3bdd38c9-93c5-470d-b029-59656566a699" providerId="ADAL" clId="{A62F1AFA-2ED6-D843-B465-D07F5E5FFB75}" dt="2021-12-20T15:31:38.031" v="4260"/>
        <pc:sldMkLst>
          <pc:docMk/>
          <pc:sldMk cId="257716761" sldId="2145707268"/>
        </pc:sldMkLst>
        <pc:spChg chg="mod">
          <ac:chgData name="Dan McTavish" userId="3bdd38c9-93c5-470d-b029-59656566a699" providerId="ADAL" clId="{A62F1AFA-2ED6-D843-B465-D07F5E5FFB75}" dt="2021-12-20T15:30:28.120" v="4257" actId="478"/>
          <ac:spMkLst>
            <pc:docMk/>
            <pc:sldMk cId="257716761" sldId="2145707268"/>
            <ac:spMk id="12" creationId="{363CD306-A4CF-0045-B748-E29F5A0F9D31}"/>
          </ac:spMkLst>
        </pc:spChg>
        <pc:spChg chg="mod">
          <ac:chgData name="Dan McTavish" userId="3bdd38c9-93c5-470d-b029-59656566a699" providerId="ADAL" clId="{A62F1AFA-2ED6-D843-B465-D07F5E5FFB75}" dt="2021-12-20T15:30:28.120" v="4257" actId="478"/>
          <ac:spMkLst>
            <pc:docMk/>
            <pc:sldMk cId="257716761" sldId="2145707268"/>
            <ac:spMk id="13" creationId="{CB58FA81-B730-8A46-9E2B-6D4DADEAF5A0}"/>
          </ac:spMkLst>
        </pc:spChg>
        <pc:spChg chg="mod">
          <ac:chgData name="Dan McTavish" userId="3bdd38c9-93c5-470d-b029-59656566a699" providerId="ADAL" clId="{A62F1AFA-2ED6-D843-B465-D07F5E5FFB75}" dt="2021-12-20T15:30:28.120" v="4257" actId="478"/>
          <ac:spMkLst>
            <pc:docMk/>
            <pc:sldMk cId="257716761" sldId="2145707268"/>
            <ac:spMk id="14" creationId="{F429D550-A1FA-F747-AEB3-1B00EFCA2E89}"/>
          </ac:spMkLst>
        </pc:spChg>
        <pc:spChg chg="mod">
          <ac:chgData name="Dan McTavish" userId="3bdd38c9-93c5-470d-b029-59656566a699" providerId="ADAL" clId="{A62F1AFA-2ED6-D843-B465-D07F5E5FFB75}" dt="2021-12-20T15:30:28.120" v="4257" actId="478"/>
          <ac:spMkLst>
            <pc:docMk/>
            <pc:sldMk cId="257716761" sldId="2145707268"/>
            <ac:spMk id="15" creationId="{113A1493-C3F7-4D47-938D-ED28CA89D9A1}"/>
          </ac:spMkLst>
        </pc:spChg>
        <pc:spChg chg="mod">
          <ac:chgData name="Dan McTavish" userId="3bdd38c9-93c5-470d-b029-59656566a699" providerId="ADAL" clId="{A62F1AFA-2ED6-D843-B465-D07F5E5FFB75}" dt="2021-12-20T15:30:28.120" v="4257" actId="478"/>
          <ac:spMkLst>
            <pc:docMk/>
            <pc:sldMk cId="257716761" sldId="2145707268"/>
            <ac:spMk id="17" creationId="{E8E35E51-0209-5945-B654-6D60D76F3E81}"/>
          </ac:spMkLst>
        </pc:spChg>
        <pc:spChg chg="mod">
          <ac:chgData name="Dan McTavish" userId="3bdd38c9-93c5-470d-b029-59656566a699" providerId="ADAL" clId="{A62F1AFA-2ED6-D843-B465-D07F5E5FFB75}" dt="2021-12-20T15:30:28.120" v="4257" actId="478"/>
          <ac:spMkLst>
            <pc:docMk/>
            <pc:sldMk cId="257716761" sldId="2145707268"/>
            <ac:spMk id="18" creationId="{9207FCF8-80BA-C042-9F09-82F607D1BD45}"/>
          </ac:spMkLst>
        </pc:spChg>
        <pc:spChg chg="add del">
          <ac:chgData name="Dan McTavish" userId="3bdd38c9-93c5-470d-b029-59656566a699" providerId="ADAL" clId="{A62F1AFA-2ED6-D843-B465-D07F5E5FFB75}" dt="2021-12-20T15:30:28.120" v="4257" actId="478"/>
          <ac:spMkLst>
            <pc:docMk/>
            <pc:sldMk cId="257716761" sldId="2145707268"/>
            <ac:spMk id="19" creationId="{79C4484F-911B-E840-B3D4-C6028EC5299F}"/>
          </ac:spMkLst>
        </pc:spChg>
        <pc:spChg chg="mod">
          <ac:chgData name="Dan McTavish" userId="3bdd38c9-93c5-470d-b029-59656566a699" providerId="ADAL" clId="{A62F1AFA-2ED6-D843-B465-D07F5E5FFB75}" dt="2021-12-20T15:30:28.120" v="4257" actId="478"/>
          <ac:spMkLst>
            <pc:docMk/>
            <pc:sldMk cId="257716761" sldId="2145707268"/>
            <ac:spMk id="20" creationId="{4993CAD8-93A8-E442-9D91-DBA809B62EBE}"/>
          </ac:spMkLst>
        </pc:spChg>
        <pc:spChg chg="add del mod">
          <ac:chgData name="Dan McTavish" userId="3bdd38c9-93c5-470d-b029-59656566a699" providerId="ADAL" clId="{A62F1AFA-2ED6-D843-B465-D07F5E5FFB75}" dt="2021-12-20T15:30:48.018" v="4259" actId="478"/>
          <ac:spMkLst>
            <pc:docMk/>
            <pc:sldMk cId="257716761" sldId="2145707268"/>
            <ac:spMk id="492" creationId="{1DFA4B33-4AC1-EA48-88D6-A7116328C6E1}"/>
          </ac:spMkLst>
        </pc:spChg>
        <pc:spChg chg="add mod">
          <ac:chgData name="Dan McTavish" userId="3bdd38c9-93c5-470d-b029-59656566a699" providerId="ADAL" clId="{A62F1AFA-2ED6-D843-B465-D07F5E5FFB75}" dt="2021-12-20T15:31:38.031" v="4260"/>
          <ac:spMkLst>
            <pc:docMk/>
            <pc:sldMk cId="257716761" sldId="2145707268"/>
            <ac:spMk id="493" creationId="{B4BB1E35-8186-0C43-969E-4EB447FA33B4}"/>
          </ac:spMkLst>
        </pc:spChg>
        <pc:grpChg chg="mod">
          <ac:chgData name="Dan McTavish" userId="3bdd38c9-93c5-470d-b029-59656566a699" providerId="ADAL" clId="{A62F1AFA-2ED6-D843-B465-D07F5E5FFB75}" dt="2021-12-20T15:30:28.120" v="4257" actId="478"/>
          <ac:grpSpMkLst>
            <pc:docMk/>
            <pc:sldMk cId="257716761" sldId="2145707268"/>
            <ac:grpSpMk id="10" creationId="{A5873C76-5908-8B41-8526-0CC85835EE20}"/>
          </ac:grpSpMkLst>
        </pc:grpChg>
        <pc:grpChg chg="mod">
          <ac:chgData name="Dan McTavish" userId="3bdd38c9-93c5-470d-b029-59656566a699" providerId="ADAL" clId="{A62F1AFA-2ED6-D843-B465-D07F5E5FFB75}" dt="2021-12-20T15:30:28.120" v="4257" actId="478"/>
          <ac:grpSpMkLst>
            <pc:docMk/>
            <pc:sldMk cId="257716761" sldId="2145707268"/>
            <ac:grpSpMk id="11" creationId="{8C83A67D-F8FE-3A4F-993A-2FD9B5AA8D59}"/>
          </ac:grpSpMkLst>
        </pc:grpChg>
        <pc:grpChg chg="mod">
          <ac:chgData name="Dan McTavish" userId="3bdd38c9-93c5-470d-b029-59656566a699" providerId="ADAL" clId="{A62F1AFA-2ED6-D843-B465-D07F5E5FFB75}" dt="2021-12-20T15:30:08.914" v="4255" actId="1076"/>
          <ac:grpSpMkLst>
            <pc:docMk/>
            <pc:sldMk cId="257716761" sldId="2145707268"/>
            <ac:grpSpMk id="404" creationId="{CB6FAB60-74C5-1446-8267-AC962E2FF6C3}"/>
          </ac:grpSpMkLst>
        </pc:grpChg>
      </pc:sldChg>
      <pc:sldChg chg="add del ord">
        <pc:chgData name="Dan McTavish" userId="3bdd38c9-93c5-470d-b029-59656566a699" providerId="ADAL" clId="{A62F1AFA-2ED6-D843-B465-D07F5E5FFB75}" dt="2021-12-17T16:26:17.462" v="216" actId="2696"/>
        <pc:sldMkLst>
          <pc:docMk/>
          <pc:sldMk cId="831719426" sldId="2145707273"/>
        </pc:sldMkLst>
      </pc:sldChg>
      <pc:sldChg chg="modSp mod modCm">
        <pc:chgData name="Dan McTavish" userId="3bdd38c9-93c5-470d-b029-59656566a699" providerId="ADAL" clId="{A62F1AFA-2ED6-D843-B465-D07F5E5FFB75}" dt="2021-12-22T14:36:03.982" v="6325" actId="20577"/>
        <pc:sldMkLst>
          <pc:docMk/>
          <pc:sldMk cId="889857472" sldId="2145707279"/>
        </pc:sldMkLst>
        <pc:spChg chg="mod">
          <ac:chgData name="Dan McTavish" userId="3bdd38c9-93c5-470d-b029-59656566a699" providerId="ADAL" clId="{A62F1AFA-2ED6-D843-B465-D07F5E5FFB75}" dt="2021-12-22T14:36:03.982" v="6325" actId="20577"/>
          <ac:spMkLst>
            <pc:docMk/>
            <pc:sldMk cId="889857472" sldId="2145707279"/>
            <ac:spMk id="2" creationId="{97DF49F5-76E4-D045-9AE5-C5DFB0E4B946}"/>
          </ac:spMkLst>
        </pc:spChg>
      </pc:sldChg>
      <pc:sldChg chg="modSp mod modCm">
        <pc:chgData name="Dan McTavish" userId="3bdd38c9-93c5-470d-b029-59656566a699" providerId="ADAL" clId="{A62F1AFA-2ED6-D843-B465-D07F5E5FFB75}" dt="2021-12-22T20:34:34.251" v="7585" actId="14734"/>
        <pc:sldMkLst>
          <pc:docMk/>
          <pc:sldMk cId="957403761" sldId="2145708065"/>
        </pc:sldMkLst>
        <pc:graphicFrameChg chg="mod modGraphic">
          <ac:chgData name="Dan McTavish" userId="3bdd38c9-93c5-470d-b029-59656566a699" providerId="ADAL" clId="{A62F1AFA-2ED6-D843-B465-D07F5E5FFB75}" dt="2021-12-22T20:34:34.251" v="7585" actId="14734"/>
          <ac:graphicFrameMkLst>
            <pc:docMk/>
            <pc:sldMk cId="957403761" sldId="2145708065"/>
            <ac:graphicFrameMk id="2" creationId="{C936049E-4494-6547-93D5-77CC5AD22A24}"/>
          </ac:graphicFrameMkLst>
        </pc:graphicFrameChg>
      </pc:sldChg>
      <pc:sldChg chg="modSp mod">
        <pc:chgData name="Dan McTavish" userId="3bdd38c9-93c5-470d-b029-59656566a699" providerId="ADAL" clId="{A62F1AFA-2ED6-D843-B465-D07F5E5FFB75}" dt="2021-12-23T10:14:47.073" v="8209" actId="20577"/>
        <pc:sldMkLst>
          <pc:docMk/>
          <pc:sldMk cId="2416394318" sldId="2145708070"/>
        </pc:sldMkLst>
        <pc:graphicFrameChg chg="modGraphic">
          <ac:chgData name="Dan McTavish" userId="3bdd38c9-93c5-470d-b029-59656566a699" providerId="ADAL" clId="{A62F1AFA-2ED6-D843-B465-D07F5E5FFB75}" dt="2021-12-23T10:14:47.073" v="8209" actId="20577"/>
          <ac:graphicFrameMkLst>
            <pc:docMk/>
            <pc:sldMk cId="2416394318" sldId="2145708070"/>
            <ac:graphicFrameMk id="4" creationId="{93D35352-A6E9-3B4E-A85E-6F9D009369E7}"/>
          </ac:graphicFrameMkLst>
        </pc:graphicFrameChg>
      </pc:sldChg>
      <pc:sldChg chg="modSp mod modCm">
        <pc:chgData name="Dan McTavish" userId="3bdd38c9-93c5-470d-b029-59656566a699" providerId="ADAL" clId="{A62F1AFA-2ED6-D843-B465-D07F5E5FFB75}" dt="2021-12-23T08:34:37.289" v="7611" actId="20577"/>
        <pc:sldMkLst>
          <pc:docMk/>
          <pc:sldMk cId="3539399706" sldId="2145708071"/>
        </pc:sldMkLst>
        <pc:graphicFrameChg chg="modGraphic">
          <ac:chgData name="Dan McTavish" userId="3bdd38c9-93c5-470d-b029-59656566a699" providerId="ADAL" clId="{A62F1AFA-2ED6-D843-B465-D07F5E5FFB75}" dt="2021-12-23T08:34:37.289" v="7611" actId="20577"/>
          <ac:graphicFrameMkLst>
            <pc:docMk/>
            <pc:sldMk cId="3539399706" sldId="2145708071"/>
            <ac:graphicFrameMk id="2" creationId="{C936049E-4494-6547-93D5-77CC5AD22A24}"/>
          </ac:graphicFrameMkLst>
        </pc:graphicFrameChg>
      </pc:sldChg>
      <pc:sldChg chg="modSp mod modCm">
        <pc:chgData name="Dan McTavish" userId="3bdd38c9-93c5-470d-b029-59656566a699" providerId="ADAL" clId="{A62F1AFA-2ED6-D843-B465-D07F5E5FFB75}" dt="2021-12-23T11:38:00.383" v="8450" actId="20577"/>
        <pc:sldMkLst>
          <pc:docMk/>
          <pc:sldMk cId="3706502819" sldId="2145708077"/>
        </pc:sldMkLst>
        <pc:spChg chg="mod">
          <ac:chgData name="Dan McTavish" userId="3bdd38c9-93c5-470d-b029-59656566a699" providerId="ADAL" clId="{A62F1AFA-2ED6-D843-B465-D07F5E5FFB75}" dt="2021-12-23T11:38:00.383" v="8450" actId="20577"/>
          <ac:spMkLst>
            <pc:docMk/>
            <pc:sldMk cId="3706502819" sldId="2145708077"/>
            <ac:spMk id="18" creationId="{87A0D5BE-92F8-324D-9365-1E344D7A55E4}"/>
          </ac:spMkLst>
        </pc:spChg>
      </pc:sldChg>
      <pc:sldChg chg="modSp mod">
        <pc:chgData name="Dan McTavish" userId="3bdd38c9-93c5-470d-b029-59656566a699" providerId="ADAL" clId="{A62F1AFA-2ED6-D843-B465-D07F5E5FFB75}" dt="2021-12-23T10:11:27.995" v="8199" actId="20577"/>
        <pc:sldMkLst>
          <pc:docMk/>
          <pc:sldMk cId="3646163975" sldId="2145708082"/>
        </pc:sldMkLst>
        <pc:spChg chg="mod">
          <ac:chgData name="Dan McTavish" userId="3bdd38c9-93c5-470d-b029-59656566a699" providerId="ADAL" clId="{A62F1AFA-2ED6-D843-B465-D07F5E5FFB75}" dt="2021-12-23T10:11:27.995" v="8199" actId="20577"/>
          <ac:spMkLst>
            <pc:docMk/>
            <pc:sldMk cId="3646163975" sldId="2145708082"/>
            <ac:spMk id="36" creationId="{F0613AF4-B5CC-A042-A76D-31B970DEDD1C}"/>
          </ac:spMkLst>
        </pc:spChg>
      </pc:sldChg>
      <pc:sldChg chg="modSp mod">
        <pc:chgData name="Dan McTavish" userId="3bdd38c9-93c5-470d-b029-59656566a699" providerId="ADAL" clId="{A62F1AFA-2ED6-D843-B465-D07F5E5FFB75}" dt="2021-12-21T10:20:13.570" v="4975" actId="20577"/>
        <pc:sldMkLst>
          <pc:docMk/>
          <pc:sldMk cId="1705789746" sldId="2145708086"/>
        </pc:sldMkLst>
        <pc:graphicFrameChg chg="modGraphic">
          <ac:chgData name="Dan McTavish" userId="3bdd38c9-93c5-470d-b029-59656566a699" providerId="ADAL" clId="{A62F1AFA-2ED6-D843-B465-D07F5E5FFB75}" dt="2021-12-21T10:20:13.570" v="4975" actId="20577"/>
          <ac:graphicFrameMkLst>
            <pc:docMk/>
            <pc:sldMk cId="1705789746" sldId="2145708086"/>
            <ac:graphicFrameMk id="7" creationId="{B0021113-E356-744D-9441-B64074BD5786}"/>
          </ac:graphicFrameMkLst>
        </pc:graphicFrameChg>
      </pc:sldChg>
      <pc:sldChg chg="modSp mod">
        <pc:chgData name="Dan McTavish" userId="3bdd38c9-93c5-470d-b029-59656566a699" providerId="ADAL" clId="{A62F1AFA-2ED6-D843-B465-D07F5E5FFB75}" dt="2021-12-21T16:46:32.351" v="6012" actId="20577"/>
        <pc:sldMkLst>
          <pc:docMk/>
          <pc:sldMk cId="3525553709" sldId="2147374156"/>
        </pc:sldMkLst>
        <pc:spChg chg="mod">
          <ac:chgData name="Dan McTavish" userId="3bdd38c9-93c5-470d-b029-59656566a699" providerId="ADAL" clId="{A62F1AFA-2ED6-D843-B465-D07F5E5FFB75}" dt="2021-12-21T16:46:32.351" v="6012" actId="20577"/>
          <ac:spMkLst>
            <pc:docMk/>
            <pc:sldMk cId="3525553709" sldId="2147374156"/>
            <ac:spMk id="11" creationId="{0C280681-602D-354E-A3CA-F765637A3477}"/>
          </ac:spMkLst>
        </pc:spChg>
      </pc:sldChg>
      <pc:sldChg chg="ord">
        <pc:chgData name="Dan McTavish" userId="3bdd38c9-93c5-470d-b029-59656566a699" providerId="ADAL" clId="{A62F1AFA-2ED6-D843-B465-D07F5E5FFB75}" dt="2021-12-22T16:20:11.017" v="6780" actId="20578"/>
        <pc:sldMkLst>
          <pc:docMk/>
          <pc:sldMk cId="2123939920" sldId="2147374157"/>
        </pc:sldMkLst>
      </pc:sldChg>
      <pc:sldChg chg="modSp mod modCm">
        <pc:chgData name="Dan McTavish" userId="3bdd38c9-93c5-470d-b029-59656566a699" providerId="ADAL" clId="{A62F1AFA-2ED6-D843-B465-D07F5E5FFB75}" dt="2021-12-22T14:55:14.129" v="6342" actId="20577"/>
        <pc:sldMkLst>
          <pc:docMk/>
          <pc:sldMk cId="581444142" sldId="2147374158"/>
        </pc:sldMkLst>
        <pc:spChg chg="mod">
          <ac:chgData name="Dan McTavish" userId="3bdd38c9-93c5-470d-b029-59656566a699" providerId="ADAL" clId="{A62F1AFA-2ED6-D843-B465-D07F5E5FFB75}" dt="2021-12-22T14:55:14.129" v="6342" actId="20577"/>
          <ac:spMkLst>
            <pc:docMk/>
            <pc:sldMk cId="581444142" sldId="2147374158"/>
            <ac:spMk id="16" creationId="{F715D659-0B3D-3441-8784-EDED0A7173C7}"/>
          </ac:spMkLst>
        </pc:spChg>
      </pc:sldChg>
      <pc:sldChg chg="addSp delSp modSp mod modCm">
        <pc:chgData name="Dan McTavish" userId="3bdd38c9-93c5-470d-b029-59656566a699" providerId="ADAL" clId="{A62F1AFA-2ED6-D843-B465-D07F5E5FFB75}" dt="2021-12-22T17:42:55.902" v="7316" actId="20577"/>
        <pc:sldMkLst>
          <pc:docMk/>
          <pc:sldMk cId="2988138454" sldId="2147374160"/>
        </pc:sldMkLst>
        <pc:spChg chg="mod">
          <ac:chgData name="Dan McTavish" userId="3bdd38c9-93c5-470d-b029-59656566a699" providerId="ADAL" clId="{A62F1AFA-2ED6-D843-B465-D07F5E5FFB75}" dt="2021-12-22T16:18:00.838" v="6578" actId="20577"/>
          <ac:spMkLst>
            <pc:docMk/>
            <pc:sldMk cId="2988138454" sldId="2147374160"/>
            <ac:spMk id="2" creationId="{00000000-0000-0000-0000-000000000000}"/>
          </ac:spMkLst>
        </pc:spChg>
        <pc:spChg chg="add del mod">
          <ac:chgData name="Dan McTavish" userId="3bdd38c9-93c5-470d-b029-59656566a699" providerId="ADAL" clId="{A62F1AFA-2ED6-D843-B465-D07F5E5FFB75}" dt="2021-12-22T14:57:11.913" v="6375" actId="478"/>
          <ac:spMkLst>
            <pc:docMk/>
            <pc:sldMk cId="2988138454" sldId="2147374160"/>
            <ac:spMk id="9" creationId="{AF3EB12C-578F-BF4E-A03F-010AD42FC729}"/>
          </ac:spMkLst>
        </pc:spChg>
        <pc:spChg chg="mod">
          <ac:chgData name="Dan McTavish" userId="3bdd38c9-93c5-470d-b029-59656566a699" providerId="ADAL" clId="{A62F1AFA-2ED6-D843-B465-D07F5E5FFB75}" dt="2021-12-22T16:51:07.183" v="7247" actId="20577"/>
          <ac:spMkLst>
            <pc:docMk/>
            <pc:sldMk cId="2988138454" sldId="2147374160"/>
            <ac:spMk id="16" creationId="{F715D659-0B3D-3441-8784-EDED0A7173C7}"/>
          </ac:spMkLst>
        </pc:spChg>
        <pc:graphicFrameChg chg="mod modGraphic">
          <ac:chgData name="Dan McTavish" userId="3bdd38c9-93c5-470d-b029-59656566a699" providerId="ADAL" clId="{A62F1AFA-2ED6-D843-B465-D07F5E5FFB75}" dt="2021-12-22T17:42:55.902" v="7316" actId="20577"/>
          <ac:graphicFrameMkLst>
            <pc:docMk/>
            <pc:sldMk cId="2988138454" sldId="2147374160"/>
            <ac:graphicFrameMk id="26" creationId="{B868C0AB-3D2C-4647-A123-6629F1806D7E}"/>
          </ac:graphicFrameMkLst>
        </pc:graphicFrameChg>
      </pc:sldChg>
      <pc:sldChg chg="ord">
        <pc:chgData name="Dan McTavish" userId="3bdd38c9-93c5-470d-b029-59656566a699" providerId="ADAL" clId="{A62F1AFA-2ED6-D843-B465-D07F5E5FFB75}" dt="2021-12-22T16:20:05.462" v="6779" actId="20578"/>
        <pc:sldMkLst>
          <pc:docMk/>
          <pc:sldMk cId="1776922325" sldId="2147374163"/>
        </pc:sldMkLst>
      </pc:sldChg>
      <pc:sldChg chg="modSp mod modCm">
        <pc:chgData name="Dan McTavish" userId="3bdd38c9-93c5-470d-b029-59656566a699" providerId="ADAL" clId="{A62F1AFA-2ED6-D843-B465-D07F5E5FFB75}" dt="2021-12-22T17:26:44.551" v="7309" actId="20577"/>
        <pc:sldMkLst>
          <pc:docMk/>
          <pc:sldMk cId="2512054534" sldId="2147374167"/>
        </pc:sldMkLst>
        <pc:spChg chg="mod">
          <ac:chgData name="Dan McTavish" userId="3bdd38c9-93c5-470d-b029-59656566a699" providerId="ADAL" clId="{A62F1AFA-2ED6-D843-B465-D07F5E5FFB75}" dt="2021-12-22T16:13:01.908" v="6488" actId="313"/>
          <ac:spMkLst>
            <pc:docMk/>
            <pc:sldMk cId="2512054534" sldId="2147374167"/>
            <ac:spMk id="16" creationId="{F715D659-0B3D-3441-8784-EDED0A7173C7}"/>
          </ac:spMkLst>
        </pc:spChg>
        <pc:graphicFrameChg chg="mod modGraphic">
          <ac:chgData name="Dan McTavish" userId="3bdd38c9-93c5-470d-b029-59656566a699" providerId="ADAL" clId="{A62F1AFA-2ED6-D843-B465-D07F5E5FFB75}" dt="2021-12-22T17:26:44.551" v="7309" actId="20577"/>
          <ac:graphicFrameMkLst>
            <pc:docMk/>
            <pc:sldMk cId="2512054534" sldId="2147374167"/>
            <ac:graphicFrameMk id="26" creationId="{B868C0AB-3D2C-4647-A123-6629F1806D7E}"/>
          </ac:graphicFrameMkLst>
        </pc:graphicFrameChg>
      </pc:sldChg>
      <pc:sldChg chg="modSp mod">
        <pc:chgData name="Dan McTavish" userId="3bdd38c9-93c5-470d-b029-59656566a699" providerId="ADAL" clId="{A62F1AFA-2ED6-D843-B465-D07F5E5FFB75}" dt="2021-12-17T16:05:30.355" v="155" actId="20577"/>
        <pc:sldMkLst>
          <pc:docMk/>
          <pc:sldMk cId="3250498423" sldId="2147374168"/>
        </pc:sldMkLst>
        <pc:spChg chg="mod">
          <ac:chgData name="Dan McTavish" userId="3bdd38c9-93c5-470d-b029-59656566a699" providerId="ADAL" clId="{A62F1AFA-2ED6-D843-B465-D07F5E5FFB75}" dt="2021-12-17T16:05:30.355" v="155" actId="20577"/>
          <ac:spMkLst>
            <pc:docMk/>
            <pc:sldMk cId="3250498423" sldId="2147374168"/>
            <ac:spMk id="2" creationId="{63FE2F85-5478-7B4D-A181-E85728796F24}"/>
          </ac:spMkLst>
        </pc:spChg>
      </pc:sldChg>
      <pc:sldChg chg="del">
        <pc:chgData name="Dan McTavish" userId="3bdd38c9-93c5-470d-b029-59656566a699" providerId="ADAL" clId="{A62F1AFA-2ED6-D843-B465-D07F5E5FFB75}" dt="2021-12-17T15:52:25.749" v="74" actId="2696"/>
        <pc:sldMkLst>
          <pc:docMk/>
          <pc:sldMk cId="3407069444" sldId="2147374174"/>
        </pc:sldMkLst>
      </pc:sldChg>
      <pc:sldChg chg="del">
        <pc:chgData name="Dan McTavish" userId="3bdd38c9-93c5-470d-b029-59656566a699" providerId="ADAL" clId="{A62F1AFA-2ED6-D843-B465-D07F5E5FFB75}" dt="2021-12-22T14:35:44.777" v="6295" actId="2696"/>
        <pc:sldMkLst>
          <pc:docMk/>
          <pc:sldMk cId="2926344828" sldId="2147374175"/>
        </pc:sldMkLst>
      </pc:sldChg>
      <pc:sldChg chg="addSp delSp modSp mod modCm">
        <pc:chgData name="Dan McTavish" userId="3bdd38c9-93c5-470d-b029-59656566a699" providerId="ADAL" clId="{A62F1AFA-2ED6-D843-B465-D07F5E5FFB75}" dt="2021-12-23T11:37:10.278" v="8448" actId="20577"/>
        <pc:sldMkLst>
          <pc:docMk/>
          <pc:sldMk cId="726081772" sldId="2147374176"/>
        </pc:sldMkLst>
        <pc:spChg chg="add del">
          <ac:chgData name="Dan McTavish" userId="3bdd38c9-93c5-470d-b029-59656566a699" providerId="ADAL" clId="{A62F1AFA-2ED6-D843-B465-D07F5E5FFB75}" dt="2021-12-22T14:06:16.333" v="6078" actId="22"/>
          <ac:spMkLst>
            <pc:docMk/>
            <pc:sldMk cId="726081772" sldId="2147374176"/>
            <ac:spMk id="53" creationId="{C0D3659C-D366-6D43-942F-B41158F6118C}"/>
          </ac:spMkLst>
        </pc:spChg>
        <pc:spChg chg="mod">
          <ac:chgData name="Dan McTavish" userId="3bdd38c9-93c5-470d-b029-59656566a699" providerId="ADAL" clId="{A62F1AFA-2ED6-D843-B465-D07F5E5FFB75}" dt="2021-12-22T14:06:53.539" v="6107" actId="2085"/>
          <ac:spMkLst>
            <pc:docMk/>
            <pc:sldMk cId="726081772" sldId="2147374176"/>
            <ac:spMk id="55" creationId="{C47563E4-B1AD-EA45-A3F2-0E6176BCAEA4}"/>
          </ac:spMkLst>
        </pc:spChg>
        <pc:spChg chg="add del mod">
          <ac:chgData name="Dan McTavish" userId="3bdd38c9-93c5-470d-b029-59656566a699" providerId="ADAL" clId="{A62F1AFA-2ED6-D843-B465-D07F5E5FFB75}" dt="2021-12-23T11:37:10.278" v="8448" actId="20577"/>
          <ac:spMkLst>
            <pc:docMk/>
            <pc:sldMk cId="726081772" sldId="2147374176"/>
            <ac:spMk id="57" creationId="{2ED74A6C-E1C0-7040-AFEA-1B1495B79D3C}"/>
          </ac:spMkLst>
        </pc:spChg>
      </pc:sldChg>
      <pc:sldChg chg="modSp add mod ord">
        <pc:chgData name="Dan McTavish" userId="3bdd38c9-93c5-470d-b029-59656566a699" providerId="ADAL" clId="{A62F1AFA-2ED6-D843-B465-D07F5E5FFB75}" dt="2021-12-20T11:41:03.932" v="2985" actId="313"/>
        <pc:sldMkLst>
          <pc:docMk/>
          <pc:sldMk cId="430981442" sldId="2147374177"/>
        </pc:sldMkLst>
        <pc:spChg chg="mod">
          <ac:chgData name="Dan McTavish" userId="3bdd38c9-93c5-470d-b029-59656566a699" providerId="ADAL" clId="{A62F1AFA-2ED6-D843-B465-D07F5E5FFB75}" dt="2021-12-17T16:05:46.827" v="183" actId="20577"/>
          <ac:spMkLst>
            <pc:docMk/>
            <pc:sldMk cId="430981442" sldId="2147374177"/>
            <ac:spMk id="3" creationId="{0A22AF2B-CD1C-8742-ABF2-F47A44879B64}"/>
          </ac:spMkLst>
        </pc:spChg>
        <pc:spChg chg="mod">
          <ac:chgData name="Dan McTavish" userId="3bdd38c9-93c5-470d-b029-59656566a699" providerId="ADAL" clId="{A62F1AFA-2ED6-D843-B465-D07F5E5FFB75}" dt="2021-12-17T15:56:53.136" v="123" actId="20577"/>
          <ac:spMkLst>
            <pc:docMk/>
            <pc:sldMk cId="430981442" sldId="2147374177"/>
            <ac:spMk id="28" creationId="{34D14069-3A78-CB4B-9516-37759BDAF618}"/>
          </ac:spMkLst>
        </pc:spChg>
        <pc:spChg chg="mod">
          <ac:chgData name="Dan McTavish" userId="3bdd38c9-93c5-470d-b029-59656566a699" providerId="ADAL" clId="{A62F1AFA-2ED6-D843-B465-D07F5E5FFB75}" dt="2021-12-20T11:41:03.932" v="2985" actId="313"/>
          <ac:spMkLst>
            <pc:docMk/>
            <pc:sldMk cId="430981442" sldId="2147374177"/>
            <ac:spMk id="36" creationId="{F0613AF4-B5CC-A042-A76D-31B970DEDD1C}"/>
          </ac:spMkLst>
        </pc:spChg>
        <pc:graphicFrameChg chg="mod modGraphic">
          <ac:chgData name="Dan McTavish" userId="3bdd38c9-93c5-470d-b029-59656566a699" providerId="ADAL" clId="{A62F1AFA-2ED6-D843-B465-D07F5E5FFB75}" dt="2021-12-20T09:43:36.519" v="553"/>
          <ac:graphicFrameMkLst>
            <pc:docMk/>
            <pc:sldMk cId="430981442" sldId="2147374177"/>
            <ac:graphicFrameMk id="17" creationId="{7AA6C9EE-A5E6-8845-9153-F6FCC5726785}"/>
          </ac:graphicFrameMkLst>
        </pc:graphicFrameChg>
      </pc:sldChg>
      <pc:sldChg chg="add delCm">
        <pc:chgData name="Dan McTavish" userId="3bdd38c9-93c5-470d-b029-59656566a699" providerId="ADAL" clId="{A62F1AFA-2ED6-D843-B465-D07F5E5FFB75}" dt="2021-12-17T16:26:26.975" v="217"/>
        <pc:sldMkLst>
          <pc:docMk/>
          <pc:sldMk cId="654945963" sldId="2147374178"/>
        </pc:sldMkLst>
      </pc:sldChg>
      <pc:sldChg chg="modSp mod">
        <pc:chgData name="Dan McTavish" userId="3bdd38c9-93c5-470d-b029-59656566a699" providerId="ADAL" clId="{A62F1AFA-2ED6-D843-B465-D07F5E5FFB75}" dt="2021-12-20T10:55:33.717" v="2289" actId="1076"/>
        <pc:sldMkLst>
          <pc:docMk/>
          <pc:sldMk cId="469383022" sldId="2147374180"/>
        </pc:sldMkLst>
        <pc:graphicFrameChg chg="mod modGraphic">
          <ac:chgData name="Dan McTavish" userId="3bdd38c9-93c5-470d-b029-59656566a699" providerId="ADAL" clId="{A62F1AFA-2ED6-D843-B465-D07F5E5FFB75}" dt="2021-12-20T10:55:33.717" v="2289" actId="1076"/>
          <ac:graphicFrameMkLst>
            <pc:docMk/>
            <pc:sldMk cId="469383022" sldId="2147374180"/>
            <ac:graphicFrameMk id="4" creationId="{5B85875E-159E-C242-A11A-2F415E56E063}"/>
          </ac:graphicFrameMkLst>
        </pc:graphicFrameChg>
        <pc:graphicFrameChg chg="mod modGraphic">
          <ac:chgData name="Dan McTavish" userId="3bdd38c9-93c5-470d-b029-59656566a699" providerId="ADAL" clId="{A62F1AFA-2ED6-D843-B465-D07F5E5FFB75}" dt="2021-12-20T10:55:07.698" v="2284" actId="20577"/>
          <ac:graphicFrameMkLst>
            <pc:docMk/>
            <pc:sldMk cId="469383022" sldId="2147374180"/>
            <ac:graphicFrameMk id="6" creationId="{31F3C3AB-0EBA-E44D-884D-D01386DC1856}"/>
          </ac:graphicFrameMkLst>
        </pc:graphicFrameChg>
      </pc:sldChg>
      <pc:sldChg chg="modSp mod">
        <pc:chgData name="Dan McTavish" userId="3bdd38c9-93c5-470d-b029-59656566a699" providerId="ADAL" clId="{A62F1AFA-2ED6-D843-B465-D07F5E5FFB75}" dt="2021-12-21T10:52:53.877" v="5665" actId="20577"/>
        <pc:sldMkLst>
          <pc:docMk/>
          <pc:sldMk cId="4259074145" sldId="2147374181"/>
        </pc:sldMkLst>
        <pc:spChg chg="mod">
          <ac:chgData name="Dan McTavish" userId="3bdd38c9-93c5-470d-b029-59656566a699" providerId="ADAL" clId="{A62F1AFA-2ED6-D843-B465-D07F5E5FFB75}" dt="2021-12-21T10:52:53.877" v="5665" actId="20577"/>
          <ac:spMkLst>
            <pc:docMk/>
            <pc:sldMk cId="4259074145" sldId="2147374181"/>
            <ac:spMk id="36" creationId="{F0613AF4-B5CC-A042-A76D-31B970DEDD1C}"/>
          </ac:spMkLst>
        </pc:spChg>
      </pc:sldChg>
      <pc:sldChg chg="modSp mod">
        <pc:chgData name="Dan McTavish" userId="3bdd38c9-93c5-470d-b029-59656566a699" providerId="ADAL" clId="{A62F1AFA-2ED6-D843-B465-D07F5E5FFB75}" dt="2021-12-22T12:27:56.430" v="6017" actId="20577"/>
        <pc:sldMkLst>
          <pc:docMk/>
          <pc:sldMk cId="2913050491" sldId="2147374182"/>
        </pc:sldMkLst>
        <pc:spChg chg="mod">
          <ac:chgData name="Dan McTavish" userId="3bdd38c9-93c5-470d-b029-59656566a699" providerId="ADAL" clId="{A62F1AFA-2ED6-D843-B465-D07F5E5FFB75}" dt="2021-12-22T12:27:56.430" v="6017" actId="20577"/>
          <ac:spMkLst>
            <pc:docMk/>
            <pc:sldMk cId="2913050491" sldId="2147374182"/>
            <ac:spMk id="24" creationId="{BC3BF939-741A-E546-81CE-0D14DDE2E26C}"/>
          </ac:spMkLst>
        </pc:spChg>
      </pc:sldChg>
      <pc:sldChg chg="new del">
        <pc:chgData name="Dan McTavish" userId="3bdd38c9-93c5-470d-b029-59656566a699" providerId="ADAL" clId="{A62F1AFA-2ED6-D843-B465-D07F5E5FFB75}" dt="2021-12-20T11:24:55.303" v="2722" actId="680"/>
        <pc:sldMkLst>
          <pc:docMk/>
          <pc:sldMk cId="2996247577" sldId="2147374182"/>
        </pc:sldMkLst>
      </pc:sldChg>
      <pc:sldChg chg="modSp mod">
        <pc:chgData name="Dan McTavish" userId="3bdd38c9-93c5-470d-b029-59656566a699" providerId="ADAL" clId="{A62F1AFA-2ED6-D843-B465-D07F5E5FFB75}" dt="2021-12-22T12:27:50.784" v="6015" actId="20577"/>
        <pc:sldMkLst>
          <pc:docMk/>
          <pc:sldMk cId="2840902828" sldId="2147374183"/>
        </pc:sldMkLst>
        <pc:spChg chg="mod">
          <ac:chgData name="Dan McTavish" userId="3bdd38c9-93c5-470d-b029-59656566a699" providerId="ADAL" clId="{A62F1AFA-2ED6-D843-B465-D07F5E5FFB75}" dt="2021-12-22T12:27:50.784" v="6015" actId="20577"/>
          <ac:spMkLst>
            <pc:docMk/>
            <pc:sldMk cId="2840902828" sldId="2147374183"/>
            <ac:spMk id="24" creationId="{BC3BF939-741A-E546-81CE-0D14DDE2E26C}"/>
          </ac:spMkLst>
        </pc:spChg>
      </pc:sldChg>
      <pc:sldChg chg="modSp mod">
        <pc:chgData name="Dan McTavish" userId="3bdd38c9-93c5-470d-b029-59656566a699" providerId="ADAL" clId="{A62F1AFA-2ED6-D843-B465-D07F5E5FFB75}" dt="2021-12-20T13:43:04.609" v="4082" actId="108"/>
        <pc:sldMkLst>
          <pc:docMk/>
          <pc:sldMk cId="3486276355" sldId="2147374186"/>
        </pc:sldMkLst>
        <pc:spChg chg="mod">
          <ac:chgData name="Dan McTavish" userId="3bdd38c9-93c5-470d-b029-59656566a699" providerId="ADAL" clId="{A62F1AFA-2ED6-D843-B465-D07F5E5FFB75}" dt="2021-12-20T13:43:04.609" v="4082" actId="108"/>
          <ac:spMkLst>
            <pc:docMk/>
            <pc:sldMk cId="3486276355" sldId="2147374186"/>
            <ac:spMk id="24" creationId="{BC3BF939-741A-E546-81CE-0D14DDE2E26C}"/>
          </ac:spMkLst>
        </pc:spChg>
      </pc:sldChg>
      <pc:sldChg chg="modSp mod modNotesTx">
        <pc:chgData name="Dan McTavish" userId="3bdd38c9-93c5-470d-b029-59656566a699" providerId="ADAL" clId="{A62F1AFA-2ED6-D843-B465-D07F5E5FFB75}" dt="2021-12-20T14:42:54.656" v="4220" actId="20578"/>
        <pc:sldMkLst>
          <pc:docMk/>
          <pc:sldMk cId="905701638" sldId="2147374187"/>
        </pc:sldMkLst>
        <pc:spChg chg="mod">
          <ac:chgData name="Dan McTavish" userId="3bdd38c9-93c5-470d-b029-59656566a699" providerId="ADAL" clId="{A62F1AFA-2ED6-D843-B465-D07F5E5FFB75}" dt="2021-12-20T14:42:54.656" v="4220" actId="20578"/>
          <ac:spMkLst>
            <pc:docMk/>
            <pc:sldMk cId="905701638" sldId="2147374187"/>
            <ac:spMk id="24" creationId="{BC3BF939-741A-E546-81CE-0D14DDE2E26C}"/>
          </ac:spMkLst>
        </pc:spChg>
      </pc:sldChg>
      <pc:sldChg chg="modSp mod">
        <pc:chgData name="Dan McTavish" userId="3bdd38c9-93c5-470d-b029-59656566a699" providerId="ADAL" clId="{A62F1AFA-2ED6-D843-B465-D07F5E5FFB75}" dt="2021-12-20T12:31:57.071" v="3739" actId="20577"/>
        <pc:sldMkLst>
          <pc:docMk/>
          <pc:sldMk cId="1292775651" sldId="2147374189"/>
        </pc:sldMkLst>
        <pc:spChg chg="mod">
          <ac:chgData name="Dan McTavish" userId="3bdd38c9-93c5-470d-b029-59656566a699" providerId="ADAL" clId="{A62F1AFA-2ED6-D843-B465-D07F5E5FFB75}" dt="2021-12-20T12:31:57.071" v="3739" actId="20577"/>
          <ac:spMkLst>
            <pc:docMk/>
            <pc:sldMk cId="1292775651" sldId="2147374189"/>
            <ac:spMk id="24" creationId="{BC3BF939-741A-E546-81CE-0D14DDE2E26C}"/>
          </ac:spMkLst>
        </pc:spChg>
      </pc:sldChg>
      <pc:sldChg chg="add">
        <pc:chgData name="Dan McTavish" userId="3bdd38c9-93c5-470d-b029-59656566a699" providerId="ADAL" clId="{A62F1AFA-2ED6-D843-B465-D07F5E5FFB75}" dt="2021-12-20T14:46:34.799" v="4222"/>
        <pc:sldMkLst>
          <pc:docMk/>
          <pc:sldMk cId="860910270" sldId="2147374190"/>
        </pc:sldMkLst>
      </pc:sldChg>
      <pc:sldChg chg="add del">
        <pc:chgData name="Dan McTavish" userId="3bdd38c9-93c5-470d-b029-59656566a699" providerId="ADAL" clId="{A62F1AFA-2ED6-D843-B465-D07F5E5FFB75}" dt="2021-12-20T14:47:08.863" v="4231" actId="2696"/>
        <pc:sldMkLst>
          <pc:docMk/>
          <pc:sldMk cId="2408217845" sldId="2147374191"/>
        </pc:sldMkLst>
      </pc:sldChg>
      <pc:sldChg chg="add del">
        <pc:chgData name="Dan McTavish" userId="3bdd38c9-93c5-470d-b029-59656566a699" providerId="ADAL" clId="{A62F1AFA-2ED6-D843-B465-D07F5E5FFB75}" dt="2021-12-20T14:47:09.555" v="4232" actId="2696"/>
        <pc:sldMkLst>
          <pc:docMk/>
          <pc:sldMk cId="3388432552" sldId="2147374192"/>
        </pc:sldMkLst>
      </pc:sldChg>
      <pc:sldChg chg="add del">
        <pc:chgData name="Dan McTavish" userId="3bdd38c9-93c5-470d-b029-59656566a699" providerId="ADAL" clId="{A62F1AFA-2ED6-D843-B465-D07F5E5FFB75}" dt="2021-12-20T14:47:10.148" v="4233" actId="2696"/>
        <pc:sldMkLst>
          <pc:docMk/>
          <pc:sldMk cId="3019249416" sldId="2147374193"/>
        </pc:sldMkLst>
      </pc:sldChg>
      <pc:sldChg chg="add del">
        <pc:chgData name="Dan McTavish" userId="3bdd38c9-93c5-470d-b029-59656566a699" providerId="ADAL" clId="{A62F1AFA-2ED6-D843-B465-D07F5E5FFB75}" dt="2021-12-20T14:47:10.554" v="4234" actId="2696"/>
        <pc:sldMkLst>
          <pc:docMk/>
          <pc:sldMk cId="2781599859" sldId="2147374194"/>
        </pc:sldMkLst>
      </pc:sldChg>
      <pc:sldChg chg="add del">
        <pc:chgData name="Dan McTavish" userId="3bdd38c9-93c5-470d-b029-59656566a699" providerId="ADAL" clId="{A62F1AFA-2ED6-D843-B465-D07F5E5FFB75}" dt="2021-12-20T14:47:11.049" v="4235" actId="2696"/>
        <pc:sldMkLst>
          <pc:docMk/>
          <pc:sldMk cId="3944781722" sldId="2147374195"/>
        </pc:sldMkLst>
      </pc:sldChg>
      <pc:sldChg chg="add del">
        <pc:chgData name="Dan McTavish" userId="3bdd38c9-93c5-470d-b029-59656566a699" providerId="ADAL" clId="{A62F1AFA-2ED6-D843-B465-D07F5E5FFB75}" dt="2021-12-20T14:47:11.493" v="4236" actId="2696"/>
        <pc:sldMkLst>
          <pc:docMk/>
          <pc:sldMk cId="3376415107" sldId="2147374196"/>
        </pc:sldMkLst>
      </pc:sldChg>
      <pc:sldChg chg="modSp add mod">
        <pc:chgData name="Dan McTavish" userId="3bdd38c9-93c5-470d-b029-59656566a699" providerId="ADAL" clId="{A62F1AFA-2ED6-D843-B465-D07F5E5FFB75}" dt="2021-12-20T16:17:01.932" v="4535" actId="14734"/>
        <pc:sldMkLst>
          <pc:docMk/>
          <pc:sldMk cId="2139833760" sldId="2147374197"/>
        </pc:sldMkLst>
        <pc:graphicFrameChg chg="modGraphic">
          <ac:chgData name="Dan McTavish" userId="3bdd38c9-93c5-470d-b029-59656566a699" providerId="ADAL" clId="{A62F1AFA-2ED6-D843-B465-D07F5E5FFB75}" dt="2021-12-20T16:17:01.932" v="4535" actId="14734"/>
          <ac:graphicFrameMkLst>
            <pc:docMk/>
            <pc:sldMk cId="2139833760" sldId="2147374197"/>
            <ac:graphicFrameMk id="5" creationId="{1F73E11B-085A-AD47-B820-F62CD6BB7304}"/>
          </ac:graphicFrameMkLst>
        </pc:graphicFrameChg>
      </pc:sldChg>
      <pc:sldChg chg="add del">
        <pc:chgData name="Dan McTavish" userId="3bdd38c9-93c5-470d-b029-59656566a699" providerId="ADAL" clId="{A62F1AFA-2ED6-D843-B465-D07F5E5FFB75}" dt="2021-12-20T14:47:33.960" v="4238" actId="2696"/>
        <pc:sldMkLst>
          <pc:docMk/>
          <pc:sldMk cId="2532372927" sldId="2147374198"/>
        </pc:sldMkLst>
      </pc:sldChg>
      <pc:sldChg chg="add del">
        <pc:chgData name="Dan McTavish" userId="3bdd38c9-93c5-470d-b029-59656566a699" providerId="ADAL" clId="{A62F1AFA-2ED6-D843-B465-D07F5E5FFB75}" dt="2021-12-20T14:47:34.508" v="4239" actId="2696"/>
        <pc:sldMkLst>
          <pc:docMk/>
          <pc:sldMk cId="3385471945" sldId="2147374199"/>
        </pc:sldMkLst>
      </pc:sldChg>
      <pc:sldChg chg="add del">
        <pc:chgData name="Dan McTavish" userId="3bdd38c9-93c5-470d-b029-59656566a699" providerId="ADAL" clId="{A62F1AFA-2ED6-D843-B465-D07F5E5FFB75}" dt="2021-12-20T14:47:34.795" v="4240" actId="2696"/>
        <pc:sldMkLst>
          <pc:docMk/>
          <pc:sldMk cId="1532095120" sldId="2147374200"/>
        </pc:sldMkLst>
      </pc:sldChg>
      <pc:sldChg chg="add del">
        <pc:chgData name="Dan McTavish" userId="3bdd38c9-93c5-470d-b029-59656566a699" providerId="ADAL" clId="{A62F1AFA-2ED6-D843-B465-D07F5E5FFB75}" dt="2021-12-20T14:47:35.432" v="4241" actId="2696"/>
        <pc:sldMkLst>
          <pc:docMk/>
          <pc:sldMk cId="3789961162" sldId="2147374201"/>
        </pc:sldMkLst>
      </pc:sldChg>
      <pc:sldChg chg="add del">
        <pc:chgData name="Dan McTavish" userId="3bdd38c9-93c5-470d-b029-59656566a699" providerId="ADAL" clId="{A62F1AFA-2ED6-D843-B465-D07F5E5FFB75}" dt="2021-12-20T14:47:35.786" v="4242" actId="2696"/>
        <pc:sldMkLst>
          <pc:docMk/>
          <pc:sldMk cId="2687378101" sldId="2147374202"/>
        </pc:sldMkLst>
      </pc:sldChg>
      <pc:sldChg chg="modSp add mod">
        <pc:chgData name="Dan McTavish" userId="3bdd38c9-93c5-470d-b029-59656566a699" providerId="ADAL" clId="{A62F1AFA-2ED6-D843-B465-D07F5E5FFB75}" dt="2021-12-23T09:36:23.588" v="7948" actId="20577"/>
        <pc:sldMkLst>
          <pc:docMk/>
          <pc:sldMk cId="184366594" sldId="2147374203"/>
        </pc:sldMkLst>
        <pc:graphicFrameChg chg="modGraphic">
          <ac:chgData name="Dan McTavish" userId="3bdd38c9-93c5-470d-b029-59656566a699" providerId="ADAL" clId="{A62F1AFA-2ED6-D843-B465-D07F5E5FFB75}" dt="2021-12-23T09:36:23.588" v="7948" actId="20577"/>
          <ac:graphicFrameMkLst>
            <pc:docMk/>
            <pc:sldMk cId="184366594" sldId="2147374203"/>
            <ac:graphicFrameMk id="5" creationId="{1F73E11B-085A-AD47-B820-F62CD6BB7304}"/>
          </ac:graphicFrameMkLst>
        </pc:graphicFrameChg>
      </pc:sldChg>
      <pc:sldChg chg="add del">
        <pc:chgData name="Dan McTavish" userId="3bdd38c9-93c5-470d-b029-59656566a699" providerId="ADAL" clId="{A62F1AFA-2ED6-D843-B465-D07F5E5FFB75}" dt="2021-12-20T14:47:50.130" v="4244" actId="2696"/>
        <pc:sldMkLst>
          <pc:docMk/>
          <pc:sldMk cId="569650006" sldId="2147374204"/>
        </pc:sldMkLst>
      </pc:sldChg>
      <pc:sldChg chg="add del">
        <pc:chgData name="Dan McTavish" userId="3bdd38c9-93c5-470d-b029-59656566a699" providerId="ADAL" clId="{A62F1AFA-2ED6-D843-B465-D07F5E5FFB75}" dt="2021-12-20T14:47:50.803" v="4245" actId="2696"/>
        <pc:sldMkLst>
          <pc:docMk/>
          <pc:sldMk cId="1641625991" sldId="2147374205"/>
        </pc:sldMkLst>
      </pc:sldChg>
      <pc:sldChg chg="add del">
        <pc:chgData name="Dan McTavish" userId="3bdd38c9-93c5-470d-b029-59656566a699" providerId="ADAL" clId="{A62F1AFA-2ED6-D843-B465-D07F5E5FFB75}" dt="2021-12-20T14:47:51.266" v="4246" actId="2696"/>
        <pc:sldMkLst>
          <pc:docMk/>
          <pc:sldMk cId="600522832" sldId="2147374206"/>
        </pc:sldMkLst>
      </pc:sldChg>
      <pc:sldChg chg="add del">
        <pc:chgData name="Dan McTavish" userId="3bdd38c9-93c5-470d-b029-59656566a699" providerId="ADAL" clId="{A62F1AFA-2ED6-D843-B465-D07F5E5FFB75}" dt="2021-12-20T14:47:51.643" v="4247" actId="2696"/>
        <pc:sldMkLst>
          <pc:docMk/>
          <pc:sldMk cId="1452136023" sldId="2147374207"/>
        </pc:sldMkLst>
      </pc:sldChg>
      <pc:sldChg chg="modSp add mod">
        <pc:chgData name="Dan McTavish" userId="3bdd38c9-93c5-470d-b029-59656566a699" providerId="ADAL" clId="{A62F1AFA-2ED6-D843-B465-D07F5E5FFB75}" dt="2021-12-23T13:24:54.713" v="8454" actId="20577"/>
        <pc:sldMkLst>
          <pc:docMk/>
          <pc:sldMk cId="814293231" sldId="2147374208"/>
        </pc:sldMkLst>
        <pc:graphicFrameChg chg="mod modGraphic">
          <ac:chgData name="Dan McTavish" userId="3bdd38c9-93c5-470d-b029-59656566a699" providerId="ADAL" clId="{A62F1AFA-2ED6-D843-B465-D07F5E5FFB75}" dt="2021-12-23T13:24:54.713" v="8454" actId="20577"/>
          <ac:graphicFrameMkLst>
            <pc:docMk/>
            <pc:sldMk cId="814293231" sldId="2147374208"/>
            <ac:graphicFrameMk id="5" creationId="{1F73E11B-085A-AD47-B820-F62CD6BB7304}"/>
          </ac:graphicFrameMkLst>
        </pc:graphicFrameChg>
      </pc:sldChg>
      <pc:sldChg chg="add del">
        <pc:chgData name="Dan McTavish" userId="3bdd38c9-93c5-470d-b029-59656566a699" providerId="ADAL" clId="{A62F1AFA-2ED6-D843-B465-D07F5E5FFB75}" dt="2021-12-20T14:48:00.950" v="4248" actId="2696"/>
        <pc:sldMkLst>
          <pc:docMk/>
          <pc:sldMk cId="3957204046" sldId="2147374209"/>
        </pc:sldMkLst>
      </pc:sldChg>
      <pc:sldChg chg="modSp add mod">
        <pc:chgData name="Dan McTavish" userId="3bdd38c9-93c5-470d-b029-59656566a699" providerId="ADAL" clId="{A62F1AFA-2ED6-D843-B465-D07F5E5FFB75}" dt="2021-12-23T09:51:21.857" v="8158"/>
        <pc:sldMkLst>
          <pc:docMk/>
          <pc:sldMk cId="4058638082" sldId="2147374209"/>
        </pc:sldMkLst>
        <pc:graphicFrameChg chg="mod modGraphic">
          <ac:chgData name="Dan McTavish" userId="3bdd38c9-93c5-470d-b029-59656566a699" providerId="ADAL" clId="{A62F1AFA-2ED6-D843-B465-D07F5E5FFB75}" dt="2021-12-23T09:51:21.857" v="8158"/>
          <ac:graphicFrameMkLst>
            <pc:docMk/>
            <pc:sldMk cId="4058638082" sldId="2147374209"/>
            <ac:graphicFrameMk id="5" creationId="{1F73E11B-085A-AD47-B820-F62CD6BB7304}"/>
          </ac:graphicFrameMkLst>
        </pc:graphicFrameChg>
      </pc:sldChg>
      <pc:sldChg chg="add del">
        <pc:chgData name="Dan McTavish" userId="3bdd38c9-93c5-470d-b029-59656566a699" providerId="ADAL" clId="{A62F1AFA-2ED6-D843-B465-D07F5E5FFB75}" dt="2021-12-20T14:48:15.769" v="4251" actId="2696"/>
        <pc:sldMkLst>
          <pc:docMk/>
          <pc:sldMk cId="3440617886" sldId="2147374210"/>
        </pc:sldMkLst>
      </pc:sldChg>
      <pc:sldChg chg="add del">
        <pc:chgData name="Dan McTavish" userId="3bdd38c9-93c5-470d-b029-59656566a699" providerId="ADAL" clId="{A62F1AFA-2ED6-D843-B465-D07F5E5FFB75}" dt="2021-12-20T14:48:00.950" v="4248" actId="2696"/>
        <pc:sldMkLst>
          <pc:docMk/>
          <pc:sldMk cId="3655351508" sldId="2147374210"/>
        </pc:sldMkLst>
      </pc:sldChg>
      <pc:sldChg chg="add del">
        <pc:chgData name="Dan McTavish" userId="3bdd38c9-93c5-470d-b029-59656566a699" providerId="ADAL" clId="{A62F1AFA-2ED6-D843-B465-D07F5E5FFB75}" dt="2021-12-20T14:48:16.110" v="4252" actId="2696"/>
        <pc:sldMkLst>
          <pc:docMk/>
          <pc:sldMk cId="1936455742" sldId="2147374211"/>
        </pc:sldMkLst>
      </pc:sldChg>
      <pc:sldChg chg="add del">
        <pc:chgData name="Dan McTavish" userId="3bdd38c9-93c5-470d-b029-59656566a699" providerId="ADAL" clId="{A62F1AFA-2ED6-D843-B465-D07F5E5FFB75}" dt="2021-12-20T14:48:00.950" v="4248" actId="2696"/>
        <pc:sldMkLst>
          <pc:docMk/>
          <pc:sldMk cId="3960296757" sldId="2147374211"/>
        </pc:sldMkLst>
      </pc:sldChg>
      <pc:sldChg chg="modSp add mod">
        <pc:chgData name="Dan McTavish" userId="3bdd38c9-93c5-470d-b029-59656566a699" providerId="ADAL" clId="{A62F1AFA-2ED6-D843-B465-D07F5E5FFB75}" dt="2021-12-20T15:44:41.065" v="4323" actId="20577"/>
        <pc:sldMkLst>
          <pc:docMk/>
          <pc:sldMk cId="3810866587" sldId="2147374212"/>
        </pc:sldMkLst>
        <pc:graphicFrameChg chg="mod modGraphic">
          <ac:chgData name="Dan McTavish" userId="3bdd38c9-93c5-470d-b029-59656566a699" providerId="ADAL" clId="{A62F1AFA-2ED6-D843-B465-D07F5E5FFB75}" dt="2021-12-20T15:44:41.065" v="4323" actId="20577"/>
          <ac:graphicFrameMkLst>
            <pc:docMk/>
            <pc:sldMk cId="3810866587" sldId="2147374212"/>
            <ac:graphicFrameMk id="5" creationId="{1F73E11B-085A-AD47-B820-F62CD6BB7304}"/>
          </ac:graphicFrameMkLst>
        </pc:graphicFrameChg>
      </pc:sldChg>
      <pc:sldChg chg="modSp add mod ord">
        <pc:chgData name="Dan McTavish" userId="3bdd38c9-93c5-470d-b029-59656566a699" providerId="ADAL" clId="{A62F1AFA-2ED6-D843-B465-D07F5E5FFB75}" dt="2021-12-23T13:26:50.294" v="8456" actId="20577"/>
        <pc:sldMkLst>
          <pc:docMk/>
          <pc:sldMk cId="901545591" sldId="2147374213"/>
        </pc:sldMkLst>
        <pc:graphicFrameChg chg="mod modGraphic">
          <ac:chgData name="Dan McTavish" userId="3bdd38c9-93c5-470d-b029-59656566a699" providerId="ADAL" clId="{A62F1AFA-2ED6-D843-B465-D07F5E5FFB75}" dt="2021-12-23T13:26:50.294" v="8456" actId="20577"/>
          <ac:graphicFrameMkLst>
            <pc:docMk/>
            <pc:sldMk cId="901545591" sldId="2147374213"/>
            <ac:graphicFrameMk id="5" creationId="{1F73E11B-085A-AD47-B820-F62CD6BB7304}"/>
          </ac:graphicFrameMkLst>
        </pc:graphicFrameChg>
      </pc:sldChg>
      <pc:sldChg chg="modSp mod">
        <pc:chgData name="Dan McTavish" userId="3bdd38c9-93c5-470d-b029-59656566a699" providerId="ADAL" clId="{A62F1AFA-2ED6-D843-B465-D07F5E5FFB75}" dt="2021-12-23T13:52:05.348" v="8879" actId="14734"/>
        <pc:sldMkLst>
          <pc:docMk/>
          <pc:sldMk cId="1454324657" sldId="2147374215"/>
        </pc:sldMkLst>
        <pc:graphicFrameChg chg="modGraphic">
          <ac:chgData name="Dan McTavish" userId="3bdd38c9-93c5-470d-b029-59656566a699" providerId="ADAL" clId="{A62F1AFA-2ED6-D843-B465-D07F5E5FFB75}" dt="2021-12-23T13:52:05.348" v="8879" actId="14734"/>
          <ac:graphicFrameMkLst>
            <pc:docMk/>
            <pc:sldMk cId="1454324657" sldId="2147374215"/>
            <ac:graphicFrameMk id="5" creationId="{1F73E11B-085A-AD47-B820-F62CD6BB7304}"/>
          </ac:graphicFrameMkLst>
        </pc:graphicFrameChg>
      </pc:sldChg>
      <pc:sldChg chg="addSp delSp modSp mod">
        <pc:chgData name="Dan McTavish" userId="3bdd38c9-93c5-470d-b029-59656566a699" providerId="ADAL" clId="{A62F1AFA-2ED6-D843-B465-D07F5E5FFB75}" dt="2021-12-20T16:04:43.808" v="4376" actId="20577"/>
        <pc:sldMkLst>
          <pc:docMk/>
          <pc:sldMk cId="4086539563" sldId="2147374217"/>
        </pc:sldMkLst>
        <pc:spChg chg="add del mod">
          <ac:chgData name="Dan McTavish" userId="3bdd38c9-93c5-470d-b029-59656566a699" providerId="ADAL" clId="{A62F1AFA-2ED6-D843-B465-D07F5E5FFB75}" dt="2021-12-20T15:37:40.804" v="4306" actId="478"/>
          <ac:spMkLst>
            <pc:docMk/>
            <pc:sldMk cId="4086539563" sldId="2147374217"/>
            <ac:spMk id="63" creationId="{BD7B9E4F-361E-4445-B7FD-EDB4E9E1C780}"/>
          </ac:spMkLst>
        </pc:spChg>
        <pc:grpChg chg="mod">
          <ac:chgData name="Dan McTavish" userId="3bdd38c9-93c5-470d-b029-59656566a699" providerId="ADAL" clId="{A62F1AFA-2ED6-D843-B465-D07F5E5FFB75}" dt="2021-12-20T15:37:31.675" v="4304" actId="1076"/>
          <ac:grpSpMkLst>
            <pc:docMk/>
            <pc:sldMk cId="4086539563" sldId="2147374217"/>
            <ac:grpSpMk id="10" creationId="{A5873C76-5908-8B41-8526-0CC85835EE20}"/>
          </ac:grpSpMkLst>
        </pc:grpChg>
        <pc:graphicFrameChg chg="modGraphic">
          <ac:chgData name="Dan McTavish" userId="3bdd38c9-93c5-470d-b029-59656566a699" providerId="ADAL" clId="{A62F1AFA-2ED6-D843-B465-D07F5E5FFB75}" dt="2021-12-20T16:04:43.808" v="4376" actId="20577"/>
          <ac:graphicFrameMkLst>
            <pc:docMk/>
            <pc:sldMk cId="4086539563" sldId="2147374217"/>
            <ac:graphicFrameMk id="25" creationId="{52CAA014-A474-8A4B-A55C-B9BF6DA08A8C}"/>
          </ac:graphicFrameMkLst>
        </pc:graphicFrameChg>
      </pc:sldChg>
      <pc:sldChg chg="modSp add mod">
        <pc:chgData name="Dan McTavish" userId="3bdd38c9-93c5-470d-b029-59656566a699" providerId="ADAL" clId="{A62F1AFA-2ED6-D843-B465-D07F5E5FFB75}" dt="2021-12-20T16:41:22.402" v="4947"/>
        <pc:sldMkLst>
          <pc:docMk/>
          <pc:sldMk cId="1256252104" sldId="2147374218"/>
        </pc:sldMkLst>
        <pc:spChg chg="mod">
          <ac:chgData name="Dan McTavish" userId="3bdd38c9-93c5-470d-b029-59656566a699" providerId="ADAL" clId="{A62F1AFA-2ED6-D843-B465-D07F5E5FFB75}" dt="2021-12-20T16:12:59.883" v="4414" actId="20577"/>
          <ac:spMkLst>
            <pc:docMk/>
            <pc:sldMk cId="1256252104" sldId="2147374218"/>
            <ac:spMk id="2" creationId="{00000000-0000-0000-0000-000000000000}"/>
          </ac:spMkLst>
        </pc:spChg>
        <pc:graphicFrameChg chg="mod modGraphic">
          <ac:chgData name="Dan McTavish" userId="3bdd38c9-93c5-470d-b029-59656566a699" providerId="ADAL" clId="{A62F1AFA-2ED6-D843-B465-D07F5E5FFB75}" dt="2021-12-20T16:41:22.402" v="4947"/>
          <ac:graphicFrameMkLst>
            <pc:docMk/>
            <pc:sldMk cId="1256252104" sldId="2147374218"/>
            <ac:graphicFrameMk id="5" creationId="{1F73E11B-085A-AD47-B820-F62CD6BB7304}"/>
          </ac:graphicFrameMkLst>
        </pc:graphicFrameChg>
      </pc:sldChg>
      <pc:sldChg chg="modSp mod">
        <pc:chgData name="Dan McTavish" userId="3bdd38c9-93c5-470d-b029-59656566a699" providerId="ADAL" clId="{A62F1AFA-2ED6-D843-B465-D07F5E5FFB75}" dt="2021-12-20T16:41:25.685" v="4948" actId="108"/>
        <pc:sldMkLst>
          <pc:docMk/>
          <pc:sldMk cId="2871562375" sldId="2147374219"/>
        </pc:sldMkLst>
        <pc:graphicFrameChg chg="mod modGraphic">
          <ac:chgData name="Dan McTavish" userId="3bdd38c9-93c5-470d-b029-59656566a699" providerId="ADAL" clId="{A62F1AFA-2ED6-D843-B465-D07F5E5FFB75}" dt="2021-12-20T16:41:25.685" v="4948" actId="108"/>
          <ac:graphicFrameMkLst>
            <pc:docMk/>
            <pc:sldMk cId="2871562375" sldId="2147374219"/>
            <ac:graphicFrameMk id="5" creationId="{1F73E11B-085A-AD47-B820-F62CD6BB7304}"/>
          </ac:graphicFrameMkLst>
        </pc:graphicFrameChg>
      </pc:sldChg>
      <pc:sldChg chg="addSp modSp mod">
        <pc:chgData name="Dan McTavish" userId="3bdd38c9-93c5-470d-b029-59656566a699" providerId="ADAL" clId="{A62F1AFA-2ED6-D843-B465-D07F5E5FFB75}" dt="2021-12-23T14:10:39.261" v="8998" actId="1037"/>
        <pc:sldMkLst>
          <pc:docMk/>
          <pc:sldMk cId="2027674031" sldId="2147374223"/>
        </pc:sldMkLst>
        <pc:spChg chg="mod">
          <ac:chgData name="Dan McTavish" userId="3bdd38c9-93c5-470d-b029-59656566a699" providerId="ADAL" clId="{A62F1AFA-2ED6-D843-B465-D07F5E5FFB75}" dt="2021-12-21T10:29:50.377" v="5233" actId="20577"/>
          <ac:spMkLst>
            <pc:docMk/>
            <pc:sldMk cId="2027674031" sldId="2147374223"/>
            <ac:spMk id="277" creationId="{D36CFC29-3B58-F846-8DB9-51E9AC13B8D2}"/>
          </ac:spMkLst>
        </pc:spChg>
        <pc:spChg chg="mod">
          <ac:chgData name="Dan McTavish" userId="3bdd38c9-93c5-470d-b029-59656566a699" providerId="ADAL" clId="{A62F1AFA-2ED6-D843-B465-D07F5E5FFB75}" dt="2021-12-23T13:57:24.971" v="8989" actId="20577"/>
          <ac:spMkLst>
            <pc:docMk/>
            <pc:sldMk cId="2027674031" sldId="2147374223"/>
            <ac:spMk id="858" creationId="{E7159715-D69F-944C-91C3-D7F3E6830A85}"/>
          </ac:spMkLst>
        </pc:spChg>
        <pc:spChg chg="add mod">
          <ac:chgData name="Dan McTavish" userId="3bdd38c9-93c5-470d-b029-59656566a699" providerId="ADAL" clId="{A62F1AFA-2ED6-D843-B465-D07F5E5FFB75}" dt="2021-12-23T13:31:27.428" v="8486" actId="1076"/>
          <ac:spMkLst>
            <pc:docMk/>
            <pc:sldMk cId="2027674031" sldId="2147374223"/>
            <ac:spMk id="912" creationId="{31BED0B1-065B-5848-83C7-D1A0138AFE32}"/>
          </ac:spMkLst>
        </pc:spChg>
        <pc:spChg chg="add mod">
          <ac:chgData name="Dan McTavish" userId="3bdd38c9-93c5-470d-b029-59656566a699" providerId="ADAL" clId="{A62F1AFA-2ED6-D843-B465-D07F5E5FFB75}" dt="2021-12-23T14:10:39.261" v="8998" actId="1037"/>
          <ac:spMkLst>
            <pc:docMk/>
            <pc:sldMk cId="2027674031" sldId="2147374223"/>
            <ac:spMk id="913" creationId="{84071053-F505-7B41-818B-E22EAB6337D8}"/>
          </ac:spMkLst>
        </pc:spChg>
        <pc:spChg chg="add mod">
          <ac:chgData name="Dan McTavish" userId="3bdd38c9-93c5-470d-b029-59656566a699" providerId="ADAL" clId="{A62F1AFA-2ED6-D843-B465-D07F5E5FFB75}" dt="2021-12-23T13:32:42.351" v="8562" actId="20577"/>
          <ac:spMkLst>
            <pc:docMk/>
            <pc:sldMk cId="2027674031" sldId="2147374223"/>
            <ac:spMk id="914" creationId="{725686B0-C42E-F249-9783-01AB588A6AA5}"/>
          </ac:spMkLst>
        </pc:spChg>
        <pc:spChg chg="add mod">
          <ac:chgData name="Dan McTavish" userId="3bdd38c9-93c5-470d-b029-59656566a699" providerId="ADAL" clId="{A62F1AFA-2ED6-D843-B465-D07F5E5FFB75}" dt="2021-12-23T14:10:30.788" v="8994" actId="1038"/>
          <ac:spMkLst>
            <pc:docMk/>
            <pc:sldMk cId="2027674031" sldId="2147374223"/>
            <ac:spMk id="915" creationId="{4EB95CD8-7FD5-FF42-B753-8EC3A09B5B1B}"/>
          </ac:spMkLst>
        </pc:spChg>
        <pc:spChg chg="add mod">
          <ac:chgData name="Dan McTavish" userId="3bdd38c9-93c5-470d-b029-59656566a699" providerId="ADAL" clId="{A62F1AFA-2ED6-D843-B465-D07F5E5FFB75}" dt="2021-12-23T13:34:08.691" v="8630" actId="1076"/>
          <ac:spMkLst>
            <pc:docMk/>
            <pc:sldMk cId="2027674031" sldId="2147374223"/>
            <ac:spMk id="916" creationId="{A0CA02B5-CC75-0A42-BCB1-736035C4C607}"/>
          </ac:spMkLst>
        </pc:spChg>
        <pc:spChg chg="add mod">
          <ac:chgData name="Dan McTavish" userId="3bdd38c9-93c5-470d-b029-59656566a699" providerId="ADAL" clId="{A62F1AFA-2ED6-D843-B465-D07F5E5FFB75}" dt="2021-12-23T13:34:53.564" v="8658" actId="1076"/>
          <ac:spMkLst>
            <pc:docMk/>
            <pc:sldMk cId="2027674031" sldId="2147374223"/>
            <ac:spMk id="917" creationId="{C921AE86-DACE-044E-B0FD-E393E20AA062}"/>
          </ac:spMkLst>
        </pc:spChg>
        <pc:spChg chg="add mod">
          <ac:chgData name="Dan McTavish" userId="3bdd38c9-93c5-470d-b029-59656566a699" providerId="ADAL" clId="{A62F1AFA-2ED6-D843-B465-D07F5E5FFB75}" dt="2021-12-23T14:10:18.765" v="8993" actId="1035"/>
          <ac:spMkLst>
            <pc:docMk/>
            <pc:sldMk cId="2027674031" sldId="2147374223"/>
            <ac:spMk id="918" creationId="{41FED709-6A4B-3D49-8351-52420D3C9408}"/>
          </ac:spMkLst>
        </pc:spChg>
        <pc:picChg chg="mod">
          <ac:chgData name="Dan McTavish" userId="3bdd38c9-93c5-470d-b029-59656566a699" providerId="ADAL" clId="{A62F1AFA-2ED6-D843-B465-D07F5E5FFB75}" dt="2021-12-23T14:10:15.065" v="8991" actId="1035"/>
          <ac:picMkLst>
            <pc:docMk/>
            <pc:sldMk cId="2027674031" sldId="2147374223"/>
            <ac:picMk id="865" creationId="{B8353766-5D2F-2B4E-978E-E21ABEE3D553}"/>
          </ac:picMkLst>
        </pc:picChg>
      </pc:sldChg>
      <pc:sldChg chg="modSp mod">
        <pc:chgData name="Dan McTavish" userId="3bdd38c9-93c5-470d-b029-59656566a699" providerId="ADAL" clId="{A62F1AFA-2ED6-D843-B465-D07F5E5FFB75}" dt="2021-12-21T09:21:03.099" v="4972" actId="20577"/>
        <pc:sldMkLst>
          <pc:docMk/>
          <pc:sldMk cId="312590947" sldId="2147374226"/>
        </pc:sldMkLst>
        <pc:graphicFrameChg chg="modGraphic">
          <ac:chgData name="Dan McTavish" userId="3bdd38c9-93c5-470d-b029-59656566a699" providerId="ADAL" clId="{A62F1AFA-2ED6-D843-B465-D07F5E5FFB75}" dt="2021-12-21T09:21:03.099" v="4972" actId="20577"/>
          <ac:graphicFrameMkLst>
            <pc:docMk/>
            <pc:sldMk cId="312590947" sldId="2147374226"/>
            <ac:graphicFrameMk id="5" creationId="{1F73E11B-085A-AD47-B820-F62CD6BB7304}"/>
          </ac:graphicFrameMkLst>
        </pc:graphicFrameChg>
      </pc:sldChg>
      <pc:sldChg chg="add del">
        <pc:chgData name="Dan McTavish" userId="3bdd38c9-93c5-470d-b029-59656566a699" providerId="ADAL" clId="{A62F1AFA-2ED6-D843-B465-D07F5E5FFB75}" dt="2021-12-21T09:15:01.502" v="4950" actId="2696"/>
        <pc:sldMkLst>
          <pc:docMk/>
          <pc:sldMk cId="918954110" sldId="2147374230"/>
        </pc:sldMkLst>
      </pc:sldChg>
      <pc:sldChg chg="new">
        <pc:chgData name="Dan McTavish" userId="3bdd38c9-93c5-470d-b029-59656566a699" providerId="ADAL" clId="{A62F1AFA-2ED6-D843-B465-D07F5E5FFB75}" dt="2021-12-21T09:37:20.548" v="4973" actId="680"/>
        <pc:sldMkLst>
          <pc:docMk/>
          <pc:sldMk cId="1414037004" sldId="2147374230"/>
        </pc:sldMkLst>
      </pc:sldChg>
      <pc:sldChg chg="add del">
        <pc:chgData name="Dan McTavish" userId="3bdd38c9-93c5-470d-b029-59656566a699" providerId="ADAL" clId="{A62F1AFA-2ED6-D843-B465-D07F5E5FFB75}" dt="2021-12-21T09:15:02.261" v="4951" actId="2696"/>
        <pc:sldMkLst>
          <pc:docMk/>
          <pc:sldMk cId="1457151757" sldId="2147374231"/>
        </pc:sldMkLst>
      </pc:sldChg>
      <pc:sldChg chg="addSp delSp modSp mod modCm">
        <pc:chgData name="Dan McTavish" userId="3bdd38c9-93c5-470d-b029-59656566a699" providerId="ADAL" clId="{A62F1AFA-2ED6-D843-B465-D07F5E5FFB75}" dt="2021-12-22T14:34:52.174" v="6294" actId="20577"/>
        <pc:sldMkLst>
          <pc:docMk/>
          <pc:sldMk cId="3997382144" sldId="2147374231"/>
        </pc:sldMkLst>
        <pc:spChg chg="mod">
          <ac:chgData name="Dan McTavish" userId="3bdd38c9-93c5-470d-b029-59656566a699" providerId="ADAL" clId="{A62F1AFA-2ED6-D843-B465-D07F5E5FFB75}" dt="2021-12-22T14:34:52.174" v="6294" actId="20577"/>
          <ac:spMkLst>
            <pc:docMk/>
            <pc:sldMk cId="3997382144" sldId="2147374231"/>
            <ac:spMk id="277" creationId="{D36CFC29-3B58-F846-8DB9-51E9AC13B8D2}"/>
          </ac:spMkLst>
        </pc:spChg>
        <pc:spChg chg="add del mod">
          <ac:chgData name="Dan McTavish" userId="3bdd38c9-93c5-470d-b029-59656566a699" providerId="ADAL" clId="{A62F1AFA-2ED6-D843-B465-D07F5E5FFB75}" dt="2021-12-22T14:33:58.789" v="6260" actId="478"/>
          <ac:spMkLst>
            <pc:docMk/>
            <pc:sldMk cId="3997382144" sldId="2147374231"/>
            <ac:spMk id="333" creationId="{12160614-C9D4-7B4E-A687-240BA6961782}"/>
          </ac:spMkLst>
        </pc:spChg>
      </pc:sldChg>
      <pc:sldChg chg="addSp modSp mod">
        <pc:chgData name="Dan McTavish" userId="3bdd38c9-93c5-470d-b029-59656566a699" providerId="ADAL" clId="{A62F1AFA-2ED6-D843-B465-D07F5E5FFB75}" dt="2021-12-23T13:29:44.495" v="8477" actId="13926"/>
        <pc:sldMkLst>
          <pc:docMk/>
          <pc:sldMk cId="315647566" sldId="2147374233"/>
        </pc:sldMkLst>
        <pc:graphicFrameChg chg="mod modGraphic">
          <ac:chgData name="Dan McTavish" userId="3bdd38c9-93c5-470d-b029-59656566a699" providerId="ADAL" clId="{A62F1AFA-2ED6-D843-B465-D07F5E5FFB75}" dt="2021-12-23T13:29:44.495" v="8477" actId="13926"/>
          <ac:graphicFrameMkLst>
            <pc:docMk/>
            <pc:sldMk cId="315647566" sldId="2147374233"/>
            <ac:graphicFrameMk id="7" creationId="{F919ECF1-966C-E64F-BFF9-AD986DD4639F}"/>
          </ac:graphicFrameMkLst>
        </pc:graphicFrameChg>
        <pc:picChg chg="add mod">
          <ac:chgData name="Dan McTavish" userId="3bdd38c9-93c5-470d-b029-59656566a699" providerId="ADAL" clId="{A62F1AFA-2ED6-D843-B465-D07F5E5FFB75}" dt="2021-12-23T13:29:16.642" v="8476" actId="1076"/>
          <ac:picMkLst>
            <pc:docMk/>
            <pc:sldMk cId="315647566" sldId="2147374233"/>
            <ac:picMk id="13" creationId="{ABF38610-DEDC-DE46-9B2E-741AF0C7ADF6}"/>
          </ac:picMkLst>
        </pc:picChg>
        <pc:picChg chg="mod">
          <ac:chgData name="Dan McTavish" userId="3bdd38c9-93c5-470d-b029-59656566a699" providerId="ADAL" clId="{A62F1AFA-2ED6-D843-B465-D07F5E5FFB75}" dt="2021-12-23T13:27:25.056" v="8458" actId="1076"/>
          <ac:picMkLst>
            <pc:docMk/>
            <pc:sldMk cId="315647566" sldId="2147374233"/>
            <ac:picMk id="19" creationId="{27583989-1D4A-3948-9DC1-EFFAD7C69AF5}"/>
          </ac:picMkLst>
        </pc:picChg>
      </pc:sldChg>
      <pc:sldChg chg="modSp mod">
        <pc:chgData name="Dan McTavish" userId="3bdd38c9-93c5-470d-b029-59656566a699" providerId="ADAL" clId="{A62F1AFA-2ED6-D843-B465-D07F5E5FFB75}" dt="2021-12-23T10:55:30.778" v="8244" actId="20578"/>
        <pc:sldMkLst>
          <pc:docMk/>
          <pc:sldMk cId="3413238529" sldId="2147374241"/>
        </pc:sldMkLst>
        <pc:spChg chg="mod">
          <ac:chgData name="Dan McTavish" userId="3bdd38c9-93c5-470d-b029-59656566a699" providerId="ADAL" clId="{A62F1AFA-2ED6-D843-B465-D07F5E5FFB75}" dt="2021-12-23T10:03:15.767" v="8174" actId="20577"/>
          <ac:spMkLst>
            <pc:docMk/>
            <pc:sldMk cId="3413238529" sldId="2147374241"/>
            <ac:spMk id="27" creationId="{4EFAD1A4-9034-8448-A693-CCB4220B8B5E}"/>
          </ac:spMkLst>
        </pc:spChg>
        <pc:spChg chg="mod">
          <ac:chgData name="Dan McTavish" userId="3bdd38c9-93c5-470d-b029-59656566a699" providerId="ADAL" clId="{A62F1AFA-2ED6-D843-B465-D07F5E5FFB75}" dt="2021-12-23T10:04:30.529" v="8189" actId="313"/>
          <ac:spMkLst>
            <pc:docMk/>
            <pc:sldMk cId="3413238529" sldId="2147374241"/>
            <ac:spMk id="40" creationId="{3FF8F3EC-00F9-1244-BA65-329218716879}"/>
          </ac:spMkLst>
        </pc:spChg>
        <pc:spChg chg="mod">
          <ac:chgData name="Dan McTavish" userId="3bdd38c9-93c5-470d-b029-59656566a699" providerId="ADAL" clId="{A62F1AFA-2ED6-D843-B465-D07F5E5FFB75}" dt="2021-12-23T10:03:50.786" v="8175" actId="20577"/>
          <ac:spMkLst>
            <pc:docMk/>
            <pc:sldMk cId="3413238529" sldId="2147374241"/>
            <ac:spMk id="42" creationId="{A2013135-99AB-344D-BFCA-6609625D6674}"/>
          </ac:spMkLst>
        </pc:spChg>
        <pc:spChg chg="mod">
          <ac:chgData name="Dan McTavish" userId="3bdd38c9-93c5-470d-b029-59656566a699" providerId="ADAL" clId="{A62F1AFA-2ED6-D843-B465-D07F5E5FFB75}" dt="2021-12-23T10:51:37.319" v="8223"/>
          <ac:spMkLst>
            <pc:docMk/>
            <pc:sldMk cId="3413238529" sldId="2147374241"/>
            <ac:spMk id="51" creationId="{9344A515-A4F0-E24B-ACA6-57E2FAC220E9}"/>
          </ac:spMkLst>
        </pc:spChg>
        <pc:spChg chg="mod">
          <ac:chgData name="Dan McTavish" userId="3bdd38c9-93c5-470d-b029-59656566a699" providerId="ADAL" clId="{A62F1AFA-2ED6-D843-B465-D07F5E5FFB75}" dt="2021-12-23T10:53:50.060" v="8233" actId="20577"/>
          <ac:spMkLst>
            <pc:docMk/>
            <pc:sldMk cId="3413238529" sldId="2147374241"/>
            <ac:spMk id="54" creationId="{85B0520C-F632-E94A-8EC8-76AC2F603AF9}"/>
          </ac:spMkLst>
        </pc:spChg>
        <pc:spChg chg="mod">
          <ac:chgData name="Dan McTavish" userId="3bdd38c9-93c5-470d-b029-59656566a699" providerId="ADAL" clId="{A62F1AFA-2ED6-D843-B465-D07F5E5FFB75}" dt="2021-12-23T10:55:03.427" v="8241" actId="20577"/>
          <ac:spMkLst>
            <pc:docMk/>
            <pc:sldMk cId="3413238529" sldId="2147374241"/>
            <ac:spMk id="55" creationId="{8D965589-506A-EC4B-A4B9-129A9F44D235}"/>
          </ac:spMkLst>
        </pc:spChg>
        <pc:spChg chg="mod">
          <ac:chgData name="Dan McTavish" userId="3bdd38c9-93c5-470d-b029-59656566a699" providerId="ADAL" clId="{A62F1AFA-2ED6-D843-B465-D07F5E5FFB75}" dt="2021-12-23T10:55:21.147" v="8242" actId="20577"/>
          <ac:spMkLst>
            <pc:docMk/>
            <pc:sldMk cId="3413238529" sldId="2147374241"/>
            <ac:spMk id="56" creationId="{6D60066A-6633-9642-ACF8-3BA5D5AC4875}"/>
          </ac:spMkLst>
        </pc:spChg>
        <pc:spChg chg="mod">
          <ac:chgData name="Dan McTavish" userId="3bdd38c9-93c5-470d-b029-59656566a699" providerId="ADAL" clId="{A62F1AFA-2ED6-D843-B465-D07F5E5FFB75}" dt="2021-12-23T10:55:30.778" v="8244" actId="20578"/>
          <ac:spMkLst>
            <pc:docMk/>
            <pc:sldMk cId="3413238529" sldId="2147374241"/>
            <ac:spMk id="59" creationId="{54C0D4CF-9A84-7143-8A2D-955DDE7D0C58}"/>
          </ac:spMkLst>
        </pc:spChg>
        <pc:spChg chg="mod">
          <ac:chgData name="Dan McTavish" userId="3bdd38c9-93c5-470d-b029-59656566a699" providerId="ADAL" clId="{A62F1AFA-2ED6-D843-B465-D07F5E5FFB75}" dt="2021-12-23T10:52:22.498" v="8224" actId="20577"/>
          <ac:spMkLst>
            <pc:docMk/>
            <pc:sldMk cId="3413238529" sldId="2147374241"/>
            <ac:spMk id="63" creationId="{90C3E5E6-1C54-114D-BC6F-3A7C14C202D4}"/>
          </ac:spMkLst>
        </pc:spChg>
      </pc:sldChg>
      <pc:sldChg chg="modSp mod">
        <pc:chgData name="Dan McTavish" userId="3bdd38c9-93c5-470d-b029-59656566a699" providerId="ADAL" clId="{A62F1AFA-2ED6-D843-B465-D07F5E5FFB75}" dt="2021-12-23T11:37:34.688" v="8449" actId="20577"/>
        <pc:sldMkLst>
          <pc:docMk/>
          <pc:sldMk cId="4184742268" sldId="2147374242"/>
        </pc:sldMkLst>
        <pc:spChg chg="mod">
          <ac:chgData name="Dan McTavish" userId="3bdd38c9-93c5-470d-b029-59656566a699" providerId="ADAL" clId="{A62F1AFA-2ED6-D843-B465-D07F5E5FFB75}" dt="2021-12-23T11:00:07.188" v="8275" actId="20578"/>
          <ac:spMkLst>
            <pc:docMk/>
            <pc:sldMk cId="4184742268" sldId="2147374242"/>
            <ac:spMk id="24" creationId="{774854AB-C44D-0E4B-B80A-C2F5D8CBADEE}"/>
          </ac:spMkLst>
        </pc:spChg>
        <pc:spChg chg="mod">
          <ac:chgData name="Dan McTavish" userId="3bdd38c9-93c5-470d-b029-59656566a699" providerId="ADAL" clId="{A62F1AFA-2ED6-D843-B465-D07F5E5FFB75}" dt="2021-12-23T10:56:46.433" v="8258" actId="20577"/>
          <ac:spMkLst>
            <pc:docMk/>
            <pc:sldMk cId="4184742268" sldId="2147374242"/>
            <ac:spMk id="27" creationId="{4EFAD1A4-9034-8448-A693-CCB4220B8B5E}"/>
          </ac:spMkLst>
        </pc:spChg>
        <pc:spChg chg="mod">
          <ac:chgData name="Dan McTavish" userId="3bdd38c9-93c5-470d-b029-59656566a699" providerId="ADAL" clId="{A62F1AFA-2ED6-D843-B465-D07F5E5FFB75}" dt="2021-12-23T10:58:19.440" v="8271" actId="20578"/>
          <ac:spMkLst>
            <pc:docMk/>
            <pc:sldMk cId="4184742268" sldId="2147374242"/>
            <ac:spMk id="51" creationId="{390FA1DD-16DF-2E48-8A6B-AA33E10B0B14}"/>
          </ac:spMkLst>
        </pc:spChg>
        <pc:spChg chg="mod">
          <ac:chgData name="Dan McTavish" userId="3bdd38c9-93c5-470d-b029-59656566a699" providerId="ADAL" clId="{A62F1AFA-2ED6-D843-B465-D07F5E5FFB75}" dt="2021-12-23T11:37:34.688" v="8449" actId="20577"/>
          <ac:spMkLst>
            <pc:docMk/>
            <pc:sldMk cId="4184742268" sldId="2147374242"/>
            <ac:spMk id="52" creationId="{C37DDBA5-5D7E-DA48-82EE-A53F018A0B51}"/>
          </ac:spMkLst>
        </pc:spChg>
      </pc:sldChg>
      <pc:sldChg chg="modSp mod">
        <pc:chgData name="Dan McTavish" userId="3bdd38c9-93c5-470d-b029-59656566a699" providerId="ADAL" clId="{A62F1AFA-2ED6-D843-B465-D07F5E5FFB75}" dt="2021-12-23T11:11:42.719" v="8333" actId="20577"/>
        <pc:sldMkLst>
          <pc:docMk/>
          <pc:sldMk cId="2563585727" sldId="2147374244"/>
        </pc:sldMkLst>
        <pc:spChg chg="mod">
          <ac:chgData name="Dan McTavish" userId="3bdd38c9-93c5-470d-b029-59656566a699" providerId="ADAL" clId="{A62F1AFA-2ED6-D843-B465-D07F5E5FFB75}" dt="2021-12-23T11:05:31.481" v="8291" actId="20577"/>
          <ac:spMkLst>
            <pc:docMk/>
            <pc:sldMk cId="2563585727" sldId="2147374244"/>
            <ac:spMk id="21" creationId="{A304E711-3C9F-5048-87C2-367B868CA4C9}"/>
          </ac:spMkLst>
        </pc:spChg>
        <pc:spChg chg="mod">
          <ac:chgData name="Dan McTavish" userId="3bdd38c9-93c5-470d-b029-59656566a699" providerId="ADAL" clId="{A62F1AFA-2ED6-D843-B465-D07F5E5FFB75}" dt="2021-12-23T11:11:42.719" v="8333" actId="20577"/>
          <ac:spMkLst>
            <pc:docMk/>
            <pc:sldMk cId="2563585727" sldId="2147374244"/>
            <ac:spMk id="22" creationId="{6B47840B-56F0-5440-A0A4-30994039B249}"/>
          </ac:spMkLst>
        </pc:spChg>
        <pc:spChg chg="mod">
          <ac:chgData name="Dan McTavish" userId="3bdd38c9-93c5-470d-b029-59656566a699" providerId="ADAL" clId="{A62F1AFA-2ED6-D843-B465-D07F5E5FFB75}" dt="2021-12-23T11:09:15.682" v="8298" actId="20577"/>
          <ac:spMkLst>
            <pc:docMk/>
            <pc:sldMk cId="2563585727" sldId="2147374244"/>
            <ac:spMk id="51" creationId="{390FA1DD-16DF-2E48-8A6B-AA33E10B0B14}"/>
          </ac:spMkLst>
        </pc:spChg>
      </pc:sldChg>
      <pc:sldChg chg="modSp mod">
        <pc:chgData name="Dan McTavish" userId="3bdd38c9-93c5-470d-b029-59656566a699" providerId="ADAL" clId="{A62F1AFA-2ED6-D843-B465-D07F5E5FFB75}" dt="2021-12-23T11:38:35.010" v="8451" actId="20577"/>
        <pc:sldMkLst>
          <pc:docMk/>
          <pc:sldMk cId="2319724506" sldId="2147374245"/>
        </pc:sldMkLst>
        <pc:spChg chg="mod">
          <ac:chgData name="Dan McTavish" userId="3bdd38c9-93c5-470d-b029-59656566a699" providerId="ADAL" clId="{A62F1AFA-2ED6-D843-B465-D07F5E5FFB75}" dt="2021-12-23T11:38:35.010" v="8451" actId="20577"/>
          <ac:spMkLst>
            <pc:docMk/>
            <pc:sldMk cId="2319724506" sldId="2147374245"/>
            <ac:spMk id="21" creationId="{A304E711-3C9F-5048-87C2-367B868CA4C9}"/>
          </ac:spMkLst>
        </pc:spChg>
        <pc:spChg chg="mod">
          <ac:chgData name="Dan McTavish" userId="3bdd38c9-93c5-470d-b029-59656566a699" providerId="ADAL" clId="{A62F1AFA-2ED6-D843-B465-D07F5E5FFB75}" dt="2021-12-23T11:26:45.380" v="8367" actId="5793"/>
          <ac:spMkLst>
            <pc:docMk/>
            <pc:sldMk cId="2319724506" sldId="2147374245"/>
            <ac:spMk id="22" creationId="{6B47840B-56F0-5440-A0A4-30994039B249}"/>
          </ac:spMkLst>
        </pc:spChg>
        <pc:spChg chg="mod">
          <ac:chgData name="Dan McTavish" userId="3bdd38c9-93c5-470d-b029-59656566a699" providerId="ADAL" clId="{A62F1AFA-2ED6-D843-B465-D07F5E5FFB75}" dt="2021-12-23T11:16:00.460" v="8337" actId="255"/>
          <ac:spMkLst>
            <pc:docMk/>
            <pc:sldMk cId="2319724506" sldId="2147374245"/>
            <ac:spMk id="51" creationId="{390FA1DD-16DF-2E48-8A6B-AA33E10B0B14}"/>
          </ac:spMkLst>
        </pc:spChg>
      </pc:sldChg>
      <pc:sldChg chg="modSp mod">
        <pc:chgData name="Dan McTavish" userId="3bdd38c9-93c5-470d-b029-59656566a699" providerId="ADAL" clId="{A62F1AFA-2ED6-D843-B465-D07F5E5FFB75}" dt="2021-12-23T11:35:54.905" v="8447" actId="20577"/>
        <pc:sldMkLst>
          <pc:docMk/>
          <pc:sldMk cId="2554591005" sldId="2147374246"/>
        </pc:sldMkLst>
        <pc:spChg chg="mod">
          <ac:chgData name="Dan McTavish" userId="3bdd38c9-93c5-470d-b029-59656566a699" providerId="ADAL" clId="{A62F1AFA-2ED6-D843-B465-D07F5E5FFB75}" dt="2021-12-23T11:33:34.433" v="8445" actId="20577"/>
          <ac:spMkLst>
            <pc:docMk/>
            <pc:sldMk cId="2554591005" sldId="2147374246"/>
            <ac:spMk id="21" creationId="{A304E711-3C9F-5048-87C2-367B868CA4C9}"/>
          </ac:spMkLst>
        </pc:spChg>
        <pc:spChg chg="mod">
          <ac:chgData name="Dan McTavish" userId="3bdd38c9-93c5-470d-b029-59656566a699" providerId="ADAL" clId="{A62F1AFA-2ED6-D843-B465-D07F5E5FFB75}" dt="2021-12-23T11:35:03.336" v="8446" actId="20577"/>
          <ac:spMkLst>
            <pc:docMk/>
            <pc:sldMk cId="2554591005" sldId="2147374246"/>
            <ac:spMk id="22" creationId="{6B47840B-56F0-5440-A0A4-30994039B249}"/>
          </ac:spMkLst>
        </pc:spChg>
        <pc:spChg chg="mod">
          <ac:chgData name="Dan McTavish" userId="3bdd38c9-93c5-470d-b029-59656566a699" providerId="ADAL" clId="{A62F1AFA-2ED6-D843-B465-D07F5E5FFB75}" dt="2021-12-23T11:35:54.905" v="8447" actId="20577"/>
          <ac:spMkLst>
            <pc:docMk/>
            <pc:sldMk cId="2554591005" sldId="2147374246"/>
            <ac:spMk id="51" creationId="{390FA1DD-16DF-2E48-8A6B-AA33E10B0B14}"/>
          </ac:spMkLst>
        </pc:spChg>
      </pc:sldChg>
      <pc:sldChg chg="new">
        <pc:chgData name="Dan McTavish" userId="3bdd38c9-93c5-470d-b029-59656566a699" providerId="ADAL" clId="{A62F1AFA-2ED6-D843-B465-D07F5E5FFB75}" dt="2021-12-23T16:18:42.811" v="9000" actId="680"/>
        <pc:sldMkLst>
          <pc:docMk/>
          <pc:sldMk cId="3777173687" sldId="2147374260"/>
        </pc:sldMkLst>
      </pc:sldChg>
      <pc:sldMasterChg chg="delSldLayout">
        <pc:chgData name="Dan McTavish" userId="3bdd38c9-93c5-470d-b029-59656566a699" providerId="ADAL" clId="{A62F1AFA-2ED6-D843-B465-D07F5E5FFB75}" dt="2021-12-21T12:13:45.997" v="5666" actId="2696"/>
        <pc:sldMasterMkLst>
          <pc:docMk/>
          <pc:sldMasterMk cId="848992802" sldId="2147483938"/>
        </pc:sldMasterMkLst>
        <pc:sldLayoutChg chg="del">
          <pc:chgData name="Dan McTavish" userId="3bdd38c9-93c5-470d-b029-59656566a699" providerId="ADAL" clId="{A62F1AFA-2ED6-D843-B465-D07F5E5FFB75}" dt="2021-12-21T12:13:45.997" v="5666" actId="2696"/>
          <pc:sldLayoutMkLst>
            <pc:docMk/>
            <pc:sldMasterMk cId="848992802" sldId="2147483938"/>
            <pc:sldLayoutMk cId="1192700267" sldId="2147484005"/>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639763" cy="2131144"/>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836271" y="0"/>
            <a:ext cx="639763" cy="2131144"/>
          </a:xfrm>
          <a:prstGeom prst="rect">
            <a:avLst/>
          </a:prstGeom>
        </p:spPr>
        <p:txBody>
          <a:bodyPr vert="horz" lIns="91440" tIns="45720" rIns="91440" bIns="45720" rtlCol="0"/>
          <a:lstStyle>
            <a:lvl1pPr algn="r">
              <a:defRPr sz="1200"/>
            </a:lvl1pPr>
          </a:lstStyle>
          <a:p>
            <a:fld id="{D883B549-4973-BD4A-9739-CAFA766FA4EA}" type="datetimeFigureOut">
              <a:rPr lang="en-US" smtClean="0"/>
              <a:t>1/12/2022</a:t>
            </a:fld>
            <a:endParaRPr lang="en-US"/>
          </a:p>
        </p:txBody>
      </p:sp>
      <p:sp>
        <p:nvSpPr>
          <p:cNvPr id="4" name="Footer Placeholder 3"/>
          <p:cNvSpPr>
            <a:spLocks noGrp="1"/>
          </p:cNvSpPr>
          <p:nvPr>
            <p:ph type="ftr" sz="quarter" idx="2"/>
          </p:nvPr>
        </p:nvSpPr>
        <p:spPr>
          <a:xfrm>
            <a:off x="0" y="40344217"/>
            <a:ext cx="639763" cy="2131140"/>
          </a:xfrm>
          <a:prstGeom prst="rect">
            <a:avLst/>
          </a:prstGeom>
        </p:spPr>
        <p:txBody>
          <a:bodyPr vert="horz" lIns="91440" tIns="45720" rIns="91440" bIns="45720" rtlCol="0" anchor="b"/>
          <a:lstStyle>
            <a:lvl1pPr algn="l">
              <a:defRPr sz="1200"/>
            </a:lvl1pPr>
          </a:lstStyle>
          <a:p>
            <a:r>
              <a:rPr lang="en-US"/>
              <a:t>Confidential</a:t>
            </a:r>
          </a:p>
        </p:txBody>
      </p:sp>
      <p:sp>
        <p:nvSpPr>
          <p:cNvPr id="5" name="Slide Number Placeholder 4"/>
          <p:cNvSpPr>
            <a:spLocks noGrp="1"/>
          </p:cNvSpPr>
          <p:nvPr>
            <p:ph type="sldNum" sz="quarter" idx="3"/>
          </p:nvPr>
        </p:nvSpPr>
        <p:spPr>
          <a:xfrm>
            <a:off x="836271" y="40344217"/>
            <a:ext cx="639763" cy="2131140"/>
          </a:xfrm>
          <a:prstGeom prst="rect">
            <a:avLst/>
          </a:prstGeom>
        </p:spPr>
        <p:txBody>
          <a:bodyPr vert="horz" lIns="91440" tIns="45720" rIns="91440" bIns="45720" rtlCol="0" anchor="b"/>
          <a:lstStyle>
            <a:lvl1pPr algn="r">
              <a:defRPr sz="1200"/>
            </a:lvl1pPr>
          </a:lstStyle>
          <a:p>
            <a:fld id="{89510CE8-236E-1743-AD6F-99998D4016F9}" type="slidenum">
              <a:rPr lang="en-US" smtClean="0"/>
              <a:t>‹#›</a:t>
            </a:fld>
            <a:endParaRPr lang="en-US"/>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639763" cy="2131144"/>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836271" y="0"/>
            <a:ext cx="639763" cy="2131144"/>
          </a:xfrm>
          <a:prstGeom prst="rect">
            <a:avLst/>
          </a:prstGeom>
        </p:spPr>
        <p:txBody>
          <a:bodyPr vert="horz" lIns="91440" tIns="45720" rIns="91440" bIns="45720" rtlCol="0"/>
          <a:lstStyle>
            <a:lvl1pPr algn="r">
              <a:defRPr sz="1200"/>
            </a:lvl1pPr>
          </a:lstStyle>
          <a:p>
            <a:fld id="{278F35C1-A3E2-EC49-A3EF-A71B2494F14D}" type="datetimeFigureOut">
              <a:rPr lang="en-US" smtClean="0"/>
              <a:t>1/12/2022</a:t>
            </a:fld>
            <a:endParaRPr lang="en-US"/>
          </a:p>
        </p:txBody>
      </p:sp>
      <p:sp>
        <p:nvSpPr>
          <p:cNvPr id="4" name="Slide Image Placeholder 3"/>
          <p:cNvSpPr>
            <a:spLocks noGrp="1" noRot="1" noChangeAspect="1"/>
          </p:cNvSpPr>
          <p:nvPr>
            <p:ph type="sldImg" idx="2"/>
          </p:nvPr>
        </p:nvSpPr>
        <p:spPr>
          <a:xfrm>
            <a:off x="-12003088" y="5310188"/>
            <a:ext cx="25482551" cy="143351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47638" y="20441265"/>
            <a:ext cx="1181100" cy="1672467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40344217"/>
            <a:ext cx="639763" cy="2131140"/>
          </a:xfrm>
          <a:prstGeom prst="rect">
            <a:avLst/>
          </a:prstGeom>
        </p:spPr>
        <p:txBody>
          <a:bodyPr vert="horz" lIns="91440" tIns="45720" rIns="91440" bIns="45720" rtlCol="0" anchor="b"/>
          <a:lstStyle>
            <a:lvl1pPr algn="l">
              <a:defRPr sz="1200"/>
            </a:lvl1pPr>
          </a:lstStyle>
          <a:p>
            <a:r>
              <a:rPr lang="en-US"/>
              <a:t>Confidential</a:t>
            </a:r>
          </a:p>
        </p:txBody>
      </p:sp>
      <p:sp>
        <p:nvSpPr>
          <p:cNvPr id="7" name="Slide Number Placeholder 6"/>
          <p:cNvSpPr>
            <a:spLocks noGrp="1"/>
          </p:cNvSpPr>
          <p:nvPr>
            <p:ph type="sldNum" sz="quarter" idx="5"/>
          </p:nvPr>
        </p:nvSpPr>
        <p:spPr>
          <a:xfrm>
            <a:off x="836271" y="40344217"/>
            <a:ext cx="639763" cy="2131140"/>
          </a:xfrm>
          <a:prstGeom prst="rect">
            <a:avLst/>
          </a:prstGeom>
        </p:spPr>
        <p:txBody>
          <a:bodyPr vert="horz" lIns="91440" tIns="45720" rIns="91440" bIns="45720" rtlCol="0" anchor="b"/>
          <a:lstStyle>
            <a:lvl1pPr algn="r">
              <a:defRPr sz="1200"/>
            </a:lvl1pPr>
          </a:lstStyle>
          <a:p>
            <a:fld id="{2FA1F40C-47EA-9E4C-A141-E2205B30017A}"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082381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cs typeface="Calibri"/>
            </a:endParaRPr>
          </a:p>
        </p:txBody>
      </p:sp>
    </p:spTree>
    <p:extLst>
      <p:ext uri="{BB962C8B-B14F-4D97-AF65-F5344CB8AC3E}">
        <p14:creationId xmlns:p14="http://schemas.microsoft.com/office/powerpoint/2010/main" val="40749463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cs typeface="Calibri"/>
            </a:endParaRPr>
          </a:p>
        </p:txBody>
      </p:sp>
    </p:spTree>
    <p:extLst>
      <p:ext uri="{BB962C8B-B14F-4D97-AF65-F5344CB8AC3E}">
        <p14:creationId xmlns:p14="http://schemas.microsoft.com/office/powerpoint/2010/main" val="30508635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cs typeface="Calibri"/>
            </a:endParaRPr>
          </a:p>
        </p:txBody>
      </p:sp>
    </p:spTree>
    <p:extLst>
      <p:ext uri="{BB962C8B-B14F-4D97-AF65-F5344CB8AC3E}">
        <p14:creationId xmlns:p14="http://schemas.microsoft.com/office/powerpoint/2010/main" val="8120242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cs typeface="Calibri"/>
            </a:endParaRPr>
          </a:p>
        </p:txBody>
      </p:sp>
    </p:spTree>
    <p:extLst>
      <p:ext uri="{BB962C8B-B14F-4D97-AF65-F5344CB8AC3E}">
        <p14:creationId xmlns:p14="http://schemas.microsoft.com/office/powerpoint/2010/main" val="4934271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6570760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Tree>
    <p:extLst>
      <p:ext uri="{BB962C8B-B14F-4D97-AF65-F5344CB8AC3E}">
        <p14:creationId xmlns:p14="http://schemas.microsoft.com/office/powerpoint/2010/main" val="38072509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Tree>
    <p:extLst>
      <p:ext uri="{BB962C8B-B14F-4D97-AF65-F5344CB8AC3E}">
        <p14:creationId xmlns:p14="http://schemas.microsoft.com/office/powerpoint/2010/main" val="36730407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25506047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28090475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24736389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42614973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Tree>
    <p:extLst>
      <p:ext uri="{BB962C8B-B14F-4D97-AF65-F5344CB8AC3E}">
        <p14:creationId xmlns:p14="http://schemas.microsoft.com/office/powerpoint/2010/main" val="22192309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16676984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320920584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13201455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31423172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Tree>
    <p:extLst>
      <p:ext uri="{BB962C8B-B14F-4D97-AF65-F5344CB8AC3E}">
        <p14:creationId xmlns:p14="http://schemas.microsoft.com/office/powerpoint/2010/main" val="252351031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188798670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36198122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266793140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27289969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cs typeface="Calibri"/>
            </a:endParaRPr>
          </a:p>
        </p:txBody>
      </p:sp>
    </p:spTree>
    <p:extLst>
      <p:ext uri="{BB962C8B-B14F-4D97-AF65-F5344CB8AC3E}">
        <p14:creationId xmlns:p14="http://schemas.microsoft.com/office/powerpoint/2010/main" val="4750739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376292606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235142807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cs typeface="Calibri"/>
            </a:endParaRPr>
          </a:p>
        </p:txBody>
      </p:sp>
    </p:spTree>
    <p:extLst>
      <p:ext uri="{BB962C8B-B14F-4D97-AF65-F5344CB8AC3E}">
        <p14:creationId xmlns:p14="http://schemas.microsoft.com/office/powerpoint/2010/main" val="183854833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4341688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cs typeface="Calibri"/>
            </a:endParaRPr>
          </a:p>
        </p:txBody>
      </p:sp>
    </p:spTree>
    <p:extLst>
      <p:ext uri="{BB962C8B-B14F-4D97-AF65-F5344CB8AC3E}">
        <p14:creationId xmlns:p14="http://schemas.microsoft.com/office/powerpoint/2010/main" val="394925951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cs typeface="Calibri"/>
            </a:endParaRPr>
          </a:p>
        </p:txBody>
      </p:sp>
    </p:spTree>
    <p:extLst>
      <p:ext uri="{BB962C8B-B14F-4D97-AF65-F5344CB8AC3E}">
        <p14:creationId xmlns:p14="http://schemas.microsoft.com/office/powerpoint/2010/main" val="107385188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cs typeface="Calibri"/>
            </a:endParaRPr>
          </a:p>
        </p:txBody>
      </p:sp>
    </p:spTree>
    <p:extLst>
      <p:ext uri="{BB962C8B-B14F-4D97-AF65-F5344CB8AC3E}">
        <p14:creationId xmlns:p14="http://schemas.microsoft.com/office/powerpoint/2010/main" val="369174254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cs typeface="Calibri"/>
            </a:endParaRPr>
          </a:p>
        </p:txBody>
      </p:sp>
    </p:spTree>
    <p:extLst>
      <p:ext uri="{BB962C8B-B14F-4D97-AF65-F5344CB8AC3E}">
        <p14:creationId xmlns:p14="http://schemas.microsoft.com/office/powerpoint/2010/main" val="76686491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cs typeface="Calibri"/>
            </a:endParaRPr>
          </a:p>
        </p:txBody>
      </p:sp>
    </p:spTree>
    <p:extLst>
      <p:ext uri="{BB962C8B-B14F-4D97-AF65-F5344CB8AC3E}">
        <p14:creationId xmlns:p14="http://schemas.microsoft.com/office/powerpoint/2010/main" val="357424387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cs typeface="Calibri"/>
            </a:endParaRPr>
          </a:p>
        </p:txBody>
      </p:sp>
    </p:spTree>
    <p:extLst>
      <p:ext uri="{BB962C8B-B14F-4D97-AF65-F5344CB8AC3E}">
        <p14:creationId xmlns:p14="http://schemas.microsoft.com/office/powerpoint/2010/main" val="262146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cs typeface="Calibri"/>
            </a:endParaRPr>
          </a:p>
        </p:txBody>
      </p:sp>
    </p:spTree>
    <p:extLst>
      <p:ext uri="{BB962C8B-B14F-4D97-AF65-F5344CB8AC3E}">
        <p14:creationId xmlns:p14="http://schemas.microsoft.com/office/powerpoint/2010/main" val="207362411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cs typeface="Calibri"/>
            </a:endParaRPr>
          </a:p>
        </p:txBody>
      </p:sp>
    </p:spTree>
    <p:extLst>
      <p:ext uri="{BB962C8B-B14F-4D97-AF65-F5344CB8AC3E}">
        <p14:creationId xmlns:p14="http://schemas.microsoft.com/office/powerpoint/2010/main" val="164269599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cs typeface="Calibri"/>
            </a:endParaRPr>
          </a:p>
        </p:txBody>
      </p:sp>
    </p:spTree>
    <p:extLst>
      <p:ext uri="{BB962C8B-B14F-4D97-AF65-F5344CB8AC3E}">
        <p14:creationId xmlns:p14="http://schemas.microsoft.com/office/powerpoint/2010/main" val="143796258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cs typeface="Calibri"/>
            </a:endParaRPr>
          </a:p>
        </p:txBody>
      </p:sp>
    </p:spTree>
    <p:extLst>
      <p:ext uri="{BB962C8B-B14F-4D97-AF65-F5344CB8AC3E}">
        <p14:creationId xmlns:p14="http://schemas.microsoft.com/office/powerpoint/2010/main" val="75796622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cs typeface="Calibri"/>
            </a:endParaRPr>
          </a:p>
        </p:txBody>
      </p:sp>
    </p:spTree>
    <p:extLst>
      <p:ext uri="{BB962C8B-B14F-4D97-AF65-F5344CB8AC3E}">
        <p14:creationId xmlns:p14="http://schemas.microsoft.com/office/powerpoint/2010/main" val="219489050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cs typeface="Calibri"/>
            </a:endParaRPr>
          </a:p>
        </p:txBody>
      </p:sp>
    </p:spTree>
    <p:extLst>
      <p:ext uri="{BB962C8B-B14F-4D97-AF65-F5344CB8AC3E}">
        <p14:creationId xmlns:p14="http://schemas.microsoft.com/office/powerpoint/2010/main" val="5119692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cs typeface="Calibri"/>
            </a:endParaRPr>
          </a:p>
        </p:txBody>
      </p:sp>
    </p:spTree>
    <p:extLst>
      <p:ext uri="{BB962C8B-B14F-4D97-AF65-F5344CB8AC3E}">
        <p14:creationId xmlns:p14="http://schemas.microsoft.com/office/powerpoint/2010/main" val="8172217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cs typeface="Calibri"/>
            </a:endParaRPr>
          </a:p>
        </p:txBody>
      </p:sp>
    </p:spTree>
    <p:extLst>
      <p:ext uri="{BB962C8B-B14F-4D97-AF65-F5344CB8AC3E}">
        <p14:creationId xmlns:p14="http://schemas.microsoft.com/office/powerpoint/2010/main" val="421340852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cs typeface="Calibri"/>
            </a:endParaRPr>
          </a:p>
        </p:txBody>
      </p:sp>
    </p:spTree>
    <p:extLst>
      <p:ext uri="{BB962C8B-B14F-4D97-AF65-F5344CB8AC3E}">
        <p14:creationId xmlns:p14="http://schemas.microsoft.com/office/powerpoint/2010/main" val="171135496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cs typeface="Calibri"/>
            </a:endParaRPr>
          </a:p>
        </p:txBody>
      </p:sp>
    </p:spTree>
    <p:extLst>
      <p:ext uri="{BB962C8B-B14F-4D97-AF65-F5344CB8AC3E}">
        <p14:creationId xmlns:p14="http://schemas.microsoft.com/office/powerpoint/2010/main" val="374684560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cs typeface="Calibri"/>
            </a:endParaRPr>
          </a:p>
        </p:txBody>
      </p:sp>
    </p:spTree>
    <p:extLst>
      <p:ext uri="{BB962C8B-B14F-4D97-AF65-F5344CB8AC3E}">
        <p14:creationId xmlns:p14="http://schemas.microsoft.com/office/powerpoint/2010/main" val="15689507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D347D00-7CD1-CD46-A906-F03C5C4C36F1}" type="slidenum">
              <a:rPr lang="en-US" smtClean="0"/>
              <a:t>7</a:t>
            </a:fld>
            <a:endParaRPr lang="en-US"/>
          </a:p>
        </p:txBody>
      </p:sp>
    </p:spTree>
    <p:extLst>
      <p:ext uri="{BB962C8B-B14F-4D97-AF65-F5344CB8AC3E}">
        <p14:creationId xmlns:p14="http://schemas.microsoft.com/office/powerpoint/2010/main" val="379864960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cs typeface="Calibri"/>
            </a:endParaRPr>
          </a:p>
        </p:txBody>
      </p:sp>
    </p:spTree>
    <p:extLst>
      <p:ext uri="{BB962C8B-B14F-4D97-AF65-F5344CB8AC3E}">
        <p14:creationId xmlns:p14="http://schemas.microsoft.com/office/powerpoint/2010/main" val="253576078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cs typeface="Calibri"/>
            </a:endParaRPr>
          </a:p>
        </p:txBody>
      </p:sp>
    </p:spTree>
    <p:extLst>
      <p:ext uri="{BB962C8B-B14F-4D97-AF65-F5344CB8AC3E}">
        <p14:creationId xmlns:p14="http://schemas.microsoft.com/office/powerpoint/2010/main" val="375227610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cs typeface="Calibri"/>
            </a:endParaRPr>
          </a:p>
        </p:txBody>
      </p:sp>
    </p:spTree>
    <p:extLst>
      <p:ext uri="{BB962C8B-B14F-4D97-AF65-F5344CB8AC3E}">
        <p14:creationId xmlns:p14="http://schemas.microsoft.com/office/powerpoint/2010/main" val="199701573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cs typeface="Calibri"/>
            </a:endParaRPr>
          </a:p>
        </p:txBody>
      </p:sp>
    </p:spTree>
    <p:extLst>
      <p:ext uri="{BB962C8B-B14F-4D97-AF65-F5344CB8AC3E}">
        <p14:creationId xmlns:p14="http://schemas.microsoft.com/office/powerpoint/2010/main" val="399710481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cs typeface="Calibri"/>
            </a:endParaRPr>
          </a:p>
        </p:txBody>
      </p:sp>
    </p:spTree>
    <p:extLst>
      <p:ext uri="{BB962C8B-B14F-4D97-AF65-F5344CB8AC3E}">
        <p14:creationId xmlns:p14="http://schemas.microsoft.com/office/powerpoint/2010/main" val="332638970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cs typeface="Calibri"/>
            </a:endParaRPr>
          </a:p>
        </p:txBody>
      </p:sp>
    </p:spTree>
    <p:extLst>
      <p:ext uri="{BB962C8B-B14F-4D97-AF65-F5344CB8AC3E}">
        <p14:creationId xmlns:p14="http://schemas.microsoft.com/office/powerpoint/2010/main" val="113200959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cs typeface="Calibri"/>
            </a:endParaRPr>
          </a:p>
        </p:txBody>
      </p:sp>
    </p:spTree>
    <p:extLst>
      <p:ext uri="{BB962C8B-B14F-4D97-AF65-F5344CB8AC3E}">
        <p14:creationId xmlns:p14="http://schemas.microsoft.com/office/powerpoint/2010/main" val="93575202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cs typeface="Calibri"/>
            </a:endParaRPr>
          </a:p>
        </p:txBody>
      </p:sp>
    </p:spTree>
    <p:extLst>
      <p:ext uri="{BB962C8B-B14F-4D97-AF65-F5344CB8AC3E}">
        <p14:creationId xmlns:p14="http://schemas.microsoft.com/office/powerpoint/2010/main" val="220261264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cs typeface="Calibri"/>
            </a:endParaRPr>
          </a:p>
        </p:txBody>
      </p:sp>
    </p:spTree>
    <p:extLst>
      <p:ext uri="{BB962C8B-B14F-4D97-AF65-F5344CB8AC3E}">
        <p14:creationId xmlns:p14="http://schemas.microsoft.com/office/powerpoint/2010/main" val="178345978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cs typeface="Calibri"/>
            </a:endParaRPr>
          </a:p>
        </p:txBody>
      </p:sp>
    </p:spTree>
    <p:extLst>
      <p:ext uri="{BB962C8B-B14F-4D97-AF65-F5344CB8AC3E}">
        <p14:creationId xmlns:p14="http://schemas.microsoft.com/office/powerpoint/2010/main" val="27174284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cs typeface="Calibri"/>
            </a:endParaRPr>
          </a:p>
        </p:txBody>
      </p:sp>
    </p:spTree>
    <p:extLst>
      <p:ext uri="{BB962C8B-B14F-4D97-AF65-F5344CB8AC3E}">
        <p14:creationId xmlns:p14="http://schemas.microsoft.com/office/powerpoint/2010/main" val="192381235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cs typeface="Calibri"/>
            </a:endParaRPr>
          </a:p>
        </p:txBody>
      </p:sp>
    </p:spTree>
    <p:extLst>
      <p:ext uri="{BB962C8B-B14F-4D97-AF65-F5344CB8AC3E}">
        <p14:creationId xmlns:p14="http://schemas.microsoft.com/office/powerpoint/2010/main" val="283503239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cs typeface="Calibri"/>
            </a:endParaRPr>
          </a:p>
        </p:txBody>
      </p:sp>
    </p:spTree>
    <p:extLst>
      <p:ext uri="{BB962C8B-B14F-4D97-AF65-F5344CB8AC3E}">
        <p14:creationId xmlns:p14="http://schemas.microsoft.com/office/powerpoint/2010/main" val="178560966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cs typeface="Calibri"/>
            </a:endParaRPr>
          </a:p>
        </p:txBody>
      </p:sp>
    </p:spTree>
    <p:extLst>
      <p:ext uri="{BB962C8B-B14F-4D97-AF65-F5344CB8AC3E}">
        <p14:creationId xmlns:p14="http://schemas.microsoft.com/office/powerpoint/2010/main" val="87110770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cs typeface="Calibri"/>
            </a:endParaRPr>
          </a:p>
        </p:txBody>
      </p:sp>
    </p:spTree>
    <p:extLst>
      <p:ext uri="{BB962C8B-B14F-4D97-AF65-F5344CB8AC3E}">
        <p14:creationId xmlns:p14="http://schemas.microsoft.com/office/powerpoint/2010/main" val="242788450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cs typeface="Calibri"/>
            </a:endParaRPr>
          </a:p>
        </p:txBody>
      </p:sp>
    </p:spTree>
    <p:extLst>
      <p:ext uri="{BB962C8B-B14F-4D97-AF65-F5344CB8AC3E}">
        <p14:creationId xmlns:p14="http://schemas.microsoft.com/office/powerpoint/2010/main" val="276723887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cs typeface="Calibri"/>
            </a:endParaRPr>
          </a:p>
        </p:txBody>
      </p:sp>
    </p:spTree>
    <p:extLst>
      <p:ext uri="{BB962C8B-B14F-4D97-AF65-F5344CB8AC3E}">
        <p14:creationId xmlns:p14="http://schemas.microsoft.com/office/powerpoint/2010/main" val="222580246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cs typeface="Calibri"/>
            </a:endParaRPr>
          </a:p>
        </p:txBody>
      </p:sp>
    </p:spTree>
    <p:extLst>
      <p:ext uri="{BB962C8B-B14F-4D97-AF65-F5344CB8AC3E}">
        <p14:creationId xmlns:p14="http://schemas.microsoft.com/office/powerpoint/2010/main" val="140015757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cs typeface="Calibri"/>
            </a:endParaRPr>
          </a:p>
        </p:txBody>
      </p:sp>
    </p:spTree>
    <p:extLst>
      <p:ext uri="{BB962C8B-B14F-4D97-AF65-F5344CB8AC3E}">
        <p14:creationId xmlns:p14="http://schemas.microsoft.com/office/powerpoint/2010/main" val="213979099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cs typeface="Calibri"/>
            </a:endParaRPr>
          </a:p>
        </p:txBody>
      </p:sp>
    </p:spTree>
    <p:extLst>
      <p:ext uri="{BB962C8B-B14F-4D97-AF65-F5344CB8AC3E}">
        <p14:creationId xmlns:p14="http://schemas.microsoft.com/office/powerpoint/2010/main" val="7168794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cs typeface="Calibri"/>
            </a:endParaRPr>
          </a:p>
        </p:txBody>
      </p:sp>
    </p:spTree>
    <p:extLst>
      <p:ext uri="{BB962C8B-B14F-4D97-AF65-F5344CB8AC3E}">
        <p14:creationId xmlns:p14="http://schemas.microsoft.com/office/powerpoint/2010/main" val="6009472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cs typeface="Calibri"/>
            </a:endParaRPr>
          </a:p>
        </p:txBody>
      </p:sp>
    </p:spTree>
    <p:extLst>
      <p:ext uri="{BB962C8B-B14F-4D97-AF65-F5344CB8AC3E}">
        <p14:creationId xmlns:p14="http://schemas.microsoft.com/office/powerpoint/2010/main" val="14827157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cs typeface="Calibri"/>
            </a:endParaRPr>
          </a:p>
        </p:txBody>
      </p:sp>
    </p:spTree>
    <p:extLst>
      <p:ext uri="{BB962C8B-B14F-4D97-AF65-F5344CB8AC3E}">
        <p14:creationId xmlns:p14="http://schemas.microsoft.com/office/powerpoint/2010/main" val="648839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6.v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1.v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2.vml"/><Relationship Id="rId6" Type="http://schemas.openxmlformats.org/officeDocument/2006/relationships/image" Target="../media/image3.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13.vml"/><Relationship Id="rId5" Type="http://schemas.openxmlformats.org/officeDocument/2006/relationships/image" Target="../media/image3.emf"/><Relationship Id="rId4" Type="http://schemas.openxmlformats.org/officeDocument/2006/relationships/oleObject" Target="../embeddings/oleObject1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14.bin"/></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oleObject" Target="../embeddings/oleObject9.bin"/><Relationship Id="rId4"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oleObject" Target="../embeddings/oleObject12.bin"/><Relationship Id="rId4"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20.vml"/><Relationship Id="rId5" Type="http://schemas.openxmlformats.org/officeDocument/2006/relationships/image" Target="../media/image3.emf"/><Relationship Id="rId4" Type="http://schemas.openxmlformats.org/officeDocument/2006/relationships/oleObject" Target="../embeddings/oleObject13.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21.v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16.bin"/></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23.vml"/><Relationship Id="rId6" Type="http://schemas.openxmlformats.org/officeDocument/2006/relationships/image" Target="../media/image3.emf"/><Relationship Id="rId5" Type="http://schemas.openxmlformats.org/officeDocument/2006/relationships/oleObject" Target="../embeddings/oleObject18.bin"/><Relationship Id="rId4"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24.vml"/><Relationship Id="rId6" Type="http://schemas.openxmlformats.org/officeDocument/2006/relationships/image" Target="../media/image3.emf"/><Relationship Id="rId5" Type="http://schemas.openxmlformats.org/officeDocument/2006/relationships/oleObject" Target="../embeddings/oleObject19.bin"/><Relationship Id="rId4"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5.vml"/><Relationship Id="rId6" Type="http://schemas.openxmlformats.org/officeDocument/2006/relationships/image" Target="../media/image3.emf"/><Relationship Id="rId5" Type="http://schemas.openxmlformats.org/officeDocument/2006/relationships/oleObject" Target="../embeddings/oleObject20.bin"/><Relationship Id="rId4"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6.vml"/><Relationship Id="rId6" Type="http://schemas.openxmlformats.org/officeDocument/2006/relationships/image" Target="../media/image3.emf"/><Relationship Id="rId5" Type="http://schemas.openxmlformats.org/officeDocument/2006/relationships/oleObject" Target="../embeddings/oleObject21.bin"/><Relationship Id="rId4"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vmlDrawing" Target="../drawings/vmlDrawing27.vml"/><Relationship Id="rId5" Type="http://schemas.openxmlformats.org/officeDocument/2006/relationships/image" Target="../media/image3.emf"/><Relationship Id="rId4" Type="http://schemas.openxmlformats.org/officeDocument/2006/relationships/oleObject" Target="../embeddings/oleObject22.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xml"/><Relationship Id="rId1" Type="http://schemas.openxmlformats.org/officeDocument/2006/relationships/vmlDrawing" Target="../drawings/vmlDrawing28.v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23.bin"/></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30.vml"/><Relationship Id="rId6" Type="http://schemas.openxmlformats.org/officeDocument/2006/relationships/image" Target="../media/image3.emf"/><Relationship Id="rId5" Type="http://schemas.openxmlformats.org/officeDocument/2006/relationships/oleObject" Target="../embeddings/oleObject25.bin"/><Relationship Id="rId4"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31.vml"/><Relationship Id="rId6" Type="http://schemas.openxmlformats.org/officeDocument/2006/relationships/image" Target="../media/image3.emf"/><Relationship Id="rId5" Type="http://schemas.openxmlformats.org/officeDocument/2006/relationships/oleObject" Target="../embeddings/oleObject26.bin"/><Relationship Id="rId4"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32.vml"/><Relationship Id="rId6" Type="http://schemas.openxmlformats.org/officeDocument/2006/relationships/image" Target="../media/image3.emf"/><Relationship Id="rId5" Type="http://schemas.openxmlformats.org/officeDocument/2006/relationships/oleObject" Target="../embeddings/oleObject27.bin"/><Relationship Id="rId4"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33.vml"/><Relationship Id="rId6" Type="http://schemas.openxmlformats.org/officeDocument/2006/relationships/image" Target="../media/image3.emf"/><Relationship Id="rId5" Type="http://schemas.openxmlformats.org/officeDocument/2006/relationships/oleObject" Target="../embeddings/oleObject28.bin"/><Relationship Id="rId4"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5.xml"/><Relationship Id="rId1" Type="http://schemas.openxmlformats.org/officeDocument/2006/relationships/vmlDrawing" Target="../drawings/vmlDrawing34.vml"/><Relationship Id="rId5" Type="http://schemas.openxmlformats.org/officeDocument/2006/relationships/image" Target="../media/image3.emf"/><Relationship Id="rId4" Type="http://schemas.openxmlformats.org/officeDocument/2006/relationships/oleObject" Target="../embeddings/oleObject29.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6.xml"/><Relationship Id="rId1" Type="http://schemas.openxmlformats.org/officeDocument/2006/relationships/vmlDrawing" Target="../drawings/vmlDrawing35.v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30.bin"/></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7.vml"/><Relationship Id="rId6" Type="http://schemas.openxmlformats.org/officeDocument/2006/relationships/image" Target="../media/image3.emf"/><Relationship Id="rId5" Type="http://schemas.openxmlformats.org/officeDocument/2006/relationships/oleObject" Target="../embeddings/oleObject32.bin"/><Relationship Id="rId4"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8.vml"/><Relationship Id="rId6" Type="http://schemas.openxmlformats.org/officeDocument/2006/relationships/image" Target="../media/image3.emf"/><Relationship Id="rId5" Type="http://schemas.openxmlformats.org/officeDocument/2006/relationships/oleObject" Target="../embeddings/oleObject33.bin"/><Relationship Id="rId4"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vmlDrawing" Target="../drawings/vmlDrawing39.vml"/><Relationship Id="rId6" Type="http://schemas.openxmlformats.org/officeDocument/2006/relationships/image" Target="../media/image3.emf"/><Relationship Id="rId5" Type="http://schemas.openxmlformats.org/officeDocument/2006/relationships/oleObject" Target="../embeddings/oleObject34.bin"/><Relationship Id="rId4"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40.vml"/><Relationship Id="rId6" Type="http://schemas.openxmlformats.org/officeDocument/2006/relationships/image" Target="../media/image3.emf"/><Relationship Id="rId5" Type="http://schemas.openxmlformats.org/officeDocument/2006/relationships/oleObject" Target="../embeddings/oleObject35.bin"/><Relationship Id="rId4"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6.xml"/><Relationship Id="rId1" Type="http://schemas.openxmlformats.org/officeDocument/2006/relationships/vmlDrawing" Target="../drawings/vmlDrawing41.vml"/><Relationship Id="rId5" Type="http://schemas.openxmlformats.org/officeDocument/2006/relationships/image" Target="../media/image3.emf"/><Relationship Id="rId4" Type="http://schemas.openxmlformats.org/officeDocument/2006/relationships/oleObject" Target="../embeddings/oleObject36.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7.xml"/><Relationship Id="rId1" Type="http://schemas.openxmlformats.org/officeDocument/2006/relationships/vmlDrawing" Target="../drawings/vmlDrawing42.v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37.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ubtitle, Summary, Bod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5" imgW="421" imgH="420" progId="TCLayout.ActiveDocument.1">
                  <p:embed/>
                </p:oleObj>
              </mc:Choice>
              <mc:Fallback>
                <p:oleObj name="think-cell Slide" r:id="rId5" imgW="421" imgH="42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7" name="Title Placeholder 1">
            <a:extLst>
              <a:ext uri="{FF2B5EF4-FFF2-40B4-BE49-F238E27FC236}">
                <a16:creationId xmlns:a16="http://schemas.microsoft.com/office/drawing/2014/main" id="{A77F0F7B-5DC0-AE4D-805D-D4592C2895F3}"/>
              </a:ext>
            </a:extLst>
          </p:cNvPr>
          <p:cNvSpPr>
            <a:spLocks noGrp="1"/>
          </p:cNvSpPr>
          <p:nvPr>
            <p:ph type="title" hasCustomPrompt="1"/>
          </p:nvPr>
        </p:nvSpPr>
        <p:spPr>
          <a:xfrm>
            <a:off x="510638" y="297277"/>
            <a:ext cx="9400805" cy="434010"/>
          </a:xfrm>
          <a:prstGeom prst="rect">
            <a:avLst/>
          </a:prstGeom>
        </p:spPr>
        <p:txBody>
          <a:bodyPr vert="horz" lIns="0" tIns="0" rIns="0" bIns="0" rtlCol="0" anchor="t" anchorCtr="0">
            <a:noAutofit/>
          </a:bodyPr>
          <a:lstStyle>
            <a:lvl1pPr>
              <a:defRPr sz="2800">
                <a:latin typeface="+mn-lt"/>
              </a:defRPr>
            </a:lvl1pPr>
          </a:lstStyle>
          <a:p>
            <a:r>
              <a:rPr lang="en-US"/>
              <a:t>Click to add title</a:t>
            </a:r>
          </a:p>
        </p:txBody>
      </p:sp>
      <p:cxnSp>
        <p:nvCxnSpPr>
          <p:cNvPr id="8" name="Straight Connector 7">
            <a:extLst>
              <a:ext uri="{FF2B5EF4-FFF2-40B4-BE49-F238E27FC236}">
                <a16:creationId xmlns:a16="http://schemas.microsoft.com/office/drawing/2014/main" id="{5F118AFB-B1FF-9640-A790-2E771E094A56}"/>
              </a:ext>
            </a:extLst>
          </p:cNvPr>
          <p:cNvCxnSpPr>
            <a:cxnSpLocks/>
          </p:cNvCxnSpPr>
          <p:nvPr userDrawn="1"/>
        </p:nvCxnSpPr>
        <p:spPr>
          <a:xfrm>
            <a:off x="510638" y="783018"/>
            <a:ext cx="6361902"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userDrawn="1">
            <p:ph type="body" sz="quarter" idx="10" hasCustomPrompt="1"/>
          </p:nvPr>
        </p:nvSpPr>
        <p:spPr>
          <a:xfrm>
            <a:off x="510638" y="1308212"/>
            <a:ext cx="11262262" cy="516517"/>
          </a:xfrm>
          <a:prstGeom prst="rect">
            <a:avLst/>
          </a:prstGeom>
        </p:spPr>
        <p:txBody>
          <a:bodyPr lIns="0" tIns="0" rIns="0" bIns="0"/>
          <a:lstStyle>
            <a:lvl1pPr marL="0" indent="0">
              <a:lnSpc>
                <a:spcPct val="100000"/>
              </a:lnSpc>
              <a:spcBef>
                <a:spcPts val="300"/>
              </a:spcBef>
              <a:spcAft>
                <a:spcPts val="300"/>
              </a:spcAft>
              <a:buNone/>
              <a:tabLst/>
              <a:defRPr sz="1400">
                <a:solidFill>
                  <a:schemeClr val="accent2"/>
                </a:solidFill>
              </a:defRPr>
            </a:lvl1pPr>
            <a:lvl2pPr>
              <a:buNone/>
              <a:defRPr/>
            </a:lvl2pPr>
          </a:lstStyle>
          <a:p>
            <a:pPr lvl="0"/>
            <a:r>
              <a:rPr lang="en-US"/>
              <a:t>Click to add summary</a:t>
            </a:r>
          </a:p>
        </p:txBody>
      </p:sp>
      <p:sp>
        <p:nvSpPr>
          <p:cNvPr id="10" name="Text Placeholder 8">
            <a:extLst>
              <a:ext uri="{FF2B5EF4-FFF2-40B4-BE49-F238E27FC236}">
                <a16:creationId xmlns:a16="http://schemas.microsoft.com/office/drawing/2014/main" id="{215965C1-5B87-B342-92DF-960F7A97F380}"/>
              </a:ext>
            </a:extLst>
          </p:cNvPr>
          <p:cNvSpPr>
            <a:spLocks noGrp="1"/>
          </p:cNvSpPr>
          <p:nvPr>
            <p:ph type="body" sz="quarter" idx="11" hasCustomPrompt="1"/>
          </p:nvPr>
        </p:nvSpPr>
        <p:spPr>
          <a:xfrm>
            <a:off x="510638" y="1947306"/>
            <a:ext cx="11262262" cy="4500000"/>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tabLst/>
              <a:defRPr sz="1400"/>
            </a:lvl1pPr>
            <a:lvl2pPr marL="9525" indent="-9525">
              <a:buNone/>
              <a:tabLst/>
              <a:defRPr/>
            </a:lvl2pPr>
            <a:lvl3pPr marL="9525" indent="-9525">
              <a:buNone/>
              <a:tabLst/>
              <a:defRPr/>
            </a:lvl3pPr>
            <a:lvl4pPr marL="9525" indent="-9525">
              <a:buNone/>
              <a:tabLst/>
              <a:defRPr/>
            </a:lvl4pPr>
            <a:lvl5pPr marL="9525" indent="-9525">
              <a:buNone/>
              <a:tabLst/>
              <a:defRPr/>
            </a:lvl5pPr>
          </a:lstStyle>
          <a:p>
            <a:pPr lvl="0"/>
            <a:r>
              <a:rPr lang="en-US"/>
              <a:t>Click to add text</a:t>
            </a:r>
          </a:p>
        </p:txBody>
      </p:sp>
      <p:sp>
        <p:nvSpPr>
          <p:cNvPr id="12" name="Text Placeholder 8">
            <a:extLst>
              <a:ext uri="{FF2B5EF4-FFF2-40B4-BE49-F238E27FC236}">
                <a16:creationId xmlns:a16="http://schemas.microsoft.com/office/drawing/2014/main" id="{EDBD8DDE-2607-2640-81EF-425A65FC7156}"/>
              </a:ext>
            </a:extLst>
          </p:cNvPr>
          <p:cNvSpPr>
            <a:spLocks noGrp="1"/>
          </p:cNvSpPr>
          <p:nvPr>
            <p:ph type="body" sz="quarter" idx="12" hasCustomPrompt="1"/>
          </p:nvPr>
        </p:nvSpPr>
        <p:spPr>
          <a:xfrm>
            <a:off x="510638" y="851055"/>
            <a:ext cx="11262262" cy="334580"/>
          </a:xfrm>
          <a:prstGeom prst="rect">
            <a:avLst/>
          </a:prstGeom>
        </p:spPr>
        <p:txBody>
          <a:bodyPr lIns="0" tIns="0" rIns="0" bIns="0"/>
          <a:lstStyle>
            <a:lvl1pPr marL="0" indent="0">
              <a:lnSpc>
                <a:spcPct val="100000"/>
              </a:lnSpc>
              <a:spcBef>
                <a:spcPts val="300"/>
              </a:spcBef>
              <a:spcAft>
                <a:spcPts val="300"/>
              </a:spcAft>
              <a:buNone/>
              <a:tabLst/>
              <a:defRPr sz="1600">
                <a:solidFill>
                  <a:schemeClr val="accent1"/>
                </a:solidFill>
              </a:defRPr>
            </a:lvl1pPr>
            <a:lvl2pPr>
              <a:buNone/>
              <a:defRPr/>
            </a:lvl2pPr>
          </a:lstStyle>
          <a:p>
            <a:pPr lvl="0"/>
            <a:r>
              <a:rPr lang="en-US"/>
              <a:t>Click to add subtitle</a:t>
            </a:r>
          </a:p>
        </p:txBody>
      </p:sp>
      <p:sp>
        <p:nvSpPr>
          <p:cNvPr id="6" name="Footer Placeholder 5">
            <a:extLst>
              <a:ext uri="{FF2B5EF4-FFF2-40B4-BE49-F238E27FC236}">
                <a16:creationId xmlns:a16="http://schemas.microsoft.com/office/drawing/2014/main" id="{F4903614-D375-794E-BE18-2A6EF1376FDF}"/>
              </a:ext>
            </a:extLst>
          </p:cNvPr>
          <p:cNvSpPr>
            <a:spLocks noGrp="1"/>
          </p:cNvSpPr>
          <p:nvPr>
            <p:ph type="ftr" sz="quarter" idx="13"/>
          </p:nvPr>
        </p:nvSpPr>
        <p:spPr/>
        <p:txBody>
          <a:bodyPr/>
          <a:lstStyle/>
          <a:p>
            <a:r>
              <a:rPr lang="en-GB"/>
              <a:t>© Moorhouse 2020</a:t>
            </a:r>
          </a:p>
        </p:txBody>
      </p:sp>
    </p:spTree>
    <p:extLst>
      <p:ext uri="{BB962C8B-B14F-4D97-AF65-F5344CB8AC3E}">
        <p14:creationId xmlns:p14="http://schemas.microsoft.com/office/powerpoint/2010/main" val="3415844619"/>
      </p:ext>
    </p:extLst>
  </p:cSld>
  <p:clrMapOvr>
    <a:masterClrMapping/>
  </p:clrMapOvr>
  <p:extLst>
    <p:ext uri="{DCECCB84-F9BA-43D5-87BE-67443E8EF086}">
      <p15:sldGuideLst xmlns:p15="http://schemas.microsoft.com/office/powerpoint/2012/main">
        <p15:guide id="1" orient="horz" pos="672">
          <p15:clr>
            <a:srgbClr val="FBAE40"/>
          </p15:clr>
        </p15:guide>
        <p15:guide id="2" pos="7416">
          <p15:clr>
            <a:srgbClr val="FBAE40"/>
          </p15:clr>
        </p15:guide>
        <p15:guide id="3" orient="horz" pos="4068">
          <p15:clr>
            <a:srgbClr val="FBAE40"/>
          </p15:clr>
        </p15:guide>
        <p15:guide id="4" pos="31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Slide Purple">
    <p:bg>
      <p:bgPr>
        <a:solidFill>
          <a:srgbClr val="CCBCD1"/>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130001C2-E701-4A46-BD6E-65255889DC99}"/>
              </a:ext>
            </a:extLst>
          </p:cNvPr>
          <p:cNvCxnSpPr>
            <a:cxnSpLocks/>
          </p:cNvCxnSpPr>
          <p:nvPr userDrawn="1"/>
        </p:nvCxnSpPr>
        <p:spPr>
          <a:xfrm>
            <a:off x="1487488" y="1376772"/>
            <a:ext cx="0" cy="4104456"/>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7" name="Content Placeholder 6">
            <a:extLst>
              <a:ext uri="{FF2B5EF4-FFF2-40B4-BE49-F238E27FC236}">
                <a16:creationId xmlns:a16="http://schemas.microsoft.com/office/drawing/2014/main" id="{D646635C-E952-684F-9467-D9576C82F46B}"/>
              </a:ext>
            </a:extLst>
          </p:cNvPr>
          <p:cNvSpPr>
            <a:spLocks noGrp="1"/>
          </p:cNvSpPr>
          <p:nvPr>
            <p:ph sz="quarter" idx="10" hasCustomPrompt="1"/>
          </p:nvPr>
        </p:nvSpPr>
        <p:spPr>
          <a:xfrm>
            <a:off x="1881188" y="1983582"/>
            <a:ext cx="6480000" cy="2890837"/>
          </a:xfrm>
          <a:prstGeom prst="rect">
            <a:avLst/>
          </a:prstGeom>
        </p:spPr>
        <p:txBody>
          <a:bodyPr anchor="ctr"/>
          <a:lstStyle>
            <a:lvl1pPr marL="0" marR="0" indent="0" algn="l" defTabSz="914400" rtl="0" eaLnBrk="1" fontAlgn="auto" latinLnBrk="0" hangingPunct="1">
              <a:lnSpc>
                <a:spcPct val="100000"/>
              </a:lnSpc>
              <a:spcBef>
                <a:spcPts val="300"/>
              </a:spcBef>
              <a:spcAft>
                <a:spcPts val="300"/>
              </a:spcAft>
              <a:buClrTx/>
              <a:buSzTx/>
              <a:buFontTx/>
              <a:buNone/>
              <a:tabLst/>
              <a:defRPr sz="7200" b="1">
                <a:solidFill>
                  <a:schemeClr val="accent1"/>
                </a:solidFill>
              </a:defRPr>
            </a:lvl1pPr>
          </a:lstStyle>
          <a:p>
            <a:pPr lvl="0"/>
            <a:r>
              <a:rPr lang="en-GB"/>
              <a:t>Click to add title</a:t>
            </a:r>
          </a:p>
        </p:txBody>
      </p:sp>
      <p:pic>
        <p:nvPicPr>
          <p:cNvPr id="6" name="Picture 5">
            <a:extLst>
              <a:ext uri="{FF2B5EF4-FFF2-40B4-BE49-F238E27FC236}">
                <a16:creationId xmlns:a16="http://schemas.microsoft.com/office/drawing/2014/main" id="{569B6D7D-E3AE-2A44-A75D-B75F30B880A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 r="21959" b="-7662"/>
          <a:stretch/>
        </p:blipFill>
        <p:spPr>
          <a:xfrm>
            <a:off x="9347200" y="5518150"/>
            <a:ext cx="2249714" cy="752021"/>
          </a:xfrm>
          <a:prstGeom prst="rect">
            <a:avLst/>
          </a:prstGeom>
        </p:spPr>
      </p:pic>
      <p:pic>
        <p:nvPicPr>
          <p:cNvPr id="5" name="Picture 4" descr="A picture containing clock, drawing, light&#10;&#10;Description automatically generated">
            <a:extLst>
              <a:ext uri="{FF2B5EF4-FFF2-40B4-BE49-F238E27FC236}">
                <a16:creationId xmlns:a16="http://schemas.microsoft.com/office/drawing/2014/main" id="{216146BB-DB31-7A46-9E03-09EA61D2F7D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161205" y="321363"/>
            <a:ext cx="1650380" cy="411972"/>
          </a:xfrm>
          <a:prstGeom prst="rect">
            <a:avLst/>
          </a:prstGeom>
        </p:spPr>
      </p:pic>
    </p:spTree>
    <p:extLst>
      <p:ext uri="{BB962C8B-B14F-4D97-AF65-F5344CB8AC3E}">
        <p14:creationId xmlns:p14="http://schemas.microsoft.com/office/powerpoint/2010/main" val="35723138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vider Slide Dark">
    <p:bg>
      <p:bgPr>
        <a:solidFill>
          <a:schemeClr val="accent1"/>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2EF64F75-66C2-C444-AA86-454AAA5D4529}"/>
              </a:ext>
            </a:extLst>
          </p:cNvPr>
          <p:cNvCxnSpPr>
            <a:cxnSpLocks/>
          </p:cNvCxnSpPr>
          <p:nvPr userDrawn="1"/>
        </p:nvCxnSpPr>
        <p:spPr>
          <a:xfrm>
            <a:off x="1487488" y="1376772"/>
            <a:ext cx="0" cy="4104456"/>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Content Placeholder 6">
            <a:extLst>
              <a:ext uri="{FF2B5EF4-FFF2-40B4-BE49-F238E27FC236}">
                <a16:creationId xmlns:a16="http://schemas.microsoft.com/office/drawing/2014/main" id="{DA82A1E9-2BB2-664F-AE3E-EE4019615A52}"/>
              </a:ext>
            </a:extLst>
          </p:cNvPr>
          <p:cNvSpPr>
            <a:spLocks noGrp="1"/>
          </p:cNvSpPr>
          <p:nvPr>
            <p:ph sz="quarter" idx="10" hasCustomPrompt="1"/>
          </p:nvPr>
        </p:nvSpPr>
        <p:spPr>
          <a:xfrm>
            <a:off x="1881188" y="1983582"/>
            <a:ext cx="6480000" cy="2890837"/>
          </a:xfrm>
          <a:prstGeom prst="rect">
            <a:avLst/>
          </a:prstGeom>
        </p:spPr>
        <p:txBody>
          <a:bodyPr anchor="ctr"/>
          <a:lstStyle>
            <a:lvl1pPr marL="0" marR="0" indent="0" algn="l" defTabSz="914400" rtl="0" eaLnBrk="1" fontAlgn="auto" latinLnBrk="0" hangingPunct="1">
              <a:lnSpc>
                <a:spcPct val="100000"/>
              </a:lnSpc>
              <a:spcBef>
                <a:spcPts val="300"/>
              </a:spcBef>
              <a:spcAft>
                <a:spcPts val="300"/>
              </a:spcAft>
              <a:buClrTx/>
              <a:buSzTx/>
              <a:buFontTx/>
              <a:buNone/>
              <a:tabLst/>
              <a:defRPr sz="7200" b="1">
                <a:solidFill>
                  <a:schemeClr val="bg1"/>
                </a:solidFill>
              </a:defRPr>
            </a:lvl1pPr>
          </a:lstStyle>
          <a:p>
            <a:pPr lvl="0"/>
            <a:r>
              <a:rPr lang="en-GB"/>
              <a:t>Click to add title</a:t>
            </a:r>
          </a:p>
        </p:txBody>
      </p:sp>
      <p:pic>
        <p:nvPicPr>
          <p:cNvPr id="6" name="Picture 5">
            <a:extLst>
              <a:ext uri="{FF2B5EF4-FFF2-40B4-BE49-F238E27FC236}">
                <a16:creationId xmlns:a16="http://schemas.microsoft.com/office/drawing/2014/main" id="{6DA27D15-5FC7-0E4A-8804-3C58F02F86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61205" y="321363"/>
            <a:ext cx="1650380" cy="411972"/>
          </a:xfrm>
          <a:prstGeom prst="rect">
            <a:avLst/>
          </a:prstGeom>
        </p:spPr>
      </p:pic>
      <p:pic>
        <p:nvPicPr>
          <p:cNvPr id="5" name="Picture 4">
            <a:extLst>
              <a:ext uri="{FF2B5EF4-FFF2-40B4-BE49-F238E27FC236}">
                <a16:creationId xmlns:a16="http://schemas.microsoft.com/office/drawing/2014/main" id="{5420BEE6-C168-C441-A4F8-3F0C36FF076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47200" y="5544910"/>
            <a:ext cx="2146300" cy="698500"/>
          </a:xfrm>
          <a:prstGeom prst="rect">
            <a:avLst/>
          </a:prstGeom>
        </p:spPr>
      </p:pic>
    </p:spTree>
    <p:extLst>
      <p:ext uri="{BB962C8B-B14F-4D97-AF65-F5344CB8AC3E}">
        <p14:creationId xmlns:p14="http://schemas.microsoft.com/office/powerpoint/2010/main" val="30683772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lank Slide Whit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3" name="think-cell Slide" r:id="rId5" imgW="421" imgH="420" progId="TCLayout.ActiveDocument.1">
                  <p:embed/>
                </p:oleObj>
              </mc:Choice>
              <mc:Fallback>
                <p:oleObj name="think-cell Slide" r:id="rId5" imgW="421" imgH="420"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Black" panose="020B0A04020102020204" pitchFamily="34" charset="0"/>
              <a:ea typeface="+mn-ea"/>
              <a:cs typeface="+mn-cs"/>
              <a:sym typeface="Arial Black" panose="020B0A04020102020204" pitchFamily="34" charset="0"/>
            </a:endParaRPr>
          </a:p>
        </p:txBody>
      </p:sp>
      <p:sp>
        <p:nvSpPr>
          <p:cNvPr id="3" name="TextBox 2">
            <a:extLst>
              <a:ext uri="{FF2B5EF4-FFF2-40B4-BE49-F238E27FC236}">
                <a16:creationId xmlns:a16="http://schemas.microsoft.com/office/drawing/2014/main" id="{C8C51CB6-6C68-D54B-8637-B9C4DF209684}"/>
              </a:ext>
            </a:extLst>
          </p:cNvPr>
          <p:cNvSpPr txBox="1"/>
          <p:nvPr userDrawn="1"/>
        </p:nvSpPr>
        <p:spPr>
          <a:xfrm>
            <a:off x="1754372" y="520995"/>
            <a:ext cx="184731" cy="369332"/>
          </a:xfrm>
          <a:prstGeom prst="rect">
            <a:avLst/>
          </a:prstGeom>
          <a:noFill/>
        </p:spPr>
        <p:txBody>
          <a:bodyPr wrap="none" rtlCol="0">
            <a:spAutoFit/>
          </a:bodyPr>
          <a:lstStyle/>
          <a:p>
            <a:endParaRPr lang="en-GB"/>
          </a:p>
        </p:txBody>
      </p:sp>
    </p:spTree>
    <p:extLst>
      <p:ext uri="{BB962C8B-B14F-4D97-AF65-F5344CB8AC3E}">
        <p14:creationId xmlns:p14="http://schemas.microsoft.com/office/powerpoint/2010/main" val="241341820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lank Slide Purple">
    <p:bg>
      <p:bgPr>
        <a:solidFill>
          <a:srgbClr val="CCBCD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68184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lank Slide Dark">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1" name="think-cell Slide" r:id="rId4" imgW="421" imgH="420" progId="TCLayout.ActiveDocument.1">
                  <p:embed/>
                </p:oleObj>
              </mc:Choice>
              <mc:Fallback>
                <p:oleObj name="think-cell Slide" r:id="rId4" imgW="421" imgH="42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0616210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5" name="think-cell Slide" r:id="rId4" imgW="421" imgH="420" progId="TCLayout.ActiveDocument.1">
                  <p:embed/>
                </p:oleObj>
              </mc:Choice>
              <mc:Fallback>
                <p:oleObj name="think-cell Slide" r:id="rId4" imgW="421" imgH="42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AF8501C1-52FE-0147-9319-81DD10D64AB1}"/>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631666" y="2813846"/>
            <a:ext cx="4928668" cy="1230307"/>
          </a:xfrm>
          <a:prstGeom prst="rect">
            <a:avLst/>
          </a:prstGeom>
        </p:spPr>
      </p:pic>
    </p:spTree>
    <p:extLst>
      <p:ext uri="{BB962C8B-B14F-4D97-AF65-F5344CB8AC3E}">
        <p14:creationId xmlns:p14="http://schemas.microsoft.com/office/powerpoint/2010/main" val="12306772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ubtitle, Summary, Bod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3" name="think-cell Slide" r:id="rId5" imgW="421" imgH="420" progId="TCLayout.ActiveDocument.1">
                  <p:embed/>
                </p:oleObj>
              </mc:Choice>
              <mc:Fallback>
                <p:oleObj name="think-cell Slide" r:id="rId5" imgW="421" imgH="42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7" name="Title Placeholder 1">
            <a:extLst>
              <a:ext uri="{FF2B5EF4-FFF2-40B4-BE49-F238E27FC236}">
                <a16:creationId xmlns:a16="http://schemas.microsoft.com/office/drawing/2014/main" id="{A77F0F7B-5DC0-AE4D-805D-D4592C2895F3}"/>
              </a:ext>
            </a:extLst>
          </p:cNvPr>
          <p:cNvSpPr>
            <a:spLocks noGrp="1"/>
          </p:cNvSpPr>
          <p:nvPr>
            <p:ph type="title" hasCustomPrompt="1"/>
          </p:nvPr>
        </p:nvSpPr>
        <p:spPr>
          <a:xfrm>
            <a:off x="510638" y="297277"/>
            <a:ext cx="9400805" cy="434010"/>
          </a:xfrm>
          <a:prstGeom prst="rect">
            <a:avLst/>
          </a:prstGeom>
        </p:spPr>
        <p:txBody>
          <a:bodyPr vert="horz" lIns="0" tIns="0" rIns="0" bIns="0" rtlCol="0" anchor="t" anchorCtr="0">
            <a:noAutofit/>
          </a:bodyPr>
          <a:lstStyle>
            <a:lvl1pPr>
              <a:defRPr sz="2800">
                <a:latin typeface="+mn-lt"/>
              </a:defRPr>
            </a:lvl1pPr>
          </a:lstStyle>
          <a:p>
            <a:r>
              <a:rPr lang="en-US"/>
              <a:t>Click to add title</a:t>
            </a:r>
          </a:p>
        </p:txBody>
      </p:sp>
      <p:cxnSp>
        <p:nvCxnSpPr>
          <p:cNvPr id="8" name="Straight Connector 7">
            <a:extLst>
              <a:ext uri="{FF2B5EF4-FFF2-40B4-BE49-F238E27FC236}">
                <a16:creationId xmlns:a16="http://schemas.microsoft.com/office/drawing/2014/main" id="{5F118AFB-B1FF-9640-A790-2E771E094A56}"/>
              </a:ext>
            </a:extLst>
          </p:cNvPr>
          <p:cNvCxnSpPr>
            <a:cxnSpLocks/>
          </p:cNvCxnSpPr>
          <p:nvPr userDrawn="1"/>
        </p:nvCxnSpPr>
        <p:spPr>
          <a:xfrm>
            <a:off x="510638" y="783018"/>
            <a:ext cx="6361902"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userDrawn="1">
            <p:ph type="body" sz="quarter" idx="10" hasCustomPrompt="1"/>
          </p:nvPr>
        </p:nvSpPr>
        <p:spPr>
          <a:xfrm>
            <a:off x="510638" y="1308212"/>
            <a:ext cx="11262262" cy="516517"/>
          </a:xfrm>
          <a:prstGeom prst="rect">
            <a:avLst/>
          </a:prstGeom>
        </p:spPr>
        <p:txBody>
          <a:bodyPr lIns="0" tIns="0" rIns="0" bIns="0"/>
          <a:lstStyle>
            <a:lvl1pPr marL="0" indent="0">
              <a:lnSpc>
                <a:spcPct val="100000"/>
              </a:lnSpc>
              <a:spcBef>
                <a:spcPts val="300"/>
              </a:spcBef>
              <a:spcAft>
                <a:spcPts val="300"/>
              </a:spcAft>
              <a:buNone/>
              <a:tabLst/>
              <a:defRPr sz="1400">
                <a:solidFill>
                  <a:schemeClr val="accent2"/>
                </a:solidFill>
              </a:defRPr>
            </a:lvl1pPr>
            <a:lvl2pPr>
              <a:buNone/>
              <a:defRPr/>
            </a:lvl2pPr>
          </a:lstStyle>
          <a:p>
            <a:pPr lvl="0"/>
            <a:r>
              <a:rPr lang="en-US"/>
              <a:t>Click to add summary</a:t>
            </a:r>
          </a:p>
        </p:txBody>
      </p:sp>
      <p:sp>
        <p:nvSpPr>
          <p:cNvPr id="10" name="Text Placeholder 8">
            <a:extLst>
              <a:ext uri="{FF2B5EF4-FFF2-40B4-BE49-F238E27FC236}">
                <a16:creationId xmlns:a16="http://schemas.microsoft.com/office/drawing/2014/main" id="{215965C1-5B87-B342-92DF-960F7A97F380}"/>
              </a:ext>
            </a:extLst>
          </p:cNvPr>
          <p:cNvSpPr>
            <a:spLocks noGrp="1"/>
          </p:cNvSpPr>
          <p:nvPr>
            <p:ph type="body" sz="quarter" idx="11" hasCustomPrompt="1"/>
          </p:nvPr>
        </p:nvSpPr>
        <p:spPr>
          <a:xfrm>
            <a:off x="510638" y="1947306"/>
            <a:ext cx="11262262" cy="4500000"/>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tabLst/>
              <a:defRPr sz="1400"/>
            </a:lvl1pPr>
            <a:lvl2pPr marL="9525" indent="-9525">
              <a:buNone/>
              <a:tabLst/>
              <a:defRPr/>
            </a:lvl2pPr>
            <a:lvl3pPr marL="9525" indent="-9525">
              <a:buNone/>
              <a:tabLst/>
              <a:defRPr/>
            </a:lvl3pPr>
            <a:lvl4pPr marL="9525" indent="-9525">
              <a:buNone/>
              <a:tabLst/>
              <a:defRPr/>
            </a:lvl4pPr>
            <a:lvl5pPr marL="9525" indent="-9525">
              <a:buNone/>
              <a:tabLst/>
              <a:defRPr/>
            </a:lvl5pPr>
          </a:lstStyle>
          <a:p>
            <a:pPr lvl="0"/>
            <a:r>
              <a:rPr lang="en-US"/>
              <a:t>Click to add text</a:t>
            </a:r>
          </a:p>
        </p:txBody>
      </p:sp>
      <p:sp>
        <p:nvSpPr>
          <p:cNvPr id="12" name="Text Placeholder 8">
            <a:extLst>
              <a:ext uri="{FF2B5EF4-FFF2-40B4-BE49-F238E27FC236}">
                <a16:creationId xmlns:a16="http://schemas.microsoft.com/office/drawing/2014/main" id="{EDBD8DDE-2607-2640-81EF-425A65FC7156}"/>
              </a:ext>
            </a:extLst>
          </p:cNvPr>
          <p:cNvSpPr>
            <a:spLocks noGrp="1"/>
          </p:cNvSpPr>
          <p:nvPr>
            <p:ph type="body" sz="quarter" idx="12" hasCustomPrompt="1"/>
          </p:nvPr>
        </p:nvSpPr>
        <p:spPr>
          <a:xfrm>
            <a:off x="510638" y="851055"/>
            <a:ext cx="11262262" cy="334580"/>
          </a:xfrm>
          <a:prstGeom prst="rect">
            <a:avLst/>
          </a:prstGeom>
        </p:spPr>
        <p:txBody>
          <a:bodyPr lIns="0" tIns="0" rIns="0" bIns="0"/>
          <a:lstStyle>
            <a:lvl1pPr marL="0" indent="0">
              <a:lnSpc>
                <a:spcPct val="100000"/>
              </a:lnSpc>
              <a:spcBef>
                <a:spcPts val="300"/>
              </a:spcBef>
              <a:spcAft>
                <a:spcPts val="300"/>
              </a:spcAft>
              <a:buNone/>
              <a:tabLst/>
              <a:defRPr sz="1600">
                <a:solidFill>
                  <a:schemeClr val="accent1"/>
                </a:solidFill>
              </a:defRPr>
            </a:lvl1pPr>
            <a:lvl2pPr>
              <a:buNone/>
              <a:defRPr/>
            </a:lvl2pPr>
          </a:lstStyle>
          <a:p>
            <a:pPr lvl="0"/>
            <a:r>
              <a:rPr lang="en-US"/>
              <a:t>Click to add subtitle</a:t>
            </a:r>
          </a:p>
        </p:txBody>
      </p:sp>
      <p:sp>
        <p:nvSpPr>
          <p:cNvPr id="6" name="Footer Placeholder 5">
            <a:extLst>
              <a:ext uri="{FF2B5EF4-FFF2-40B4-BE49-F238E27FC236}">
                <a16:creationId xmlns:a16="http://schemas.microsoft.com/office/drawing/2014/main" id="{F4903614-D375-794E-BE18-2A6EF1376FDF}"/>
              </a:ext>
            </a:extLst>
          </p:cNvPr>
          <p:cNvSpPr>
            <a:spLocks noGrp="1"/>
          </p:cNvSpPr>
          <p:nvPr>
            <p:ph type="ftr" sz="quarter" idx="13"/>
          </p:nvPr>
        </p:nvSpPr>
        <p:spPr/>
        <p:txBody>
          <a:bodyPr/>
          <a:lstStyle/>
          <a:p>
            <a:r>
              <a:rPr lang="en-GB"/>
              <a:t>© Moorhouse 2020 [Restricted]</a:t>
            </a:r>
          </a:p>
        </p:txBody>
      </p:sp>
    </p:spTree>
    <p:extLst>
      <p:ext uri="{BB962C8B-B14F-4D97-AF65-F5344CB8AC3E}">
        <p14:creationId xmlns:p14="http://schemas.microsoft.com/office/powerpoint/2010/main" val="594666032"/>
      </p:ext>
    </p:extLst>
  </p:cSld>
  <p:clrMapOvr>
    <a:masterClrMapping/>
  </p:clrMapOvr>
  <p:extLst>
    <p:ext uri="{DCECCB84-F9BA-43D5-87BE-67443E8EF086}">
      <p15:sldGuideLst xmlns:p15="http://schemas.microsoft.com/office/powerpoint/2012/main">
        <p15:guide id="1" orient="horz" pos="672">
          <p15:clr>
            <a:srgbClr val="FBAE40"/>
          </p15:clr>
        </p15:guide>
        <p15:guide id="2" pos="7416">
          <p15:clr>
            <a:srgbClr val="FBAE40"/>
          </p15:clr>
        </p15:guide>
        <p15:guide id="3" orient="horz" pos="4068">
          <p15:clr>
            <a:srgbClr val="FBAE40"/>
          </p15:clr>
        </p15:guide>
        <p15:guide id="4" pos="31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1 Text Box">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7" name="think-cell Slide" r:id="rId5" imgW="421" imgH="420" progId="TCLayout.ActiveDocument.1">
                  <p:embed/>
                </p:oleObj>
              </mc:Choice>
              <mc:Fallback>
                <p:oleObj name="think-cell Slide" r:id="rId5" imgW="421" imgH="42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cxnSp>
        <p:nvCxnSpPr>
          <p:cNvPr id="8" name="Straight Connector 7">
            <a:extLst>
              <a:ext uri="{FF2B5EF4-FFF2-40B4-BE49-F238E27FC236}">
                <a16:creationId xmlns:a16="http://schemas.microsoft.com/office/drawing/2014/main" id="{5F118AFB-B1FF-9640-A790-2E771E094A56}"/>
              </a:ext>
            </a:extLst>
          </p:cNvPr>
          <p:cNvCxnSpPr>
            <a:cxnSpLocks/>
          </p:cNvCxnSpPr>
          <p:nvPr userDrawn="1"/>
        </p:nvCxnSpPr>
        <p:spPr>
          <a:xfrm>
            <a:off x="510638" y="783018"/>
            <a:ext cx="6361902"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userDrawn="1">
            <p:ph type="body" sz="quarter" idx="10" hasCustomPrompt="1"/>
          </p:nvPr>
        </p:nvSpPr>
        <p:spPr>
          <a:xfrm>
            <a:off x="510638" y="1305404"/>
            <a:ext cx="11262262" cy="5152546"/>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tabLst/>
              <a:defRPr sz="1400"/>
            </a:lvl1pPr>
            <a:lvl2pPr>
              <a:buNone/>
              <a:defRPr/>
            </a:lvl2pPr>
            <a:lvl3pPr>
              <a:buNone/>
              <a:defRPr/>
            </a:lvl3pPr>
            <a:lvl4pPr>
              <a:buNone/>
              <a:defRPr/>
            </a:lvl4pPr>
            <a:lvl5pPr>
              <a:buNone/>
              <a:defRPr/>
            </a:lvl5pPr>
          </a:lstStyle>
          <a:p>
            <a:pPr lvl="0"/>
            <a:r>
              <a:rPr lang="en-US"/>
              <a:t>Click to add text</a:t>
            </a:r>
          </a:p>
        </p:txBody>
      </p:sp>
      <p:sp>
        <p:nvSpPr>
          <p:cNvPr id="10" name="Title Placeholder 1">
            <a:extLst>
              <a:ext uri="{FF2B5EF4-FFF2-40B4-BE49-F238E27FC236}">
                <a16:creationId xmlns:a16="http://schemas.microsoft.com/office/drawing/2014/main" id="{C41CD681-483C-B441-842C-EDADAD5D7B1E}"/>
              </a:ext>
            </a:extLst>
          </p:cNvPr>
          <p:cNvSpPr>
            <a:spLocks noGrp="1"/>
          </p:cNvSpPr>
          <p:nvPr>
            <p:ph type="title" hasCustomPrompt="1"/>
          </p:nvPr>
        </p:nvSpPr>
        <p:spPr>
          <a:xfrm>
            <a:off x="510638" y="297277"/>
            <a:ext cx="9400805" cy="434010"/>
          </a:xfrm>
          <a:prstGeom prst="rect">
            <a:avLst/>
          </a:prstGeom>
        </p:spPr>
        <p:txBody>
          <a:bodyPr vert="horz" lIns="0" tIns="0" rIns="0" bIns="0" rtlCol="0" anchor="t" anchorCtr="0">
            <a:noAutofit/>
          </a:bodyPr>
          <a:lstStyle>
            <a:lvl1pPr>
              <a:defRPr sz="2800">
                <a:latin typeface="+mn-lt"/>
              </a:defRPr>
            </a:lvl1pPr>
          </a:lstStyle>
          <a:p>
            <a:r>
              <a:rPr lang="en-US"/>
              <a:t>Click to add title</a:t>
            </a:r>
          </a:p>
        </p:txBody>
      </p:sp>
      <p:sp>
        <p:nvSpPr>
          <p:cNvPr id="12" name="Text Placeholder 8">
            <a:extLst>
              <a:ext uri="{FF2B5EF4-FFF2-40B4-BE49-F238E27FC236}">
                <a16:creationId xmlns:a16="http://schemas.microsoft.com/office/drawing/2014/main" id="{87471414-239E-9843-9940-2EF118FE70A3}"/>
              </a:ext>
            </a:extLst>
          </p:cNvPr>
          <p:cNvSpPr>
            <a:spLocks noGrp="1"/>
          </p:cNvSpPr>
          <p:nvPr>
            <p:ph type="body" sz="quarter" idx="12" hasCustomPrompt="1"/>
          </p:nvPr>
        </p:nvSpPr>
        <p:spPr>
          <a:xfrm>
            <a:off x="510638" y="851055"/>
            <a:ext cx="11262262" cy="334580"/>
          </a:xfrm>
          <a:prstGeom prst="rect">
            <a:avLst/>
          </a:prstGeom>
        </p:spPr>
        <p:txBody>
          <a:bodyPr lIns="0" tIns="0" rIns="0" bIns="0"/>
          <a:lstStyle>
            <a:lvl1pPr marL="0" indent="0">
              <a:lnSpc>
                <a:spcPct val="100000"/>
              </a:lnSpc>
              <a:spcBef>
                <a:spcPts val="300"/>
              </a:spcBef>
              <a:spcAft>
                <a:spcPts val="300"/>
              </a:spcAft>
              <a:buNone/>
              <a:tabLst/>
              <a:defRPr sz="1600">
                <a:solidFill>
                  <a:schemeClr val="accent1"/>
                </a:solidFill>
              </a:defRPr>
            </a:lvl1pPr>
            <a:lvl2pPr>
              <a:buNone/>
              <a:defRPr/>
            </a:lvl2pPr>
          </a:lstStyle>
          <a:p>
            <a:pPr lvl="0"/>
            <a:r>
              <a:rPr lang="en-US"/>
              <a:t>Click to add subtitle</a:t>
            </a:r>
          </a:p>
        </p:txBody>
      </p:sp>
      <p:sp>
        <p:nvSpPr>
          <p:cNvPr id="5" name="Footer Placeholder 4">
            <a:extLst>
              <a:ext uri="{FF2B5EF4-FFF2-40B4-BE49-F238E27FC236}">
                <a16:creationId xmlns:a16="http://schemas.microsoft.com/office/drawing/2014/main" id="{2D417BC6-2897-D344-949E-7414244A27D6}"/>
              </a:ext>
            </a:extLst>
          </p:cNvPr>
          <p:cNvSpPr>
            <a:spLocks noGrp="1"/>
          </p:cNvSpPr>
          <p:nvPr>
            <p:ph type="ftr" sz="quarter" idx="13"/>
          </p:nvPr>
        </p:nvSpPr>
        <p:spPr/>
        <p:txBody>
          <a:bodyPr/>
          <a:lstStyle/>
          <a:p>
            <a:r>
              <a:rPr lang="en-GB"/>
              <a:t>© Moorhouse 2020 [Restricted]</a:t>
            </a:r>
          </a:p>
        </p:txBody>
      </p:sp>
    </p:spTree>
    <p:extLst>
      <p:ext uri="{BB962C8B-B14F-4D97-AF65-F5344CB8AC3E}">
        <p14:creationId xmlns:p14="http://schemas.microsoft.com/office/powerpoint/2010/main" val="993547494"/>
      </p:ext>
    </p:extLst>
  </p:cSld>
  <p:clrMapOvr>
    <a:masterClrMapping/>
  </p:clrMapOvr>
  <p:extLst>
    <p:ext uri="{DCECCB84-F9BA-43D5-87BE-67443E8EF086}">
      <p15:sldGuideLst xmlns:p15="http://schemas.microsoft.com/office/powerpoint/2012/main">
        <p15:guide id="1" orient="horz" pos="672">
          <p15:clr>
            <a:srgbClr val="FBAE40"/>
          </p15:clr>
        </p15:guide>
        <p15:guide id="2" pos="7416">
          <p15:clr>
            <a:srgbClr val="FBAE40"/>
          </p15:clr>
        </p15:guide>
        <p15:guide id="3" orient="horz" pos="4068">
          <p15:clr>
            <a:srgbClr val="FBAE40"/>
          </p15:clr>
        </p15:guide>
        <p15:guide id="4" pos="31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2 Text Boxes">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49B7C81-6DE7-134A-AF49-C5B48C4FBB5B}"/>
              </a:ext>
            </a:extLst>
          </p:cNvPr>
          <p:cNvSpPr>
            <a:spLocks noGrp="1"/>
          </p:cNvSpPr>
          <p:nvPr>
            <p:ph type="title" hasCustomPrompt="1"/>
          </p:nvPr>
        </p:nvSpPr>
        <p:spPr>
          <a:xfrm>
            <a:off x="510638" y="297277"/>
            <a:ext cx="9400805" cy="434010"/>
          </a:xfrm>
          <a:prstGeom prst="rect">
            <a:avLst/>
          </a:prstGeom>
        </p:spPr>
        <p:txBody>
          <a:bodyPr vert="horz" lIns="0" tIns="0" rIns="0" bIns="0" rtlCol="0" anchor="t" anchorCtr="0">
            <a:noAutofit/>
          </a:bodyPr>
          <a:lstStyle>
            <a:lvl1pPr>
              <a:defRPr sz="2800">
                <a:latin typeface="+mn-lt"/>
              </a:defRPr>
            </a:lvl1pPr>
          </a:lstStyle>
          <a:p>
            <a:r>
              <a:rPr lang="en-US"/>
              <a:t>Click to add title</a:t>
            </a:r>
          </a:p>
        </p:txBody>
      </p:sp>
      <p:cxnSp>
        <p:nvCxnSpPr>
          <p:cNvPr id="4" name="Straight Connector 3">
            <a:extLst>
              <a:ext uri="{FF2B5EF4-FFF2-40B4-BE49-F238E27FC236}">
                <a16:creationId xmlns:a16="http://schemas.microsoft.com/office/drawing/2014/main" id="{A07048F0-CD4E-8D48-B45B-B52352A2A2C3}"/>
              </a:ext>
            </a:extLst>
          </p:cNvPr>
          <p:cNvCxnSpPr>
            <a:cxnSpLocks/>
          </p:cNvCxnSpPr>
          <p:nvPr userDrawn="1"/>
        </p:nvCxnSpPr>
        <p:spPr>
          <a:xfrm>
            <a:off x="510638" y="783018"/>
            <a:ext cx="6361902"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Text Placeholder 8">
            <a:extLst>
              <a:ext uri="{FF2B5EF4-FFF2-40B4-BE49-F238E27FC236}">
                <a16:creationId xmlns:a16="http://schemas.microsoft.com/office/drawing/2014/main" id="{AC2416D7-C968-B242-B9DC-D0DEB8EC22FF}"/>
              </a:ext>
            </a:extLst>
          </p:cNvPr>
          <p:cNvSpPr>
            <a:spLocks noGrp="1"/>
          </p:cNvSpPr>
          <p:nvPr>
            <p:ph type="body" sz="quarter" idx="10" hasCustomPrompt="1"/>
          </p:nvPr>
        </p:nvSpPr>
        <p:spPr>
          <a:xfrm>
            <a:off x="510638" y="1305404"/>
            <a:ext cx="5448184" cy="5148574"/>
          </a:xfrm>
          <a:prstGeom prst="rect">
            <a:avLst/>
          </a:prstGeom>
        </p:spPr>
        <p:txBody>
          <a:bodyPr lIns="0" tIns="0" rIns="0" bIns="0"/>
          <a:lstStyle>
            <a:lvl1pPr marL="0" indent="0">
              <a:lnSpc>
                <a:spcPct val="100000"/>
              </a:lnSpc>
              <a:spcBef>
                <a:spcPts val="300"/>
              </a:spcBef>
              <a:spcAft>
                <a:spcPts val="300"/>
              </a:spcAft>
              <a:buNone/>
              <a:tabLst/>
              <a:defRPr sz="1400"/>
            </a:lvl1pPr>
            <a:lvl2pPr>
              <a:buNone/>
              <a:defRPr/>
            </a:lvl2pPr>
            <a:lvl3pPr>
              <a:buNone/>
              <a:defRPr/>
            </a:lvl3pPr>
            <a:lvl4pPr>
              <a:buNone/>
              <a:defRPr/>
            </a:lvl4pPr>
            <a:lvl5pPr>
              <a:buNone/>
              <a:defRPr/>
            </a:lvl5pPr>
          </a:lstStyle>
          <a:p>
            <a:pPr lvl="0"/>
            <a:r>
              <a:rPr lang="en-US"/>
              <a:t>Click to add text</a:t>
            </a:r>
          </a:p>
        </p:txBody>
      </p:sp>
      <p:sp>
        <p:nvSpPr>
          <p:cNvPr id="8" name="Text Placeholder 8">
            <a:extLst>
              <a:ext uri="{FF2B5EF4-FFF2-40B4-BE49-F238E27FC236}">
                <a16:creationId xmlns:a16="http://schemas.microsoft.com/office/drawing/2014/main" id="{6AA78D8E-15BB-9643-AA8C-1A70CBEE8D37}"/>
              </a:ext>
            </a:extLst>
          </p:cNvPr>
          <p:cNvSpPr>
            <a:spLocks noGrp="1"/>
          </p:cNvSpPr>
          <p:nvPr>
            <p:ph type="body" sz="quarter" idx="11" hasCustomPrompt="1"/>
          </p:nvPr>
        </p:nvSpPr>
        <p:spPr>
          <a:xfrm>
            <a:off x="6233179" y="1305404"/>
            <a:ext cx="5585361" cy="5148573"/>
          </a:xfrm>
          <a:prstGeom prst="rect">
            <a:avLst/>
          </a:prstGeom>
        </p:spPr>
        <p:txBody>
          <a:bodyPr lIns="0" tIns="0" rIns="0" bIns="0"/>
          <a:lstStyle>
            <a:lvl1pPr marL="0" indent="0">
              <a:lnSpc>
                <a:spcPct val="100000"/>
              </a:lnSpc>
              <a:spcBef>
                <a:spcPts val="300"/>
              </a:spcBef>
              <a:spcAft>
                <a:spcPts val="300"/>
              </a:spcAft>
              <a:buNone/>
              <a:tabLst/>
              <a:defRPr sz="1400"/>
            </a:lvl1pPr>
            <a:lvl2pPr marL="9525" indent="-9525">
              <a:buNone/>
              <a:tabLst/>
              <a:defRPr/>
            </a:lvl2pPr>
            <a:lvl3pPr marL="9525" indent="-9525">
              <a:buNone/>
              <a:tabLst/>
              <a:defRPr/>
            </a:lvl3pPr>
            <a:lvl4pPr marL="9525" indent="-9525">
              <a:buNone/>
              <a:tabLst/>
              <a:defRPr/>
            </a:lvl4pPr>
            <a:lvl5pPr marL="9525" indent="-9525">
              <a:buNone/>
              <a:tabLst/>
              <a:defRPr/>
            </a:lvl5pPr>
          </a:lstStyle>
          <a:p>
            <a:pPr lvl="0"/>
            <a:r>
              <a:rPr lang="en-US"/>
              <a:t>Click to add text</a:t>
            </a:r>
          </a:p>
        </p:txBody>
      </p:sp>
      <p:sp>
        <p:nvSpPr>
          <p:cNvPr id="9" name="Text Placeholder 8">
            <a:extLst>
              <a:ext uri="{FF2B5EF4-FFF2-40B4-BE49-F238E27FC236}">
                <a16:creationId xmlns:a16="http://schemas.microsoft.com/office/drawing/2014/main" id="{6815CEFE-7DDC-3F44-91FF-801D5D3F3A7B}"/>
              </a:ext>
            </a:extLst>
          </p:cNvPr>
          <p:cNvSpPr>
            <a:spLocks noGrp="1"/>
          </p:cNvSpPr>
          <p:nvPr>
            <p:ph type="body" sz="quarter" idx="12" hasCustomPrompt="1"/>
          </p:nvPr>
        </p:nvSpPr>
        <p:spPr>
          <a:xfrm>
            <a:off x="510638" y="851055"/>
            <a:ext cx="11262262" cy="334580"/>
          </a:xfrm>
          <a:prstGeom prst="rect">
            <a:avLst/>
          </a:prstGeom>
        </p:spPr>
        <p:txBody>
          <a:bodyPr lIns="0" tIns="0" rIns="0" bIns="0"/>
          <a:lstStyle>
            <a:lvl1pPr marL="0" indent="0">
              <a:lnSpc>
                <a:spcPct val="100000"/>
              </a:lnSpc>
              <a:spcBef>
                <a:spcPts val="300"/>
              </a:spcBef>
              <a:spcAft>
                <a:spcPts val="300"/>
              </a:spcAft>
              <a:buNone/>
              <a:tabLst/>
              <a:defRPr sz="1600">
                <a:solidFill>
                  <a:schemeClr val="accent1"/>
                </a:solidFill>
              </a:defRPr>
            </a:lvl1pPr>
            <a:lvl2pPr>
              <a:buNone/>
              <a:defRPr/>
            </a:lvl2pPr>
          </a:lstStyle>
          <a:p>
            <a:pPr lvl="0"/>
            <a:r>
              <a:rPr lang="en-US"/>
              <a:t>Click to add subtitle</a:t>
            </a:r>
          </a:p>
        </p:txBody>
      </p:sp>
      <p:sp>
        <p:nvSpPr>
          <p:cNvPr id="10" name="Footer Placeholder 9">
            <a:extLst>
              <a:ext uri="{FF2B5EF4-FFF2-40B4-BE49-F238E27FC236}">
                <a16:creationId xmlns:a16="http://schemas.microsoft.com/office/drawing/2014/main" id="{A4A51601-6448-744E-A498-648EE5916964}"/>
              </a:ext>
            </a:extLst>
          </p:cNvPr>
          <p:cNvSpPr>
            <a:spLocks noGrp="1"/>
          </p:cNvSpPr>
          <p:nvPr>
            <p:ph type="ftr" sz="quarter" idx="13"/>
          </p:nvPr>
        </p:nvSpPr>
        <p:spPr/>
        <p:txBody>
          <a:bodyPr/>
          <a:lstStyle/>
          <a:p>
            <a:r>
              <a:rPr lang="en-GB"/>
              <a:t>© Moorhouse 2020 [Restricted]</a:t>
            </a:r>
          </a:p>
        </p:txBody>
      </p:sp>
    </p:spTree>
    <p:extLst>
      <p:ext uri="{BB962C8B-B14F-4D97-AF65-F5344CB8AC3E}">
        <p14:creationId xmlns:p14="http://schemas.microsoft.com/office/powerpoint/2010/main" val="16655561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3 Text Boxes">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49B7C81-6DE7-134A-AF49-C5B48C4FBB5B}"/>
              </a:ext>
            </a:extLst>
          </p:cNvPr>
          <p:cNvSpPr>
            <a:spLocks noGrp="1"/>
          </p:cNvSpPr>
          <p:nvPr>
            <p:ph type="title" hasCustomPrompt="1"/>
          </p:nvPr>
        </p:nvSpPr>
        <p:spPr>
          <a:xfrm>
            <a:off x="510638" y="297277"/>
            <a:ext cx="9400805" cy="434010"/>
          </a:xfrm>
          <a:prstGeom prst="rect">
            <a:avLst/>
          </a:prstGeom>
        </p:spPr>
        <p:txBody>
          <a:bodyPr vert="horz" lIns="0" tIns="0" rIns="0" bIns="0" rtlCol="0" anchor="t" anchorCtr="0">
            <a:noAutofit/>
          </a:bodyPr>
          <a:lstStyle>
            <a:lvl1pPr>
              <a:defRPr sz="2800">
                <a:latin typeface="+mn-lt"/>
              </a:defRPr>
            </a:lvl1pPr>
          </a:lstStyle>
          <a:p>
            <a:r>
              <a:rPr lang="en-US"/>
              <a:t>Click to add title</a:t>
            </a:r>
          </a:p>
        </p:txBody>
      </p:sp>
      <p:cxnSp>
        <p:nvCxnSpPr>
          <p:cNvPr id="4" name="Straight Connector 3">
            <a:extLst>
              <a:ext uri="{FF2B5EF4-FFF2-40B4-BE49-F238E27FC236}">
                <a16:creationId xmlns:a16="http://schemas.microsoft.com/office/drawing/2014/main" id="{A07048F0-CD4E-8D48-B45B-B52352A2A2C3}"/>
              </a:ext>
            </a:extLst>
          </p:cNvPr>
          <p:cNvCxnSpPr>
            <a:cxnSpLocks/>
          </p:cNvCxnSpPr>
          <p:nvPr userDrawn="1"/>
        </p:nvCxnSpPr>
        <p:spPr>
          <a:xfrm>
            <a:off x="510638" y="783018"/>
            <a:ext cx="6361902"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Text Placeholder 8">
            <a:extLst>
              <a:ext uri="{FF2B5EF4-FFF2-40B4-BE49-F238E27FC236}">
                <a16:creationId xmlns:a16="http://schemas.microsoft.com/office/drawing/2014/main" id="{AC2416D7-C968-B242-B9DC-D0DEB8EC22FF}"/>
              </a:ext>
            </a:extLst>
          </p:cNvPr>
          <p:cNvSpPr>
            <a:spLocks noGrp="1"/>
          </p:cNvSpPr>
          <p:nvPr>
            <p:ph type="body" sz="quarter" idx="10" hasCustomPrompt="1"/>
          </p:nvPr>
        </p:nvSpPr>
        <p:spPr>
          <a:xfrm>
            <a:off x="510638" y="1305402"/>
            <a:ext cx="3420000" cy="5179623"/>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tabLst/>
              <a:defRPr sz="1400"/>
            </a:lvl1pPr>
          </a:lstStyle>
          <a:p>
            <a:pPr lvl="0"/>
            <a:r>
              <a:rPr lang="en-US"/>
              <a:t>Click to add text</a:t>
            </a:r>
          </a:p>
        </p:txBody>
      </p:sp>
      <p:sp>
        <p:nvSpPr>
          <p:cNvPr id="8" name="Text Placeholder 8">
            <a:extLst>
              <a:ext uri="{FF2B5EF4-FFF2-40B4-BE49-F238E27FC236}">
                <a16:creationId xmlns:a16="http://schemas.microsoft.com/office/drawing/2014/main" id="{6AA78D8E-15BB-9643-AA8C-1A70CBEE8D37}"/>
              </a:ext>
            </a:extLst>
          </p:cNvPr>
          <p:cNvSpPr>
            <a:spLocks noGrp="1"/>
          </p:cNvSpPr>
          <p:nvPr>
            <p:ph type="body" sz="quarter" idx="11" hasCustomPrompt="1"/>
          </p:nvPr>
        </p:nvSpPr>
        <p:spPr>
          <a:xfrm>
            <a:off x="4386000" y="1305402"/>
            <a:ext cx="3420000" cy="5179623"/>
          </a:xfrm>
          <a:prstGeom prst="rect">
            <a:avLst/>
          </a:prstGeom>
        </p:spPr>
        <p:txBody>
          <a:bodyPr lIns="0" tIns="0" rIns="0" bIns="0"/>
          <a:lstStyle>
            <a:lvl1pPr marL="0" indent="0">
              <a:lnSpc>
                <a:spcPct val="100000"/>
              </a:lnSpc>
              <a:spcBef>
                <a:spcPts val="300"/>
              </a:spcBef>
              <a:spcAft>
                <a:spcPts val="300"/>
              </a:spcAft>
              <a:buNone/>
              <a:tabLst/>
              <a:defRPr sz="1400"/>
            </a:lvl1pPr>
          </a:lstStyle>
          <a:p>
            <a:pPr lvl="0"/>
            <a:r>
              <a:rPr lang="en-US"/>
              <a:t>Click to add text</a:t>
            </a:r>
          </a:p>
        </p:txBody>
      </p:sp>
      <p:sp>
        <p:nvSpPr>
          <p:cNvPr id="9" name="Text Placeholder 8">
            <a:extLst>
              <a:ext uri="{FF2B5EF4-FFF2-40B4-BE49-F238E27FC236}">
                <a16:creationId xmlns:a16="http://schemas.microsoft.com/office/drawing/2014/main" id="{30695E36-9456-5140-8E3C-DC1268961E29}"/>
              </a:ext>
            </a:extLst>
          </p:cNvPr>
          <p:cNvSpPr>
            <a:spLocks noGrp="1"/>
          </p:cNvSpPr>
          <p:nvPr>
            <p:ph type="body" sz="quarter" idx="12" hasCustomPrompt="1"/>
          </p:nvPr>
        </p:nvSpPr>
        <p:spPr>
          <a:xfrm>
            <a:off x="8261362" y="1305402"/>
            <a:ext cx="3420000" cy="5179623"/>
          </a:xfrm>
          <a:prstGeom prst="rect">
            <a:avLst/>
          </a:prstGeom>
        </p:spPr>
        <p:txBody>
          <a:bodyPr lIns="0" tIns="0" rIns="0" bIns="0"/>
          <a:lstStyle>
            <a:lvl1pPr marL="0" indent="0">
              <a:lnSpc>
                <a:spcPct val="100000"/>
              </a:lnSpc>
              <a:spcBef>
                <a:spcPts val="300"/>
              </a:spcBef>
              <a:spcAft>
                <a:spcPts val="300"/>
              </a:spcAft>
              <a:buNone/>
              <a:tabLst/>
              <a:defRPr sz="1400"/>
            </a:lvl1pPr>
          </a:lstStyle>
          <a:p>
            <a:pPr lvl="0"/>
            <a:r>
              <a:rPr lang="en-US"/>
              <a:t>Click to add text</a:t>
            </a:r>
          </a:p>
        </p:txBody>
      </p:sp>
      <p:sp>
        <p:nvSpPr>
          <p:cNvPr id="10" name="Text Placeholder 8">
            <a:extLst>
              <a:ext uri="{FF2B5EF4-FFF2-40B4-BE49-F238E27FC236}">
                <a16:creationId xmlns:a16="http://schemas.microsoft.com/office/drawing/2014/main" id="{69F2AC11-9F7C-2D44-BB31-1F13E63CD865}"/>
              </a:ext>
            </a:extLst>
          </p:cNvPr>
          <p:cNvSpPr>
            <a:spLocks noGrp="1"/>
          </p:cNvSpPr>
          <p:nvPr>
            <p:ph type="body" sz="quarter" idx="13" hasCustomPrompt="1"/>
          </p:nvPr>
        </p:nvSpPr>
        <p:spPr>
          <a:xfrm>
            <a:off x="510638" y="851055"/>
            <a:ext cx="11262262" cy="334580"/>
          </a:xfrm>
          <a:prstGeom prst="rect">
            <a:avLst/>
          </a:prstGeom>
        </p:spPr>
        <p:txBody>
          <a:bodyPr lIns="0" tIns="0" rIns="0" bIns="0"/>
          <a:lstStyle>
            <a:lvl1pPr marL="0" indent="0">
              <a:lnSpc>
                <a:spcPct val="100000"/>
              </a:lnSpc>
              <a:spcBef>
                <a:spcPts val="300"/>
              </a:spcBef>
              <a:spcAft>
                <a:spcPts val="300"/>
              </a:spcAft>
              <a:buNone/>
              <a:tabLst/>
              <a:defRPr sz="1600">
                <a:solidFill>
                  <a:schemeClr val="accent1"/>
                </a:solidFill>
              </a:defRPr>
            </a:lvl1pPr>
            <a:lvl2pPr>
              <a:buNone/>
              <a:defRPr/>
            </a:lvl2pPr>
          </a:lstStyle>
          <a:p>
            <a:pPr lvl="0"/>
            <a:r>
              <a:rPr lang="en-US"/>
              <a:t>Click to add subtitle</a:t>
            </a:r>
          </a:p>
        </p:txBody>
      </p:sp>
      <p:sp>
        <p:nvSpPr>
          <p:cNvPr id="2" name="Footer Placeholder 1">
            <a:extLst>
              <a:ext uri="{FF2B5EF4-FFF2-40B4-BE49-F238E27FC236}">
                <a16:creationId xmlns:a16="http://schemas.microsoft.com/office/drawing/2014/main" id="{7FB3F751-3DB2-5D4B-988F-C86753AB07C9}"/>
              </a:ext>
            </a:extLst>
          </p:cNvPr>
          <p:cNvSpPr>
            <a:spLocks noGrp="1"/>
          </p:cNvSpPr>
          <p:nvPr>
            <p:ph type="ftr" sz="quarter" idx="14"/>
          </p:nvPr>
        </p:nvSpPr>
        <p:spPr/>
        <p:txBody>
          <a:bodyPr/>
          <a:lstStyle/>
          <a:p>
            <a:r>
              <a:rPr lang="en-GB"/>
              <a:t>© Moorhouse 2020 [Restricted]</a:t>
            </a:r>
          </a:p>
        </p:txBody>
      </p:sp>
    </p:spTree>
    <p:extLst>
      <p:ext uri="{BB962C8B-B14F-4D97-AF65-F5344CB8AC3E}">
        <p14:creationId xmlns:p14="http://schemas.microsoft.com/office/powerpoint/2010/main" val="41989515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1 Text Box">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 name="think-cell Slide" r:id="rId5" imgW="421" imgH="420" progId="TCLayout.ActiveDocument.1">
                  <p:embed/>
                </p:oleObj>
              </mc:Choice>
              <mc:Fallback>
                <p:oleObj name="think-cell Slide" r:id="rId5" imgW="421" imgH="42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cxnSp>
        <p:nvCxnSpPr>
          <p:cNvPr id="8" name="Straight Connector 7">
            <a:extLst>
              <a:ext uri="{FF2B5EF4-FFF2-40B4-BE49-F238E27FC236}">
                <a16:creationId xmlns:a16="http://schemas.microsoft.com/office/drawing/2014/main" id="{5F118AFB-B1FF-9640-A790-2E771E094A56}"/>
              </a:ext>
            </a:extLst>
          </p:cNvPr>
          <p:cNvCxnSpPr>
            <a:cxnSpLocks/>
          </p:cNvCxnSpPr>
          <p:nvPr userDrawn="1"/>
        </p:nvCxnSpPr>
        <p:spPr>
          <a:xfrm>
            <a:off x="510638" y="783018"/>
            <a:ext cx="6361902"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userDrawn="1">
            <p:ph type="body" sz="quarter" idx="10" hasCustomPrompt="1"/>
          </p:nvPr>
        </p:nvSpPr>
        <p:spPr>
          <a:xfrm>
            <a:off x="510638" y="1305404"/>
            <a:ext cx="11262262" cy="5152546"/>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tabLst/>
              <a:defRPr sz="1400"/>
            </a:lvl1pPr>
            <a:lvl2pPr>
              <a:buNone/>
              <a:defRPr/>
            </a:lvl2pPr>
            <a:lvl3pPr>
              <a:buNone/>
              <a:defRPr/>
            </a:lvl3pPr>
            <a:lvl4pPr>
              <a:buNone/>
              <a:defRPr/>
            </a:lvl4pPr>
            <a:lvl5pPr>
              <a:buNone/>
              <a:defRPr/>
            </a:lvl5pPr>
          </a:lstStyle>
          <a:p>
            <a:pPr lvl="0"/>
            <a:r>
              <a:rPr lang="en-US"/>
              <a:t>Click to add text</a:t>
            </a:r>
          </a:p>
        </p:txBody>
      </p:sp>
      <p:sp>
        <p:nvSpPr>
          <p:cNvPr id="10" name="Title Placeholder 1">
            <a:extLst>
              <a:ext uri="{FF2B5EF4-FFF2-40B4-BE49-F238E27FC236}">
                <a16:creationId xmlns:a16="http://schemas.microsoft.com/office/drawing/2014/main" id="{C41CD681-483C-B441-842C-EDADAD5D7B1E}"/>
              </a:ext>
            </a:extLst>
          </p:cNvPr>
          <p:cNvSpPr>
            <a:spLocks noGrp="1"/>
          </p:cNvSpPr>
          <p:nvPr>
            <p:ph type="title" hasCustomPrompt="1"/>
          </p:nvPr>
        </p:nvSpPr>
        <p:spPr>
          <a:xfrm>
            <a:off x="510638" y="297277"/>
            <a:ext cx="9400805" cy="434010"/>
          </a:xfrm>
          <a:prstGeom prst="rect">
            <a:avLst/>
          </a:prstGeom>
        </p:spPr>
        <p:txBody>
          <a:bodyPr vert="horz" lIns="0" tIns="0" rIns="0" bIns="0" rtlCol="0" anchor="t" anchorCtr="0">
            <a:noAutofit/>
          </a:bodyPr>
          <a:lstStyle>
            <a:lvl1pPr>
              <a:defRPr sz="2800">
                <a:latin typeface="+mn-lt"/>
              </a:defRPr>
            </a:lvl1pPr>
          </a:lstStyle>
          <a:p>
            <a:r>
              <a:rPr lang="en-US"/>
              <a:t>Click to add title</a:t>
            </a:r>
          </a:p>
        </p:txBody>
      </p:sp>
      <p:sp>
        <p:nvSpPr>
          <p:cNvPr id="12" name="Text Placeholder 8">
            <a:extLst>
              <a:ext uri="{FF2B5EF4-FFF2-40B4-BE49-F238E27FC236}">
                <a16:creationId xmlns:a16="http://schemas.microsoft.com/office/drawing/2014/main" id="{87471414-239E-9843-9940-2EF118FE70A3}"/>
              </a:ext>
            </a:extLst>
          </p:cNvPr>
          <p:cNvSpPr>
            <a:spLocks noGrp="1"/>
          </p:cNvSpPr>
          <p:nvPr>
            <p:ph type="body" sz="quarter" idx="12" hasCustomPrompt="1"/>
          </p:nvPr>
        </p:nvSpPr>
        <p:spPr>
          <a:xfrm>
            <a:off x="510638" y="851055"/>
            <a:ext cx="11262262" cy="334580"/>
          </a:xfrm>
          <a:prstGeom prst="rect">
            <a:avLst/>
          </a:prstGeom>
        </p:spPr>
        <p:txBody>
          <a:bodyPr lIns="0" tIns="0" rIns="0" bIns="0"/>
          <a:lstStyle>
            <a:lvl1pPr marL="0" indent="0">
              <a:lnSpc>
                <a:spcPct val="100000"/>
              </a:lnSpc>
              <a:spcBef>
                <a:spcPts val="300"/>
              </a:spcBef>
              <a:spcAft>
                <a:spcPts val="300"/>
              </a:spcAft>
              <a:buNone/>
              <a:tabLst/>
              <a:defRPr sz="1600">
                <a:solidFill>
                  <a:schemeClr val="accent1"/>
                </a:solidFill>
              </a:defRPr>
            </a:lvl1pPr>
            <a:lvl2pPr>
              <a:buNone/>
              <a:defRPr/>
            </a:lvl2pPr>
          </a:lstStyle>
          <a:p>
            <a:pPr lvl="0"/>
            <a:r>
              <a:rPr lang="en-US"/>
              <a:t>Click to add subtitle</a:t>
            </a:r>
          </a:p>
        </p:txBody>
      </p:sp>
      <p:sp>
        <p:nvSpPr>
          <p:cNvPr id="5" name="Footer Placeholder 4">
            <a:extLst>
              <a:ext uri="{FF2B5EF4-FFF2-40B4-BE49-F238E27FC236}">
                <a16:creationId xmlns:a16="http://schemas.microsoft.com/office/drawing/2014/main" id="{2D417BC6-2897-D344-949E-7414244A27D6}"/>
              </a:ext>
            </a:extLst>
          </p:cNvPr>
          <p:cNvSpPr>
            <a:spLocks noGrp="1"/>
          </p:cNvSpPr>
          <p:nvPr>
            <p:ph type="ftr" sz="quarter" idx="13"/>
          </p:nvPr>
        </p:nvSpPr>
        <p:spPr/>
        <p:txBody>
          <a:bodyPr/>
          <a:lstStyle/>
          <a:p>
            <a:r>
              <a:rPr lang="en-GB"/>
              <a:t>© Moorhouse 2020</a:t>
            </a:r>
          </a:p>
        </p:txBody>
      </p:sp>
    </p:spTree>
    <p:extLst>
      <p:ext uri="{BB962C8B-B14F-4D97-AF65-F5344CB8AC3E}">
        <p14:creationId xmlns:p14="http://schemas.microsoft.com/office/powerpoint/2010/main" val="1904152677"/>
      </p:ext>
    </p:extLst>
  </p:cSld>
  <p:clrMapOvr>
    <a:masterClrMapping/>
  </p:clrMapOvr>
  <p:extLst>
    <p:ext uri="{DCECCB84-F9BA-43D5-87BE-67443E8EF086}">
      <p15:sldGuideLst xmlns:p15="http://schemas.microsoft.com/office/powerpoint/2012/main">
        <p15:guide id="1" orient="horz" pos="672">
          <p15:clr>
            <a:srgbClr val="FBAE40"/>
          </p15:clr>
        </p15:guide>
        <p15:guide id="2" pos="7416">
          <p15:clr>
            <a:srgbClr val="FBAE40"/>
          </p15:clr>
        </p15:guide>
        <p15:guide id="3" orient="horz" pos="4068">
          <p15:clr>
            <a:srgbClr val="FBAE40"/>
          </p15:clr>
        </p15:guide>
        <p15:guide id="4" pos="31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nd Page Number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29" name="think-cell Slide" r:id="rId5" imgW="421" imgH="420" progId="TCLayout.ActiveDocument.1">
                  <p:embed/>
                </p:oleObj>
              </mc:Choice>
              <mc:Fallback>
                <p:oleObj name="think-cell Slide" r:id="rId5" imgW="421" imgH="42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7" name="Title Placeholder 1">
            <a:extLst>
              <a:ext uri="{FF2B5EF4-FFF2-40B4-BE49-F238E27FC236}">
                <a16:creationId xmlns:a16="http://schemas.microsoft.com/office/drawing/2014/main" id="{A77F0F7B-5DC0-AE4D-805D-D4592C2895F3}"/>
              </a:ext>
            </a:extLst>
          </p:cNvPr>
          <p:cNvSpPr>
            <a:spLocks noGrp="1"/>
          </p:cNvSpPr>
          <p:nvPr>
            <p:ph type="title" hasCustomPrompt="1"/>
          </p:nvPr>
        </p:nvSpPr>
        <p:spPr>
          <a:xfrm>
            <a:off x="510638" y="297277"/>
            <a:ext cx="9400805" cy="434010"/>
          </a:xfrm>
          <a:prstGeom prst="rect">
            <a:avLst/>
          </a:prstGeom>
        </p:spPr>
        <p:txBody>
          <a:bodyPr vert="horz" lIns="0" tIns="0" rIns="0" bIns="0" rtlCol="0" anchor="t" anchorCtr="0">
            <a:noAutofit/>
          </a:bodyPr>
          <a:lstStyle>
            <a:lvl1pPr>
              <a:defRPr sz="2800">
                <a:latin typeface="+mn-lt"/>
              </a:defRPr>
            </a:lvl1pPr>
          </a:lstStyle>
          <a:p>
            <a:r>
              <a:rPr lang="en-US"/>
              <a:t>Click to add title</a:t>
            </a:r>
          </a:p>
        </p:txBody>
      </p:sp>
      <p:cxnSp>
        <p:nvCxnSpPr>
          <p:cNvPr id="8" name="Straight Connector 7">
            <a:extLst>
              <a:ext uri="{FF2B5EF4-FFF2-40B4-BE49-F238E27FC236}">
                <a16:creationId xmlns:a16="http://schemas.microsoft.com/office/drawing/2014/main" id="{5F118AFB-B1FF-9640-A790-2E771E094A56}"/>
              </a:ext>
            </a:extLst>
          </p:cNvPr>
          <p:cNvCxnSpPr>
            <a:cxnSpLocks/>
          </p:cNvCxnSpPr>
          <p:nvPr userDrawn="1"/>
        </p:nvCxnSpPr>
        <p:spPr>
          <a:xfrm>
            <a:off x="510638" y="783018"/>
            <a:ext cx="6361902"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5C7E5B43-1A8B-BF4F-B3F2-7ACA4FE8B007}"/>
              </a:ext>
            </a:extLst>
          </p:cNvPr>
          <p:cNvSpPr>
            <a:spLocks noGrp="1"/>
          </p:cNvSpPr>
          <p:nvPr>
            <p:ph type="ftr" sz="quarter" idx="14"/>
          </p:nvPr>
        </p:nvSpPr>
        <p:spPr/>
        <p:txBody>
          <a:bodyPr/>
          <a:lstStyle/>
          <a:p>
            <a:r>
              <a:rPr lang="en-GB"/>
              <a:t>© Moorhouse 2020 [Restricted]</a:t>
            </a:r>
          </a:p>
        </p:txBody>
      </p:sp>
      <p:sp>
        <p:nvSpPr>
          <p:cNvPr id="12" name="Text Placeholder 8">
            <a:extLst>
              <a:ext uri="{FF2B5EF4-FFF2-40B4-BE49-F238E27FC236}">
                <a16:creationId xmlns:a16="http://schemas.microsoft.com/office/drawing/2014/main" id="{0C413A33-1D7F-464C-8AF1-DE3EDA9B4AA7}"/>
              </a:ext>
            </a:extLst>
          </p:cNvPr>
          <p:cNvSpPr>
            <a:spLocks noGrp="1"/>
          </p:cNvSpPr>
          <p:nvPr>
            <p:ph type="body" sz="quarter" idx="13" hasCustomPrompt="1"/>
          </p:nvPr>
        </p:nvSpPr>
        <p:spPr>
          <a:xfrm>
            <a:off x="510638" y="851055"/>
            <a:ext cx="11262262" cy="334580"/>
          </a:xfrm>
          <a:prstGeom prst="rect">
            <a:avLst/>
          </a:prstGeom>
        </p:spPr>
        <p:txBody>
          <a:bodyPr lIns="0" tIns="0" rIns="0" bIns="0"/>
          <a:lstStyle>
            <a:lvl1pPr marL="0" indent="0">
              <a:lnSpc>
                <a:spcPct val="100000"/>
              </a:lnSpc>
              <a:spcBef>
                <a:spcPts val="300"/>
              </a:spcBef>
              <a:spcAft>
                <a:spcPts val="300"/>
              </a:spcAft>
              <a:buNone/>
              <a:tabLst/>
              <a:defRPr sz="1600">
                <a:solidFill>
                  <a:schemeClr val="accent1"/>
                </a:solidFill>
              </a:defRPr>
            </a:lvl1pPr>
            <a:lvl2pPr>
              <a:buNone/>
              <a:defRPr/>
            </a:lvl2pPr>
          </a:lstStyle>
          <a:p>
            <a:pPr lvl="0"/>
            <a:r>
              <a:rPr lang="en-US"/>
              <a:t>Click to add subtitle</a:t>
            </a:r>
          </a:p>
        </p:txBody>
      </p:sp>
    </p:spTree>
    <p:extLst>
      <p:ext uri="{BB962C8B-B14F-4D97-AF65-F5344CB8AC3E}">
        <p14:creationId xmlns:p14="http://schemas.microsoft.com/office/powerpoint/2010/main" val="1346662519"/>
      </p:ext>
    </p:extLst>
  </p:cSld>
  <p:clrMapOvr>
    <a:masterClrMapping/>
  </p:clrMapOvr>
  <p:extLst>
    <p:ext uri="{DCECCB84-F9BA-43D5-87BE-67443E8EF086}">
      <p15:sldGuideLst xmlns:p15="http://schemas.microsoft.com/office/powerpoint/2012/main">
        <p15:guide id="1" orient="horz" pos="672">
          <p15:clr>
            <a:srgbClr val="FBAE40"/>
          </p15:clr>
        </p15:guide>
        <p15:guide id="2" pos="7416">
          <p15:clr>
            <a:srgbClr val="FBAE40"/>
          </p15:clr>
        </p15:guide>
        <p15:guide id="3" orient="horz" pos="4068">
          <p15:clr>
            <a:srgbClr val="FBAE40"/>
          </p15:clr>
        </p15:guide>
        <p15:guide id="4" pos="31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ogo and Page Number Onl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52A269C-061A-504E-9261-C30F6567843D}"/>
              </a:ext>
            </a:extLst>
          </p:cNvPr>
          <p:cNvSpPr>
            <a:spLocks noGrp="1"/>
          </p:cNvSpPr>
          <p:nvPr>
            <p:ph type="ftr" sz="quarter" idx="10"/>
          </p:nvPr>
        </p:nvSpPr>
        <p:spPr/>
        <p:txBody>
          <a:bodyPr/>
          <a:lstStyle/>
          <a:p>
            <a:r>
              <a:rPr lang="en-GB"/>
              <a:t>© Moorhouse 2020 [Restricted]</a:t>
            </a:r>
          </a:p>
        </p:txBody>
      </p:sp>
    </p:spTree>
    <p:extLst>
      <p:ext uri="{BB962C8B-B14F-4D97-AF65-F5344CB8AC3E}">
        <p14:creationId xmlns:p14="http://schemas.microsoft.com/office/powerpoint/2010/main" val="127277853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Logo Only">
    <p:spTree>
      <p:nvGrpSpPr>
        <p:cNvPr id="1" name=""/>
        <p:cNvGrpSpPr/>
        <p:nvPr/>
      </p:nvGrpSpPr>
      <p:grpSpPr>
        <a:xfrm>
          <a:off x="0" y="0"/>
          <a:ext cx="0" cy="0"/>
          <a:chOff x="0" y="0"/>
          <a:chExt cx="0" cy="0"/>
        </a:xfrm>
      </p:grpSpPr>
      <p:pic>
        <p:nvPicPr>
          <p:cNvPr id="2" name="Picture 1" descr="A picture containing clock, drawing, light&#10;&#10;Description automatically generated">
            <a:extLst>
              <a:ext uri="{FF2B5EF4-FFF2-40B4-BE49-F238E27FC236}">
                <a16:creationId xmlns:a16="http://schemas.microsoft.com/office/drawing/2014/main" id="{AFAC7536-EF67-1542-B05E-447C936C84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61205" y="321363"/>
            <a:ext cx="1650380" cy="411972"/>
          </a:xfrm>
          <a:prstGeom prst="rect">
            <a:avLst/>
          </a:prstGeom>
        </p:spPr>
      </p:pic>
      <p:sp>
        <p:nvSpPr>
          <p:cNvPr id="3" name="Footer Placeholder 2">
            <a:extLst>
              <a:ext uri="{FF2B5EF4-FFF2-40B4-BE49-F238E27FC236}">
                <a16:creationId xmlns:a16="http://schemas.microsoft.com/office/drawing/2014/main" id="{B38ED25A-B8CC-2946-AE24-F42B534F4C3E}"/>
              </a:ext>
            </a:extLst>
          </p:cNvPr>
          <p:cNvSpPr>
            <a:spLocks noGrp="1"/>
          </p:cNvSpPr>
          <p:nvPr>
            <p:ph type="ftr" sz="quarter" idx="10"/>
          </p:nvPr>
        </p:nvSpPr>
        <p:spPr/>
        <p:txBody>
          <a:bodyPr/>
          <a:lstStyle/>
          <a:p>
            <a:r>
              <a:rPr lang="en-GB"/>
              <a:t>© Moorhouse 2020 [Restricted]</a:t>
            </a:r>
          </a:p>
        </p:txBody>
      </p:sp>
    </p:spTree>
    <p:extLst>
      <p:ext uri="{BB962C8B-B14F-4D97-AF65-F5344CB8AC3E}">
        <p14:creationId xmlns:p14="http://schemas.microsoft.com/office/powerpoint/2010/main" val="36559551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Generic Title Slide">
    <p:spTree>
      <p:nvGrpSpPr>
        <p:cNvPr id="1" name=""/>
        <p:cNvGrpSpPr/>
        <p:nvPr/>
      </p:nvGrpSpPr>
      <p:grpSpPr>
        <a:xfrm>
          <a:off x="0" y="0"/>
          <a:ext cx="0" cy="0"/>
          <a:chOff x="0" y="0"/>
          <a:chExt cx="0" cy="0"/>
        </a:xfrm>
      </p:grpSpPr>
      <p:pic>
        <p:nvPicPr>
          <p:cNvPr id="3" name="Picture 2" descr="A harbor filled with lots of tall buildings&#10;&#10;Description automatically generated">
            <a:extLst>
              <a:ext uri="{FF2B5EF4-FFF2-40B4-BE49-F238E27FC236}">
                <a16:creationId xmlns:a16="http://schemas.microsoft.com/office/drawing/2014/main" id="{DC1F0E16-797D-4344-A2D4-8940E9E5047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085" r="40988"/>
          <a:stretch/>
        </p:blipFill>
        <p:spPr>
          <a:xfrm flipH="1">
            <a:off x="4514850" y="4"/>
            <a:ext cx="7677150" cy="6857992"/>
          </a:xfrm>
          <a:custGeom>
            <a:avLst/>
            <a:gdLst>
              <a:gd name="connsiteX0" fmla="*/ 5029202 w 7677150"/>
              <a:gd name="connsiteY0" fmla="*/ 0 h 6857992"/>
              <a:gd name="connsiteX1" fmla="*/ 0 w 7677150"/>
              <a:gd name="connsiteY1" fmla="*/ 0 h 6857992"/>
              <a:gd name="connsiteX2" fmla="*/ 0 w 7677150"/>
              <a:gd name="connsiteY2" fmla="*/ 6857992 h 6857992"/>
              <a:gd name="connsiteX3" fmla="*/ 7677150 w 7677150"/>
              <a:gd name="connsiteY3" fmla="*/ 6857992 h 6857992"/>
            </a:gdLst>
            <a:ahLst/>
            <a:cxnLst>
              <a:cxn ang="0">
                <a:pos x="connsiteX0" y="connsiteY0"/>
              </a:cxn>
              <a:cxn ang="0">
                <a:pos x="connsiteX1" y="connsiteY1"/>
              </a:cxn>
              <a:cxn ang="0">
                <a:pos x="connsiteX2" y="connsiteY2"/>
              </a:cxn>
              <a:cxn ang="0">
                <a:pos x="connsiteX3" y="connsiteY3"/>
              </a:cxn>
            </a:cxnLst>
            <a:rect l="l" t="t" r="r" b="b"/>
            <a:pathLst>
              <a:path w="7677150" h="6857992">
                <a:moveTo>
                  <a:pt x="5029202" y="0"/>
                </a:moveTo>
                <a:lnTo>
                  <a:pt x="0" y="0"/>
                </a:lnTo>
                <a:lnTo>
                  <a:pt x="0" y="6857992"/>
                </a:lnTo>
                <a:lnTo>
                  <a:pt x="7677150" y="6857992"/>
                </a:lnTo>
                <a:close/>
              </a:path>
            </a:pathLst>
          </a:custGeom>
          <a:effectLst>
            <a:reflection endPos="0" dir="5400000" sy="-100000" algn="bl" rotWithShape="0"/>
          </a:effectLst>
        </p:spPr>
      </p:pic>
      <p:grpSp>
        <p:nvGrpSpPr>
          <p:cNvPr id="5" name="Group 4">
            <a:extLst>
              <a:ext uri="{FF2B5EF4-FFF2-40B4-BE49-F238E27FC236}">
                <a16:creationId xmlns:a16="http://schemas.microsoft.com/office/drawing/2014/main" id="{96720D58-539E-9042-A928-348CB38BBDF6}"/>
              </a:ext>
            </a:extLst>
          </p:cNvPr>
          <p:cNvGrpSpPr/>
          <p:nvPr userDrawn="1"/>
        </p:nvGrpSpPr>
        <p:grpSpPr>
          <a:xfrm>
            <a:off x="1" y="3535636"/>
            <a:ext cx="5411972" cy="68922"/>
            <a:chOff x="0" y="3089605"/>
            <a:chExt cx="5937813" cy="68922"/>
          </a:xfrm>
        </p:grpSpPr>
        <p:cxnSp>
          <p:nvCxnSpPr>
            <p:cNvPr id="6" name="Straight Connector 5">
              <a:extLst>
                <a:ext uri="{FF2B5EF4-FFF2-40B4-BE49-F238E27FC236}">
                  <a16:creationId xmlns:a16="http://schemas.microsoft.com/office/drawing/2014/main" id="{8A50D3C1-2264-9C4D-9D03-58E60DFE707B}"/>
                </a:ext>
              </a:extLst>
            </p:cNvPr>
            <p:cNvCxnSpPr>
              <a:cxnSpLocks/>
            </p:cNvCxnSpPr>
            <p:nvPr/>
          </p:nvCxnSpPr>
          <p:spPr>
            <a:xfrm>
              <a:off x="0" y="3124066"/>
              <a:ext cx="5937813"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13044BFE-6E18-AE45-8443-A6F4784D7131}"/>
                </a:ext>
              </a:extLst>
            </p:cNvPr>
            <p:cNvSpPr/>
            <p:nvPr/>
          </p:nvSpPr>
          <p:spPr>
            <a:xfrm>
              <a:off x="700881" y="3089605"/>
              <a:ext cx="842169" cy="6892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8" name="Rectangle 7">
            <a:extLst>
              <a:ext uri="{FF2B5EF4-FFF2-40B4-BE49-F238E27FC236}">
                <a16:creationId xmlns:a16="http://schemas.microsoft.com/office/drawing/2014/main" id="{709C841B-7D0B-B64B-AF92-49F97AE30455}"/>
              </a:ext>
            </a:extLst>
          </p:cNvPr>
          <p:cNvSpPr/>
          <p:nvPr userDrawn="1"/>
        </p:nvSpPr>
        <p:spPr>
          <a:xfrm>
            <a:off x="0" y="6674068"/>
            <a:ext cx="12192000" cy="183932"/>
          </a:xfrm>
          <a:prstGeom prst="rect">
            <a:avLst/>
          </a:prstGeom>
          <a:solidFill>
            <a:srgbClr val="5023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Content Placeholder 17">
            <a:extLst>
              <a:ext uri="{FF2B5EF4-FFF2-40B4-BE49-F238E27FC236}">
                <a16:creationId xmlns:a16="http://schemas.microsoft.com/office/drawing/2014/main" id="{A3F372F6-2EC6-554A-AA35-E1D03D27DB80}"/>
              </a:ext>
            </a:extLst>
          </p:cNvPr>
          <p:cNvSpPr>
            <a:spLocks noGrp="1"/>
          </p:cNvSpPr>
          <p:nvPr>
            <p:ph sz="quarter" idx="10" hasCustomPrompt="1"/>
          </p:nvPr>
        </p:nvSpPr>
        <p:spPr>
          <a:xfrm>
            <a:off x="537425" y="2974801"/>
            <a:ext cx="3646488" cy="473207"/>
          </a:xfrm>
          <a:prstGeom prst="rect">
            <a:avLst/>
          </a:prstGeom>
        </p:spPr>
        <p:txBody>
          <a:bodyPr/>
          <a:lstStyle>
            <a:lvl1pPr marL="0" indent="0">
              <a:lnSpc>
                <a:spcPct val="100000"/>
              </a:lnSpc>
              <a:spcBef>
                <a:spcPts val="300"/>
              </a:spcBef>
              <a:spcAft>
                <a:spcPts val="300"/>
              </a:spcAft>
              <a:buNone/>
              <a:defRPr sz="2800" b="1">
                <a:solidFill>
                  <a:schemeClr val="accent1"/>
                </a:solidFill>
              </a:defRPr>
            </a:lvl1pPr>
          </a:lstStyle>
          <a:p>
            <a:pPr lvl="0"/>
            <a:r>
              <a:rPr lang="en-GB"/>
              <a:t>Add Title</a:t>
            </a:r>
          </a:p>
        </p:txBody>
      </p:sp>
      <p:sp>
        <p:nvSpPr>
          <p:cNvPr id="11" name="Content Placeholder 17">
            <a:extLst>
              <a:ext uri="{FF2B5EF4-FFF2-40B4-BE49-F238E27FC236}">
                <a16:creationId xmlns:a16="http://schemas.microsoft.com/office/drawing/2014/main" id="{6B523996-542A-E340-9D0A-F18DCEB8BB99}"/>
              </a:ext>
            </a:extLst>
          </p:cNvPr>
          <p:cNvSpPr>
            <a:spLocks noGrp="1"/>
          </p:cNvSpPr>
          <p:nvPr>
            <p:ph sz="quarter" idx="11" hasCustomPrompt="1"/>
          </p:nvPr>
        </p:nvSpPr>
        <p:spPr>
          <a:xfrm>
            <a:off x="537425" y="3726647"/>
            <a:ext cx="3646488" cy="473207"/>
          </a:xfrm>
          <a:prstGeom prst="rect">
            <a:avLst/>
          </a:prstGeom>
        </p:spPr>
        <p:txBody>
          <a:bodyPr/>
          <a:lstStyle>
            <a:lvl1pPr marL="0" indent="0">
              <a:lnSpc>
                <a:spcPct val="100000"/>
              </a:lnSpc>
              <a:spcBef>
                <a:spcPts val="300"/>
              </a:spcBef>
              <a:spcAft>
                <a:spcPts val="300"/>
              </a:spcAft>
              <a:buNone/>
              <a:defRPr sz="1600" b="0">
                <a:solidFill>
                  <a:schemeClr val="accent1"/>
                </a:solidFill>
              </a:defRPr>
            </a:lvl1pPr>
          </a:lstStyle>
          <a:p>
            <a:pPr lvl="0"/>
            <a:r>
              <a:rPr lang="en-GB"/>
              <a:t>Add Subtitle</a:t>
            </a:r>
          </a:p>
        </p:txBody>
      </p:sp>
      <p:sp>
        <p:nvSpPr>
          <p:cNvPr id="14" name="Freeform: Shape 2">
            <a:extLst>
              <a:ext uri="{FF2B5EF4-FFF2-40B4-BE49-F238E27FC236}">
                <a16:creationId xmlns:a16="http://schemas.microsoft.com/office/drawing/2014/main" id="{65E09882-346D-3442-A3BD-BD9F48B8403E}"/>
              </a:ext>
            </a:extLst>
          </p:cNvPr>
          <p:cNvSpPr/>
          <p:nvPr userDrawn="1"/>
        </p:nvSpPr>
        <p:spPr>
          <a:xfrm>
            <a:off x="4514850" y="4"/>
            <a:ext cx="7677150" cy="6857996"/>
          </a:xfrm>
          <a:custGeom>
            <a:avLst/>
            <a:gdLst>
              <a:gd name="connsiteX0" fmla="*/ 2647950 w 7677150"/>
              <a:gd name="connsiteY0" fmla="*/ 0 h 6896100"/>
              <a:gd name="connsiteX1" fmla="*/ 7677150 w 7677150"/>
              <a:gd name="connsiteY1" fmla="*/ 0 h 6896100"/>
              <a:gd name="connsiteX2" fmla="*/ 7677150 w 7677150"/>
              <a:gd name="connsiteY2" fmla="*/ 6896100 h 6896100"/>
              <a:gd name="connsiteX3" fmla="*/ 0 w 7677150"/>
              <a:gd name="connsiteY3" fmla="*/ 6896100 h 6896100"/>
              <a:gd name="connsiteX4" fmla="*/ 2647950 w 7677150"/>
              <a:gd name="connsiteY4" fmla="*/ 0 h 6896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77150" h="6896100">
                <a:moveTo>
                  <a:pt x="2647950" y="0"/>
                </a:moveTo>
                <a:lnTo>
                  <a:pt x="7677150" y="0"/>
                </a:lnTo>
                <a:lnTo>
                  <a:pt x="7677150" y="6896100"/>
                </a:lnTo>
                <a:lnTo>
                  <a:pt x="0" y="6896100"/>
                </a:lnTo>
                <a:lnTo>
                  <a:pt x="2647950" y="0"/>
                </a:lnTo>
                <a:close/>
              </a:path>
            </a:pathLst>
          </a:custGeom>
          <a:solidFill>
            <a:schemeClr val="tx1">
              <a:alpha val="55000"/>
            </a:scheme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pic>
        <p:nvPicPr>
          <p:cNvPr id="15" name="Picture 14">
            <a:extLst>
              <a:ext uri="{FF2B5EF4-FFF2-40B4-BE49-F238E27FC236}">
                <a16:creationId xmlns:a16="http://schemas.microsoft.com/office/drawing/2014/main" id="{CD9167ED-C9DC-D04F-875B-571133520E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61205" y="321363"/>
            <a:ext cx="1650380" cy="411972"/>
          </a:xfrm>
          <a:prstGeom prst="rect">
            <a:avLst/>
          </a:prstGeom>
        </p:spPr>
      </p:pic>
      <p:sp>
        <p:nvSpPr>
          <p:cNvPr id="2" name="Footer Placeholder 1">
            <a:extLst>
              <a:ext uri="{FF2B5EF4-FFF2-40B4-BE49-F238E27FC236}">
                <a16:creationId xmlns:a16="http://schemas.microsoft.com/office/drawing/2014/main" id="{29515E71-4BA2-A341-BA2F-4573D5B330C9}"/>
              </a:ext>
            </a:extLst>
          </p:cNvPr>
          <p:cNvSpPr>
            <a:spLocks noGrp="1"/>
          </p:cNvSpPr>
          <p:nvPr>
            <p:ph type="ftr" sz="quarter" idx="12"/>
          </p:nvPr>
        </p:nvSpPr>
        <p:spPr/>
        <p:txBody>
          <a:bodyPr/>
          <a:lstStyle>
            <a:lvl1pPr>
              <a:defRPr>
                <a:solidFill>
                  <a:schemeClr val="bg1"/>
                </a:solidFill>
              </a:defRPr>
            </a:lvl1pPr>
          </a:lstStyle>
          <a:p>
            <a:r>
              <a:rPr lang="en-GB"/>
              <a:t>© Moorhouse 2020 [Restricted]</a:t>
            </a:r>
          </a:p>
        </p:txBody>
      </p:sp>
    </p:spTree>
    <p:extLst>
      <p:ext uri="{BB962C8B-B14F-4D97-AF65-F5344CB8AC3E}">
        <p14:creationId xmlns:p14="http://schemas.microsoft.com/office/powerpoint/2010/main" val="26909959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ivider Slide White">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2EF64F75-66C2-C444-AA86-454AAA5D4529}"/>
              </a:ext>
            </a:extLst>
          </p:cNvPr>
          <p:cNvCxnSpPr>
            <a:cxnSpLocks/>
          </p:cNvCxnSpPr>
          <p:nvPr userDrawn="1"/>
        </p:nvCxnSpPr>
        <p:spPr>
          <a:xfrm>
            <a:off x="1487488" y="1376772"/>
            <a:ext cx="0" cy="4104456"/>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4" name="Content Placeholder 6">
            <a:extLst>
              <a:ext uri="{FF2B5EF4-FFF2-40B4-BE49-F238E27FC236}">
                <a16:creationId xmlns:a16="http://schemas.microsoft.com/office/drawing/2014/main" id="{DA82A1E9-2BB2-664F-AE3E-EE4019615A52}"/>
              </a:ext>
            </a:extLst>
          </p:cNvPr>
          <p:cNvSpPr>
            <a:spLocks noGrp="1"/>
          </p:cNvSpPr>
          <p:nvPr>
            <p:ph sz="quarter" idx="10" hasCustomPrompt="1"/>
          </p:nvPr>
        </p:nvSpPr>
        <p:spPr>
          <a:xfrm>
            <a:off x="1881188" y="1983582"/>
            <a:ext cx="6480000" cy="2890837"/>
          </a:xfrm>
          <a:prstGeom prst="rect">
            <a:avLst/>
          </a:prstGeom>
        </p:spPr>
        <p:txBody>
          <a:bodyPr anchor="ctr"/>
          <a:lstStyle>
            <a:lvl1pPr marL="0" marR="0" indent="0" algn="l" defTabSz="914400" rtl="0" eaLnBrk="1" fontAlgn="auto" latinLnBrk="0" hangingPunct="1">
              <a:lnSpc>
                <a:spcPct val="100000"/>
              </a:lnSpc>
              <a:spcBef>
                <a:spcPts val="300"/>
              </a:spcBef>
              <a:spcAft>
                <a:spcPts val="300"/>
              </a:spcAft>
              <a:buClrTx/>
              <a:buSzTx/>
              <a:buFontTx/>
              <a:buNone/>
              <a:tabLst/>
              <a:defRPr sz="7200" b="1">
                <a:solidFill>
                  <a:schemeClr val="accent1"/>
                </a:solidFill>
              </a:defRPr>
            </a:lvl1pPr>
          </a:lstStyle>
          <a:p>
            <a:pPr lvl="0"/>
            <a:r>
              <a:rPr lang="en-GB"/>
              <a:t>Click to add title</a:t>
            </a:r>
          </a:p>
        </p:txBody>
      </p:sp>
      <p:pic>
        <p:nvPicPr>
          <p:cNvPr id="5" name="Picture 4">
            <a:extLst>
              <a:ext uri="{FF2B5EF4-FFF2-40B4-BE49-F238E27FC236}">
                <a16:creationId xmlns:a16="http://schemas.microsoft.com/office/drawing/2014/main" id="{5D0E6640-3916-874E-9362-574DCC4B2F10}"/>
              </a:ext>
            </a:extLst>
          </p:cNvPr>
          <p:cNvPicPr>
            <a:picLocks noChangeAspect="1"/>
          </p:cNvPicPr>
          <p:nvPr userDrawn="1"/>
        </p:nvPicPr>
        <p:blipFill>
          <a:blip r:embed="rId2"/>
          <a:stretch>
            <a:fillRect/>
          </a:stretch>
        </p:blipFill>
        <p:spPr>
          <a:xfrm>
            <a:off x="9336361" y="5517232"/>
            <a:ext cx="2134931" cy="694800"/>
          </a:xfrm>
          <a:prstGeom prst="rect">
            <a:avLst/>
          </a:prstGeom>
        </p:spPr>
      </p:pic>
      <p:pic>
        <p:nvPicPr>
          <p:cNvPr id="6" name="Picture 5" descr="A picture containing clock, drawing, light&#10;&#10;Description automatically generated">
            <a:extLst>
              <a:ext uri="{FF2B5EF4-FFF2-40B4-BE49-F238E27FC236}">
                <a16:creationId xmlns:a16="http://schemas.microsoft.com/office/drawing/2014/main" id="{0059C6DF-9E0D-F444-BB97-9F50F817279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61205" y="321363"/>
            <a:ext cx="1650380" cy="411972"/>
          </a:xfrm>
          <a:prstGeom prst="rect">
            <a:avLst/>
          </a:prstGeom>
        </p:spPr>
      </p:pic>
    </p:spTree>
    <p:extLst>
      <p:ext uri="{BB962C8B-B14F-4D97-AF65-F5344CB8AC3E}">
        <p14:creationId xmlns:p14="http://schemas.microsoft.com/office/powerpoint/2010/main" val="10838717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Divider Slide Purple">
    <p:bg>
      <p:bgPr>
        <a:solidFill>
          <a:srgbClr val="CCBCD1"/>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130001C2-E701-4A46-BD6E-65255889DC99}"/>
              </a:ext>
            </a:extLst>
          </p:cNvPr>
          <p:cNvCxnSpPr>
            <a:cxnSpLocks/>
          </p:cNvCxnSpPr>
          <p:nvPr userDrawn="1"/>
        </p:nvCxnSpPr>
        <p:spPr>
          <a:xfrm>
            <a:off x="1487488" y="1376772"/>
            <a:ext cx="0" cy="4104456"/>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7" name="Content Placeholder 6">
            <a:extLst>
              <a:ext uri="{FF2B5EF4-FFF2-40B4-BE49-F238E27FC236}">
                <a16:creationId xmlns:a16="http://schemas.microsoft.com/office/drawing/2014/main" id="{D646635C-E952-684F-9467-D9576C82F46B}"/>
              </a:ext>
            </a:extLst>
          </p:cNvPr>
          <p:cNvSpPr>
            <a:spLocks noGrp="1"/>
          </p:cNvSpPr>
          <p:nvPr>
            <p:ph sz="quarter" idx="10" hasCustomPrompt="1"/>
          </p:nvPr>
        </p:nvSpPr>
        <p:spPr>
          <a:xfrm>
            <a:off x="1881188" y="1983582"/>
            <a:ext cx="6480000" cy="2890837"/>
          </a:xfrm>
          <a:prstGeom prst="rect">
            <a:avLst/>
          </a:prstGeom>
        </p:spPr>
        <p:txBody>
          <a:bodyPr anchor="ctr"/>
          <a:lstStyle>
            <a:lvl1pPr marL="0" marR="0" indent="0" algn="l" defTabSz="914400" rtl="0" eaLnBrk="1" fontAlgn="auto" latinLnBrk="0" hangingPunct="1">
              <a:lnSpc>
                <a:spcPct val="100000"/>
              </a:lnSpc>
              <a:spcBef>
                <a:spcPts val="300"/>
              </a:spcBef>
              <a:spcAft>
                <a:spcPts val="300"/>
              </a:spcAft>
              <a:buClrTx/>
              <a:buSzTx/>
              <a:buFontTx/>
              <a:buNone/>
              <a:tabLst/>
              <a:defRPr sz="7200" b="1">
                <a:solidFill>
                  <a:schemeClr val="accent1"/>
                </a:solidFill>
              </a:defRPr>
            </a:lvl1pPr>
          </a:lstStyle>
          <a:p>
            <a:pPr lvl="0"/>
            <a:r>
              <a:rPr lang="en-GB"/>
              <a:t>Click to add title</a:t>
            </a:r>
          </a:p>
        </p:txBody>
      </p:sp>
      <p:pic>
        <p:nvPicPr>
          <p:cNvPr id="6" name="Picture 5">
            <a:extLst>
              <a:ext uri="{FF2B5EF4-FFF2-40B4-BE49-F238E27FC236}">
                <a16:creationId xmlns:a16="http://schemas.microsoft.com/office/drawing/2014/main" id="{569B6D7D-E3AE-2A44-A75D-B75F30B880A3}"/>
              </a:ext>
            </a:extLst>
          </p:cNvPr>
          <p:cNvPicPr>
            <a:picLocks noChangeAspect="1"/>
          </p:cNvPicPr>
          <p:nvPr userDrawn="1"/>
        </p:nvPicPr>
        <p:blipFill rotWithShape="1">
          <a:blip r:embed="rId2"/>
          <a:srcRect t="-1" r="21959" b="-7662"/>
          <a:stretch/>
        </p:blipFill>
        <p:spPr>
          <a:xfrm>
            <a:off x="9347200" y="5518150"/>
            <a:ext cx="2249714" cy="752021"/>
          </a:xfrm>
          <a:prstGeom prst="rect">
            <a:avLst/>
          </a:prstGeom>
        </p:spPr>
      </p:pic>
      <p:pic>
        <p:nvPicPr>
          <p:cNvPr id="5" name="Picture 4" descr="A picture containing clock, drawing, light&#10;&#10;Description automatically generated">
            <a:extLst>
              <a:ext uri="{FF2B5EF4-FFF2-40B4-BE49-F238E27FC236}">
                <a16:creationId xmlns:a16="http://schemas.microsoft.com/office/drawing/2014/main" id="{216146BB-DB31-7A46-9E03-09EA61D2F7D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61205" y="321363"/>
            <a:ext cx="1650380" cy="411972"/>
          </a:xfrm>
          <a:prstGeom prst="rect">
            <a:avLst/>
          </a:prstGeom>
        </p:spPr>
      </p:pic>
    </p:spTree>
    <p:extLst>
      <p:ext uri="{BB962C8B-B14F-4D97-AF65-F5344CB8AC3E}">
        <p14:creationId xmlns:p14="http://schemas.microsoft.com/office/powerpoint/2010/main" val="212781869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vider Slide Dark">
    <p:bg>
      <p:bgPr>
        <a:solidFill>
          <a:schemeClr val="accent1"/>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2EF64F75-66C2-C444-AA86-454AAA5D4529}"/>
              </a:ext>
            </a:extLst>
          </p:cNvPr>
          <p:cNvCxnSpPr>
            <a:cxnSpLocks/>
          </p:cNvCxnSpPr>
          <p:nvPr userDrawn="1"/>
        </p:nvCxnSpPr>
        <p:spPr>
          <a:xfrm>
            <a:off x="1487488" y="1376772"/>
            <a:ext cx="0" cy="4104456"/>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Content Placeholder 6">
            <a:extLst>
              <a:ext uri="{FF2B5EF4-FFF2-40B4-BE49-F238E27FC236}">
                <a16:creationId xmlns:a16="http://schemas.microsoft.com/office/drawing/2014/main" id="{DA82A1E9-2BB2-664F-AE3E-EE4019615A52}"/>
              </a:ext>
            </a:extLst>
          </p:cNvPr>
          <p:cNvSpPr>
            <a:spLocks noGrp="1"/>
          </p:cNvSpPr>
          <p:nvPr>
            <p:ph sz="quarter" idx="10" hasCustomPrompt="1"/>
          </p:nvPr>
        </p:nvSpPr>
        <p:spPr>
          <a:xfrm>
            <a:off x="1881188" y="1983582"/>
            <a:ext cx="6480000" cy="2890837"/>
          </a:xfrm>
          <a:prstGeom prst="rect">
            <a:avLst/>
          </a:prstGeom>
        </p:spPr>
        <p:txBody>
          <a:bodyPr anchor="ctr"/>
          <a:lstStyle>
            <a:lvl1pPr marL="0" marR="0" indent="0" algn="l" defTabSz="914400" rtl="0" eaLnBrk="1" fontAlgn="auto" latinLnBrk="0" hangingPunct="1">
              <a:lnSpc>
                <a:spcPct val="100000"/>
              </a:lnSpc>
              <a:spcBef>
                <a:spcPts val="300"/>
              </a:spcBef>
              <a:spcAft>
                <a:spcPts val="300"/>
              </a:spcAft>
              <a:buClrTx/>
              <a:buSzTx/>
              <a:buFontTx/>
              <a:buNone/>
              <a:tabLst/>
              <a:defRPr sz="7200" b="1">
                <a:solidFill>
                  <a:schemeClr val="bg1"/>
                </a:solidFill>
              </a:defRPr>
            </a:lvl1pPr>
          </a:lstStyle>
          <a:p>
            <a:pPr lvl="0"/>
            <a:r>
              <a:rPr lang="en-GB"/>
              <a:t>Click to add title</a:t>
            </a:r>
          </a:p>
        </p:txBody>
      </p:sp>
      <p:pic>
        <p:nvPicPr>
          <p:cNvPr id="6" name="Picture 5">
            <a:extLst>
              <a:ext uri="{FF2B5EF4-FFF2-40B4-BE49-F238E27FC236}">
                <a16:creationId xmlns:a16="http://schemas.microsoft.com/office/drawing/2014/main" id="{6DA27D15-5FC7-0E4A-8804-3C58F02F86F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61205" y="321363"/>
            <a:ext cx="1650380" cy="411972"/>
          </a:xfrm>
          <a:prstGeom prst="rect">
            <a:avLst/>
          </a:prstGeom>
        </p:spPr>
      </p:pic>
      <p:pic>
        <p:nvPicPr>
          <p:cNvPr id="5" name="Picture 4">
            <a:extLst>
              <a:ext uri="{FF2B5EF4-FFF2-40B4-BE49-F238E27FC236}">
                <a16:creationId xmlns:a16="http://schemas.microsoft.com/office/drawing/2014/main" id="{5420BEE6-C168-C441-A4F8-3F0C36FF0767}"/>
              </a:ext>
            </a:extLst>
          </p:cNvPr>
          <p:cNvPicPr>
            <a:picLocks noChangeAspect="1"/>
          </p:cNvPicPr>
          <p:nvPr userDrawn="1"/>
        </p:nvPicPr>
        <p:blipFill>
          <a:blip r:embed="rId3"/>
          <a:stretch>
            <a:fillRect/>
          </a:stretch>
        </p:blipFill>
        <p:spPr>
          <a:xfrm>
            <a:off x="9347200" y="5544910"/>
            <a:ext cx="2146300" cy="698500"/>
          </a:xfrm>
          <a:prstGeom prst="rect">
            <a:avLst/>
          </a:prstGeom>
        </p:spPr>
      </p:pic>
    </p:spTree>
    <p:extLst>
      <p:ext uri="{BB962C8B-B14F-4D97-AF65-F5344CB8AC3E}">
        <p14:creationId xmlns:p14="http://schemas.microsoft.com/office/powerpoint/2010/main" val="11649687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Blank Slide Whit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7" name="think-cell Slide" r:id="rId5" imgW="421" imgH="420" progId="TCLayout.ActiveDocument.1">
                  <p:embed/>
                </p:oleObj>
              </mc:Choice>
              <mc:Fallback>
                <p:oleObj name="think-cell Slide" r:id="rId5" imgW="421" imgH="420"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Black" panose="020B0A04020102020204" pitchFamily="34" charset="0"/>
              <a:ea typeface="+mn-ea"/>
              <a:cs typeface="+mn-cs"/>
              <a:sym typeface="Arial Black" panose="020B0A04020102020204" pitchFamily="34" charset="0"/>
            </a:endParaRPr>
          </a:p>
        </p:txBody>
      </p:sp>
      <p:sp>
        <p:nvSpPr>
          <p:cNvPr id="3" name="TextBox 2">
            <a:extLst>
              <a:ext uri="{FF2B5EF4-FFF2-40B4-BE49-F238E27FC236}">
                <a16:creationId xmlns:a16="http://schemas.microsoft.com/office/drawing/2014/main" id="{C8C51CB6-6C68-D54B-8637-B9C4DF209684}"/>
              </a:ext>
            </a:extLst>
          </p:cNvPr>
          <p:cNvSpPr txBox="1"/>
          <p:nvPr userDrawn="1"/>
        </p:nvSpPr>
        <p:spPr>
          <a:xfrm>
            <a:off x="1754372" y="520995"/>
            <a:ext cx="184731" cy="369332"/>
          </a:xfrm>
          <a:prstGeom prst="rect">
            <a:avLst/>
          </a:prstGeom>
          <a:noFill/>
        </p:spPr>
        <p:txBody>
          <a:bodyPr wrap="none" rtlCol="0">
            <a:spAutoFit/>
          </a:bodyPr>
          <a:lstStyle/>
          <a:p>
            <a:endParaRPr lang="en-GB"/>
          </a:p>
        </p:txBody>
      </p:sp>
    </p:spTree>
    <p:extLst>
      <p:ext uri="{BB962C8B-B14F-4D97-AF65-F5344CB8AC3E}">
        <p14:creationId xmlns:p14="http://schemas.microsoft.com/office/powerpoint/2010/main" val="89754497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lank Slide Purple">
    <p:bg>
      <p:bgPr>
        <a:solidFill>
          <a:srgbClr val="CCBCD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6058727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lank Slide Dark">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5" name="think-cell Slide" r:id="rId4" imgW="421" imgH="420" progId="TCLayout.ActiveDocument.1">
                  <p:embed/>
                </p:oleObj>
              </mc:Choice>
              <mc:Fallback>
                <p:oleObj name="think-cell Slide" r:id="rId4" imgW="421" imgH="42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9467513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2 Text Boxes">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49B7C81-6DE7-134A-AF49-C5B48C4FBB5B}"/>
              </a:ext>
            </a:extLst>
          </p:cNvPr>
          <p:cNvSpPr>
            <a:spLocks noGrp="1"/>
          </p:cNvSpPr>
          <p:nvPr>
            <p:ph type="title" hasCustomPrompt="1"/>
          </p:nvPr>
        </p:nvSpPr>
        <p:spPr>
          <a:xfrm>
            <a:off x="510638" y="297277"/>
            <a:ext cx="9400805" cy="434010"/>
          </a:xfrm>
          <a:prstGeom prst="rect">
            <a:avLst/>
          </a:prstGeom>
        </p:spPr>
        <p:txBody>
          <a:bodyPr vert="horz" lIns="0" tIns="0" rIns="0" bIns="0" rtlCol="0" anchor="t" anchorCtr="0">
            <a:noAutofit/>
          </a:bodyPr>
          <a:lstStyle>
            <a:lvl1pPr>
              <a:defRPr sz="2800">
                <a:latin typeface="+mn-lt"/>
              </a:defRPr>
            </a:lvl1pPr>
          </a:lstStyle>
          <a:p>
            <a:r>
              <a:rPr lang="en-US"/>
              <a:t>Click to add title</a:t>
            </a:r>
          </a:p>
        </p:txBody>
      </p:sp>
      <p:cxnSp>
        <p:nvCxnSpPr>
          <p:cNvPr id="4" name="Straight Connector 3">
            <a:extLst>
              <a:ext uri="{FF2B5EF4-FFF2-40B4-BE49-F238E27FC236}">
                <a16:creationId xmlns:a16="http://schemas.microsoft.com/office/drawing/2014/main" id="{A07048F0-CD4E-8D48-B45B-B52352A2A2C3}"/>
              </a:ext>
            </a:extLst>
          </p:cNvPr>
          <p:cNvCxnSpPr>
            <a:cxnSpLocks/>
          </p:cNvCxnSpPr>
          <p:nvPr userDrawn="1"/>
        </p:nvCxnSpPr>
        <p:spPr>
          <a:xfrm>
            <a:off x="510638" y="783018"/>
            <a:ext cx="6361902"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Text Placeholder 8">
            <a:extLst>
              <a:ext uri="{FF2B5EF4-FFF2-40B4-BE49-F238E27FC236}">
                <a16:creationId xmlns:a16="http://schemas.microsoft.com/office/drawing/2014/main" id="{AC2416D7-C968-B242-B9DC-D0DEB8EC22FF}"/>
              </a:ext>
            </a:extLst>
          </p:cNvPr>
          <p:cNvSpPr>
            <a:spLocks noGrp="1"/>
          </p:cNvSpPr>
          <p:nvPr>
            <p:ph type="body" sz="quarter" idx="10" hasCustomPrompt="1"/>
          </p:nvPr>
        </p:nvSpPr>
        <p:spPr>
          <a:xfrm>
            <a:off x="510638" y="1305404"/>
            <a:ext cx="5448184" cy="5148574"/>
          </a:xfrm>
          <a:prstGeom prst="rect">
            <a:avLst/>
          </a:prstGeom>
        </p:spPr>
        <p:txBody>
          <a:bodyPr lIns="0" tIns="0" rIns="0" bIns="0"/>
          <a:lstStyle>
            <a:lvl1pPr marL="0" indent="0">
              <a:lnSpc>
                <a:spcPct val="100000"/>
              </a:lnSpc>
              <a:spcBef>
                <a:spcPts val="300"/>
              </a:spcBef>
              <a:spcAft>
                <a:spcPts val="300"/>
              </a:spcAft>
              <a:buNone/>
              <a:tabLst/>
              <a:defRPr sz="1400"/>
            </a:lvl1pPr>
            <a:lvl2pPr>
              <a:buNone/>
              <a:defRPr/>
            </a:lvl2pPr>
            <a:lvl3pPr>
              <a:buNone/>
              <a:defRPr/>
            </a:lvl3pPr>
            <a:lvl4pPr>
              <a:buNone/>
              <a:defRPr/>
            </a:lvl4pPr>
            <a:lvl5pPr>
              <a:buNone/>
              <a:defRPr/>
            </a:lvl5pPr>
          </a:lstStyle>
          <a:p>
            <a:pPr lvl="0"/>
            <a:r>
              <a:rPr lang="en-US"/>
              <a:t>Click to add text</a:t>
            </a:r>
          </a:p>
        </p:txBody>
      </p:sp>
      <p:sp>
        <p:nvSpPr>
          <p:cNvPr id="8" name="Text Placeholder 8">
            <a:extLst>
              <a:ext uri="{FF2B5EF4-FFF2-40B4-BE49-F238E27FC236}">
                <a16:creationId xmlns:a16="http://schemas.microsoft.com/office/drawing/2014/main" id="{6AA78D8E-15BB-9643-AA8C-1A70CBEE8D37}"/>
              </a:ext>
            </a:extLst>
          </p:cNvPr>
          <p:cNvSpPr>
            <a:spLocks noGrp="1"/>
          </p:cNvSpPr>
          <p:nvPr>
            <p:ph type="body" sz="quarter" idx="11" hasCustomPrompt="1"/>
          </p:nvPr>
        </p:nvSpPr>
        <p:spPr>
          <a:xfrm>
            <a:off x="6233179" y="1305404"/>
            <a:ext cx="5585361" cy="5148573"/>
          </a:xfrm>
          <a:prstGeom prst="rect">
            <a:avLst/>
          </a:prstGeom>
        </p:spPr>
        <p:txBody>
          <a:bodyPr lIns="0" tIns="0" rIns="0" bIns="0"/>
          <a:lstStyle>
            <a:lvl1pPr marL="0" indent="0">
              <a:lnSpc>
                <a:spcPct val="100000"/>
              </a:lnSpc>
              <a:spcBef>
                <a:spcPts val="300"/>
              </a:spcBef>
              <a:spcAft>
                <a:spcPts val="300"/>
              </a:spcAft>
              <a:buNone/>
              <a:tabLst/>
              <a:defRPr sz="1400"/>
            </a:lvl1pPr>
            <a:lvl2pPr marL="9525" indent="-9525">
              <a:buNone/>
              <a:tabLst/>
              <a:defRPr/>
            </a:lvl2pPr>
            <a:lvl3pPr marL="9525" indent="-9525">
              <a:buNone/>
              <a:tabLst/>
              <a:defRPr/>
            </a:lvl3pPr>
            <a:lvl4pPr marL="9525" indent="-9525">
              <a:buNone/>
              <a:tabLst/>
              <a:defRPr/>
            </a:lvl4pPr>
            <a:lvl5pPr marL="9525" indent="-9525">
              <a:buNone/>
              <a:tabLst/>
              <a:defRPr/>
            </a:lvl5pPr>
          </a:lstStyle>
          <a:p>
            <a:pPr lvl="0"/>
            <a:r>
              <a:rPr lang="en-US"/>
              <a:t>Click to add text</a:t>
            </a:r>
          </a:p>
        </p:txBody>
      </p:sp>
      <p:sp>
        <p:nvSpPr>
          <p:cNvPr id="9" name="Text Placeholder 8">
            <a:extLst>
              <a:ext uri="{FF2B5EF4-FFF2-40B4-BE49-F238E27FC236}">
                <a16:creationId xmlns:a16="http://schemas.microsoft.com/office/drawing/2014/main" id="{6815CEFE-7DDC-3F44-91FF-801D5D3F3A7B}"/>
              </a:ext>
            </a:extLst>
          </p:cNvPr>
          <p:cNvSpPr>
            <a:spLocks noGrp="1"/>
          </p:cNvSpPr>
          <p:nvPr>
            <p:ph type="body" sz="quarter" idx="12" hasCustomPrompt="1"/>
          </p:nvPr>
        </p:nvSpPr>
        <p:spPr>
          <a:xfrm>
            <a:off x="510638" y="851055"/>
            <a:ext cx="11262262" cy="334580"/>
          </a:xfrm>
          <a:prstGeom prst="rect">
            <a:avLst/>
          </a:prstGeom>
        </p:spPr>
        <p:txBody>
          <a:bodyPr lIns="0" tIns="0" rIns="0" bIns="0"/>
          <a:lstStyle>
            <a:lvl1pPr marL="0" indent="0">
              <a:lnSpc>
                <a:spcPct val="100000"/>
              </a:lnSpc>
              <a:spcBef>
                <a:spcPts val="300"/>
              </a:spcBef>
              <a:spcAft>
                <a:spcPts val="300"/>
              </a:spcAft>
              <a:buNone/>
              <a:tabLst/>
              <a:defRPr sz="1600">
                <a:solidFill>
                  <a:schemeClr val="accent1"/>
                </a:solidFill>
              </a:defRPr>
            </a:lvl1pPr>
            <a:lvl2pPr>
              <a:buNone/>
              <a:defRPr/>
            </a:lvl2pPr>
          </a:lstStyle>
          <a:p>
            <a:pPr lvl="0"/>
            <a:r>
              <a:rPr lang="en-US"/>
              <a:t>Click to add subtitle</a:t>
            </a:r>
          </a:p>
        </p:txBody>
      </p:sp>
      <p:sp>
        <p:nvSpPr>
          <p:cNvPr id="10" name="Footer Placeholder 9">
            <a:extLst>
              <a:ext uri="{FF2B5EF4-FFF2-40B4-BE49-F238E27FC236}">
                <a16:creationId xmlns:a16="http://schemas.microsoft.com/office/drawing/2014/main" id="{A4A51601-6448-744E-A498-648EE5916964}"/>
              </a:ext>
            </a:extLst>
          </p:cNvPr>
          <p:cNvSpPr>
            <a:spLocks noGrp="1"/>
          </p:cNvSpPr>
          <p:nvPr>
            <p:ph type="ftr" sz="quarter" idx="13"/>
          </p:nvPr>
        </p:nvSpPr>
        <p:spPr/>
        <p:txBody>
          <a:bodyPr/>
          <a:lstStyle/>
          <a:p>
            <a:r>
              <a:rPr lang="en-GB"/>
              <a:t>© Moorhouse 2020 [Restricted]</a:t>
            </a:r>
          </a:p>
        </p:txBody>
      </p:sp>
    </p:spTree>
    <p:extLst>
      <p:ext uri="{BB962C8B-B14F-4D97-AF65-F5344CB8AC3E}">
        <p14:creationId xmlns:p14="http://schemas.microsoft.com/office/powerpoint/2010/main" val="389768203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69" name="think-cell Slide" r:id="rId4" imgW="421" imgH="420" progId="TCLayout.ActiveDocument.1">
                  <p:embed/>
                </p:oleObj>
              </mc:Choice>
              <mc:Fallback>
                <p:oleObj name="think-cell Slide" r:id="rId4" imgW="421" imgH="42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AF8501C1-52FE-0147-9319-81DD10D64AB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31666" y="2813846"/>
            <a:ext cx="4928668" cy="1230307"/>
          </a:xfrm>
          <a:prstGeom prst="rect">
            <a:avLst/>
          </a:prstGeom>
        </p:spPr>
      </p:pic>
    </p:spTree>
    <p:extLst>
      <p:ext uri="{BB962C8B-B14F-4D97-AF65-F5344CB8AC3E}">
        <p14:creationId xmlns:p14="http://schemas.microsoft.com/office/powerpoint/2010/main" val="9060814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title, Summary, Bod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7" name="think-cell Slide" r:id="rId5" imgW="421" imgH="420" progId="TCLayout.ActiveDocument.1">
                  <p:embed/>
                </p:oleObj>
              </mc:Choice>
              <mc:Fallback>
                <p:oleObj name="think-cell Slide" r:id="rId5" imgW="421" imgH="42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7" name="Title Placeholder 1">
            <a:extLst>
              <a:ext uri="{FF2B5EF4-FFF2-40B4-BE49-F238E27FC236}">
                <a16:creationId xmlns:a16="http://schemas.microsoft.com/office/drawing/2014/main" id="{A77F0F7B-5DC0-AE4D-805D-D4592C2895F3}"/>
              </a:ext>
            </a:extLst>
          </p:cNvPr>
          <p:cNvSpPr>
            <a:spLocks noGrp="1"/>
          </p:cNvSpPr>
          <p:nvPr>
            <p:ph type="title" hasCustomPrompt="1"/>
          </p:nvPr>
        </p:nvSpPr>
        <p:spPr>
          <a:xfrm>
            <a:off x="510638" y="297277"/>
            <a:ext cx="9400805" cy="434010"/>
          </a:xfrm>
          <a:prstGeom prst="rect">
            <a:avLst/>
          </a:prstGeom>
        </p:spPr>
        <p:txBody>
          <a:bodyPr vert="horz" lIns="0" tIns="0" rIns="0" bIns="0" rtlCol="0" anchor="t" anchorCtr="0">
            <a:noAutofit/>
          </a:bodyPr>
          <a:lstStyle>
            <a:lvl1pPr>
              <a:defRPr sz="2800">
                <a:latin typeface="+mn-lt"/>
              </a:defRPr>
            </a:lvl1pPr>
          </a:lstStyle>
          <a:p>
            <a:r>
              <a:rPr lang="en-US"/>
              <a:t>Click to add title</a:t>
            </a:r>
          </a:p>
        </p:txBody>
      </p:sp>
      <p:cxnSp>
        <p:nvCxnSpPr>
          <p:cNvPr id="8" name="Straight Connector 7">
            <a:extLst>
              <a:ext uri="{FF2B5EF4-FFF2-40B4-BE49-F238E27FC236}">
                <a16:creationId xmlns:a16="http://schemas.microsoft.com/office/drawing/2014/main" id="{5F118AFB-B1FF-9640-A790-2E771E094A56}"/>
              </a:ext>
            </a:extLst>
          </p:cNvPr>
          <p:cNvCxnSpPr>
            <a:cxnSpLocks/>
          </p:cNvCxnSpPr>
          <p:nvPr userDrawn="1"/>
        </p:nvCxnSpPr>
        <p:spPr>
          <a:xfrm>
            <a:off x="510638" y="783018"/>
            <a:ext cx="6361902"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userDrawn="1">
            <p:ph type="body" sz="quarter" idx="10" hasCustomPrompt="1"/>
          </p:nvPr>
        </p:nvSpPr>
        <p:spPr>
          <a:xfrm>
            <a:off x="510638" y="1308212"/>
            <a:ext cx="11262262" cy="516517"/>
          </a:xfrm>
          <a:prstGeom prst="rect">
            <a:avLst/>
          </a:prstGeom>
        </p:spPr>
        <p:txBody>
          <a:bodyPr lIns="0" tIns="0" rIns="0" bIns="0"/>
          <a:lstStyle>
            <a:lvl1pPr marL="0" indent="0">
              <a:lnSpc>
                <a:spcPct val="100000"/>
              </a:lnSpc>
              <a:spcBef>
                <a:spcPts val="300"/>
              </a:spcBef>
              <a:spcAft>
                <a:spcPts val="300"/>
              </a:spcAft>
              <a:buNone/>
              <a:tabLst/>
              <a:defRPr sz="1400">
                <a:solidFill>
                  <a:schemeClr val="accent2"/>
                </a:solidFill>
              </a:defRPr>
            </a:lvl1pPr>
            <a:lvl2pPr>
              <a:buNone/>
              <a:defRPr/>
            </a:lvl2pPr>
          </a:lstStyle>
          <a:p>
            <a:pPr lvl="0"/>
            <a:r>
              <a:rPr lang="en-US"/>
              <a:t>Click to add summary</a:t>
            </a:r>
          </a:p>
        </p:txBody>
      </p:sp>
      <p:sp>
        <p:nvSpPr>
          <p:cNvPr id="10" name="Text Placeholder 8">
            <a:extLst>
              <a:ext uri="{FF2B5EF4-FFF2-40B4-BE49-F238E27FC236}">
                <a16:creationId xmlns:a16="http://schemas.microsoft.com/office/drawing/2014/main" id="{215965C1-5B87-B342-92DF-960F7A97F380}"/>
              </a:ext>
            </a:extLst>
          </p:cNvPr>
          <p:cNvSpPr>
            <a:spLocks noGrp="1"/>
          </p:cNvSpPr>
          <p:nvPr>
            <p:ph type="body" sz="quarter" idx="11" hasCustomPrompt="1"/>
          </p:nvPr>
        </p:nvSpPr>
        <p:spPr>
          <a:xfrm>
            <a:off x="510638" y="1947306"/>
            <a:ext cx="11262262" cy="4500000"/>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tabLst/>
              <a:defRPr sz="1400"/>
            </a:lvl1pPr>
            <a:lvl2pPr marL="9525" indent="-9525">
              <a:buNone/>
              <a:tabLst/>
              <a:defRPr/>
            </a:lvl2pPr>
            <a:lvl3pPr marL="9525" indent="-9525">
              <a:buNone/>
              <a:tabLst/>
              <a:defRPr/>
            </a:lvl3pPr>
            <a:lvl4pPr marL="9525" indent="-9525">
              <a:buNone/>
              <a:tabLst/>
              <a:defRPr/>
            </a:lvl4pPr>
            <a:lvl5pPr marL="9525" indent="-9525">
              <a:buNone/>
              <a:tabLst/>
              <a:defRPr/>
            </a:lvl5pPr>
          </a:lstStyle>
          <a:p>
            <a:pPr lvl="0"/>
            <a:r>
              <a:rPr lang="en-US"/>
              <a:t>Click to add text</a:t>
            </a:r>
          </a:p>
        </p:txBody>
      </p:sp>
      <p:sp>
        <p:nvSpPr>
          <p:cNvPr id="12" name="Text Placeholder 8">
            <a:extLst>
              <a:ext uri="{FF2B5EF4-FFF2-40B4-BE49-F238E27FC236}">
                <a16:creationId xmlns:a16="http://schemas.microsoft.com/office/drawing/2014/main" id="{EDBD8DDE-2607-2640-81EF-425A65FC7156}"/>
              </a:ext>
            </a:extLst>
          </p:cNvPr>
          <p:cNvSpPr>
            <a:spLocks noGrp="1"/>
          </p:cNvSpPr>
          <p:nvPr>
            <p:ph type="body" sz="quarter" idx="12" hasCustomPrompt="1"/>
          </p:nvPr>
        </p:nvSpPr>
        <p:spPr>
          <a:xfrm>
            <a:off x="510638" y="851055"/>
            <a:ext cx="11262262" cy="334580"/>
          </a:xfrm>
          <a:prstGeom prst="rect">
            <a:avLst/>
          </a:prstGeom>
        </p:spPr>
        <p:txBody>
          <a:bodyPr lIns="0" tIns="0" rIns="0" bIns="0"/>
          <a:lstStyle>
            <a:lvl1pPr marL="0" indent="0">
              <a:lnSpc>
                <a:spcPct val="100000"/>
              </a:lnSpc>
              <a:spcBef>
                <a:spcPts val="300"/>
              </a:spcBef>
              <a:spcAft>
                <a:spcPts val="300"/>
              </a:spcAft>
              <a:buNone/>
              <a:tabLst/>
              <a:defRPr sz="1600">
                <a:solidFill>
                  <a:schemeClr val="accent1"/>
                </a:solidFill>
              </a:defRPr>
            </a:lvl1pPr>
            <a:lvl2pPr>
              <a:buNone/>
              <a:defRPr/>
            </a:lvl2pPr>
          </a:lstStyle>
          <a:p>
            <a:pPr lvl="0"/>
            <a:r>
              <a:rPr lang="en-US"/>
              <a:t>Click to add subtitle</a:t>
            </a:r>
          </a:p>
        </p:txBody>
      </p:sp>
      <p:sp>
        <p:nvSpPr>
          <p:cNvPr id="6" name="Footer Placeholder 5">
            <a:extLst>
              <a:ext uri="{FF2B5EF4-FFF2-40B4-BE49-F238E27FC236}">
                <a16:creationId xmlns:a16="http://schemas.microsoft.com/office/drawing/2014/main" id="{F4903614-D375-794E-BE18-2A6EF1376FDF}"/>
              </a:ext>
            </a:extLst>
          </p:cNvPr>
          <p:cNvSpPr>
            <a:spLocks noGrp="1"/>
          </p:cNvSpPr>
          <p:nvPr>
            <p:ph type="ftr" sz="quarter" idx="13"/>
          </p:nvPr>
        </p:nvSpPr>
        <p:spPr/>
        <p:txBody>
          <a:bodyPr/>
          <a:lstStyle/>
          <a:p>
            <a:r>
              <a:rPr lang="en-GB"/>
              <a:t>© Moorhouse 2020 [Restricted]</a:t>
            </a:r>
          </a:p>
        </p:txBody>
      </p:sp>
    </p:spTree>
    <p:extLst>
      <p:ext uri="{BB962C8B-B14F-4D97-AF65-F5344CB8AC3E}">
        <p14:creationId xmlns:p14="http://schemas.microsoft.com/office/powerpoint/2010/main" val="3757356552"/>
      </p:ext>
    </p:extLst>
  </p:cSld>
  <p:clrMapOvr>
    <a:masterClrMapping/>
  </p:clrMapOvr>
  <p:extLst>
    <p:ext uri="{DCECCB84-F9BA-43D5-87BE-67443E8EF086}">
      <p15:sldGuideLst xmlns:p15="http://schemas.microsoft.com/office/powerpoint/2012/main">
        <p15:guide id="1" orient="horz" pos="672">
          <p15:clr>
            <a:srgbClr val="FBAE40"/>
          </p15:clr>
        </p15:guide>
        <p15:guide id="2" pos="7416">
          <p15:clr>
            <a:srgbClr val="FBAE40"/>
          </p15:clr>
        </p15:guide>
        <p15:guide id="3" orient="horz" pos="4068">
          <p15:clr>
            <a:srgbClr val="FBAE40"/>
          </p15:clr>
        </p15:guide>
        <p15:guide id="4" pos="31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ubtitle, 1 Text Box">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1" name="think-cell Slide" r:id="rId5" imgW="421" imgH="420" progId="TCLayout.ActiveDocument.1">
                  <p:embed/>
                </p:oleObj>
              </mc:Choice>
              <mc:Fallback>
                <p:oleObj name="think-cell Slide" r:id="rId5" imgW="421" imgH="42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cxnSp>
        <p:nvCxnSpPr>
          <p:cNvPr id="8" name="Straight Connector 7">
            <a:extLst>
              <a:ext uri="{FF2B5EF4-FFF2-40B4-BE49-F238E27FC236}">
                <a16:creationId xmlns:a16="http://schemas.microsoft.com/office/drawing/2014/main" id="{5F118AFB-B1FF-9640-A790-2E771E094A56}"/>
              </a:ext>
            </a:extLst>
          </p:cNvPr>
          <p:cNvCxnSpPr>
            <a:cxnSpLocks/>
          </p:cNvCxnSpPr>
          <p:nvPr userDrawn="1"/>
        </p:nvCxnSpPr>
        <p:spPr>
          <a:xfrm>
            <a:off x="510638" y="783018"/>
            <a:ext cx="6361902"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userDrawn="1">
            <p:ph type="body" sz="quarter" idx="10" hasCustomPrompt="1"/>
          </p:nvPr>
        </p:nvSpPr>
        <p:spPr>
          <a:xfrm>
            <a:off x="510638" y="1305404"/>
            <a:ext cx="11262262" cy="5152546"/>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tabLst/>
              <a:defRPr sz="1400"/>
            </a:lvl1pPr>
            <a:lvl2pPr>
              <a:buNone/>
              <a:defRPr/>
            </a:lvl2pPr>
            <a:lvl3pPr>
              <a:buNone/>
              <a:defRPr/>
            </a:lvl3pPr>
            <a:lvl4pPr>
              <a:buNone/>
              <a:defRPr/>
            </a:lvl4pPr>
            <a:lvl5pPr>
              <a:buNone/>
              <a:defRPr/>
            </a:lvl5pPr>
          </a:lstStyle>
          <a:p>
            <a:pPr lvl="0"/>
            <a:r>
              <a:rPr lang="en-US"/>
              <a:t>Click to add text</a:t>
            </a:r>
          </a:p>
        </p:txBody>
      </p:sp>
      <p:sp>
        <p:nvSpPr>
          <p:cNvPr id="10" name="Title Placeholder 1">
            <a:extLst>
              <a:ext uri="{FF2B5EF4-FFF2-40B4-BE49-F238E27FC236}">
                <a16:creationId xmlns:a16="http://schemas.microsoft.com/office/drawing/2014/main" id="{C41CD681-483C-B441-842C-EDADAD5D7B1E}"/>
              </a:ext>
            </a:extLst>
          </p:cNvPr>
          <p:cNvSpPr>
            <a:spLocks noGrp="1"/>
          </p:cNvSpPr>
          <p:nvPr>
            <p:ph type="title" hasCustomPrompt="1"/>
          </p:nvPr>
        </p:nvSpPr>
        <p:spPr>
          <a:xfrm>
            <a:off x="510638" y="297277"/>
            <a:ext cx="9400805" cy="434010"/>
          </a:xfrm>
          <a:prstGeom prst="rect">
            <a:avLst/>
          </a:prstGeom>
        </p:spPr>
        <p:txBody>
          <a:bodyPr vert="horz" lIns="0" tIns="0" rIns="0" bIns="0" rtlCol="0" anchor="t" anchorCtr="0">
            <a:noAutofit/>
          </a:bodyPr>
          <a:lstStyle>
            <a:lvl1pPr>
              <a:defRPr sz="2800">
                <a:latin typeface="+mn-lt"/>
              </a:defRPr>
            </a:lvl1pPr>
          </a:lstStyle>
          <a:p>
            <a:r>
              <a:rPr lang="en-US"/>
              <a:t>Click to add title</a:t>
            </a:r>
          </a:p>
        </p:txBody>
      </p:sp>
      <p:sp>
        <p:nvSpPr>
          <p:cNvPr id="12" name="Text Placeholder 8">
            <a:extLst>
              <a:ext uri="{FF2B5EF4-FFF2-40B4-BE49-F238E27FC236}">
                <a16:creationId xmlns:a16="http://schemas.microsoft.com/office/drawing/2014/main" id="{87471414-239E-9843-9940-2EF118FE70A3}"/>
              </a:ext>
            </a:extLst>
          </p:cNvPr>
          <p:cNvSpPr>
            <a:spLocks noGrp="1"/>
          </p:cNvSpPr>
          <p:nvPr>
            <p:ph type="body" sz="quarter" idx="12" hasCustomPrompt="1"/>
          </p:nvPr>
        </p:nvSpPr>
        <p:spPr>
          <a:xfrm>
            <a:off x="510638" y="851055"/>
            <a:ext cx="11262262" cy="334580"/>
          </a:xfrm>
          <a:prstGeom prst="rect">
            <a:avLst/>
          </a:prstGeom>
        </p:spPr>
        <p:txBody>
          <a:bodyPr lIns="0" tIns="0" rIns="0" bIns="0"/>
          <a:lstStyle>
            <a:lvl1pPr marL="0" indent="0">
              <a:lnSpc>
                <a:spcPct val="100000"/>
              </a:lnSpc>
              <a:spcBef>
                <a:spcPts val="300"/>
              </a:spcBef>
              <a:spcAft>
                <a:spcPts val="300"/>
              </a:spcAft>
              <a:buNone/>
              <a:tabLst/>
              <a:defRPr sz="1600">
                <a:solidFill>
                  <a:schemeClr val="accent1"/>
                </a:solidFill>
              </a:defRPr>
            </a:lvl1pPr>
            <a:lvl2pPr>
              <a:buNone/>
              <a:defRPr/>
            </a:lvl2pPr>
          </a:lstStyle>
          <a:p>
            <a:pPr lvl="0"/>
            <a:r>
              <a:rPr lang="en-US"/>
              <a:t>Click to add subtitle</a:t>
            </a:r>
          </a:p>
        </p:txBody>
      </p:sp>
      <p:sp>
        <p:nvSpPr>
          <p:cNvPr id="5" name="Footer Placeholder 4">
            <a:extLst>
              <a:ext uri="{FF2B5EF4-FFF2-40B4-BE49-F238E27FC236}">
                <a16:creationId xmlns:a16="http://schemas.microsoft.com/office/drawing/2014/main" id="{2D417BC6-2897-D344-949E-7414244A27D6}"/>
              </a:ext>
            </a:extLst>
          </p:cNvPr>
          <p:cNvSpPr>
            <a:spLocks noGrp="1"/>
          </p:cNvSpPr>
          <p:nvPr>
            <p:ph type="ftr" sz="quarter" idx="13"/>
          </p:nvPr>
        </p:nvSpPr>
        <p:spPr/>
        <p:txBody>
          <a:bodyPr/>
          <a:lstStyle/>
          <a:p>
            <a:r>
              <a:rPr lang="en-GB"/>
              <a:t>© Moorhouse 2020 [Restricted]</a:t>
            </a:r>
          </a:p>
        </p:txBody>
      </p:sp>
    </p:spTree>
    <p:extLst>
      <p:ext uri="{BB962C8B-B14F-4D97-AF65-F5344CB8AC3E}">
        <p14:creationId xmlns:p14="http://schemas.microsoft.com/office/powerpoint/2010/main" val="3236190532"/>
      </p:ext>
    </p:extLst>
  </p:cSld>
  <p:clrMapOvr>
    <a:masterClrMapping/>
  </p:clrMapOvr>
  <p:extLst>
    <p:ext uri="{DCECCB84-F9BA-43D5-87BE-67443E8EF086}">
      <p15:sldGuideLst xmlns:p15="http://schemas.microsoft.com/office/powerpoint/2012/main">
        <p15:guide id="1" orient="horz" pos="672">
          <p15:clr>
            <a:srgbClr val="FBAE40"/>
          </p15:clr>
        </p15:guide>
        <p15:guide id="2" pos="7416">
          <p15:clr>
            <a:srgbClr val="FBAE40"/>
          </p15:clr>
        </p15:guide>
        <p15:guide id="3" orient="horz" pos="4068">
          <p15:clr>
            <a:srgbClr val="FBAE40"/>
          </p15:clr>
        </p15:guide>
        <p15:guide id="4" pos="312">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2 Text Boxes">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49B7C81-6DE7-134A-AF49-C5B48C4FBB5B}"/>
              </a:ext>
            </a:extLst>
          </p:cNvPr>
          <p:cNvSpPr>
            <a:spLocks noGrp="1"/>
          </p:cNvSpPr>
          <p:nvPr>
            <p:ph type="title" hasCustomPrompt="1"/>
          </p:nvPr>
        </p:nvSpPr>
        <p:spPr>
          <a:xfrm>
            <a:off x="510638" y="297277"/>
            <a:ext cx="9400805" cy="434010"/>
          </a:xfrm>
          <a:prstGeom prst="rect">
            <a:avLst/>
          </a:prstGeom>
        </p:spPr>
        <p:txBody>
          <a:bodyPr vert="horz" lIns="0" tIns="0" rIns="0" bIns="0" rtlCol="0" anchor="t" anchorCtr="0">
            <a:noAutofit/>
          </a:bodyPr>
          <a:lstStyle>
            <a:lvl1pPr>
              <a:defRPr sz="2800">
                <a:latin typeface="+mn-lt"/>
              </a:defRPr>
            </a:lvl1pPr>
          </a:lstStyle>
          <a:p>
            <a:r>
              <a:rPr lang="en-US"/>
              <a:t>Click to add title</a:t>
            </a:r>
          </a:p>
        </p:txBody>
      </p:sp>
      <p:cxnSp>
        <p:nvCxnSpPr>
          <p:cNvPr id="4" name="Straight Connector 3">
            <a:extLst>
              <a:ext uri="{FF2B5EF4-FFF2-40B4-BE49-F238E27FC236}">
                <a16:creationId xmlns:a16="http://schemas.microsoft.com/office/drawing/2014/main" id="{A07048F0-CD4E-8D48-B45B-B52352A2A2C3}"/>
              </a:ext>
            </a:extLst>
          </p:cNvPr>
          <p:cNvCxnSpPr>
            <a:cxnSpLocks/>
          </p:cNvCxnSpPr>
          <p:nvPr userDrawn="1"/>
        </p:nvCxnSpPr>
        <p:spPr>
          <a:xfrm>
            <a:off x="510638" y="783018"/>
            <a:ext cx="6361902"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Text Placeholder 8">
            <a:extLst>
              <a:ext uri="{FF2B5EF4-FFF2-40B4-BE49-F238E27FC236}">
                <a16:creationId xmlns:a16="http://schemas.microsoft.com/office/drawing/2014/main" id="{AC2416D7-C968-B242-B9DC-D0DEB8EC22FF}"/>
              </a:ext>
            </a:extLst>
          </p:cNvPr>
          <p:cNvSpPr>
            <a:spLocks noGrp="1"/>
          </p:cNvSpPr>
          <p:nvPr>
            <p:ph type="body" sz="quarter" idx="10" hasCustomPrompt="1"/>
          </p:nvPr>
        </p:nvSpPr>
        <p:spPr>
          <a:xfrm>
            <a:off x="510638" y="1305404"/>
            <a:ext cx="5448184" cy="5148574"/>
          </a:xfrm>
          <a:prstGeom prst="rect">
            <a:avLst/>
          </a:prstGeom>
        </p:spPr>
        <p:txBody>
          <a:bodyPr lIns="0" tIns="0" rIns="0" bIns="0"/>
          <a:lstStyle>
            <a:lvl1pPr marL="0" indent="0">
              <a:lnSpc>
                <a:spcPct val="100000"/>
              </a:lnSpc>
              <a:spcBef>
                <a:spcPts val="300"/>
              </a:spcBef>
              <a:spcAft>
                <a:spcPts val="300"/>
              </a:spcAft>
              <a:buNone/>
              <a:tabLst/>
              <a:defRPr sz="1400"/>
            </a:lvl1pPr>
            <a:lvl2pPr>
              <a:buNone/>
              <a:defRPr/>
            </a:lvl2pPr>
            <a:lvl3pPr>
              <a:buNone/>
              <a:defRPr/>
            </a:lvl3pPr>
            <a:lvl4pPr>
              <a:buNone/>
              <a:defRPr/>
            </a:lvl4pPr>
            <a:lvl5pPr>
              <a:buNone/>
              <a:defRPr/>
            </a:lvl5pPr>
          </a:lstStyle>
          <a:p>
            <a:pPr lvl="0"/>
            <a:r>
              <a:rPr lang="en-US"/>
              <a:t>Click to add text</a:t>
            </a:r>
          </a:p>
        </p:txBody>
      </p:sp>
      <p:sp>
        <p:nvSpPr>
          <p:cNvPr id="8" name="Text Placeholder 8">
            <a:extLst>
              <a:ext uri="{FF2B5EF4-FFF2-40B4-BE49-F238E27FC236}">
                <a16:creationId xmlns:a16="http://schemas.microsoft.com/office/drawing/2014/main" id="{6AA78D8E-15BB-9643-AA8C-1A70CBEE8D37}"/>
              </a:ext>
            </a:extLst>
          </p:cNvPr>
          <p:cNvSpPr>
            <a:spLocks noGrp="1"/>
          </p:cNvSpPr>
          <p:nvPr>
            <p:ph type="body" sz="quarter" idx="11" hasCustomPrompt="1"/>
          </p:nvPr>
        </p:nvSpPr>
        <p:spPr>
          <a:xfrm>
            <a:off x="6233179" y="1305404"/>
            <a:ext cx="5585361" cy="5148573"/>
          </a:xfrm>
          <a:prstGeom prst="rect">
            <a:avLst/>
          </a:prstGeom>
        </p:spPr>
        <p:txBody>
          <a:bodyPr lIns="0" tIns="0" rIns="0" bIns="0"/>
          <a:lstStyle>
            <a:lvl1pPr marL="0" indent="0">
              <a:lnSpc>
                <a:spcPct val="100000"/>
              </a:lnSpc>
              <a:spcBef>
                <a:spcPts val="300"/>
              </a:spcBef>
              <a:spcAft>
                <a:spcPts val="300"/>
              </a:spcAft>
              <a:buNone/>
              <a:tabLst/>
              <a:defRPr sz="1400"/>
            </a:lvl1pPr>
            <a:lvl2pPr marL="9525" indent="-9525">
              <a:buNone/>
              <a:tabLst/>
              <a:defRPr/>
            </a:lvl2pPr>
            <a:lvl3pPr marL="9525" indent="-9525">
              <a:buNone/>
              <a:tabLst/>
              <a:defRPr/>
            </a:lvl3pPr>
            <a:lvl4pPr marL="9525" indent="-9525">
              <a:buNone/>
              <a:tabLst/>
              <a:defRPr/>
            </a:lvl4pPr>
            <a:lvl5pPr marL="9525" indent="-9525">
              <a:buNone/>
              <a:tabLst/>
              <a:defRPr/>
            </a:lvl5pPr>
          </a:lstStyle>
          <a:p>
            <a:pPr lvl="0"/>
            <a:r>
              <a:rPr lang="en-US"/>
              <a:t>Click to add text</a:t>
            </a:r>
          </a:p>
        </p:txBody>
      </p:sp>
      <p:sp>
        <p:nvSpPr>
          <p:cNvPr id="9" name="Text Placeholder 8">
            <a:extLst>
              <a:ext uri="{FF2B5EF4-FFF2-40B4-BE49-F238E27FC236}">
                <a16:creationId xmlns:a16="http://schemas.microsoft.com/office/drawing/2014/main" id="{6815CEFE-7DDC-3F44-91FF-801D5D3F3A7B}"/>
              </a:ext>
            </a:extLst>
          </p:cNvPr>
          <p:cNvSpPr>
            <a:spLocks noGrp="1"/>
          </p:cNvSpPr>
          <p:nvPr>
            <p:ph type="body" sz="quarter" idx="12" hasCustomPrompt="1"/>
          </p:nvPr>
        </p:nvSpPr>
        <p:spPr>
          <a:xfrm>
            <a:off x="510638" y="851055"/>
            <a:ext cx="11262262" cy="334580"/>
          </a:xfrm>
          <a:prstGeom prst="rect">
            <a:avLst/>
          </a:prstGeom>
        </p:spPr>
        <p:txBody>
          <a:bodyPr lIns="0" tIns="0" rIns="0" bIns="0"/>
          <a:lstStyle>
            <a:lvl1pPr marL="0" indent="0">
              <a:lnSpc>
                <a:spcPct val="100000"/>
              </a:lnSpc>
              <a:spcBef>
                <a:spcPts val="300"/>
              </a:spcBef>
              <a:spcAft>
                <a:spcPts val="300"/>
              </a:spcAft>
              <a:buNone/>
              <a:tabLst/>
              <a:defRPr sz="1600">
                <a:solidFill>
                  <a:schemeClr val="accent1"/>
                </a:solidFill>
              </a:defRPr>
            </a:lvl1pPr>
            <a:lvl2pPr>
              <a:buNone/>
              <a:defRPr/>
            </a:lvl2pPr>
          </a:lstStyle>
          <a:p>
            <a:pPr lvl="0"/>
            <a:r>
              <a:rPr lang="en-US"/>
              <a:t>Click to add subtitle</a:t>
            </a:r>
          </a:p>
        </p:txBody>
      </p:sp>
      <p:sp>
        <p:nvSpPr>
          <p:cNvPr id="10" name="Footer Placeholder 9">
            <a:extLst>
              <a:ext uri="{FF2B5EF4-FFF2-40B4-BE49-F238E27FC236}">
                <a16:creationId xmlns:a16="http://schemas.microsoft.com/office/drawing/2014/main" id="{A4A51601-6448-744E-A498-648EE5916964}"/>
              </a:ext>
            </a:extLst>
          </p:cNvPr>
          <p:cNvSpPr>
            <a:spLocks noGrp="1"/>
          </p:cNvSpPr>
          <p:nvPr>
            <p:ph type="ftr" sz="quarter" idx="13"/>
          </p:nvPr>
        </p:nvSpPr>
        <p:spPr/>
        <p:txBody>
          <a:bodyPr/>
          <a:lstStyle/>
          <a:p>
            <a:r>
              <a:rPr lang="en-GB"/>
              <a:t>© Moorhouse 2020 [Restricted]</a:t>
            </a:r>
          </a:p>
        </p:txBody>
      </p:sp>
    </p:spTree>
    <p:extLst>
      <p:ext uri="{BB962C8B-B14F-4D97-AF65-F5344CB8AC3E}">
        <p14:creationId xmlns:p14="http://schemas.microsoft.com/office/powerpoint/2010/main" val="233959722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ubtitle, 3 Text Boxes">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49B7C81-6DE7-134A-AF49-C5B48C4FBB5B}"/>
              </a:ext>
            </a:extLst>
          </p:cNvPr>
          <p:cNvSpPr>
            <a:spLocks noGrp="1"/>
          </p:cNvSpPr>
          <p:nvPr>
            <p:ph type="title" hasCustomPrompt="1"/>
          </p:nvPr>
        </p:nvSpPr>
        <p:spPr>
          <a:xfrm>
            <a:off x="510638" y="297277"/>
            <a:ext cx="9400805" cy="434010"/>
          </a:xfrm>
          <a:prstGeom prst="rect">
            <a:avLst/>
          </a:prstGeom>
        </p:spPr>
        <p:txBody>
          <a:bodyPr vert="horz" lIns="0" tIns="0" rIns="0" bIns="0" rtlCol="0" anchor="t" anchorCtr="0">
            <a:noAutofit/>
          </a:bodyPr>
          <a:lstStyle>
            <a:lvl1pPr>
              <a:defRPr sz="2800">
                <a:latin typeface="+mn-lt"/>
              </a:defRPr>
            </a:lvl1pPr>
          </a:lstStyle>
          <a:p>
            <a:r>
              <a:rPr lang="en-US"/>
              <a:t>Click to add title</a:t>
            </a:r>
          </a:p>
        </p:txBody>
      </p:sp>
      <p:cxnSp>
        <p:nvCxnSpPr>
          <p:cNvPr id="4" name="Straight Connector 3">
            <a:extLst>
              <a:ext uri="{FF2B5EF4-FFF2-40B4-BE49-F238E27FC236}">
                <a16:creationId xmlns:a16="http://schemas.microsoft.com/office/drawing/2014/main" id="{A07048F0-CD4E-8D48-B45B-B52352A2A2C3}"/>
              </a:ext>
            </a:extLst>
          </p:cNvPr>
          <p:cNvCxnSpPr>
            <a:cxnSpLocks/>
          </p:cNvCxnSpPr>
          <p:nvPr userDrawn="1"/>
        </p:nvCxnSpPr>
        <p:spPr>
          <a:xfrm>
            <a:off x="510638" y="783018"/>
            <a:ext cx="6361902"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Text Placeholder 8">
            <a:extLst>
              <a:ext uri="{FF2B5EF4-FFF2-40B4-BE49-F238E27FC236}">
                <a16:creationId xmlns:a16="http://schemas.microsoft.com/office/drawing/2014/main" id="{AC2416D7-C968-B242-B9DC-D0DEB8EC22FF}"/>
              </a:ext>
            </a:extLst>
          </p:cNvPr>
          <p:cNvSpPr>
            <a:spLocks noGrp="1"/>
          </p:cNvSpPr>
          <p:nvPr>
            <p:ph type="body" sz="quarter" idx="10" hasCustomPrompt="1"/>
          </p:nvPr>
        </p:nvSpPr>
        <p:spPr>
          <a:xfrm>
            <a:off x="510638" y="1305402"/>
            <a:ext cx="3420000" cy="5179623"/>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tabLst/>
              <a:defRPr sz="1400"/>
            </a:lvl1pPr>
          </a:lstStyle>
          <a:p>
            <a:pPr lvl="0"/>
            <a:r>
              <a:rPr lang="en-US"/>
              <a:t>Click to add text</a:t>
            </a:r>
          </a:p>
        </p:txBody>
      </p:sp>
      <p:sp>
        <p:nvSpPr>
          <p:cNvPr id="8" name="Text Placeholder 8">
            <a:extLst>
              <a:ext uri="{FF2B5EF4-FFF2-40B4-BE49-F238E27FC236}">
                <a16:creationId xmlns:a16="http://schemas.microsoft.com/office/drawing/2014/main" id="{6AA78D8E-15BB-9643-AA8C-1A70CBEE8D37}"/>
              </a:ext>
            </a:extLst>
          </p:cNvPr>
          <p:cNvSpPr>
            <a:spLocks noGrp="1"/>
          </p:cNvSpPr>
          <p:nvPr>
            <p:ph type="body" sz="quarter" idx="11" hasCustomPrompt="1"/>
          </p:nvPr>
        </p:nvSpPr>
        <p:spPr>
          <a:xfrm>
            <a:off x="4386000" y="1305402"/>
            <a:ext cx="3420000" cy="5179623"/>
          </a:xfrm>
          <a:prstGeom prst="rect">
            <a:avLst/>
          </a:prstGeom>
        </p:spPr>
        <p:txBody>
          <a:bodyPr lIns="0" tIns="0" rIns="0" bIns="0"/>
          <a:lstStyle>
            <a:lvl1pPr marL="0" indent="0">
              <a:lnSpc>
                <a:spcPct val="100000"/>
              </a:lnSpc>
              <a:spcBef>
                <a:spcPts val="300"/>
              </a:spcBef>
              <a:spcAft>
                <a:spcPts val="300"/>
              </a:spcAft>
              <a:buNone/>
              <a:tabLst/>
              <a:defRPr sz="1400"/>
            </a:lvl1pPr>
          </a:lstStyle>
          <a:p>
            <a:pPr lvl="0"/>
            <a:r>
              <a:rPr lang="en-US"/>
              <a:t>Click to add text</a:t>
            </a:r>
          </a:p>
        </p:txBody>
      </p:sp>
      <p:sp>
        <p:nvSpPr>
          <p:cNvPr id="9" name="Text Placeholder 8">
            <a:extLst>
              <a:ext uri="{FF2B5EF4-FFF2-40B4-BE49-F238E27FC236}">
                <a16:creationId xmlns:a16="http://schemas.microsoft.com/office/drawing/2014/main" id="{30695E36-9456-5140-8E3C-DC1268961E29}"/>
              </a:ext>
            </a:extLst>
          </p:cNvPr>
          <p:cNvSpPr>
            <a:spLocks noGrp="1"/>
          </p:cNvSpPr>
          <p:nvPr>
            <p:ph type="body" sz="quarter" idx="12" hasCustomPrompt="1"/>
          </p:nvPr>
        </p:nvSpPr>
        <p:spPr>
          <a:xfrm>
            <a:off x="8261362" y="1305402"/>
            <a:ext cx="3420000" cy="5179623"/>
          </a:xfrm>
          <a:prstGeom prst="rect">
            <a:avLst/>
          </a:prstGeom>
        </p:spPr>
        <p:txBody>
          <a:bodyPr lIns="0" tIns="0" rIns="0" bIns="0"/>
          <a:lstStyle>
            <a:lvl1pPr marL="0" indent="0">
              <a:lnSpc>
                <a:spcPct val="100000"/>
              </a:lnSpc>
              <a:spcBef>
                <a:spcPts val="300"/>
              </a:spcBef>
              <a:spcAft>
                <a:spcPts val="300"/>
              </a:spcAft>
              <a:buNone/>
              <a:tabLst/>
              <a:defRPr sz="1400"/>
            </a:lvl1pPr>
          </a:lstStyle>
          <a:p>
            <a:pPr lvl="0"/>
            <a:r>
              <a:rPr lang="en-US"/>
              <a:t>Click to add text</a:t>
            </a:r>
          </a:p>
        </p:txBody>
      </p:sp>
      <p:sp>
        <p:nvSpPr>
          <p:cNvPr id="10" name="Text Placeholder 8">
            <a:extLst>
              <a:ext uri="{FF2B5EF4-FFF2-40B4-BE49-F238E27FC236}">
                <a16:creationId xmlns:a16="http://schemas.microsoft.com/office/drawing/2014/main" id="{69F2AC11-9F7C-2D44-BB31-1F13E63CD865}"/>
              </a:ext>
            </a:extLst>
          </p:cNvPr>
          <p:cNvSpPr>
            <a:spLocks noGrp="1"/>
          </p:cNvSpPr>
          <p:nvPr>
            <p:ph type="body" sz="quarter" idx="13" hasCustomPrompt="1"/>
          </p:nvPr>
        </p:nvSpPr>
        <p:spPr>
          <a:xfrm>
            <a:off x="510638" y="851055"/>
            <a:ext cx="11262262" cy="334580"/>
          </a:xfrm>
          <a:prstGeom prst="rect">
            <a:avLst/>
          </a:prstGeom>
        </p:spPr>
        <p:txBody>
          <a:bodyPr lIns="0" tIns="0" rIns="0" bIns="0"/>
          <a:lstStyle>
            <a:lvl1pPr marL="0" indent="0">
              <a:lnSpc>
                <a:spcPct val="100000"/>
              </a:lnSpc>
              <a:spcBef>
                <a:spcPts val="300"/>
              </a:spcBef>
              <a:spcAft>
                <a:spcPts val="300"/>
              </a:spcAft>
              <a:buNone/>
              <a:tabLst/>
              <a:defRPr sz="1600">
                <a:solidFill>
                  <a:schemeClr val="accent1"/>
                </a:solidFill>
              </a:defRPr>
            </a:lvl1pPr>
            <a:lvl2pPr>
              <a:buNone/>
              <a:defRPr/>
            </a:lvl2pPr>
          </a:lstStyle>
          <a:p>
            <a:pPr lvl="0"/>
            <a:r>
              <a:rPr lang="en-US"/>
              <a:t>Click to add subtitle</a:t>
            </a:r>
          </a:p>
        </p:txBody>
      </p:sp>
      <p:sp>
        <p:nvSpPr>
          <p:cNvPr id="2" name="Footer Placeholder 1">
            <a:extLst>
              <a:ext uri="{FF2B5EF4-FFF2-40B4-BE49-F238E27FC236}">
                <a16:creationId xmlns:a16="http://schemas.microsoft.com/office/drawing/2014/main" id="{7FB3F751-3DB2-5D4B-988F-C86753AB07C9}"/>
              </a:ext>
            </a:extLst>
          </p:cNvPr>
          <p:cNvSpPr>
            <a:spLocks noGrp="1"/>
          </p:cNvSpPr>
          <p:nvPr>
            <p:ph type="ftr" sz="quarter" idx="14"/>
          </p:nvPr>
        </p:nvSpPr>
        <p:spPr/>
        <p:txBody>
          <a:bodyPr/>
          <a:lstStyle/>
          <a:p>
            <a:r>
              <a:rPr lang="en-GB"/>
              <a:t>© Moorhouse 2020 [Restricted]</a:t>
            </a:r>
          </a:p>
        </p:txBody>
      </p:sp>
    </p:spTree>
    <p:extLst>
      <p:ext uri="{BB962C8B-B14F-4D97-AF65-F5344CB8AC3E}">
        <p14:creationId xmlns:p14="http://schemas.microsoft.com/office/powerpoint/2010/main" val="138621926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Page Number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3" name="think-cell Slide" r:id="rId5" imgW="421" imgH="420" progId="TCLayout.ActiveDocument.1">
                  <p:embed/>
                </p:oleObj>
              </mc:Choice>
              <mc:Fallback>
                <p:oleObj name="think-cell Slide" r:id="rId5" imgW="421" imgH="42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7" name="Title Placeholder 1">
            <a:extLst>
              <a:ext uri="{FF2B5EF4-FFF2-40B4-BE49-F238E27FC236}">
                <a16:creationId xmlns:a16="http://schemas.microsoft.com/office/drawing/2014/main" id="{A77F0F7B-5DC0-AE4D-805D-D4592C2895F3}"/>
              </a:ext>
            </a:extLst>
          </p:cNvPr>
          <p:cNvSpPr>
            <a:spLocks noGrp="1"/>
          </p:cNvSpPr>
          <p:nvPr>
            <p:ph type="title" hasCustomPrompt="1"/>
          </p:nvPr>
        </p:nvSpPr>
        <p:spPr>
          <a:xfrm>
            <a:off x="510638" y="297277"/>
            <a:ext cx="9400805" cy="434010"/>
          </a:xfrm>
          <a:prstGeom prst="rect">
            <a:avLst/>
          </a:prstGeom>
        </p:spPr>
        <p:txBody>
          <a:bodyPr vert="horz" lIns="0" tIns="0" rIns="0" bIns="0" rtlCol="0" anchor="t" anchorCtr="0">
            <a:noAutofit/>
          </a:bodyPr>
          <a:lstStyle>
            <a:lvl1pPr>
              <a:defRPr sz="2800">
                <a:latin typeface="+mn-lt"/>
              </a:defRPr>
            </a:lvl1pPr>
          </a:lstStyle>
          <a:p>
            <a:r>
              <a:rPr lang="en-US"/>
              <a:t>Click to add title</a:t>
            </a:r>
          </a:p>
        </p:txBody>
      </p:sp>
      <p:cxnSp>
        <p:nvCxnSpPr>
          <p:cNvPr id="8" name="Straight Connector 7">
            <a:extLst>
              <a:ext uri="{FF2B5EF4-FFF2-40B4-BE49-F238E27FC236}">
                <a16:creationId xmlns:a16="http://schemas.microsoft.com/office/drawing/2014/main" id="{5F118AFB-B1FF-9640-A790-2E771E094A56}"/>
              </a:ext>
            </a:extLst>
          </p:cNvPr>
          <p:cNvCxnSpPr>
            <a:cxnSpLocks/>
          </p:cNvCxnSpPr>
          <p:nvPr userDrawn="1"/>
        </p:nvCxnSpPr>
        <p:spPr>
          <a:xfrm>
            <a:off x="510638" y="783018"/>
            <a:ext cx="6361902"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5C7E5B43-1A8B-BF4F-B3F2-7ACA4FE8B007}"/>
              </a:ext>
            </a:extLst>
          </p:cNvPr>
          <p:cNvSpPr>
            <a:spLocks noGrp="1"/>
          </p:cNvSpPr>
          <p:nvPr>
            <p:ph type="ftr" sz="quarter" idx="14"/>
          </p:nvPr>
        </p:nvSpPr>
        <p:spPr/>
        <p:txBody>
          <a:bodyPr/>
          <a:lstStyle/>
          <a:p>
            <a:r>
              <a:rPr lang="en-GB"/>
              <a:t>© Moorhouse 2020 [Restricted]</a:t>
            </a:r>
          </a:p>
        </p:txBody>
      </p:sp>
      <p:sp>
        <p:nvSpPr>
          <p:cNvPr id="12" name="Text Placeholder 8">
            <a:extLst>
              <a:ext uri="{FF2B5EF4-FFF2-40B4-BE49-F238E27FC236}">
                <a16:creationId xmlns:a16="http://schemas.microsoft.com/office/drawing/2014/main" id="{0C413A33-1D7F-464C-8AF1-DE3EDA9B4AA7}"/>
              </a:ext>
            </a:extLst>
          </p:cNvPr>
          <p:cNvSpPr>
            <a:spLocks noGrp="1"/>
          </p:cNvSpPr>
          <p:nvPr>
            <p:ph type="body" sz="quarter" idx="13" hasCustomPrompt="1"/>
          </p:nvPr>
        </p:nvSpPr>
        <p:spPr>
          <a:xfrm>
            <a:off x="510638" y="851055"/>
            <a:ext cx="11262262" cy="334580"/>
          </a:xfrm>
          <a:prstGeom prst="rect">
            <a:avLst/>
          </a:prstGeom>
        </p:spPr>
        <p:txBody>
          <a:bodyPr lIns="0" tIns="0" rIns="0" bIns="0"/>
          <a:lstStyle>
            <a:lvl1pPr marL="0" indent="0">
              <a:lnSpc>
                <a:spcPct val="100000"/>
              </a:lnSpc>
              <a:spcBef>
                <a:spcPts val="300"/>
              </a:spcBef>
              <a:spcAft>
                <a:spcPts val="300"/>
              </a:spcAft>
              <a:buNone/>
              <a:tabLst/>
              <a:defRPr sz="1600">
                <a:solidFill>
                  <a:schemeClr val="accent1"/>
                </a:solidFill>
              </a:defRPr>
            </a:lvl1pPr>
            <a:lvl2pPr>
              <a:buNone/>
              <a:defRPr/>
            </a:lvl2pPr>
          </a:lstStyle>
          <a:p>
            <a:pPr lvl="0"/>
            <a:r>
              <a:rPr lang="en-US"/>
              <a:t>Click to add subtitle</a:t>
            </a:r>
          </a:p>
        </p:txBody>
      </p:sp>
    </p:spTree>
    <p:extLst>
      <p:ext uri="{BB962C8B-B14F-4D97-AF65-F5344CB8AC3E}">
        <p14:creationId xmlns:p14="http://schemas.microsoft.com/office/powerpoint/2010/main" val="4288962063"/>
      </p:ext>
    </p:extLst>
  </p:cSld>
  <p:clrMapOvr>
    <a:masterClrMapping/>
  </p:clrMapOvr>
  <p:extLst>
    <p:ext uri="{DCECCB84-F9BA-43D5-87BE-67443E8EF086}">
      <p15:sldGuideLst xmlns:p15="http://schemas.microsoft.com/office/powerpoint/2012/main">
        <p15:guide id="1" orient="horz" pos="672">
          <p15:clr>
            <a:srgbClr val="FBAE40"/>
          </p15:clr>
        </p15:guide>
        <p15:guide id="2" pos="7416">
          <p15:clr>
            <a:srgbClr val="FBAE40"/>
          </p15:clr>
        </p15:guide>
        <p15:guide id="3" orient="horz" pos="4068">
          <p15:clr>
            <a:srgbClr val="FBAE40"/>
          </p15:clr>
        </p15:guide>
        <p15:guide id="4" pos="31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ogo and Page Number Onl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52A269C-061A-504E-9261-C30F6567843D}"/>
              </a:ext>
            </a:extLst>
          </p:cNvPr>
          <p:cNvSpPr>
            <a:spLocks noGrp="1"/>
          </p:cNvSpPr>
          <p:nvPr>
            <p:ph type="ftr" sz="quarter" idx="10"/>
          </p:nvPr>
        </p:nvSpPr>
        <p:spPr/>
        <p:txBody>
          <a:bodyPr/>
          <a:lstStyle/>
          <a:p>
            <a:r>
              <a:rPr lang="en-GB"/>
              <a:t>© Moorhouse 2020 [Restricted]</a:t>
            </a:r>
          </a:p>
        </p:txBody>
      </p:sp>
    </p:spTree>
    <p:extLst>
      <p:ext uri="{BB962C8B-B14F-4D97-AF65-F5344CB8AC3E}">
        <p14:creationId xmlns:p14="http://schemas.microsoft.com/office/powerpoint/2010/main" val="36086283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Logo Only">
    <p:spTree>
      <p:nvGrpSpPr>
        <p:cNvPr id="1" name=""/>
        <p:cNvGrpSpPr/>
        <p:nvPr/>
      </p:nvGrpSpPr>
      <p:grpSpPr>
        <a:xfrm>
          <a:off x="0" y="0"/>
          <a:ext cx="0" cy="0"/>
          <a:chOff x="0" y="0"/>
          <a:chExt cx="0" cy="0"/>
        </a:xfrm>
      </p:grpSpPr>
      <p:pic>
        <p:nvPicPr>
          <p:cNvPr id="2" name="Picture 1" descr="A picture containing clock, drawing, light&#10;&#10;Description automatically generated">
            <a:extLst>
              <a:ext uri="{FF2B5EF4-FFF2-40B4-BE49-F238E27FC236}">
                <a16:creationId xmlns:a16="http://schemas.microsoft.com/office/drawing/2014/main" id="{AFAC7536-EF67-1542-B05E-447C936C84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61205" y="321363"/>
            <a:ext cx="1650380" cy="411972"/>
          </a:xfrm>
          <a:prstGeom prst="rect">
            <a:avLst/>
          </a:prstGeom>
        </p:spPr>
      </p:pic>
      <p:sp>
        <p:nvSpPr>
          <p:cNvPr id="3" name="Footer Placeholder 2">
            <a:extLst>
              <a:ext uri="{FF2B5EF4-FFF2-40B4-BE49-F238E27FC236}">
                <a16:creationId xmlns:a16="http://schemas.microsoft.com/office/drawing/2014/main" id="{B38ED25A-B8CC-2946-AE24-F42B534F4C3E}"/>
              </a:ext>
            </a:extLst>
          </p:cNvPr>
          <p:cNvSpPr>
            <a:spLocks noGrp="1"/>
          </p:cNvSpPr>
          <p:nvPr>
            <p:ph type="ftr" sz="quarter" idx="10"/>
          </p:nvPr>
        </p:nvSpPr>
        <p:spPr/>
        <p:txBody>
          <a:bodyPr/>
          <a:lstStyle/>
          <a:p>
            <a:r>
              <a:rPr lang="en-GB"/>
              <a:t>© Moorhouse 2020 [Restricted]</a:t>
            </a:r>
          </a:p>
        </p:txBody>
      </p:sp>
    </p:spTree>
    <p:extLst>
      <p:ext uri="{BB962C8B-B14F-4D97-AF65-F5344CB8AC3E}">
        <p14:creationId xmlns:p14="http://schemas.microsoft.com/office/powerpoint/2010/main" val="18836057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Generic Title Slide">
    <p:spTree>
      <p:nvGrpSpPr>
        <p:cNvPr id="1" name=""/>
        <p:cNvGrpSpPr/>
        <p:nvPr/>
      </p:nvGrpSpPr>
      <p:grpSpPr>
        <a:xfrm>
          <a:off x="0" y="0"/>
          <a:ext cx="0" cy="0"/>
          <a:chOff x="0" y="0"/>
          <a:chExt cx="0" cy="0"/>
        </a:xfrm>
      </p:grpSpPr>
      <p:pic>
        <p:nvPicPr>
          <p:cNvPr id="3" name="Picture 2" descr="A harbor filled with lots of tall buildings&#10;&#10;Description automatically generated">
            <a:extLst>
              <a:ext uri="{FF2B5EF4-FFF2-40B4-BE49-F238E27FC236}">
                <a16:creationId xmlns:a16="http://schemas.microsoft.com/office/drawing/2014/main" id="{DC1F0E16-797D-4344-A2D4-8940E9E5047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085" r="40988"/>
          <a:stretch/>
        </p:blipFill>
        <p:spPr>
          <a:xfrm flipH="1">
            <a:off x="4514850" y="4"/>
            <a:ext cx="7677150" cy="6857992"/>
          </a:xfrm>
          <a:custGeom>
            <a:avLst/>
            <a:gdLst>
              <a:gd name="connsiteX0" fmla="*/ 5029202 w 7677150"/>
              <a:gd name="connsiteY0" fmla="*/ 0 h 6857992"/>
              <a:gd name="connsiteX1" fmla="*/ 0 w 7677150"/>
              <a:gd name="connsiteY1" fmla="*/ 0 h 6857992"/>
              <a:gd name="connsiteX2" fmla="*/ 0 w 7677150"/>
              <a:gd name="connsiteY2" fmla="*/ 6857992 h 6857992"/>
              <a:gd name="connsiteX3" fmla="*/ 7677150 w 7677150"/>
              <a:gd name="connsiteY3" fmla="*/ 6857992 h 6857992"/>
            </a:gdLst>
            <a:ahLst/>
            <a:cxnLst>
              <a:cxn ang="0">
                <a:pos x="connsiteX0" y="connsiteY0"/>
              </a:cxn>
              <a:cxn ang="0">
                <a:pos x="connsiteX1" y="connsiteY1"/>
              </a:cxn>
              <a:cxn ang="0">
                <a:pos x="connsiteX2" y="connsiteY2"/>
              </a:cxn>
              <a:cxn ang="0">
                <a:pos x="connsiteX3" y="connsiteY3"/>
              </a:cxn>
            </a:cxnLst>
            <a:rect l="l" t="t" r="r" b="b"/>
            <a:pathLst>
              <a:path w="7677150" h="6857992">
                <a:moveTo>
                  <a:pt x="5029202" y="0"/>
                </a:moveTo>
                <a:lnTo>
                  <a:pt x="0" y="0"/>
                </a:lnTo>
                <a:lnTo>
                  <a:pt x="0" y="6857992"/>
                </a:lnTo>
                <a:lnTo>
                  <a:pt x="7677150" y="6857992"/>
                </a:lnTo>
                <a:close/>
              </a:path>
            </a:pathLst>
          </a:custGeom>
          <a:effectLst>
            <a:reflection endPos="0" dir="5400000" sy="-100000" algn="bl" rotWithShape="0"/>
          </a:effectLst>
        </p:spPr>
      </p:pic>
      <p:grpSp>
        <p:nvGrpSpPr>
          <p:cNvPr id="5" name="Group 4">
            <a:extLst>
              <a:ext uri="{FF2B5EF4-FFF2-40B4-BE49-F238E27FC236}">
                <a16:creationId xmlns:a16="http://schemas.microsoft.com/office/drawing/2014/main" id="{96720D58-539E-9042-A928-348CB38BBDF6}"/>
              </a:ext>
            </a:extLst>
          </p:cNvPr>
          <p:cNvGrpSpPr/>
          <p:nvPr userDrawn="1"/>
        </p:nvGrpSpPr>
        <p:grpSpPr>
          <a:xfrm>
            <a:off x="1" y="3535636"/>
            <a:ext cx="5411972" cy="68922"/>
            <a:chOff x="0" y="3089605"/>
            <a:chExt cx="5937813" cy="68922"/>
          </a:xfrm>
        </p:grpSpPr>
        <p:cxnSp>
          <p:nvCxnSpPr>
            <p:cNvPr id="6" name="Straight Connector 5">
              <a:extLst>
                <a:ext uri="{FF2B5EF4-FFF2-40B4-BE49-F238E27FC236}">
                  <a16:creationId xmlns:a16="http://schemas.microsoft.com/office/drawing/2014/main" id="{8A50D3C1-2264-9C4D-9D03-58E60DFE707B}"/>
                </a:ext>
              </a:extLst>
            </p:cNvPr>
            <p:cNvCxnSpPr>
              <a:cxnSpLocks/>
            </p:cNvCxnSpPr>
            <p:nvPr/>
          </p:nvCxnSpPr>
          <p:spPr>
            <a:xfrm>
              <a:off x="0" y="3124066"/>
              <a:ext cx="5937813"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13044BFE-6E18-AE45-8443-A6F4784D7131}"/>
                </a:ext>
              </a:extLst>
            </p:cNvPr>
            <p:cNvSpPr/>
            <p:nvPr/>
          </p:nvSpPr>
          <p:spPr>
            <a:xfrm>
              <a:off x="700881" y="3089605"/>
              <a:ext cx="842169" cy="6892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8" name="Rectangle 7">
            <a:extLst>
              <a:ext uri="{FF2B5EF4-FFF2-40B4-BE49-F238E27FC236}">
                <a16:creationId xmlns:a16="http://schemas.microsoft.com/office/drawing/2014/main" id="{709C841B-7D0B-B64B-AF92-49F97AE30455}"/>
              </a:ext>
            </a:extLst>
          </p:cNvPr>
          <p:cNvSpPr/>
          <p:nvPr userDrawn="1"/>
        </p:nvSpPr>
        <p:spPr>
          <a:xfrm>
            <a:off x="0" y="6674068"/>
            <a:ext cx="12192000" cy="183932"/>
          </a:xfrm>
          <a:prstGeom prst="rect">
            <a:avLst/>
          </a:prstGeom>
          <a:solidFill>
            <a:srgbClr val="5023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Content Placeholder 17">
            <a:extLst>
              <a:ext uri="{FF2B5EF4-FFF2-40B4-BE49-F238E27FC236}">
                <a16:creationId xmlns:a16="http://schemas.microsoft.com/office/drawing/2014/main" id="{A3F372F6-2EC6-554A-AA35-E1D03D27DB80}"/>
              </a:ext>
            </a:extLst>
          </p:cNvPr>
          <p:cNvSpPr>
            <a:spLocks noGrp="1"/>
          </p:cNvSpPr>
          <p:nvPr>
            <p:ph sz="quarter" idx="10" hasCustomPrompt="1"/>
          </p:nvPr>
        </p:nvSpPr>
        <p:spPr>
          <a:xfrm>
            <a:off x="537425" y="2974801"/>
            <a:ext cx="3646488" cy="473207"/>
          </a:xfrm>
          <a:prstGeom prst="rect">
            <a:avLst/>
          </a:prstGeom>
        </p:spPr>
        <p:txBody>
          <a:bodyPr/>
          <a:lstStyle>
            <a:lvl1pPr marL="0" indent="0">
              <a:lnSpc>
                <a:spcPct val="100000"/>
              </a:lnSpc>
              <a:spcBef>
                <a:spcPts val="300"/>
              </a:spcBef>
              <a:spcAft>
                <a:spcPts val="300"/>
              </a:spcAft>
              <a:buNone/>
              <a:defRPr sz="2800" b="1">
                <a:solidFill>
                  <a:schemeClr val="accent1"/>
                </a:solidFill>
              </a:defRPr>
            </a:lvl1pPr>
          </a:lstStyle>
          <a:p>
            <a:pPr lvl="0"/>
            <a:r>
              <a:rPr lang="en-GB"/>
              <a:t>Add Title</a:t>
            </a:r>
          </a:p>
        </p:txBody>
      </p:sp>
      <p:sp>
        <p:nvSpPr>
          <p:cNvPr id="11" name="Content Placeholder 17">
            <a:extLst>
              <a:ext uri="{FF2B5EF4-FFF2-40B4-BE49-F238E27FC236}">
                <a16:creationId xmlns:a16="http://schemas.microsoft.com/office/drawing/2014/main" id="{6B523996-542A-E340-9D0A-F18DCEB8BB99}"/>
              </a:ext>
            </a:extLst>
          </p:cNvPr>
          <p:cNvSpPr>
            <a:spLocks noGrp="1"/>
          </p:cNvSpPr>
          <p:nvPr>
            <p:ph sz="quarter" idx="11" hasCustomPrompt="1"/>
          </p:nvPr>
        </p:nvSpPr>
        <p:spPr>
          <a:xfrm>
            <a:off x="537425" y="3726647"/>
            <a:ext cx="3646488" cy="473207"/>
          </a:xfrm>
          <a:prstGeom prst="rect">
            <a:avLst/>
          </a:prstGeom>
        </p:spPr>
        <p:txBody>
          <a:bodyPr/>
          <a:lstStyle>
            <a:lvl1pPr marL="0" indent="0">
              <a:lnSpc>
                <a:spcPct val="100000"/>
              </a:lnSpc>
              <a:spcBef>
                <a:spcPts val="300"/>
              </a:spcBef>
              <a:spcAft>
                <a:spcPts val="300"/>
              </a:spcAft>
              <a:buNone/>
              <a:defRPr sz="1600" b="0">
                <a:solidFill>
                  <a:schemeClr val="accent1"/>
                </a:solidFill>
              </a:defRPr>
            </a:lvl1pPr>
          </a:lstStyle>
          <a:p>
            <a:pPr lvl="0"/>
            <a:r>
              <a:rPr lang="en-GB"/>
              <a:t>Add Subtitle</a:t>
            </a:r>
          </a:p>
        </p:txBody>
      </p:sp>
      <p:sp>
        <p:nvSpPr>
          <p:cNvPr id="14" name="Freeform: Shape 2">
            <a:extLst>
              <a:ext uri="{FF2B5EF4-FFF2-40B4-BE49-F238E27FC236}">
                <a16:creationId xmlns:a16="http://schemas.microsoft.com/office/drawing/2014/main" id="{65E09882-346D-3442-A3BD-BD9F48B8403E}"/>
              </a:ext>
            </a:extLst>
          </p:cNvPr>
          <p:cNvSpPr/>
          <p:nvPr userDrawn="1"/>
        </p:nvSpPr>
        <p:spPr>
          <a:xfrm>
            <a:off x="4514850" y="4"/>
            <a:ext cx="7677150" cy="6857996"/>
          </a:xfrm>
          <a:custGeom>
            <a:avLst/>
            <a:gdLst>
              <a:gd name="connsiteX0" fmla="*/ 2647950 w 7677150"/>
              <a:gd name="connsiteY0" fmla="*/ 0 h 6896100"/>
              <a:gd name="connsiteX1" fmla="*/ 7677150 w 7677150"/>
              <a:gd name="connsiteY1" fmla="*/ 0 h 6896100"/>
              <a:gd name="connsiteX2" fmla="*/ 7677150 w 7677150"/>
              <a:gd name="connsiteY2" fmla="*/ 6896100 h 6896100"/>
              <a:gd name="connsiteX3" fmla="*/ 0 w 7677150"/>
              <a:gd name="connsiteY3" fmla="*/ 6896100 h 6896100"/>
              <a:gd name="connsiteX4" fmla="*/ 2647950 w 7677150"/>
              <a:gd name="connsiteY4" fmla="*/ 0 h 6896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77150" h="6896100">
                <a:moveTo>
                  <a:pt x="2647950" y="0"/>
                </a:moveTo>
                <a:lnTo>
                  <a:pt x="7677150" y="0"/>
                </a:lnTo>
                <a:lnTo>
                  <a:pt x="7677150" y="6896100"/>
                </a:lnTo>
                <a:lnTo>
                  <a:pt x="0" y="6896100"/>
                </a:lnTo>
                <a:lnTo>
                  <a:pt x="2647950" y="0"/>
                </a:lnTo>
                <a:close/>
              </a:path>
            </a:pathLst>
          </a:custGeom>
          <a:solidFill>
            <a:schemeClr val="tx1">
              <a:alpha val="55000"/>
            </a:scheme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pic>
        <p:nvPicPr>
          <p:cNvPr id="15" name="Picture 14">
            <a:extLst>
              <a:ext uri="{FF2B5EF4-FFF2-40B4-BE49-F238E27FC236}">
                <a16:creationId xmlns:a16="http://schemas.microsoft.com/office/drawing/2014/main" id="{CD9167ED-C9DC-D04F-875B-571133520E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61205" y="321363"/>
            <a:ext cx="1650380" cy="411972"/>
          </a:xfrm>
          <a:prstGeom prst="rect">
            <a:avLst/>
          </a:prstGeom>
        </p:spPr>
      </p:pic>
      <p:sp>
        <p:nvSpPr>
          <p:cNvPr id="2" name="Footer Placeholder 1">
            <a:extLst>
              <a:ext uri="{FF2B5EF4-FFF2-40B4-BE49-F238E27FC236}">
                <a16:creationId xmlns:a16="http://schemas.microsoft.com/office/drawing/2014/main" id="{29515E71-4BA2-A341-BA2F-4573D5B330C9}"/>
              </a:ext>
            </a:extLst>
          </p:cNvPr>
          <p:cNvSpPr>
            <a:spLocks noGrp="1"/>
          </p:cNvSpPr>
          <p:nvPr>
            <p:ph type="ftr" sz="quarter" idx="12"/>
          </p:nvPr>
        </p:nvSpPr>
        <p:spPr/>
        <p:txBody>
          <a:bodyPr/>
          <a:lstStyle>
            <a:lvl1pPr>
              <a:defRPr>
                <a:solidFill>
                  <a:schemeClr val="bg1"/>
                </a:solidFill>
              </a:defRPr>
            </a:lvl1pPr>
          </a:lstStyle>
          <a:p>
            <a:r>
              <a:rPr lang="en-GB"/>
              <a:t>© Moorhouse 2020 [Restricted]</a:t>
            </a:r>
          </a:p>
        </p:txBody>
      </p:sp>
    </p:spTree>
    <p:extLst>
      <p:ext uri="{BB962C8B-B14F-4D97-AF65-F5344CB8AC3E}">
        <p14:creationId xmlns:p14="http://schemas.microsoft.com/office/powerpoint/2010/main" val="99267637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Slide White">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2EF64F75-66C2-C444-AA86-454AAA5D4529}"/>
              </a:ext>
            </a:extLst>
          </p:cNvPr>
          <p:cNvCxnSpPr>
            <a:cxnSpLocks/>
          </p:cNvCxnSpPr>
          <p:nvPr userDrawn="1"/>
        </p:nvCxnSpPr>
        <p:spPr>
          <a:xfrm>
            <a:off x="1487488" y="1376772"/>
            <a:ext cx="0" cy="4104456"/>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4" name="Content Placeholder 6">
            <a:extLst>
              <a:ext uri="{FF2B5EF4-FFF2-40B4-BE49-F238E27FC236}">
                <a16:creationId xmlns:a16="http://schemas.microsoft.com/office/drawing/2014/main" id="{DA82A1E9-2BB2-664F-AE3E-EE4019615A52}"/>
              </a:ext>
            </a:extLst>
          </p:cNvPr>
          <p:cNvSpPr>
            <a:spLocks noGrp="1"/>
          </p:cNvSpPr>
          <p:nvPr>
            <p:ph sz="quarter" idx="10" hasCustomPrompt="1"/>
          </p:nvPr>
        </p:nvSpPr>
        <p:spPr>
          <a:xfrm>
            <a:off x="1881188" y="1983582"/>
            <a:ext cx="6480000" cy="2890837"/>
          </a:xfrm>
          <a:prstGeom prst="rect">
            <a:avLst/>
          </a:prstGeom>
        </p:spPr>
        <p:txBody>
          <a:bodyPr anchor="ctr"/>
          <a:lstStyle>
            <a:lvl1pPr marL="0" marR="0" indent="0" algn="l" defTabSz="914400" rtl="0" eaLnBrk="1" fontAlgn="auto" latinLnBrk="0" hangingPunct="1">
              <a:lnSpc>
                <a:spcPct val="100000"/>
              </a:lnSpc>
              <a:spcBef>
                <a:spcPts val="300"/>
              </a:spcBef>
              <a:spcAft>
                <a:spcPts val="300"/>
              </a:spcAft>
              <a:buClrTx/>
              <a:buSzTx/>
              <a:buFontTx/>
              <a:buNone/>
              <a:tabLst/>
              <a:defRPr sz="7200" b="1">
                <a:solidFill>
                  <a:schemeClr val="accent1"/>
                </a:solidFill>
              </a:defRPr>
            </a:lvl1pPr>
          </a:lstStyle>
          <a:p>
            <a:pPr lvl="0"/>
            <a:r>
              <a:rPr lang="en-GB"/>
              <a:t>Click to add title</a:t>
            </a:r>
          </a:p>
        </p:txBody>
      </p:sp>
      <p:pic>
        <p:nvPicPr>
          <p:cNvPr id="5" name="Picture 4">
            <a:extLst>
              <a:ext uri="{FF2B5EF4-FFF2-40B4-BE49-F238E27FC236}">
                <a16:creationId xmlns:a16="http://schemas.microsoft.com/office/drawing/2014/main" id="{5D0E6640-3916-874E-9362-574DCC4B2F10}"/>
              </a:ext>
            </a:extLst>
          </p:cNvPr>
          <p:cNvPicPr>
            <a:picLocks noChangeAspect="1"/>
          </p:cNvPicPr>
          <p:nvPr userDrawn="1"/>
        </p:nvPicPr>
        <p:blipFill>
          <a:blip r:embed="rId2"/>
          <a:stretch>
            <a:fillRect/>
          </a:stretch>
        </p:blipFill>
        <p:spPr>
          <a:xfrm>
            <a:off x="9336361" y="5517232"/>
            <a:ext cx="2134931" cy="694800"/>
          </a:xfrm>
          <a:prstGeom prst="rect">
            <a:avLst/>
          </a:prstGeom>
        </p:spPr>
      </p:pic>
      <p:pic>
        <p:nvPicPr>
          <p:cNvPr id="6" name="Picture 5" descr="A picture containing clock, drawing, light&#10;&#10;Description automatically generated">
            <a:extLst>
              <a:ext uri="{FF2B5EF4-FFF2-40B4-BE49-F238E27FC236}">
                <a16:creationId xmlns:a16="http://schemas.microsoft.com/office/drawing/2014/main" id="{0059C6DF-9E0D-F444-BB97-9F50F817279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61205" y="321363"/>
            <a:ext cx="1650380" cy="411972"/>
          </a:xfrm>
          <a:prstGeom prst="rect">
            <a:avLst/>
          </a:prstGeom>
        </p:spPr>
      </p:pic>
    </p:spTree>
    <p:extLst>
      <p:ext uri="{BB962C8B-B14F-4D97-AF65-F5344CB8AC3E}">
        <p14:creationId xmlns:p14="http://schemas.microsoft.com/office/powerpoint/2010/main" val="33596030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3 Text Boxes">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49B7C81-6DE7-134A-AF49-C5B48C4FBB5B}"/>
              </a:ext>
            </a:extLst>
          </p:cNvPr>
          <p:cNvSpPr>
            <a:spLocks noGrp="1"/>
          </p:cNvSpPr>
          <p:nvPr>
            <p:ph type="title" hasCustomPrompt="1"/>
          </p:nvPr>
        </p:nvSpPr>
        <p:spPr>
          <a:xfrm>
            <a:off x="510638" y="297277"/>
            <a:ext cx="9400805" cy="434010"/>
          </a:xfrm>
          <a:prstGeom prst="rect">
            <a:avLst/>
          </a:prstGeom>
        </p:spPr>
        <p:txBody>
          <a:bodyPr vert="horz" lIns="0" tIns="0" rIns="0" bIns="0" rtlCol="0" anchor="t" anchorCtr="0">
            <a:noAutofit/>
          </a:bodyPr>
          <a:lstStyle>
            <a:lvl1pPr>
              <a:defRPr sz="2800">
                <a:latin typeface="+mn-lt"/>
              </a:defRPr>
            </a:lvl1pPr>
          </a:lstStyle>
          <a:p>
            <a:r>
              <a:rPr lang="en-US"/>
              <a:t>Click to add title</a:t>
            </a:r>
          </a:p>
        </p:txBody>
      </p:sp>
      <p:cxnSp>
        <p:nvCxnSpPr>
          <p:cNvPr id="4" name="Straight Connector 3">
            <a:extLst>
              <a:ext uri="{FF2B5EF4-FFF2-40B4-BE49-F238E27FC236}">
                <a16:creationId xmlns:a16="http://schemas.microsoft.com/office/drawing/2014/main" id="{A07048F0-CD4E-8D48-B45B-B52352A2A2C3}"/>
              </a:ext>
            </a:extLst>
          </p:cNvPr>
          <p:cNvCxnSpPr>
            <a:cxnSpLocks/>
          </p:cNvCxnSpPr>
          <p:nvPr userDrawn="1"/>
        </p:nvCxnSpPr>
        <p:spPr>
          <a:xfrm>
            <a:off x="510638" y="783018"/>
            <a:ext cx="6361902"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Text Placeholder 8">
            <a:extLst>
              <a:ext uri="{FF2B5EF4-FFF2-40B4-BE49-F238E27FC236}">
                <a16:creationId xmlns:a16="http://schemas.microsoft.com/office/drawing/2014/main" id="{AC2416D7-C968-B242-B9DC-D0DEB8EC22FF}"/>
              </a:ext>
            </a:extLst>
          </p:cNvPr>
          <p:cNvSpPr>
            <a:spLocks noGrp="1"/>
          </p:cNvSpPr>
          <p:nvPr>
            <p:ph type="body" sz="quarter" idx="10" hasCustomPrompt="1"/>
          </p:nvPr>
        </p:nvSpPr>
        <p:spPr>
          <a:xfrm>
            <a:off x="510638" y="1305402"/>
            <a:ext cx="3420000" cy="5179623"/>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tabLst/>
              <a:defRPr sz="1400"/>
            </a:lvl1pPr>
          </a:lstStyle>
          <a:p>
            <a:pPr lvl="0"/>
            <a:r>
              <a:rPr lang="en-US"/>
              <a:t>Click to add text</a:t>
            </a:r>
          </a:p>
        </p:txBody>
      </p:sp>
      <p:sp>
        <p:nvSpPr>
          <p:cNvPr id="8" name="Text Placeholder 8">
            <a:extLst>
              <a:ext uri="{FF2B5EF4-FFF2-40B4-BE49-F238E27FC236}">
                <a16:creationId xmlns:a16="http://schemas.microsoft.com/office/drawing/2014/main" id="{6AA78D8E-15BB-9643-AA8C-1A70CBEE8D37}"/>
              </a:ext>
            </a:extLst>
          </p:cNvPr>
          <p:cNvSpPr>
            <a:spLocks noGrp="1"/>
          </p:cNvSpPr>
          <p:nvPr>
            <p:ph type="body" sz="quarter" idx="11" hasCustomPrompt="1"/>
          </p:nvPr>
        </p:nvSpPr>
        <p:spPr>
          <a:xfrm>
            <a:off x="4386000" y="1305402"/>
            <a:ext cx="3420000" cy="5179623"/>
          </a:xfrm>
          <a:prstGeom prst="rect">
            <a:avLst/>
          </a:prstGeom>
        </p:spPr>
        <p:txBody>
          <a:bodyPr lIns="0" tIns="0" rIns="0" bIns="0"/>
          <a:lstStyle>
            <a:lvl1pPr marL="0" indent="0">
              <a:lnSpc>
                <a:spcPct val="100000"/>
              </a:lnSpc>
              <a:spcBef>
                <a:spcPts val="300"/>
              </a:spcBef>
              <a:spcAft>
                <a:spcPts val="300"/>
              </a:spcAft>
              <a:buNone/>
              <a:tabLst/>
              <a:defRPr sz="1400"/>
            </a:lvl1pPr>
          </a:lstStyle>
          <a:p>
            <a:pPr lvl="0"/>
            <a:r>
              <a:rPr lang="en-US"/>
              <a:t>Click to add text</a:t>
            </a:r>
          </a:p>
        </p:txBody>
      </p:sp>
      <p:sp>
        <p:nvSpPr>
          <p:cNvPr id="9" name="Text Placeholder 8">
            <a:extLst>
              <a:ext uri="{FF2B5EF4-FFF2-40B4-BE49-F238E27FC236}">
                <a16:creationId xmlns:a16="http://schemas.microsoft.com/office/drawing/2014/main" id="{30695E36-9456-5140-8E3C-DC1268961E29}"/>
              </a:ext>
            </a:extLst>
          </p:cNvPr>
          <p:cNvSpPr>
            <a:spLocks noGrp="1"/>
          </p:cNvSpPr>
          <p:nvPr>
            <p:ph type="body" sz="quarter" idx="12" hasCustomPrompt="1"/>
          </p:nvPr>
        </p:nvSpPr>
        <p:spPr>
          <a:xfrm>
            <a:off x="8261362" y="1305402"/>
            <a:ext cx="3420000" cy="5179623"/>
          </a:xfrm>
          <a:prstGeom prst="rect">
            <a:avLst/>
          </a:prstGeom>
        </p:spPr>
        <p:txBody>
          <a:bodyPr lIns="0" tIns="0" rIns="0" bIns="0"/>
          <a:lstStyle>
            <a:lvl1pPr marL="0" indent="0">
              <a:lnSpc>
                <a:spcPct val="100000"/>
              </a:lnSpc>
              <a:spcBef>
                <a:spcPts val="300"/>
              </a:spcBef>
              <a:spcAft>
                <a:spcPts val="300"/>
              </a:spcAft>
              <a:buNone/>
              <a:tabLst/>
              <a:defRPr sz="1400"/>
            </a:lvl1pPr>
          </a:lstStyle>
          <a:p>
            <a:pPr lvl="0"/>
            <a:r>
              <a:rPr lang="en-US"/>
              <a:t>Click to add text</a:t>
            </a:r>
          </a:p>
        </p:txBody>
      </p:sp>
      <p:sp>
        <p:nvSpPr>
          <p:cNvPr id="10" name="Text Placeholder 8">
            <a:extLst>
              <a:ext uri="{FF2B5EF4-FFF2-40B4-BE49-F238E27FC236}">
                <a16:creationId xmlns:a16="http://schemas.microsoft.com/office/drawing/2014/main" id="{69F2AC11-9F7C-2D44-BB31-1F13E63CD865}"/>
              </a:ext>
            </a:extLst>
          </p:cNvPr>
          <p:cNvSpPr>
            <a:spLocks noGrp="1"/>
          </p:cNvSpPr>
          <p:nvPr>
            <p:ph type="body" sz="quarter" idx="13" hasCustomPrompt="1"/>
          </p:nvPr>
        </p:nvSpPr>
        <p:spPr>
          <a:xfrm>
            <a:off x="510638" y="851055"/>
            <a:ext cx="11262262" cy="334580"/>
          </a:xfrm>
          <a:prstGeom prst="rect">
            <a:avLst/>
          </a:prstGeom>
        </p:spPr>
        <p:txBody>
          <a:bodyPr lIns="0" tIns="0" rIns="0" bIns="0"/>
          <a:lstStyle>
            <a:lvl1pPr marL="0" indent="0">
              <a:lnSpc>
                <a:spcPct val="100000"/>
              </a:lnSpc>
              <a:spcBef>
                <a:spcPts val="300"/>
              </a:spcBef>
              <a:spcAft>
                <a:spcPts val="300"/>
              </a:spcAft>
              <a:buNone/>
              <a:tabLst/>
              <a:defRPr sz="1600">
                <a:solidFill>
                  <a:schemeClr val="accent1"/>
                </a:solidFill>
              </a:defRPr>
            </a:lvl1pPr>
            <a:lvl2pPr>
              <a:buNone/>
              <a:defRPr/>
            </a:lvl2pPr>
          </a:lstStyle>
          <a:p>
            <a:pPr lvl="0"/>
            <a:r>
              <a:rPr lang="en-US"/>
              <a:t>Click to add subtitle</a:t>
            </a:r>
          </a:p>
        </p:txBody>
      </p:sp>
      <p:sp>
        <p:nvSpPr>
          <p:cNvPr id="2" name="Footer Placeholder 1">
            <a:extLst>
              <a:ext uri="{FF2B5EF4-FFF2-40B4-BE49-F238E27FC236}">
                <a16:creationId xmlns:a16="http://schemas.microsoft.com/office/drawing/2014/main" id="{7FB3F751-3DB2-5D4B-988F-C86753AB07C9}"/>
              </a:ext>
            </a:extLst>
          </p:cNvPr>
          <p:cNvSpPr>
            <a:spLocks noGrp="1"/>
          </p:cNvSpPr>
          <p:nvPr>
            <p:ph type="ftr" sz="quarter" idx="14"/>
          </p:nvPr>
        </p:nvSpPr>
        <p:spPr/>
        <p:txBody>
          <a:bodyPr/>
          <a:lstStyle/>
          <a:p>
            <a:r>
              <a:rPr lang="en-GB"/>
              <a:t>© Moorhouse 2020 [Restricted]</a:t>
            </a:r>
          </a:p>
        </p:txBody>
      </p:sp>
    </p:spTree>
    <p:extLst>
      <p:ext uri="{BB962C8B-B14F-4D97-AF65-F5344CB8AC3E}">
        <p14:creationId xmlns:p14="http://schemas.microsoft.com/office/powerpoint/2010/main" val="243113524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ivider Slide Purple">
    <p:bg>
      <p:bgPr>
        <a:solidFill>
          <a:srgbClr val="CCBCD1"/>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130001C2-E701-4A46-BD6E-65255889DC99}"/>
              </a:ext>
            </a:extLst>
          </p:cNvPr>
          <p:cNvCxnSpPr>
            <a:cxnSpLocks/>
          </p:cNvCxnSpPr>
          <p:nvPr userDrawn="1"/>
        </p:nvCxnSpPr>
        <p:spPr>
          <a:xfrm>
            <a:off x="1487488" y="1376772"/>
            <a:ext cx="0" cy="4104456"/>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7" name="Content Placeholder 6">
            <a:extLst>
              <a:ext uri="{FF2B5EF4-FFF2-40B4-BE49-F238E27FC236}">
                <a16:creationId xmlns:a16="http://schemas.microsoft.com/office/drawing/2014/main" id="{D646635C-E952-684F-9467-D9576C82F46B}"/>
              </a:ext>
            </a:extLst>
          </p:cNvPr>
          <p:cNvSpPr>
            <a:spLocks noGrp="1"/>
          </p:cNvSpPr>
          <p:nvPr>
            <p:ph sz="quarter" idx="10" hasCustomPrompt="1"/>
          </p:nvPr>
        </p:nvSpPr>
        <p:spPr>
          <a:xfrm>
            <a:off x="1881188" y="1983582"/>
            <a:ext cx="6480000" cy="2890837"/>
          </a:xfrm>
          <a:prstGeom prst="rect">
            <a:avLst/>
          </a:prstGeom>
        </p:spPr>
        <p:txBody>
          <a:bodyPr anchor="ctr"/>
          <a:lstStyle>
            <a:lvl1pPr marL="0" marR="0" indent="0" algn="l" defTabSz="914400" rtl="0" eaLnBrk="1" fontAlgn="auto" latinLnBrk="0" hangingPunct="1">
              <a:lnSpc>
                <a:spcPct val="100000"/>
              </a:lnSpc>
              <a:spcBef>
                <a:spcPts val="300"/>
              </a:spcBef>
              <a:spcAft>
                <a:spcPts val="300"/>
              </a:spcAft>
              <a:buClrTx/>
              <a:buSzTx/>
              <a:buFontTx/>
              <a:buNone/>
              <a:tabLst/>
              <a:defRPr sz="7200" b="1">
                <a:solidFill>
                  <a:schemeClr val="accent1"/>
                </a:solidFill>
              </a:defRPr>
            </a:lvl1pPr>
          </a:lstStyle>
          <a:p>
            <a:pPr lvl="0"/>
            <a:r>
              <a:rPr lang="en-GB"/>
              <a:t>Click to add title</a:t>
            </a:r>
          </a:p>
        </p:txBody>
      </p:sp>
      <p:pic>
        <p:nvPicPr>
          <p:cNvPr id="5" name="Picture 4" descr="A picture containing clock, drawing, light&#10;&#10;Description automatically generated">
            <a:extLst>
              <a:ext uri="{FF2B5EF4-FFF2-40B4-BE49-F238E27FC236}">
                <a16:creationId xmlns:a16="http://schemas.microsoft.com/office/drawing/2014/main" id="{216146BB-DB31-7A46-9E03-09EA61D2F7D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61205" y="321363"/>
            <a:ext cx="1650380" cy="411972"/>
          </a:xfrm>
          <a:prstGeom prst="rect">
            <a:avLst/>
          </a:prstGeom>
        </p:spPr>
      </p:pic>
    </p:spTree>
    <p:extLst>
      <p:ext uri="{BB962C8B-B14F-4D97-AF65-F5344CB8AC3E}">
        <p14:creationId xmlns:p14="http://schemas.microsoft.com/office/powerpoint/2010/main" val="232600828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ivider Slide Dark">
    <p:bg>
      <p:bgPr>
        <a:solidFill>
          <a:schemeClr val="accent1"/>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2EF64F75-66C2-C444-AA86-454AAA5D4529}"/>
              </a:ext>
            </a:extLst>
          </p:cNvPr>
          <p:cNvCxnSpPr>
            <a:cxnSpLocks/>
          </p:cNvCxnSpPr>
          <p:nvPr userDrawn="1"/>
        </p:nvCxnSpPr>
        <p:spPr>
          <a:xfrm>
            <a:off x="1487488" y="1376772"/>
            <a:ext cx="0" cy="4104456"/>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Content Placeholder 6">
            <a:extLst>
              <a:ext uri="{FF2B5EF4-FFF2-40B4-BE49-F238E27FC236}">
                <a16:creationId xmlns:a16="http://schemas.microsoft.com/office/drawing/2014/main" id="{DA82A1E9-2BB2-664F-AE3E-EE4019615A52}"/>
              </a:ext>
            </a:extLst>
          </p:cNvPr>
          <p:cNvSpPr>
            <a:spLocks noGrp="1"/>
          </p:cNvSpPr>
          <p:nvPr>
            <p:ph sz="quarter" idx="10" hasCustomPrompt="1"/>
          </p:nvPr>
        </p:nvSpPr>
        <p:spPr>
          <a:xfrm>
            <a:off x="1881188" y="1983582"/>
            <a:ext cx="6480000" cy="2890837"/>
          </a:xfrm>
          <a:prstGeom prst="rect">
            <a:avLst/>
          </a:prstGeom>
        </p:spPr>
        <p:txBody>
          <a:bodyPr anchor="ctr"/>
          <a:lstStyle>
            <a:lvl1pPr marL="0" marR="0" indent="0" algn="l" defTabSz="914400" rtl="0" eaLnBrk="1" fontAlgn="auto" latinLnBrk="0" hangingPunct="1">
              <a:lnSpc>
                <a:spcPct val="100000"/>
              </a:lnSpc>
              <a:spcBef>
                <a:spcPts val="300"/>
              </a:spcBef>
              <a:spcAft>
                <a:spcPts val="300"/>
              </a:spcAft>
              <a:buClrTx/>
              <a:buSzTx/>
              <a:buFontTx/>
              <a:buNone/>
              <a:tabLst/>
              <a:defRPr sz="7200" b="1">
                <a:solidFill>
                  <a:schemeClr val="bg1"/>
                </a:solidFill>
              </a:defRPr>
            </a:lvl1pPr>
          </a:lstStyle>
          <a:p>
            <a:pPr lvl="0"/>
            <a:r>
              <a:rPr lang="en-GB"/>
              <a:t>Click to add title</a:t>
            </a:r>
          </a:p>
        </p:txBody>
      </p:sp>
      <p:pic>
        <p:nvPicPr>
          <p:cNvPr id="6" name="Picture 5">
            <a:extLst>
              <a:ext uri="{FF2B5EF4-FFF2-40B4-BE49-F238E27FC236}">
                <a16:creationId xmlns:a16="http://schemas.microsoft.com/office/drawing/2014/main" id="{6DA27D15-5FC7-0E4A-8804-3C58F02F86F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61205" y="321363"/>
            <a:ext cx="1650380" cy="411972"/>
          </a:xfrm>
          <a:prstGeom prst="rect">
            <a:avLst/>
          </a:prstGeom>
        </p:spPr>
      </p:pic>
    </p:spTree>
    <p:extLst>
      <p:ext uri="{BB962C8B-B14F-4D97-AF65-F5344CB8AC3E}">
        <p14:creationId xmlns:p14="http://schemas.microsoft.com/office/powerpoint/2010/main" val="83185117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Blank Slide Whit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1" name="think-cell Slide" r:id="rId5" imgW="421" imgH="420" progId="TCLayout.ActiveDocument.1">
                  <p:embed/>
                </p:oleObj>
              </mc:Choice>
              <mc:Fallback>
                <p:oleObj name="think-cell Slide" r:id="rId5" imgW="421" imgH="420"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Black" panose="020B0A04020102020204" pitchFamily="34" charset="0"/>
              <a:ea typeface="+mn-ea"/>
              <a:cs typeface="+mn-cs"/>
              <a:sym typeface="Arial Black" panose="020B0A04020102020204" pitchFamily="34" charset="0"/>
            </a:endParaRPr>
          </a:p>
        </p:txBody>
      </p:sp>
      <p:sp>
        <p:nvSpPr>
          <p:cNvPr id="3" name="TextBox 2">
            <a:extLst>
              <a:ext uri="{FF2B5EF4-FFF2-40B4-BE49-F238E27FC236}">
                <a16:creationId xmlns:a16="http://schemas.microsoft.com/office/drawing/2014/main" id="{C8C51CB6-6C68-D54B-8637-B9C4DF209684}"/>
              </a:ext>
            </a:extLst>
          </p:cNvPr>
          <p:cNvSpPr txBox="1"/>
          <p:nvPr userDrawn="1"/>
        </p:nvSpPr>
        <p:spPr>
          <a:xfrm>
            <a:off x="1754372" y="520995"/>
            <a:ext cx="184731" cy="369332"/>
          </a:xfrm>
          <a:prstGeom prst="rect">
            <a:avLst/>
          </a:prstGeom>
          <a:noFill/>
        </p:spPr>
        <p:txBody>
          <a:bodyPr wrap="none" rtlCol="0">
            <a:spAutoFit/>
          </a:bodyPr>
          <a:lstStyle/>
          <a:p>
            <a:endParaRPr lang="en-GB"/>
          </a:p>
        </p:txBody>
      </p:sp>
    </p:spTree>
    <p:extLst>
      <p:ext uri="{BB962C8B-B14F-4D97-AF65-F5344CB8AC3E}">
        <p14:creationId xmlns:p14="http://schemas.microsoft.com/office/powerpoint/2010/main" val="251965840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Blank Slide Purple">
    <p:bg>
      <p:bgPr>
        <a:solidFill>
          <a:srgbClr val="CCBCD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890996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Blank Slide Dark">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29" name="think-cell Slide" r:id="rId4" imgW="421" imgH="420" progId="TCLayout.ActiveDocument.1">
                  <p:embed/>
                </p:oleObj>
              </mc:Choice>
              <mc:Fallback>
                <p:oleObj name="think-cell Slide" r:id="rId4" imgW="421" imgH="42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66439838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3" name="think-cell Slide" r:id="rId4" imgW="421" imgH="420" progId="TCLayout.ActiveDocument.1">
                  <p:embed/>
                </p:oleObj>
              </mc:Choice>
              <mc:Fallback>
                <p:oleObj name="think-cell Slide" r:id="rId4" imgW="421" imgH="42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AF8501C1-52FE-0147-9319-81DD10D64AB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31666" y="2813846"/>
            <a:ext cx="4928668" cy="1230307"/>
          </a:xfrm>
          <a:prstGeom prst="rect">
            <a:avLst/>
          </a:prstGeom>
        </p:spPr>
      </p:pic>
    </p:spTree>
    <p:extLst>
      <p:ext uri="{BB962C8B-B14F-4D97-AF65-F5344CB8AC3E}">
        <p14:creationId xmlns:p14="http://schemas.microsoft.com/office/powerpoint/2010/main" val="158365965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le Slide - Option 1">
    <p:spTree>
      <p:nvGrpSpPr>
        <p:cNvPr id="1" name=""/>
        <p:cNvGrpSpPr/>
        <p:nvPr/>
      </p:nvGrpSpPr>
      <p:grpSpPr>
        <a:xfrm>
          <a:off x="0" y="0"/>
          <a:ext cx="0" cy="0"/>
          <a:chOff x="0" y="0"/>
          <a:chExt cx="0" cy="0"/>
        </a:xfrm>
      </p:grpSpPr>
      <p:sp>
        <p:nvSpPr>
          <p:cNvPr id="12" name="Title 1"/>
          <p:cNvSpPr>
            <a:spLocks noGrp="1"/>
          </p:cNvSpPr>
          <p:nvPr>
            <p:ph type="ctrTitle"/>
          </p:nvPr>
        </p:nvSpPr>
        <p:spPr>
          <a:xfrm>
            <a:off x="540000" y="4140000"/>
            <a:ext cx="8289207" cy="1029962"/>
          </a:xfrm>
          <a:prstGeom prst="rect">
            <a:avLst/>
          </a:prstGeom>
        </p:spPr>
        <p:txBody>
          <a:bodyPr wrap="square" lIns="0" tIns="0" rIns="0" bIns="0" anchor="t" anchorCtr="0">
            <a:noAutofit/>
          </a:bodyPr>
          <a:lstStyle>
            <a:lvl1pPr algn="l">
              <a:defRPr sz="3600">
                <a:solidFill>
                  <a:schemeClr val="accent1"/>
                </a:solidFill>
              </a:defRPr>
            </a:lvl1pPr>
          </a:lstStyle>
          <a:p>
            <a:r>
              <a:rPr lang="en-US"/>
              <a:t>Click to edit Master title style</a:t>
            </a:r>
          </a:p>
        </p:txBody>
      </p:sp>
      <p:sp>
        <p:nvSpPr>
          <p:cNvPr id="18" name="Subtitle 2"/>
          <p:cNvSpPr>
            <a:spLocks noGrp="1"/>
          </p:cNvSpPr>
          <p:nvPr>
            <p:ph type="subTitle" idx="1"/>
          </p:nvPr>
        </p:nvSpPr>
        <p:spPr>
          <a:xfrm>
            <a:off x="540000" y="5512354"/>
            <a:ext cx="7621553" cy="277320"/>
          </a:xfrm>
          <a:prstGeom prst="rect">
            <a:avLst/>
          </a:prstGeom>
        </p:spPr>
        <p:txBody>
          <a:bodyPr lIns="0" tIns="0" rIns="0" bIns="0">
            <a:noAutofit/>
          </a:bodyPr>
          <a:lstStyle>
            <a:lvl1pPr marL="0" indent="0" algn="l">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a:t>
            </a:r>
          </a:p>
        </p:txBody>
      </p:sp>
    </p:spTree>
    <p:extLst>
      <p:ext uri="{BB962C8B-B14F-4D97-AF65-F5344CB8AC3E}">
        <p14:creationId xmlns:p14="http://schemas.microsoft.com/office/powerpoint/2010/main" val="353722180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ubtitle, Summary, Bod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5" name="think-cell Slide" r:id="rId5" imgW="421" imgH="420" progId="TCLayout.ActiveDocument.1">
                  <p:embed/>
                </p:oleObj>
              </mc:Choice>
              <mc:Fallback>
                <p:oleObj name="think-cell Slide" r:id="rId5" imgW="421" imgH="42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7" name="Title Placeholder 1">
            <a:extLst>
              <a:ext uri="{FF2B5EF4-FFF2-40B4-BE49-F238E27FC236}">
                <a16:creationId xmlns:a16="http://schemas.microsoft.com/office/drawing/2014/main" id="{A77F0F7B-5DC0-AE4D-805D-D4592C2895F3}"/>
              </a:ext>
            </a:extLst>
          </p:cNvPr>
          <p:cNvSpPr>
            <a:spLocks noGrp="1"/>
          </p:cNvSpPr>
          <p:nvPr>
            <p:ph type="title" hasCustomPrompt="1"/>
          </p:nvPr>
        </p:nvSpPr>
        <p:spPr>
          <a:xfrm>
            <a:off x="510638" y="297277"/>
            <a:ext cx="9400805" cy="434010"/>
          </a:xfrm>
          <a:prstGeom prst="rect">
            <a:avLst/>
          </a:prstGeom>
        </p:spPr>
        <p:txBody>
          <a:bodyPr vert="horz" lIns="0" tIns="0" rIns="0" bIns="0" rtlCol="0" anchor="t" anchorCtr="0">
            <a:noAutofit/>
          </a:bodyPr>
          <a:lstStyle>
            <a:lvl1pPr>
              <a:defRPr sz="2800">
                <a:latin typeface="+mn-lt"/>
              </a:defRPr>
            </a:lvl1pPr>
          </a:lstStyle>
          <a:p>
            <a:r>
              <a:rPr lang="en-US"/>
              <a:t>Click to add title</a:t>
            </a:r>
          </a:p>
        </p:txBody>
      </p:sp>
      <p:cxnSp>
        <p:nvCxnSpPr>
          <p:cNvPr id="8" name="Straight Connector 7">
            <a:extLst>
              <a:ext uri="{FF2B5EF4-FFF2-40B4-BE49-F238E27FC236}">
                <a16:creationId xmlns:a16="http://schemas.microsoft.com/office/drawing/2014/main" id="{5F118AFB-B1FF-9640-A790-2E771E094A56}"/>
              </a:ext>
            </a:extLst>
          </p:cNvPr>
          <p:cNvCxnSpPr>
            <a:cxnSpLocks/>
          </p:cNvCxnSpPr>
          <p:nvPr userDrawn="1"/>
        </p:nvCxnSpPr>
        <p:spPr>
          <a:xfrm>
            <a:off x="510638" y="783018"/>
            <a:ext cx="6361902"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userDrawn="1">
            <p:ph type="body" sz="quarter" idx="10" hasCustomPrompt="1"/>
          </p:nvPr>
        </p:nvSpPr>
        <p:spPr>
          <a:xfrm>
            <a:off x="510638" y="1308212"/>
            <a:ext cx="11262262" cy="516517"/>
          </a:xfrm>
          <a:prstGeom prst="rect">
            <a:avLst/>
          </a:prstGeom>
        </p:spPr>
        <p:txBody>
          <a:bodyPr lIns="0" tIns="0" rIns="0" bIns="0"/>
          <a:lstStyle>
            <a:lvl1pPr marL="0" indent="0">
              <a:lnSpc>
                <a:spcPct val="100000"/>
              </a:lnSpc>
              <a:spcBef>
                <a:spcPts val="300"/>
              </a:spcBef>
              <a:spcAft>
                <a:spcPts val="300"/>
              </a:spcAft>
              <a:buNone/>
              <a:tabLst/>
              <a:defRPr sz="1400">
                <a:solidFill>
                  <a:schemeClr val="accent2"/>
                </a:solidFill>
              </a:defRPr>
            </a:lvl1pPr>
            <a:lvl2pPr>
              <a:buNone/>
              <a:defRPr/>
            </a:lvl2pPr>
          </a:lstStyle>
          <a:p>
            <a:pPr lvl="0"/>
            <a:r>
              <a:rPr lang="en-US"/>
              <a:t>Click to add summary</a:t>
            </a:r>
          </a:p>
        </p:txBody>
      </p:sp>
      <p:sp>
        <p:nvSpPr>
          <p:cNvPr id="10" name="Text Placeholder 8">
            <a:extLst>
              <a:ext uri="{FF2B5EF4-FFF2-40B4-BE49-F238E27FC236}">
                <a16:creationId xmlns:a16="http://schemas.microsoft.com/office/drawing/2014/main" id="{215965C1-5B87-B342-92DF-960F7A97F380}"/>
              </a:ext>
            </a:extLst>
          </p:cNvPr>
          <p:cNvSpPr>
            <a:spLocks noGrp="1"/>
          </p:cNvSpPr>
          <p:nvPr>
            <p:ph type="body" sz="quarter" idx="11" hasCustomPrompt="1"/>
          </p:nvPr>
        </p:nvSpPr>
        <p:spPr>
          <a:xfrm>
            <a:off x="510638" y="1947306"/>
            <a:ext cx="11262262" cy="4500000"/>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tabLst/>
              <a:defRPr sz="1400"/>
            </a:lvl1pPr>
            <a:lvl2pPr marL="9525" indent="-9525">
              <a:buNone/>
              <a:tabLst/>
              <a:defRPr/>
            </a:lvl2pPr>
            <a:lvl3pPr marL="9525" indent="-9525">
              <a:buNone/>
              <a:tabLst/>
              <a:defRPr/>
            </a:lvl3pPr>
            <a:lvl4pPr marL="9525" indent="-9525">
              <a:buNone/>
              <a:tabLst/>
              <a:defRPr/>
            </a:lvl4pPr>
            <a:lvl5pPr marL="9525" indent="-9525">
              <a:buNone/>
              <a:tabLst/>
              <a:defRPr/>
            </a:lvl5pPr>
          </a:lstStyle>
          <a:p>
            <a:pPr lvl="0"/>
            <a:r>
              <a:rPr lang="en-US"/>
              <a:t>Click to add text</a:t>
            </a:r>
          </a:p>
        </p:txBody>
      </p:sp>
      <p:sp>
        <p:nvSpPr>
          <p:cNvPr id="12" name="Text Placeholder 8">
            <a:extLst>
              <a:ext uri="{FF2B5EF4-FFF2-40B4-BE49-F238E27FC236}">
                <a16:creationId xmlns:a16="http://schemas.microsoft.com/office/drawing/2014/main" id="{EDBD8DDE-2607-2640-81EF-425A65FC7156}"/>
              </a:ext>
            </a:extLst>
          </p:cNvPr>
          <p:cNvSpPr>
            <a:spLocks noGrp="1"/>
          </p:cNvSpPr>
          <p:nvPr>
            <p:ph type="body" sz="quarter" idx="12" hasCustomPrompt="1"/>
          </p:nvPr>
        </p:nvSpPr>
        <p:spPr>
          <a:xfrm>
            <a:off x="510638" y="851055"/>
            <a:ext cx="11262262" cy="334580"/>
          </a:xfrm>
          <a:prstGeom prst="rect">
            <a:avLst/>
          </a:prstGeom>
        </p:spPr>
        <p:txBody>
          <a:bodyPr lIns="0" tIns="0" rIns="0" bIns="0"/>
          <a:lstStyle>
            <a:lvl1pPr marL="0" indent="0">
              <a:lnSpc>
                <a:spcPct val="100000"/>
              </a:lnSpc>
              <a:spcBef>
                <a:spcPts val="300"/>
              </a:spcBef>
              <a:spcAft>
                <a:spcPts val="300"/>
              </a:spcAft>
              <a:buNone/>
              <a:tabLst/>
              <a:defRPr sz="1600">
                <a:solidFill>
                  <a:schemeClr val="accent1"/>
                </a:solidFill>
              </a:defRPr>
            </a:lvl1pPr>
            <a:lvl2pPr>
              <a:buNone/>
              <a:defRPr/>
            </a:lvl2pPr>
          </a:lstStyle>
          <a:p>
            <a:pPr lvl="0"/>
            <a:r>
              <a:rPr lang="en-US"/>
              <a:t>Click to add subtitle</a:t>
            </a:r>
          </a:p>
        </p:txBody>
      </p:sp>
      <p:sp>
        <p:nvSpPr>
          <p:cNvPr id="6" name="Footer Placeholder 5">
            <a:extLst>
              <a:ext uri="{FF2B5EF4-FFF2-40B4-BE49-F238E27FC236}">
                <a16:creationId xmlns:a16="http://schemas.microsoft.com/office/drawing/2014/main" id="{F4903614-D375-794E-BE18-2A6EF1376FDF}"/>
              </a:ext>
            </a:extLst>
          </p:cNvPr>
          <p:cNvSpPr>
            <a:spLocks noGrp="1"/>
          </p:cNvSpPr>
          <p:nvPr>
            <p:ph type="ftr" sz="quarter" idx="13"/>
          </p:nvPr>
        </p:nvSpPr>
        <p:spPr/>
        <p:txBody>
          <a:bodyPr/>
          <a:lstStyle/>
          <a:p>
            <a:r>
              <a:rPr lang="en-GB"/>
              <a:t>© Moorhouse 2020  </a:t>
            </a:r>
          </a:p>
        </p:txBody>
      </p:sp>
    </p:spTree>
    <p:extLst>
      <p:ext uri="{BB962C8B-B14F-4D97-AF65-F5344CB8AC3E}">
        <p14:creationId xmlns:p14="http://schemas.microsoft.com/office/powerpoint/2010/main" val="3304357091"/>
      </p:ext>
    </p:extLst>
  </p:cSld>
  <p:clrMapOvr>
    <a:masterClrMapping/>
  </p:clrMapOvr>
  <p:extLst>
    <p:ext uri="{DCECCB84-F9BA-43D5-87BE-67443E8EF086}">
      <p15:sldGuideLst xmlns:p15="http://schemas.microsoft.com/office/powerpoint/2012/main">
        <p15:guide id="1" orient="horz" pos="672">
          <p15:clr>
            <a:srgbClr val="FBAE40"/>
          </p15:clr>
        </p15:guide>
        <p15:guide id="2" pos="7416">
          <p15:clr>
            <a:srgbClr val="FBAE40"/>
          </p15:clr>
        </p15:guide>
        <p15:guide id="3" orient="horz" pos="4068">
          <p15:clr>
            <a:srgbClr val="FBAE40"/>
          </p15:clr>
        </p15:guide>
        <p15:guide id="4" pos="312">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ubtitle, 1 Text Box">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49" name="think-cell Slide" r:id="rId5" imgW="421" imgH="420" progId="TCLayout.ActiveDocument.1">
                  <p:embed/>
                </p:oleObj>
              </mc:Choice>
              <mc:Fallback>
                <p:oleObj name="think-cell Slide" r:id="rId5" imgW="421" imgH="42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cxnSp>
        <p:nvCxnSpPr>
          <p:cNvPr id="8" name="Straight Connector 7">
            <a:extLst>
              <a:ext uri="{FF2B5EF4-FFF2-40B4-BE49-F238E27FC236}">
                <a16:creationId xmlns:a16="http://schemas.microsoft.com/office/drawing/2014/main" id="{5F118AFB-B1FF-9640-A790-2E771E094A56}"/>
              </a:ext>
            </a:extLst>
          </p:cNvPr>
          <p:cNvCxnSpPr>
            <a:cxnSpLocks/>
          </p:cNvCxnSpPr>
          <p:nvPr userDrawn="1"/>
        </p:nvCxnSpPr>
        <p:spPr>
          <a:xfrm>
            <a:off x="510638" y="783018"/>
            <a:ext cx="6361902"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userDrawn="1">
            <p:ph type="body" sz="quarter" idx="10" hasCustomPrompt="1"/>
          </p:nvPr>
        </p:nvSpPr>
        <p:spPr>
          <a:xfrm>
            <a:off x="510638" y="1305404"/>
            <a:ext cx="11262262" cy="5152546"/>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tabLst/>
              <a:defRPr sz="1400"/>
            </a:lvl1pPr>
            <a:lvl2pPr>
              <a:buNone/>
              <a:defRPr/>
            </a:lvl2pPr>
            <a:lvl3pPr>
              <a:buNone/>
              <a:defRPr/>
            </a:lvl3pPr>
            <a:lvl4pPr>
              <a:buNone/>
              <a:defRPr/>
            </a:lvl4pPr>
            <a:lvl5pPr>
              <a:buNone/>
              <a:defRPr/>
            </a:lvl5pPr>
          </a:lstStyle>
          <a:p>
            <a:pPr lvl="0"/>
            <a:r>
              <a:rPr lang="en-US"/>
              <a:t>Click to add text</a:t>
            </a:r>
          </a:p>
        </p:txBody>
      </p:sp>
      <p:sp>
        <p:nvSpPr>
          <p:cNvPr id="10" name="Title Placeholder 1">
            <a:extLst>
              <a:ext uri="{FF2B5EF4-FFF2-40B4-BE49-F238E27FC236}">
                <a16:creationId xmlns:a16="http://schemas.microsoft.com/office/drawing/2014/main" id="{C41CD681-483C-B441-842C-EDADAD5D7B1E}"/>
              </a:ext>
            </a:extLst>
          </p:cNvPr>
          <p:cNvSpPr>
            <a:spLocks noGrp="1"/>
          </p:cNvSpPr>
          <p:nvPr>
            <p:ph type="title" hasCustomPrompt="1"/>
          </p:nvPr>
        </p:nvSpPr>
        <p:spPr>
          <a:xfrm>
            <a:off x="510638" y="297277"/>
            <a:ext cx="9400805" cy="434010"/>
          </a:xfrm>
          <a:prstGeom prst="rect">
            <a:avLst/>
          </a:prstGeom>
        </p:spPr>
        <p:txBody>
          <a:bodyPr vert="horz" lIns="0" tIns="0" rIns="0" bIns="0" rtlCol="0" anchor="t" anchorCtr="0">
            <a:noAutofit/>
          </a:bodyPr>
          <a:lstStyle>
            <a:lvl1pPr>
              <a:defRPr sz="2800">
                <a:latin typeface="+mn-lt"/>
              </a:defRPr>
            </a:lvl1pPr>
          </a:lstStyle>
          <a:p>
            <a:r>
              <a:rPr lang="en-US"/>
              <a:t>Click to add title</a:t>
            </a:r>
          </a:p>
        </p:txBody>
      </p:sp>
      <p:sp>
        <p:nvSpPr>
          <p:cNvPr id="12" name="Text Placeholder 8">
            <a:extLst>
              <a:ext uri="{FF2B5EF4-FFF2-40B4-BE49-F238E27FC236}">
                <a16:creationId xmlns:a16="http://schemas.microsoft.com/office/drawing/2014/main" id="{87471414-239E-9843-9940-2EF118FE70A3}"/>
              </a:ext>
            </a:extLst>
          </p:cNvPr>
          <p:cNvSpPr>
            <a:spLocks noGrp="1"/>
          </p:cNvSpPr>
          <p:nvPr>
            <p:ph type="body" sz="quarter" idx="12" hasCustomPrompt="1"/>
          </p:nvPr>
        </p:nvSpPr>
        <p:spPr>
          <a:xfrm>
            <a:off x="510638" y="851055"/>
            <a:ext cx="11262262" cy="334580"/>
          </a:xfrm>
          <a:prstGeom prst="rect">
            <a:avLst/>
          </a:prstGeom>
        </p:spPr>
        <p:txBody>
          <a:bodyPr lIns="0" tIns="0" rIns="0" bIns="0"/>
          <a:lstStyle>
            <a:lvl1pPr marL="0" indent="0">
              <a:lnSpc>
                <a:spcPct val="100000"/>
              </a:lnSpc>
              <a:spcBef>
                <a:spcPts val="300"/>
              </a:spcBef>
              <a:spcAft>
                <a:spcPts val="300"/>
              </a:spcAft>
              <a:buNone/>
              <a:tabLst/>
              <a:defRPr sz="1600">
                <a:solidFill>
                  <a:schemeClr val="accent1"/>
                </a:solidFill>
              </a:defRPr>
            </a:lvl1pPr>
            <a:lvl2pPr>
              <a:buNone/>
              <a:defRPr/>
            </a:lvl2pPr>
          </a:lstStyle>
          <a:p>
            <a:pPr lvl="0"/>
            <a:r>
              <a:rPr lang="en-US"/>
              <a:t>Click to add subtitle</a:t>
            </a:r>
          </a:p>
        </p:txBody>
      </p:sp>
      <p:sp>
        <p:nvSpPr>
          <p:cNvPr id="5" name="Footer Placeholder 4">
            <a:extLst>
              <a:ext uri="{FF2B5EF4-FFF2-40B4-BE49-F238E27FC236}">
                <a16:creationId xmlns:a16="http://schemas.microsoft.com/office/drawing/2014/main" id="{2D417BC6-2897-D344-949E-7414244A27D6}"/>
              </a:ext>
            </a:extLst>
          </p:cNvPr>
          <p:cNvSpPr>
            <a:spLocks noGrp="1"/>
          </p:cNvSpPr>
          <p:nvPr>
            <p:ph type="ftr" sz="quarter" idx="13"/>
          </p:nvPr>
        </p:nvSpPr>
        <p:spPr/>
        <p:txBody>
          <a:bodyPr/>
          <a:lstStyle/>
          <a:p>
            <a:r>
              <a:rPr lang="en-GB"/>
              <a:t>© Moorhouse 2020  </a:t>
            </a:r>
          </a:p>
        </p:txBody>
      </p:sp>
    </p:spTree>
    <p:extLst>
      <p:ext uri="{BB962C8B-B14F-4D97-AF65-F5344CB8AC3E}">
        <p14:creationId xmlns:p14="http://schemas.microsoft.com/office/powerpoint/2010/main" val="2606103782"/>
      </p:ext>
    </p:extLst>
  </p:cSld>
  <p:clrMapOvr>
    <a:masterClrMapping/>
  </p:clrMapOvr>
  <p:extLst>
    <p:ext uri="{DCECCB84-F9BA-43D5-87BE-67443E8EF086}">
      <p15:sldGuideLst xmlns:p15="http://schemas.microsoft.com/office/powerpoint/2012/main">
        <p15:guide id="1" orient="horz" pos="672">
          <p15:clr>
            <a:srgbClr val="FBAE40"/>
          </p15:clr>
        </p15:guide>
        <p15:guide id="2" pos="7416">
          <p15:clr>
            <a:srgbClr val="FBAE40"/>
          </p15:clr>
        </p15:guide>
        <p15:guide id="3" orient="horz" pos="4068">
          <p15:clr>
            <a:srgbClr val="FBAE40"/>
          </p15:clr>
        </p15:guide>
        <p15:guide id="4" pos="312">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ubtitle, 2 Text Boxes">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49B7C81-6DE7-134A-AF49-C5B48C4FBB5B}"/>
              </a:ext>
            </a:extLst>
          </p:cNvPr>
          <p:cNvSpPr>
            <a:spLocks noGrp="1"/>
          </p:cNvSpPr>
          <p:nvPr>
            <p:ph type="title" hasCustomPrompt="1"/>
          </p:nvPr>
        </p:nvSpPr>
        <p:spPr>
          <a:xfrm>
            <a:off x="510638" y="297277"/>
            <a:ext cx="9400805" cy="434010"/>
          </a:xfrm>
          <a:prstGeom prst="rect">
            <a:avLst/>
          </a:prstGeom>
        </p:spPr>
        <p:txBody>
          <a:bodyPr vert="horz" lIns="0" tIns="0" rIns="0" bIns="0" rtlCol="0" anchor="t" anchorCtr="0">
            <a:noAutofit/>
          </a:bodyPr>
          <a:lstStyle>
            <a:lvl1pPr>
              <a:defRPr sz="2800">
                <a:latin typeface="+mn-lt"/>
              </a:defRPr>
            </a:lvl1pPr>
          </a:lstStyle>
          <a:p>
            <a:r>
              <a:rPr lang="en-US"/>
              <a:t>Click to add title</a:t>
            </a:r>
          </a:p>
        </p:txBody>
      </p:sp>
      <p:cxnSp>
        <p:nvCxnSpPr>
          <p:cNvPr id="4" name="Straight Connector 3">
            <a:extLst>
              <a:ext uri="{FF2B5EF4-FFF2-40B4-BE49-F238E27FC236}">
                <a16:creationId xmlns:a16="http://schemas.microsoft.com/office/drawing/2014/main" id="{A07048F0-CD4E-8D48-B45B-B52352A2A2C3}"/>
              </a:ext>
            </a:extLst>
          </p:cNvPr>
          <p:cNvCxnSpPr>
            <a:cxnSpLocks/>
          </p:cNvCxnSpPr>
          <p:nvPr userDrawn="1"/>
        </p:nvCxnSpPr>
        <p:spPr>
          <a:xfrm>
            <a:off x="510638" y="783018"/>
            <a:ext cx="6361902"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Text Placeholder 8">
            <a:extLst>
              <a:ext uri="{FF2B5EF4-FFF2-40B4-BE49-F238E27FC236}">
                <a16:creationId xmlns:a16="http://schemas.microsoft.com/office/drawing/2014/main" id="{AC2416D7-C968-B242-B9DC-D0DEB8EC22FF}"/>
              </a:ext>
            </a:extLst>
          </p:cNvPr>
          <p:cNvSpPr>
            <a:spLocks noGrp="1"/>
          </p:cNvSpPr>
          <p:nvPr>
            <p:ph type="body" sz="quarter" idx="10" hasCustomPrompt="1"/>
          </p:nvPr>
        </p:nvSpPr>
        <p:spPr>
          <a:xfrm>
            <a:off x="510638" y="1305404"/>
            <a:ext cx="5448184" cy="5148574"/>
          </a:xfrm>
          <a:prstGeom prst="rect">
            <a:avLst/>
          </a:prstGeom>
        </p:spPr>
        <p:txBody>
          <a:bodyPr lIns="0" tIns="0" rIns="0" bIns="0"/>
          <a:lstStyle>
            <a:lvl1pPr marL="0" indent="0">
              <a:lnSpc>
                <a:spcPct val="100000"/>
              </a:lnSpc>
              <a:spcBef>
                <a:spcPts val="300"/>
              </a:spcBef>
              <a:spcAft>
                <a:spcPts val="300"/>
              </a:spcAft>
              <a:buNone/>
              <a:tabLst/>
              <a:defRPr sz="1400"/>
            </a:lvl1pPr>
            <a:lvl2pPr>
              <a:buNone/>
              <a:defRPr/>
            </a:lvl2pPr>
            <a:lvl3pPr>
              <a:buNone/>
              <a:defRPr/>
            </a:lvl3pPr>
            <a:lvl4pPr>
              <a:buNone/>
              <a:defRPr/>
            </a:lvl4pPr>
            <a:lvl5pPr>
              <a:buNone/>
              <a:defRPr/>
            </a:lvl5pPr>
          </a:lstStyle>
          <a:p>
            <a:pPr lvl="0"/>
            <a:r>
              <a:rPr lang="en-US"/>
              <a:t>Click to add text</a:t>
            </a:r>
          </a:p>
        </p:txBody>
      </p:sp>
      <p:sp>
        <p:nvSpPr>
          <p:cNvPr id="8" name="Text Placeholder 8">
            <a:extLst>
              <a:ext uri="{FF2B5EF4-FFF2-40B4-BE49-F238E27FC236}">
                <a16:creationId xmlns:a16="http://schemas.microsoft.com/office/drawing/2014/main" id="{6AA78D8E-15BB-9643-AA8C-1A70CBEE8D37}"/>
              </a:ext>
            </a:extLst>
          </p:cNvPr>
          <p:cNvSpPr>
            <a:spLocks noGrp="1"/>
          </p:cNvSpPr>
          <p:nvPr>
            <p:ph type="body" sz="quarter" idx="11" hasCustomPrompt="1"/>
          </p:nvPr>
        </p:nvSpPr>
        <p:spPr>
          <a:xfrm>
            <a:off x="6233179" y="1305404"/>
            <a:ext cx="5585361" cy="5148573"/>
          </a:xfrm>
          <a:prstGeom prst="rect">
            <a:avLst/>
          </a:prstGeom>
        </p:spPr>
        <p:txBody>
          <a:bodyPr lIns="0" tIns="0" rIns="0" bIns="0"/>
          <a:lstStyle>
            <a:lvl1pPr marL="0" indent="0">
              <a:lnSpc>
                <a:spcPct val="100000"/>
              </a:lnSpc>
              <a:spcBef>
                <a:spcPts val="300"/>
              </a:spcBef>
              <a:spcAft>
                <a:spcPts val="300"/>
              </a:spcAft>
              <a:buNone/>
              <a:tabLst/>
              <a:defRPr sz="1400"/>
            </a:lvl1pPr>
            <a:lvl2pPr marL="9525" indent="-9525">
              <a:buNone/>
              <a:tabLst/>
              <a:defRPr/>
            </a:lvl2pPr>
            <a:lvl3pPr marL="9525" indent="-9525">
              <a:buNone/>
              <a:tabLst/>
              <a:defRPr/>
            </a:lvl3pPr>
            <a:lvl4pPr marL="9525" indent="-9525">
              <a:buNone/>
              <a:tabLst/>
              <a:defRPr/>
            </a:lvl4pPr>
            <a:lvl5pPr marL="9525" indent="-9525">
              <a:buNone/>
              <a:tabLst/>
              <a:defRPr/>
            </a:lvl5pPr>
          </a:lstStyle>
          <a:p>
            <a:pPr lvl="0"/>
            <a:r>
              <a:rPr lang="en-US"/>
              <a:t>Click to add text</a:t>
            </a:r>
          </a:p>
        </p:txBody>
      </p:sp>
      <p:sp>
        <p:nvSpPr>
          <p:cNvPr id="9" name="Text Placeholder 8">
            <a:extLst>
              <a:ext uri="{FF2B5EF4-FFF2-40B4-BE49-F238E27FC236}">
                <a16:creationId xmlns:a16="http://schemas.microsoft.com/office/drawing/2014/main" id="{6815CEFE-7DDC-3F44-91FF-801D5D3F3A7B}"/>
              </a:ext>
            </a:extLst>
          </p:cNvPr>
          <p:cNvSpPr>
            <a:spLocks noGrp="1"/>
          </p:cNvSpPr>
          <p:nvPr>
            <p:ph type="body" sz="quarter" idx="12" hasCustomPrompt="1"/>
          </p:nvPr>
        </p:nvSpPr>
        <p:spPr>
          <a:xfrm>
            <a:off x="510638" y="851055"/>
            <a:ext cx="11262262" cy="334580"/>
          </a:xfrm>
          <a:prstGeom prst="rect">
            <a:avLst/>
          </a:prstGeom>
        </p:spPr>
        <p:txBody>
          <a:bodyPr lIns="0" tIns="0" rIns="0" bIns="0"/>
          <a:lstStyle>
            <a:lvl1pPr marL="0" indent="0">
              <a:lnSpc>
                <a:spcPct val="100000"/>
              </a:lnSpc>
              <a:spcBef>
                <a:spcPts val="300"/>
              </a:spcBef>
              <a:spcAft>
                <a:spcPts val="300"/>
              </a:spcAft>
              <a:buNone/>
              <a:tabLst/>
              <a:defRPr sz="1600">
                <a:solidFill>
                  <a:schemeClr val="accent1"/>
                </a:solidFill>
              </a:defRPr>
            </a:lvl1pPr>
            <a:lvl2pPr>
              <a:buNone/>
              <a:defRPr/>
            </a:lvl2pPr>
          </a:lstStyle>
          <a:p>
            <a:pPr lvl="0"/>
            <a:r>
              <a:rPr lang="en-US"/>
              <a:t>Click to add subtitle</a:t>
            </a:r>
          </a:p>
        </p:txBody>
      </p:sp>
      <p:sp>
        <p:nvSpPr>
          <p:cNvPr id="10" name="Footer Placeholder 9">
            <a:extLst>
              <a:ext uri="{FF2B5EF4-FFF2-40B4-BE49-F238E27FC236}">
                <a16:creationId xmlns:a16="http://schemas.microsoft.com/office/drawing/2014/main" id="{A4A51601-6448-744E-A498-648EE5916964}"/>
              </a:ext>
            </a:extLst>
          </p:cNvPr>
          <p:cNvSpPr>
            <a:spLocks noGrp="1"/>
          </p:cNvSpPr>
          <p:nvPr>
            <p:ph type="ftr" sz="quarter" idx="13"/>
          </p:nvPr>
        </p:nvSpPr>
        <p:spPr/>
        <p:txBody>
          <a:bodyPr/>
          <a:lstStyle/>
          <a:p>
            <a:r>
              <a:rPr lang="en-GB"/>
              <a:t>© Moorhouse 2020  </a:t>
            </a:r>
          </a:p>
        </p:txBody>
      </p:sp>
    </p:spTree>
    <p:extLst>
      <p:ext uri="{BB962C8B-B14F-4D97-AF65-F5344CB8AC3E}">
        <p14:creationId xmlns:p14="http://schemas.microsoft.com/office/powerpoint/2010/main" val="40427110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Page Number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 name="think-cell Slide" r:id="rId5" imgW="421" imgH="420" progId="TCLayout.ActiveDocument.1">
                  <p:embed/>
                </p:oleObj>
              </mc:Choice>
              <mc:Fallback>
                <p:oleObj name="think-cell Slide" r:id="rId5" imgW="421" imgH="42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7" name="Title Placeholder 1">
            <a:extLst>
              <a:ext uri="{FF2B5EF4-FFF2-40B4-BE49-F238E27FC236}">
                <a16:creationId xmlns:a16="http://schemas.microsoft.com/office/drawing/2014/main" id="{A77F0F7B-5DC0-AE4D-805D-D4592C2895F3}"/>
              </a:ext>
            </a:extLst>
          </p:cNvPr>
          <p:cNvSpPr>
            <a:spLocks noGrp="1"/>
          </p:cNvSpPr>
          <p:nvPr>
            <p:ph type="title" hasCustomPrompt="1"/>
          </p:nvPr>
        </p:nvSpPr>
        <p:spPr>
          <a:xfrm>
            <a:off x="510638" y="297277"/>
            <a:ext cx="9400805" cy="434010"/>
          </a:xfrm>
          <a:prstGeom prst="rect">
            <a:avLst/>
          </a:prstGeom>
        </p:spPr>
        <p:txBody>
          <a:bodyPr vert="horz" lIns="0" tIns="0" rIns="0" bIns="0" rtlCol="0" anchor="t" anchorCtr="0">
            <a:noAutofit/>
          </a:bodyPr>
          <a:lstStyle>
            <a:lvl1pPr>
              <a:defRPr sz="2800">
                <a:latin typeface="+mn-lt"/>
              </a:defRPr>
            </a:lvl1pPr>
          </a:lstStyle>
          <a:p>
            <a:r>
              <a:rPr lang="en-US"/>
              <a:t>Click to add title</a:t>
            </a:r>
          </a:p>
        </p:txBody>
      </p:sp>
      <p:cxnSp>
        <p:nvCxnSpPr>
          <p:cNvPr id="8" name="Straight Connector 7">
            <a:extLst>
              <a:ext uri="{FF2B5EF4-FFF2-40B4-BE49-F238E27FC236}">
                <a16:creationId xmlns:a16="http://schemas.microsoft.com/office/drawing/2014/main" id="{5F118AFB-B1FF-9640-A790-2E771E094A56}"/>
              </a:ext>
            </a:extLst>
          </p:cNvPr>
          <p:cNvCxnSpPr>
            <a:cxnSpLocks/>
          </p:cNvCxnSpPr>
          <p:nvPr userDrawn="1"/>
        </p:nvCxnSpPr>
        <p:spPr>
          <a:xfrm>
            <a:off x="510638" y="783018"/>
            <a:ext cx="6361902"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5C7E5B43-1A8B-BF4F-B3F2-7ACA4FE8B007}"/>
              </a:ext>
            </a:extLst>
          </p:cNvPr>
          <p:cNvSpPr>
            <a:spLocks noGrp="1"/>
          </p:cNvSpPr>
          <p:nvPr>
            <p:ph type="ftr" sz="quarter" idx="14"/>
          </p:nvPr>
        </p:nvSpPr>
        <p:spPr/>
        <p:txBody>
          <a:bodyPr/>
          <a:lstStyle/>
          <a:p>
            <a:r>
              <a:rPr lang="en-GB"/>
              <a:t>© Moorhouse 2020</a:t>
            </a:r>
          </a:p>
        </p:txBody>
      </p:sp>
      <p:sp>
        <p:nvSpPr>
          <p:cNvPr id="12" name="Text Placeholder 8">
            <a:extLst>
              <a:ext uri="{FF2B5EF4-FFF2-40B4-BE49-F238E27FC236}">
                <a16:creationId xmlns:a16="http://schemas.microsoft.com/office/drawing/2014/main" id="{0C413A33-1D7F-464C-8AF1-DE3EDA9B4AA7}"/>
              </a:ext>
            </a:extLst>
          </p:cNvPr>
          <p:cNvSpPr>
            <a:spLocks noGrp="1"/>
          </p:cNvSpPr>
          <p:nvPr>
            <p:ph type="body" sz="quarter" idx="13" hasCustomPrompt="1"/>
          </p:nvPr>
        </p:nvSpPr>
        <p:spPr>
          <a:xfrm>
            <a:off x="510638" y="851055"/>
            <a:ext cx="11262262" cy="334580"/>
          </a:xfrm>
          <a:prstGeom prst="rect">
            <a:avLst/>
          </a:prstGeom>
        </p:spPr>
        <p:txBody>
          <a:bodyPr lIns="0" tIns="0" rIns="0" bIns="0"/>
          <a:lstStyle>
            <a:lvl1pPr marL="0" indent="0">
              <a:lnSpc>
                <a:spcPct val="100000"/>
              </a:lnSpc>
              <a:spcBef>
                <a:spcPts val="300"/>
              </a:spcBef>
              <a:spcAft>
                <a:spcPts val="300"/>
              </a:spcAft>
              <a:buNone/>
              <a:tabLst/>
              <a:defRPr sz="1600">
                <a:solidFill>
                  <a:schemeClr val="accent1"/>
                </a:solidFill>
              </a:defRPr>
            </a:lvl1pPr>
            <a:lvl2pPr>
              <a:buNone/>
              <a:defRPr/>
            </a:lvl2pPr>
          </a:lstStyle>
          <a:p>
            <a:pPr lvl="0"/>
            <a:r>
              <a:rPr lang="en-US"/>
              <a:t>Click to add subtitle</a:t>
            </a:r>
          </a:p>
        </p:txBody>
      </p:sp>
    </p:spTree>
    <p:extLst>
      <p:ext uri="{BB962C8B-B14F-4D97-AF65-F5344CB8AC3E}">
        <p14:creationId xmlns:p14="http://schemas.microsoft.com/office/powerpoint/2010/main" val="1440130736"/>
      </p:ext>
    </p:extLst>
  </p:cSld>
  <p:clrMapOvr>
    <a:masterClrMapping/>
  </p:clrMapOvr>
  <p:extLst>
    <p:ext uri="{DCECCB84-F9BA-43D5-87BE-67443E8EF086}">
      <p15:sldGuideLst xmlns:p15="http://schemas.microsoft.com/office/powerpoint/2012/main">
        <p15:guide id="1" orient="horz" pos="672">
          <p15:clr>
            <a:srgbClr val="FBAE40"/>
          </p15:clr>
        </p15:guide>
        <p15:guide id="2" pos="7416">
          <p15:clr>
            <a:srgbClr val="FBAE40"/>
          </p15:clr>
        </p15:guide>
        <p15:guide id="3" orient="horz" pos="4068">
          <p15:clr>
            <a:srgbClr val="FBAE40"/>
          </p15:clr>
        </p15:guide>
        <p15:guide id="4" pos="312">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ubtitle, 3 Text Boxes">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49B7C81-6DE7-134A-AF49-C5B48C4FBB5B}"/>
              </a:ext>
            </a:extLst>
          </p:cNvPr>
          <p:cNvSpPr>
            <a:spLocks noGrp="1"/>
          </p:cNvSpPr>
          <p:nvPr>
            <p:ph type="title" hasCustomPrompt="1"/>
          </p:nvPr>
        </p:nvSpPr>
        <p:spPr>
          <a:xfrm>
            <a:off x="510638" y="297277"/>
            <a:ext cx="9400805" cy="434010"/>
          </a:xfrm>
          <a:prstGeom prst="rect">
            <a:avLst/>
          </a:prstGeom>
        </p:spPr>
        <p:txBody>
          <a:bodyPr vert="horz" lIns="0" tIns="0" rIns="0" bIns="0" rtlCol="0" anchor="t" anchorCtr="0">
            <a:noAutofit/>
          </a:bodyPr>
          <a:lstStyle>
            <a:lvl1pPr>
              <a:defRPr sz="2800">
                <a:latin typeface="+mn-lt"/>
              </a:defRPr>
            </a:lvl1pPr>
          </a:lstStyle>
          <a:p>
            <a:r>
              <a:rPr lang="en-US"/>
              <a:t>Click to add title</a:t>
            </a:r>
          </a:p>
        </p:txBody>
      </p:sp>
      <p:cxnSp>
        <p:nvCxnSpPr>
          <p:cNvPr id="4" name="Straight Connector 3">
            <a:extLst>
              <a:ext uri="{FF2B5EF4-FFF2-40B4-BE49-F238E27FC236}">
                <a16:creationId xmlns:a16="http://schemas.microsoft.com/office/drawing/2014/main" id="{A07048F0-CD4E-8D48-B45B-B52352A2A2C3}"/>
              </a:ext>
            </a:extLst>
          </p:cNvPr>
          <p:cNvCxnSpPr>
            <a:cxnSpLocks/>
          </p:cNvCxnSpPr>
          <p:nvPr userDrawn="1"/>
        </p:nvCxnSpPr>
        <p:spPr>
          <a:xfrm>
            <a:off x="510638" y="783018"/>
            <a:ext cx="6361902"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Text Placeholder 8">
            <a:extLst>
              <a:ext uri="{FF2B5EF4-FFF2-40B4-BE49-F238E27FC236}">
                <a16:creationId xmlns:a16="http://schemas.microsoft.com/office/drawing/2014/main" id="{AC2416D7-C968-B242-B9DC-D0DEB8EC22FF}"/>
              </a:ext>
            </a:extLst>
          </p:cNvPr>
          <p:cNvSpPr>
            <a:spLocks noGrp="1"/>
          </p:cNvSpPr>
          <p:nvPr>
            <p:ph type="body" sz="quarter" idx="10" hasCustomPrompt="1"/>
          </p:nvPr>
        </p:nvSpPr>
        <p:spPr>
          <a:xfrm>
            <a:off x="510638" y="1305402"/>
            <a:ext cx="3420000" cy="5179623"/>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tabLst/>
              <a:defRPr sz="1400"/>
            </a:lvl1pPr>
          </a:lstStyle>
          <a:p>
            <a:pPr lvl="0"/>
            <a:r>
              <a:rPr lang="en-US"/>
              <a:t>Click to add text</a:t>
            </a:r>
          </a:p>
        </p:txBody>
      </p:sp>
      <p:sp>
        <p:nvSpPr>
          <p:cNvPr id="8" name="Text Placeholder 8">
            <a:extLst>
              <a:ext uri="{FF2B5EF4-FFF2-40B4-BE49-F238E27FC236}">
                <a16:creationId xmlns:a16="http://schemas.microsoft.com/office/drawing/2014/main" id="{6AA78D8E-15BB-9643-AA8C-1A70CBEE8D37}"/>
              </a:ext>
            </a:extLst>
          </p:cNvPr>
          <p:cNvSpPr>
            <a:spLocks noGrp="1"/>
          </p:cNvSpPr>
          <p:nvPr>
            <p:ph type="body" sz="quarter" idx="11" hasCustomPrompt="1"/>
          </p:nvPr>
        </p:nvSpPr>
        <p:spPr>
          <a:xfrm>
            <a:off x="4386000" y="1305402"/>
            <a:ext cx="3420000" cy="5179623"/>
          </a:xfrm>
          <a:prstGeom prst="rect">
            <a:avLst/>
          </a:prstGeom>
        </p:spPr>
        <p:txBody>
          <a:bodyPr lIns="0" tIns="0" rIns="0" bIns="0"/>
          <a:lstStyle>
            <a:lvl1pPr marL="0" indent="0">
              <a:lnSpc>
                <a:spcPct val="100000"/>
              </a:lnSpc>
              <a:spcBef>
                <a:spcPts val="300"/>
              </a:spcBef>
              <a:spcAft>
                <a:spcPts val="300"/>
              </a:spcAft>
              <a:buNone/>
              <a:tabLst/>
              <a:defRPr sz="1400"/>
            </a:lvl1pPr>
          </a:lstStyle>
          <a:p>
            <a:pPr lvl="0"/>
            <a:r>
              <a:rPr lang="en-US"/>
              <a:t>Click to add text</a:t>
            </a:r>
          </a:p>
        </p:txBody>
      </p:sp>
      <p:sp>
        <p:nvSpPr>
          <p:cNvPr id="9" name="Text Placeholder 8">
            <a:extLst>
              <a:ext uri="{FF2B5EF4-FFF2-40B4-BE49-F238E27FC236}">
                <a16:creationId xmlns:a16="http://schemas.microsoft.com/office/drawing/2014/main" id="{30695E36-9456-5140-8E3C-DC1268961E29}"/>
              </a:ext>
            </a:extLst>
          </p:cNvPr>
          <p:cNvSpPr>
            <a:spLocks noGrp="1"/>
          </p:cNvSpPr>
          <p:nvPr>
            <p:ph type="body" sz="quarter" idx="12" hasCustomPrompt="1"/>
          </p:nvPr>
        </p:nvSpPr>
        <p:spPr>
          <a:xfrm>
            <a:off x="8261362" y="1305402"/>
            <a:ext cx="3420000" cy="5179623"/>
          </a:xfrm>
          <a:prstGeom prst="rect">
            <a:avLst/>
          </a:prstGeom>
        </p:spPr>
        <p:txBody>
          <a:bodyPr lIns="0" tIns="0" rIns="0" bIns="0"/>
          <a:lstStyle>
            <a:lvl1pPr marL="0" indent="0">
              <a:lnSpc>
                <a:spcPct val="100000"/>
              </a:lnSpc>
              <a:spcBef>
                <a:spcPts val="300"/>
              </a:spcBef>
              <a:spcAft>
                <a:spcPts val="300"/>
              </a:spcAft>
              <a:buNone/>
              <a:tabLst/>
              <a:defRPr sz="1400"/>
            </a:lvl1pPr>
          </a:lstStyle>
          <a:p>
            <a:pPr lvl="0"/>
            <a:r>
              <a:rPr lang="en-US"/>
              <a:t>Click to add text</a:t>
            </a:r>
          </a:p>
        </p:txBody>
      </p:sp>
      <p:sp>
        <p:nvSpPr>
          <p:cNvPr id="10" name="Text Placeholder 8">
            <a:extLst>
              <a:ext uri="{FF2B5EF4-FFF2-40B4-BE49-F238E27FC236}">
                <a16:creationId xmlns:a16="http://schemas.microsoft.com/office/drawing/2014/main" id="{69F2AC11-9F7C-2D44-BB31-1F13E63CD865}"/>
              </a:ext>
            </a:extLst>
          </p:cNvPr>
          <p:cNvSpPr>
            <a:spLocks noGrp="1"/>
          </p:cNvSpPr>
          <p:nvPr>
            <p:ph type="body" sz="quarter" idx="13" hasCustomPrompt="1"/>
          </p:nvPr>
        </p:nvSpPr>
        <p:spPr>
          <a:xfrm>
            <a:off x="510638" y="851055"/>
            <a:ext cx="11262262" cy="334580"/>
          </a:xfrm>
          <a:prstGeom prst="rect">
            <a:avLst/>
          </a:prstGeom>
        </p:spPr>
        <p:txBody>
          <a:bodyPr lIns="0" tIns="0" rIns="0" bIns="0"/>
          <a:lstStyle>
            <a:lvl1pPr marL="0" indent="0">
              <a:lnSpc>
                <a:spcPct val="100000"/>
              </a:lnSpc>
              <a:spcBef>
                <a:spcPts val="300"/>
              </a:spcBef>
              <a:spcAft>
                <a:spcPts val="300"/>
              </a:spcAft>
              <a:buNone/>
              <a:tabLst/>
              <a:defRPr sz="1600">
                <a:solidFill>
                  <a:schemeClr val="accent1"/>
                </a:solidFill>
              </a:defRPr>
            </a:lvl1pPr>
            <a:lvl2pPr>
              <a:buNone/>
              <a:defRPr/>
            </a:lvl2pPr>
          </a:lstStyle>
          <a:p>
            <a:pPr lvl="0"/>
            <a:r>
              <a:rPr lang="en-US"/>
              <a:t>Click to add subtitle</a:t>
            </a:r>
          </a:p>
        </p:txBody>
      </p:sp>
      <p:sp>
        <p:nvSpPr>
          <p:cNvPr id="2" name="Footer Placeholder 1">
            <a:extLst>
              <a:ext uri="{FF2B5EF4-FFF2-40B4-BE49-F238E27FC236}">
                <a16:creationId xmlns:a16="http://schemas.microsoft.com/office/drawing/2014/main" id="{7FB3F751-3DB2-5D4B-988F-C86753AB07C9}"/>
              </a:ext>
            </a:extLst>
          </p:cNvPr>
          <p:cNvSpPr>
            <a:spLocks noGrp="1"/>
          </p:cNvSpPr>
          <p:nvPr>
            <p:ph type="ftr" sz="quarter" idx="14"/>
          </p:nvPr>
        </p:nvSpPr>
        <p:spPr/>
        <p:txBody>
          <a:bodyPr/>
          <a:lstStyle/>
          <a:p>
            <a:r>
              <a:rPr lang="en-GB"/>
              <a:t>© Moorhouse 2020  </a:t>
            </a:r>
          </a:p>
        </p:txBody>
      </p:sp>
    </p:spTree>
    <p:extLst>
      <p:ext uri="{BB962C8B-B14F-4D97-AF65-F5344CB8AC3E}">
        <p14:creationId xmlns:p14="http://schemas.microsoft.com/office/powerpoint/2010/main" val="25634275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ubtitle and Page Number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1" name="think-cell Slide" r:id="rId5" imgW="421" imgH="420" progId="TCLayout.ActiveDocument.1">
                  <p:embed/>
                </p:oleObj>
              </mc:Choice>
              <mc:Fallback>
                <p:oleObj name="think-cell Slide" r:id="rId5" imgW="421" imgH="42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7" name="Title Placeholder 1">
            <a:extLst>
              <a:ext uri="{FF2B5EF4-FFF2-40B4-BE49-F238E27FC236}">
                <a16:creationId xmlns:a16="http://schemas.microsoft.com/office/drawing/2014/main" id="{A77F0F7B-5DC0-AE4D-805D-D4592C2895F3}"/>
              </a:ext>
            </a:extLst>
          </p:cNvPr>
          <p:cNvSpPr>
            <a:spLocks noGrp="1"/>
          </p:cNvSpPr>
          <p:nvPr>
            <p:ph type="title" hasCustomPrompt="1"/>
          </p:nvPr>
        </p:nvSpPr>
        <p:spPr>
          <a:xfrm>
            <a:off x="510638" y="297277"/>
            <a:ext cx="9400805" cy="434010"/>
          </a:xfrm>
          <a:prstGeom prst="rect">
            <a:avLst/>
          </a:prstGeom>
        </p:spPr>
        <p:txBody>
          <a:bodyPr vert="horz" lIns="0" tIns="0" rIns="0" bIns="0" rtlCol="0" anchor="t" anchorCtr="0">
            <a:noAutofit/>
          </a:bodyPr>
          <a:lstStyle>
            <a:lvl1pPr>
              <a:defRPr sz="2800">
                <a:latin typeface="+mn-lt"/>
              </a:defRPr>
            </a:lvl1pPr>
          </a:lstStyle>
          <a:p>
            <a:r>
              <a:rPr lang="en-US"/>
              <a:t>Click to add title</a:t>
            </a:r>
          </a:p>
        </p:txBody>
      </p:sp>
      <p:cxnSp>
        <p:nvCxnSpPr>
          <p:cNvPr id="8" name="Straight Connector 7">
            <a:extLst>
              <a:ext uri="{FF2B5EF4-FFF2-40B4-BE49-F238E27FC236}">
                <a16:creationId xmlns:a16="http://schemas.microsoft.com/office/drawing/2014/main" id="{5F118AFB-B1FF-9640-A790-2E771E094A56}"/>
              </a:ext>
            </a:extLst>
          </p:cNvPr>
          <p:cNvCxnSpPr>
            <a:cxnSpLocks/>
          </p:cNvCxnSpPr>
          <p:nvPr userDrawn="1"/>
        </p:nvCxnSpPr>
        <p:spPr>
          <a:xfrm>
            <a:off x="510638" y="783018"/>
            <a:ext cx="6361902"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5C7E5B43-1A8B-BF4F-B3F2-7ACA4FE8B007}"/>
              </a:ext>
            </a:extLst>
          </p:cNvPr>
          <p:cNvSpPr>
            <a:spLocks noGrp="1"/>
          </p:cNvSpPr>
          <p:nvPr>
            <p:ph type="ftr" sz="quarter" idx="14"/>
          </p:nvPr>
        </p:nvSpPr>
        <p:spPr/>
        <p:txBody>
          <a:bodyPr/>
          <a:lstStyle/>
          <a:p>
            <a:r>
              <a:rPr lang="en-GB"/>
              <a:t>© Moorhouse 2020  </a:t>
            </a:r>
          </a:p>
        </p:txBody>
      </p:sp>
      <p:sp>
        <p:nvSpPr>
          <p:cNvPr id="12" name="Text Placeholder 8">
            <a:extLst>
              <a:ext uri="{FF2B5EF4-FFF2-40B4-BE49-F238E27FC236}">
                <a16:creationId xmlns:a16="http://schemas.microsoft.com/office/drawing/2014/main" id="{0C413A33-1D7F-464C-8AF1-DE3EDA9B4AA7}"/>
              </a:ext>
            </a:extLst>
          </p:cNvPr>
          <p:cNvSpPr>
            <a:spLocks noGrp="1"/>
          </p:cNvSpPr>
          <p:nvPr>
            <p:ph type="body" sz="quarter" idx="13" hasCustomPrompt="1"/>
          </p:nvPr>
        </p:nvSpPr>
        <p:spPr>
          <a:xfrm>
            <a:off x="510638" y="851055"/>
            <a:ext cx="11262262" cy="334580"/>
          </a:xfrm>
          <a:prstGeom prst="rect">
            <a:avLst/>
          </a:prstGeom>
        </p:spPr>
        <p:txBody>
          <a:bodyPr lIns="0" tIns="0" rIns="0" bIns="0"/>
          <a:lstStyle>
            <a:lvl1pPr marL="0" indent="0">
              <a:lnSpc>
                <a:spcPct val="100000"/>
              </a:lnSpc>
              <a:spcBef>
                <a:spcPts val="300"/>
              </a:spcBef>
              <a:spcAft>
                <a:spcPts val="300"/>
              </a:spcAft>
              <a:buNone/>
              <a:tabLst/>
              <a:defRPr sz="1600">
                <a:solidFill>
                  <a:schemeClr val="accent1"/>
                </a:solidFill>
              </a:defRPr>
            </a:lvl1pPr>
            <a:lvl2pPr>
              <a:buNone/>
              <a:defRPr/>
            </a:lvl2pPr>
          </a:lstStyle>
          <a:p>
            <a:pPr lvl="0"/>
            <a:r>
              <a:rPr lang="en-US"/>
              <a:t>Click to add subtitle</a:t>
            </a:r>
          </a:p>
        </p:txBody>
      </p:sp>
    </p:spTree>
    <p:extLst>
      <p:ext uri="{BB962C8B-B14F-4D97-AF65-F5344CB8AC3E}">
        <p14:creationId xmlns:p14="http://schemas.microsoft.com/office/powerpoint/2010/main" val="503510054"/>
      </p:ext>
    </p:extLst>
  </p:cSld>
  <p:clrMapOvr>
    <a:masterClrMapping/>
  </p:clrMapOvr>
  <p:extLst>
    <p:ext uri="{DCECCB84-F9BA-43D5-87BE-67443E8EF086}">
      <p15:sldGuideLst xmlns:p15="http://schemas.microsoft.com/office/powerpoint/2012/main">
        <p15:guide id="1" orient="horz" pos="672">
          <p15:clr>
            <a:srgbClr val="FBAE40"/>
          </p15:clr>
        </p15:guide>
        <p15:guide id="2" pos="7416">
          <p15:clr>
            <a:srgbClr val="FBAE40"/>
          </p15:clr>
        </p15:guide>
        <p15:guide id="3" orient="horz" pos="4068">
          <p15:clr>
            <a:srgbClr val="FBAE40"/>
          </p15:clr>
        </p15:guide>
        <p15:guide id="4" pos="312">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Logo and Page Number Onl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52A269C-061A-504E-9261-C30F6567843D}"/>
              </a:ext>
            </a:extLst>
          </p:cNvPr>
          <p:cNvSpPr>
            <a:spLocks noGrp="1"/>
          </p:cNvSpPr>
          <p:nvPr>
            <p:ph type="ftr" sz="quarter" idx="10"/>
          </p:nvPr>
        </p:nvSpPr>
        <p:spPr/>
        <p:txBody>
          <a:bodyPr/>
          <a:lstStyle/>
          <a:p>
            <a:r>
              <a:rPr lang="en-GB"/>
              <a:t>© Moorhouse 2020  </a:t>
            </a:r>
          </a:p>
        </p:txBody>
      </p:sp>
    </p:spTree>
    <p:extLst>
      <p:ext uri="{BB962C8B-B14F-4D97-AF65-F5344CB8AC3E}">
        <p14:creationId xmlns:p14="http://schemas.microsoft.com/office/powerpoint/2010/main" val="316107075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Logo Only">
    <p:spTree>
      <p:nvGrpSpPr>
        <p:cNvPr id="1" name=""/>
        <p:cNvGrpSpPr/>
        <p:nvPr/>
      </p:nvGrpSpPr>
      <p:grpSpPr>
        <a:xfrm>
          <a:off x="0" y="0"/>
          <a:ext cx="0" cy="0"/>
          <a:chOff x="0" y="0"/>
          <a:chExt cx="0" cy="0"/>
        </a:xfrm>
      </p:grpSpPr>
      <p:pic>
        <p:nvPicPr>
          <p:cNvPr id="2" name="Picture 1" descr="A picture containing clock, drawing, light&#10;&#10;Description automatically generated">
            <a:extLst>
              <a:ext uri="{FF2B5EF4-FFF2-40B4-BE49-F238E27FC236}">
                <a16:creationId xmlns:a16="http://schemas.microsoft.com/office/drawing/2014/main" id="{AFAC7536-EF67-1542-B05E-447C936C84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61205" y="321363"/>
            <a:ext cx="1650380" cy="411972"/>
          </a:xfrm>
          <a:prstGeom prst="rect">
            <a:avLst/>
          </a:prstGeom>
        </p:spPr>
      </p:pic>
      <p:sp>
        <p:nvSpPr>
          <p:cNvPr id="3" name="Footer Placeholder 2">
            <a:extLst>
              <a:ext uri="{FF2B5EF4-FFF2-40B4-BE49-F238E27FC236}">
                <a16:creationId xmlns:a16="http://schemas.microsoft.com/office/drawing/2014/main" id="{B38ED25A-B8CC-2946-AE24-F42B534F4C3E}"/>
              </a:ext>
            </a:extLst>
          </p:cNvPr>
          <p:cNvSpPr>
            <a:spLocks noGrp="1"/>
          </p:cNvSpPr>
          <p:nvPr>
            <p:ph type="ftr" sz="quarter" idx="10"/>
          </p:nvPr>
        </p:nvSpPr>
        <p:spPr/>
        <p:txBody>
          <a:bodyPr/>
          <a:lstStyle/>
          <a:p>
            <a:r>
              <a:rPr lang="en-GB"/>
              <a:t>© Moorhouse 2020  </a:t>
            </a:r>
          </a:p>
        </p:txBody>
      </p:sp>
    </p:spTree>
    <p:extLst>
      <p:ext uri="{BB962C8B-B14F-4D97-AF65-F5344CB8AC3E}">
        <p14:creationId xmlns:p14="http://schemas.microsoft.com/office/powerpoint/2010/main" val="75573742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Generic Title Slide">
    <p:spTree>
      <p:nvGrpSpPr>
        <p:cNvPr id="1" name=""/>
        <p:cNvGrpSpPr/>
        <p:nvPr/>
      </p:nvGrpSpPr>
      <p:grpSpPr>
        <a:xfrm>
          <a:off x="0" y="0"/>
          <a:ext cx="0" cy="0"/>
          <a:chOff x="0" y="0"/>
          <a:chExt cx="0" cy="0"/>
        </a:xfrm>
      </p:grpSpPr>
      <p:pic>
        <p:nvPicPr>
          <p:cNvPr id="3" name="Picture 2" descr="A harbor filled with lots of tall buildings&#10;&#10;Description automatically generated">
            <a:extLst>
              <a:ext uri="{FF2B5EF4-FFF2-40B4-BE49-F238E27FC236}">
                <a16:creationId xmlns:a16="http://schemas.microsoft.com/office/drawing/2014/main" id="{DC1F0E16-797D-4344-A2D4-8940E9E5047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085" r="40988"/>
          <a:stretch/>
        </p:blipFill>
        <p:spPr>
          <a:xfrm flipH="1">
            <a:off x="4514850" y="4"/>
            <a:ext cx="7677150" cy="6857992"/>
          </a:xfrm>
          <a:custGeom>
            <a:avLst/>
            <a:gdLst>
              <a:gd name="connsiteX0" fmla="*/ 5029202 w 7677150"/>
              <a:gd name="connsiteY0" fmla="*/ 0 h 6857992"/>
              <a:gd name="connsiteX1" fmla="*/ 0 w 7677150"/>
              <a:gd name="connsiteY1" fmla="*/ 0 h 6857992"/>
              <a:gd name="connsiteX2" fmla="*/ 0 w 7677150"/>
              <a:gd name="connsiteY2" fmla="*/ 6857992 h 6857992"/>
              <a:gd name="connsiteX3" fmla="*/ 7677150 w 7677150"/>
              <a:gd name="connsiteY3" fmla="*/ 6857992 h 6857992"/>
            </a:gdLst>
            <a:ahLst/>
            <a:cxnLst>
              <a:cxn ang="0">
                <a:pos x="connsiteX0" y="connsiteY0"/>
              </a:cxn>
              <a:cxn ang="0">
                <a:pos x="connsiteX1" y="connsiteY1"/>
              </a:cxn>
              <a:cxn ang="0">
                <a:pos x="connsiteX2" y="connsiteY2"/>
              </a:cxn>
              <a:cxn ang="0">
                <a:pos x="connsiteX3" y="connsiteY3"/>
              </a:cxn>
            </a:cxnLst>
            <a:rect l="l" t="t" r="r" b="b"/>
            <a:pathLst>
              <a:path w="7677150" h="6857992">
                <a:moveTo>
                  <a:pt x="5029202" y="0"/>
                </a:moveTo>
                <a:lnTo>
                  <a:pt x="0" y="0"/>
                </a:lnTo>
                <a:lnTo>
                  <a:pt x="0" y="6857992"/>
                </a:lnTo>
                <a:lnTo>
                  <a:pt x="7677150" y="6857992"/>
                </a:lnTo>
                <a:close/>
              </a:path>
            </a:pathLst>
          </a:custGeom>
          <a:effectLst>
            <a:reflection endPos="0" dir="5400000" sy="-100000" algn="bl" rotWithShape="0"/>
          </a:effectLst>
        </p:spPr>
      </p:pic>
      <p:grpSp>
        <p:nvGrpSpPr>
          <p:cNvPr id="5" name="Group 4">
            <a:extLst>
              <a:ext uri="{FF2B5EF4-FFF2-40B4-BE49-F238E27FC236}">
                <a16:creationId xmlns:a16="http://schemas.microsoft.com/office/drawing/2014/main" id="{96720D58-539E-9042-A928-348CB38BBDF6}"/>
              </a:ext>
            </a:extLst>
          </p:cNvPr>
          <p:cNvGrpSpPr/>
          <p:nvPr userDrawn="1"/>
        </p:nvGrpSpPr>
        <p:grpSpPr>
          <a:xfrm>
            <a:off x="1" y="3535636"/>
            <a:ext cx="5411972" cy="68922"/>
            <a:chOff x="0" y="3089605"/>
            <a:chExt cx="5937813" cy="68922"/>
          </a:xfrm>
        </p:grpSpPr>
        <p:cxnSp>
          <p:nvCxnSpPr>
            <p:cNvPr id="6" name="Straight Connector 5">
              <a:extLst>
                <a:ext uri="{FF2B5EF4-FFF2-40B4-BE49-F238E27FC236}">
                  <a16:creationId xmlns:a16="http://schemas.microsoft.com/office/drawing/2014/main" id="{8A50D3C1-2264-9C4D-9D03-58E60DFE707B}"/>
                </a:ext>
              </a:extLst>
            </p:cNvPr>
            <p:cNvCxnSpPr>
              <a:cxnSpLocks/>
            </p:cNvCxnSpPr>
            <p:nvPr/>
          </p:nvCxnSpPr>
          <p:spPr>
            <a:xfrm>
              <a:off x="0" y="3124066"/>
              <a:ext cx="5937813"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13044BFE-6E18-AE45-8443-A6F4784D7131}"/>
                </a:ext>
              </a:extLst>
            </p:cNvPr>
            <p:cNvSpPr/>
            <p:nvPr/>
          </p:nvSpPr>
          <p:spPr>
            <a:xfrm>
              <a:off x="700881" y="3089605"/>
              <a:ext cx="842169" cy="6892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8" name="Rectangle 7">
            <a:extLst>
              <a:ext uri="{FF2B5EF4-FFF2-40B4-BE49-F238E27FC236}">
                <a16:creationId xmlns:a16="http://schemas.microsoft.com/office/drawing/2014/main" id="{709C841B-7D0B-B64B-AF92-49F97AE30455}"/>
              </a:ext>
            </a:extLst>
          </p:cNvPr>
          <p:cNvSpPr/>
          <p:nvPr userDrawn="1"/>
        </p:nvSpPr>
        <p:spPr>
          <a:xfrm>
            <a:off x="0" y="6674068"/>
            <a:ext cx="12192000" cy="183932"/>
          </a:xfrm>
          <a:prstGeom prst="rect">
            <a:avLst/>
          </a:prstGeom>
          <a:solidFill>
            <a:srgbClr val="5023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Content Placeholder 17">
            <a:extLst>
              <a:ext uri="{FF2B5EF4-FFF2-40B4-BE49-F238E27FC236}">
                <a16:creationId xmlns:a16="http://schemas.microsoft.com/office/drawing/2014/main" id="{A3F372F6-2EC6-554A-AA35-E1D03D27DB80}"/>
              </a:ext>
            </a:extLst>
          </p:cNvPr>
          <p:cNvSpPr>
            <a:spLocks noGrp="1"/>
          </p:cNvSpPr>
          <p:nvPr>
            <p:ph sz="quarter" idx="10" hasCustomPrompt="1"/>
          </p:nvPr>
        </p:nvSpPr>
        <p:spPr>
          <a:xfrm>
            <a:off x="537425" y="2974801"/>
            <a:ext cx="3646488" cy="473207"/>
          </a:xfrm>
          <a:prstGeom prst="rect">
            <a:avLst/>
          </a:prstGeom>
        </p:spPr>
        <p:txBody>
          <a:bodyPr/>
          <a:lstStyle>
            <a:lvl1pPr marL="0" indent="0">
              <a:lnSpc>
                <a:spcPct val="100000"/>
              </a:lnSpc>
              <a:spcBef>
                <a:spcPts val="300"/>
              </a:spcBef>
              <a:spcAft>
                <a:spcPts val="300"/>
              </a:spcAft>
              <a:buNone/>
              <a:defRPr sz="2800" b="1">
                <a:solidFill>
                  <a:schemeClr val="accent1"/>
                </a:solidFill>
              </a:defRPr>
            </a:lvl1pPr>
          </a:lstStyle>
          <a:p>
            <a:pPr lvl="0"/>
            <a:r>
              <a:rPr lang="en-GB"/>
              <a:t>Add Title</a:t>
            </a:r>
          </a:p>
        </p:txBody>
      </p:sp>
      <p:sp>
        <p:nvSpPr>
          <p:cNvPr id="11" name="Content Placeholder 17">
            <a:extLst>
              <a:ext uri="{FF2B5EF4-FFF2-40B4-BE49-F238E27FC236}">
                <a16:creationId xmlns:a16="http://schemas.microsoft.com/office/drawing/2014/main" id="{6B523996-542A-E340-9D0A-F18DCEB8BB99}"/>
              </a:ext>
            </a:extLst>
          </p:cNvPr>
          <p:cNvSpPr>
            <a:spLocks noGrp="1"/>
          </p:cNvSpPr>
          <p:nvPr>
            <p:ph sz="quarter" idx="11" hasCustomPrompt="1"/>
          </p:nvPr>
        </p:nvSpPr>
        <p:spPr>
          <a:xfrm>
            <a:off x="537425" y="3726647"/>
            <a:ext cx="3646488" cy="473207"/>
          </a:xfrm>
          <a:prstGeom prst="rect">
            <a:avLst/>
          </a:prstGeom>
        </p:spPr>
        <p:txBody>
          <a:bodyPr/>
          <a:lstStyle>
            <a:lvl1pPr marL="0" indent="0">
              <a:lnSpc>
                <a:spcPct val="100000"/>
              </a:lnSpc>
              <a:spcBef>
                <a:spcPts val="300"/>
              </a:spcBef>
              <a:spcAft>
                <a:spcPts val="300"/>
              </a:spcAft>
              <a:buNone/>
              <a:defRPr sz="1600" b="0">
                <a:solidFill>
                  <a:schemeClr val="accent1"/>
                </a:solidFill>
              </a:defRPr>
            </a:lvl1pPr>
          </a:lstStyle>
          <a:p>
            <a:pPr lvl="0"/>
            <a:r>
              <a:rPr lang="en-GB"/>
              <a:t>Add Subtitle</a:t>
            </a:r>
          </a:p>
        </p:txBody>
      </p:sp>
      <p:sp>
        <p:nvSpPr>
          <p:cNvPr id="14" name="Freeform: Shape 2">
            <a:extLst>
              <a:ext uri="{FF2B5EF4-FFF2-40B4-BE49-F238E27FC236}">
                <a16:creationId xmlns:a16="http://schemas.microsoft.com/office/drawing/2014/main" id="{65E09882-346D-3442-A3BD-BD9F48B8403E}"/>
              </a:ext>
            </a:extLst>
          </p:cNvPr>
          <p:cNvSpPr/>
          <p:nvPr userDrawn="1"/>
        </p:nvSpPr>
        <p:spPr>
          <a:xfrm>
            <a:off x="4514850" y="4"/>
            <a:ext cx="7677150" cy="6857996"/>
          </a:xfrm>
          <a:custGeom>
            <a:avLst/>
            <a:gdLst>
              <a:gd name="connsiteX0" fmla="*/ 2647950 w 7677150"/>
              <a:gd name="connsiteY0" fmla="*/ 0 h 6896100"/>
              <a:gd name="connsiteX1" fmla="*/ 7677150 w 7677150"/>
              <a:gd name="connsiteY1" fmla="*/ 0 h 6896100"/>
              <a:gd name="connsiteX2" fmla="*/ 7677150 w 7677150"/>
              <a:gd name="connsiteY2" fmla="*/ 6896100 h 6896100"/>
              <a:gd name="connsiteX3" fmla="*/ 0 w 7677150"/>
              <a:gd name="connsiteY3" fmla="*/ 6896100 h 6896100"/>
              <a:gd name="connsiteX4" fmla="*/ 2647950 w 7677150"/>
              <a:gd name="connsiteY4" fmla="*/ 0 h 6896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77150" h="6896100">
                <a:moveTo>
                  <a:pt x="2647950" y="0"/>
                </a:moveTo>
                <a:lnTo>
                  <a:pt x="7677150" y="0"/>
                </a:lnTo>
                <a:lnTo>
                  <a:pt x="7677150" y="6896100"/>
                </a:lnTo>
                <a:lnTo>
                  <a:pt x="0" y="6896100"/>
                </a:lnTo>
                <a:lnTo>
                  <a:pt x="2647950" y="0"/>
                </a:lnTo>
                <a:close/>
              </a:path>
            </a:pathLst>
          </a:custGeom>
          <a:solidFill>
            <a:schemeClr val="tx1">
              <a:alpha val="55000"/>
            </a:scheme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pic>
        <p:nvPicPr>
          <p:cNvPr id="15" name="Picture 14">
            <a:extLst>
              <a:ext uri="{FF2B5EF4-FFF2-40B4-BE49-F238E27FC236}">
                <a16:creationId xmlns:a16="http://schemas.microsoft.com/office/drawing/2014/main" id="{CD9167ED-C9DC-D04F-875B-571133520E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61205" y="321363"/>
            <a:ext cx="1650380" cy="411972"/>
          </a:xfrm>
          <a:prstGeom prst="rect">
            <a:avLst/>
          </a:prstGeom>
        </p:spPr>
      </p:pic>
      <p:sp>
        <p:nvSpPr>
          <p:cNvPr id="2" name="Footer Placeholder 1">
            <a:extLst>
              <a:ext uri="{FF2B5EF4-FFF2-40B4-BE49-F238E27FC236}">
                <a16:creationId xmlns:a16="http://schemas.microsoft.com/office/drawing/2014/main" id="{29515E71-4BA2-A341-BA2F-4573D5B330C9}"/>
              </a:ext>
            </a:extLst>
          </p:cNvPr>
          <p:cNvSpPr>
            <a:spLocks noGrp="1"/>
          </p:cNvSpPr>
          <p:nvPr>
            <p:ph type="ftr" sz="quarter" idx="12"/>
          </p:nvPr>
        </p:nvSpPr>
        <p:spPr/>
        <p:txBody>
          <a:bodyPr/>
          <a:lstStyle>
            <a:lvl1pPr>
              <a:defRPr>
                <a:solidFill>
                  <a:schemeClr val="bg1"/>
                </a:solidFill>
              </a:defRPr>
            </a:lvl1pPr>
          </a:lstStyle>
          <a:p>
            <a:r>
              <a:rPr lang="en-GB"/>
              <a:t>© Moorhouse 2020  </a:t>
            </a:r>
          </a:p>
        </p:txBody>
      </p:sp>
    </p:spTree>
    <p:extLst>
      <p:ext uri="{BB962C8B-B14F-4D97-AF65-F5344CB8AC3E}">
        <p14:creationId xmlns:p14="http://schemas.microsoft.com/office/powerpoint/2010/main" val="271490416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ivider Slide White">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2EF64F75-66C2-C444-AA86-454AAA5D4529}"/>
              </a:ext>
            </a:extLst>
          </p:cNvPr>
          <p:cNvCxnSpPr>
            <a:cxnSpLocks/>
          </p:cNvCxnSpPr>
          <p:nvPr userDrawn="1"/>
        </p:nvCxnSpPr>
        <p:spPr>
          <a:xfrm>
            <a:off x="1487488" y="1376772"/>
            <a:ext cx="0" cy="4104456"/>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4" name="Content Placeholder 6">
            <a:extLst>
              <a:ext uri="{FF2B5EF4-FFF2-40B4-BE49-F238E27FC236}">
                <a16:creationId xmlns:a16="http://schemas.microsoft.com/office/drawing/2014/main" id="{DA82A1E9-2BB2-664F-AE3E-EE4019615A52}"/>
              </a:ext>
            </a:extLst>
          </p:cNvPr>
          <p:cNvSpPr>
            <a:spLocks noGrp="1"/>
          </p:cNvSpPr>
          <p:nvPr>
            <p:ph sz="quarter" idx="10" hasCustomPrompt="1"/>
          </p:nvPr>
        </p:nvSpPr>
        <p:spPr>
          <a:xfrm>
            <a:off x="1881188" y="1983582"/>
            <a:ext cx="6480000" cy="2890837"/>
          </a:xfrm>
          <a:prstGeom prst="rect">
            <a:avLst/>
          </a:prstGeom>
        </p:spPr>
        <p:txBody>
          <a:bodyPr anchor="ctr"/>
          <a:lstStyle>
            <a:lvl1pPr marL="0" marR="0" indent="0" algn="l" defTabSz="914400" rtl="0" eaLnBrk="1" fontAlgn="auto" latinLnBrk="0" hangingPunct="1">
              <a:lnSpc>
                <a:spcPct val="100000"/>
              </a:lnSpc>
              <a:spcBef>
                <a:spcPts val="300"/>
              </a:spcBef>
              <a:spcAft>
                <a:spcPts val="300"/>
              </a:spcAft>
              <a:buClrTx/>
              <a:buSzTx/>
              <a:buFontTx/>
              <a:buNone/>
              <a:tabLst/>
              <a:defRPr sz="7200" b="1">
                <a:solidFill>
                  <a:schemeClr val="accent1"/>
                </a:solidFill>
              </a:defRPr>
            </a:lvl1pPr>
          </a:lstStyle>
          <a:p>
            <a:pPr lvl="0"/>
            <a:r>
              <a:rPr lang="en-GB"/>
              <a:t>Click to add title</a:t>
            </a:r>
          </a:p>
        </p:txBody>
      </p:sp>
      <p:pic>
        <p:nvPicPr>
          <p:cNvPr id="5" name="Picture 4">
            <a:extLst>
              <a:ext uri="{FF2B5EF4-FFF2-40B4-BE49-F238E27FC236}">
                <a16:creationId xmlns:a16="http://schemas.microsoft.com/office/drawing/2014/main" id="{5D0E6640-3916-874E-9362-574DCC4B2F10}"/>
              </a:ext>
            </a:extLst>
          </p:cNvPr>
          <p:cNvPicPr>
            <a:picLocks noChangeAspect="1"/>
          </p:cNvPicPr>
          <p:nvPr userDrawn="1"/>
        </p:nvPicPr>
        <p:blipFill>
          <a:blip r:embed="rId2"/>
          <a:stretch>
            <a:fillRect/>
          </a:stretch>
        </p:blipFill>
        <p:spPr>
          <a:xfrm>
            <a:off x="9336361" y="5517232"/>
            <a:ext cx="2134931" cy="694800"/>
          </a:xfrm>
          <a:prstGeom prst="rect">
            <a:avLst/>
          </a:prstGeom>
        </p:spPr>
      </p:pic>
      <p:pic>
        <p:nvPicPr>
          <p:cNvPr id="6" name="Picture 5" descr="A picture containing clock, drawing, light&#10;&#10;Description automatically generated">
            <a:extLst>
              <a:ext uri="{FF2B5EF4-FFF2-40B4-BE49-F238E27FC236}">
                <a16:creationId xmlns:a16="http://schemas.microsoft.com/office/drawing/2014/main" id="{0059C6DF-9E0D-F444-BB97-9F50F817279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61205" y="321363"/>
            <a:ext cx="1650380" cy="411972"/>
          </a:xfrm>
          <a:prstGeom prst="rect">
            <a:avLst/>
          </a:prstGeom>
        </p:spPr>
      </p:pic>
    </p:spTree>
    <p:extLst>
      <p:ext uri="{BB962C8B-B14F-4D97-AF65-F5344CB8AC3E}">
        <p14:creationId xmlns:p14="http://schemas.microsoft.com/office/powerpoint/2010/main" val="11776098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ivider Slide Purple">
    <p:bg>
      <p:bgPr>
        <a:solidFill>
          <a:srgbClr val="CCBCD1"/>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130001C2-E701-4A46-BD6E-65255889DC99}"/>
              </a:ext>
            </a:extLst>
          </p:cNvPr>
          <p:cNvCxnSpPr>
            <a:cxnSpLocks/>
          </p:cNvCxnSpPr>
          <p:nvPr userDrawn="1"/>
        </p:nvCxnSpPr>
        <p:spPr>
          <a:xfrm>
            <a:off x="1487488" y="1376772"/>
            <a:ext cx="0" cy="4104456"/>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7" name="Content Placeholder 6">
            <a:extLst>
              <a:ext uri="{FF2B5EF4-FFF2-40B4-BE49-F238E27FC236}">
                <a16:creationId xmlns:a16="http://schemas.microsoft.com/office/drawing/2014/main" id="{D646635C-E952-684F-9467-D9576C82F46B}"/>
              </a:ext>
            </a:extLst>
          </p:cNvPr>
          <p:cNvSpPr>
            <a:spLocks noGrp="1"/>
          </p:cNvSpPr>
          <p:nvPr>
            <p:ph sz="quarter" idx="10" hasCustomPrompt="1"/>
          </p:nvPr>
        </p:nvSpPr>
        <p:spPr>
          <a:xfrm>
            <a:off x="1881188" y="1983582"/>
            <a:ext cx="6480000" cy="2890837"/>
          </a:xfrm>
          <a:prstGeom prst="rect">
            <a:avLst/>
          </a:prstGeom>
        </p:spPr>
        <p:txBody>
          <a:bodyPr anchor="ctr"/>
          <a:lstStyle>
            <a:lvl1pPr marL="0" marR="0" indent="0" algn="l" defTabSz="914400" rtl="0" eaLnBrk="1" fontAlgn="auto" latinLnBrk="0" hangingPunct="1">
              <a:lnSpc>
                <a:spcPct val="100000"/>
              </a:lnSpc>
              <a:spcBef>
                <a:spcPts val="300"/>
              </a:spcBef>
              <a:spcAft>
                <a:spcPts val="300"/>
              </a:spcAft>
              <a:buClrTx/>
              <a:buSzTx/>
              <a:buFontTx/>
              <a:buNone/>
              <a:tabLst/>
              <a:defRPr sz="7200" b="1">
                <a:solidFill>
                  <a:schemeClr val="accent1"/>
                </a:solidFill>
              </a:defRPr>
            </a:lvl1pPr>
          </a:lstStyle>
          <a:p>
            <a:pPr lvl="0"/>
            <a:r>
              <a:rPr lang="en-GB"/>
              <a:t>Click to add title</a:t>
            </a:r>
          </a:p>
        </p:txBody>
      </p:sp>
      <p:pic>
        <p:nvPicPr>
          <p:cNvPr id="5" name="Picture 4" descr="A picture containing clock, drawing, light&#10;&#10;Description automatically generated">
            <a:extLst>
              <a:ext uri="{FF2B5EF4-FFF2-40B4-BE49-F238E27FC236}">
                <a16:creationId xmlns:a16="http://schemas.microsoft.com/office/drawing/2014/main" id="{216146BB-DB31-7A46-9E03-09EA61D2F7D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61205" y="321363"/>
            <a:ext cx="1650380" cy="411972"/>
          </a:xfrm>
          <a:prstGeom prst="rect">
            <a:avLst/>
          </a:prstGeom>
        </p:spPr>
      </p:pic>
    </p:spTree>
    <p:extLst>
      <p:ext uri="{BB962C8B-B14F-4D97-AF65-F5344CB8AC3E}">
        <p14:creationId xmlns:p14="http://schemas.microsoft.com/office/powerpoint/2010/main" val="260867272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ivider Slide Dark">
    <p:bg>
      <p:bgPr>
        <a:solidFill>
          <a:schemeClr val="accent1"/>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2EF64F75-66C2-C444-AA86-454AAA5D4529}"/>
              </a:ext>
            </a:extLst>
          </p:cNvPr>
          <p:cNvCxnSpPr>
            <a:cxnSpLocks/>
          </p:cNvCxnSpPr>
          <p:nvPr userDrawn="1"/>
        </p:nvCxnSpPr>
        <p:spPr>
          <a:xfrm>
            <a:off x="1487488" y="1376772"/>
            <a:ext cx="0" cy="4104456"/>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Content Placeholder 6">
            <a:extLst>
              <a:ext uri="{FF2B5EF4-FFF2-40B4-BE49-F238E27FC236}">
                <a16:creationId xmlns:a16="http://schemas.microsoft.com/office/drawing/2014/main" id="{DA82A1E9-2BB2-664F-AE3E-EE4019615A52}"/>
              </a:ext>
            </a:extLst>
          </p:cNvPr>
          <p:cNvSpPr>
            <a:spLocks noGrp="1"/>
          </p:cNvSpPr>
          <p:nvPr>
            <p:ph sz="quarter" idx="10" hasCustomPrompt="1"/>
          </p:nvPr>
        </p:nvSpPr>
        <p:spPr>
          <a:xfrm>
            <a:off x="1881188" y="1983582"/>
            <a:ext cx="6480000" cy="2890837"/>
          </a:xfrm>
          <a:prstGeom prst="rect">
            <a:avLst/>
          </a:prstGeom>
        </p:spPr>
        <p:txBody>
          <a:bodyPr anchor="ctr"/>
          <a:lstStyle>
            <a:lvl1pPr marL="0" marR="0" indent="0" algn="l" defTabSz="914400" rtl="0" eaLnBrk="1" fontAlgn="auto" latinLnBrk="0" hangingPunct="1">
              <a:lnSpc>
                <a:spcPct val="100000"/>
              </a:lnSpc>
              <a:spcBef>
                <a:spcPts val="300"/>
              </a:spcBef>
              <a:spcAft>
                <a:spcPts val="300"/>
              </a:spcAft>
              <a:buClrTx/>
              <a:buSzTx/>
              <a:buFontTx/>
              <a:buNone/>
              <a:tabLst/>
              <a:defRPr sz="7200" b="1">
                <a:solidFill>
                  <a:schemeClr val="bg1"/>
                </a:solidFill>
              </a:defRPr>
            </a:lvl1pPr>
          </a:lstStyle>
          <a:p>
            <a:pPr lvl="0"/>
            <a:r>
              <a:rPr lang="en-GB"/>
              <a:t>Click to add title</a:t>
            </a:r>
          </a:p>
        </p:txBody>
      </p:sp>
      <p:pic>
        <p:nvPicPr>
          <p:cNvPr id="6" name="Picture 5">
            <a:extLst>
              <a:ext uri="{FF2B5EF4-FFF2-40B4-BE49-F238E27FC236}">
                <a16:creationId xmlns:a16="http://schemas.microsoft.com/office/drawing/2014/main" id="{6DA27D15-5FC7-0E4A-8804-3C58F02F86F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61205" y="321363"/>
            <a:ext cx="1650380" cy="411972"/>
          </a:xfrm>
          <a:prstGeom prst="rect">
            <a:avLst/>
          </a:prstGeom>
        </p:spPr>
      </p:pic>
    </p:spTree>
    <p:extLst>
      <p:ext uri="{BB962C8B-B14F-4D97-AF65-F5344CB8AC3E}">
        <p14:creationId xmlns:p14="http://schemas.microsoft.com/office/powerpoint/2010/main" val="359481543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Blank Slide Whit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89" name="think-cell Slide" r:id="rId5" imgW="421" imgH="420" progId="TCLayout.ActiveDocument.1">
                  <p:embed/>
                </p:oleObj>
              </mc:Choice>
              <mc:Fallback>
                <p:oleObj name="think-cell Slide" r:id="rId5" imgW="421" imgH="420"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Black" panose="020B0A04020102020204" pitchFamily="34" charset="0"/>
              <a:ea typeface="+mn-ea"/>
              <a:cs typeface="+mn-cs"/>
              <a:sym typeface="Arial Black" panose="020B0A04020102020204" pitchFamily="34" charset="0"/>
            </a:endParaRPr>
          </a:p>
        </p:txBody>
      </p:sp>
      <p:sp>
        <p:nvSpPr>
          <p:cNvPr id="3" name="TextBox 2">
            <a:extLst>
              <a:ext uri="{FF2B5EF4-FFF2-40B4-BE49-F238E27FC236}">
                <a16:creationId xmlns:a16="http://schemas.microsoft.com/office/drawing/2014/main" id="{C8C51CB6-6C68-D54B-8637-B9C4DF209684}"/>
              </a:ext>
            </a:extLst>
          </p:cNvPr>
          <p:cNvSpPr txBox="1"/>
          <p:nvPr userDrawn="1"/>
        </p:nvSpPr>
        <p:spPr>
          <a:xfrm>
            <a:off x="1754372" y="520995"/>
            <a:ext cx="184731" cy="369332"/>
          </a:xfrm>
          <a:prstGeom prst="rect">
            <a:avLst/>
          </a:prstGeom>
          <a:noFill/>
        </p:spPr>
        <p:txBody>
          <a:bodyPr wrap="none" rtlCol="0">
            <a:spAutoFit/>
          </a:bodyPr>
          <a:lstStyle/>
          <a:p>
            <a:endParaRPr lang="en-GB"/>
          </a:p>
        </p:txBody>
      </p:sp>
    </p:spTree>
    <p:extLst>
      <p:ext uri="{BB962C8B-B14F-4D97-AF65-F5344CB8AC3E}">
        <p14:creationId xmlns:p14="http://schemas.microsoft.com/office/powerpoint/2010/main" val="292392257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Blank Slide Purple">
    <p:bg>
      <p:bgPr>
        <a:solidFill>
          <a:srgbClr val="CCBCD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28257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ogo and Page Number Onl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52A269C-061A-504E-9261-C30F6567843D}"/>
              </a:ext>
            </a:extLst>
          </p:cNvPr>
          <p:cNvSpPr>
            <a:spLocks noGrp="1"/>
          </p:cNvSpPr>
          <p:nvPr>
            <p:ph type="ftr" sz="quarter" idx="10"/>
          </p:nvPr>
        </p:nvSpPr>
        <p:spPr/>
        <p:txBody>
          <a:bodyPr/>
          <a:lstStyle/>
          <a:p>
            <a:r>
              <a:rPr lang="en-GB"/>
              <a:t>© Moorhouse 2020 [Restricted]</a:t>
            </a:r>
          </a:p>
        </p:txBody>
      </p:sp>
    </p:spTree>
    <p:extLst>
      <p:ext uri="{BB962C8B-B14F-4D97-AF65-F5344CB8AC3E}">
        <p14:creationId xmlns:p14="http://schemas.microsoft.com/office/powerpoint/2010/main" val="390952085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Blank Slide Dark">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7" name="think-cell Slide" r:id="rId4" imgW="421" imgH="420" progId="TCLayout.ActiveDocument.1">
                  <p:embed/>
                </p:oleObj>
              </mc:Choice>
              <mc:Fallback>
                <p:oleObj name="think-cell Slide" r:id="rId4" imgW="421" imgH="42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90583104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1" name="think-cell Slide" r:id="rId4" imgW="421" imgH="420" progId="TCLayout.ActiveDocument.1">
                  <p:embed/>
                </p:oleObj>
              </mc:Choice>
              <mc:Fallback>
                <p:oleObj name="think-cell Slide" r:id="rId4" imgW="421" imgH="42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AF8501C1-52FE-0147-9319-81DD10D64AB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31666" y="2813846"/>
            <a:ext cx="4928668" cy="1230307"/>
          </a:xfrm>
          <a:prstGeom prst="rect">
            <a:avLst/>
          </a:prstGeom>
        </p:spPr>
      </p:pic>
    </p:spTree>
    <p:extLst>
      <p:ext uri="{BB962C8B-B14F-4D97-AF65-F5344CB8AC3E}">
        <p14:creationId xmlns:p14="http://schemas.microsoft.com/office/powerpoint/2010/main" val="167743371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Title Slide - Option 1">
    <p:spTree>
      <p:nvGrpSpPr>
        <p:cNvPr id="1" name=""/>
        <p:cNvGrpSpPr/>
        <p:nvPr/>
      </p:nvGrpSpPr>
      <p:grpSpPr>
        <a:xfrm>
          <a:off x="0" y="0"/>
          <a:ext cx="0" cy="0"/>
          <a:chOff x="0" y="0"/>
          <a:chExt cx="0" cy="0"/>
        </a:xfrm>
      </p:grpSpPr>
      <p:sp>
        <p:nvSpPr>
          <p:cNvPr id="12" name="Title 1"/>
          <p:cNvSpPr>
            <a:spLocks noGrp="1"/>
          </p:cNvSpPr>
          <p:nvPr>
            <p:ph type="ctrTitle"/>
          </p:nvPr>
        </p:nvSpPr>
        <p:spPr>
          <a:xfrm>
            <a:off x="540000" y="4140000"/>
            <a:ext cx="8289207" cy="1029962"/>
          </a:xfrm>
          <a:prstGeom prst="rect">
            <a:avLst/>
          </a:prstGeom>
        </p:spPr>
        <p:txBody>
          <a:bodyPr wrap="square" lIns="0" tIns="0" rIns="0" bIns="0" anchor="t" anchorCtr="0">
            <a:noAutofit/>
          </a:bodyPr>
          <a:lstStyle>
            <a:lvl1pPr algn="l">
              <a:defRPr sz="3600">
                <a:solidFill>
                  <a:schemeClr val="accent1"/>
                </a:solidFill>
              </a:defRPr>
            </a:lvl1pPr>
          </a:lstStyle>
          <a:p>
            <a:r>
              <a:rPr lang="en-US"/>
              <a:t>Click to edit Master title style</a:t>
            </a:r>
          </a:p>
        </p:txBody>
      </p:sp>
      <p:sp>
        <p:nvSpPr>
          <p:cNvPr id="18" name="Subtitle 2"/>
          <p:cNvSpPr>
            <a:spLocks noGrp="1"/>
          </p:cNvSpPr>
          <p:nvPr>
            <p:ph type="subTitle" idx="1"/>
          </p:nvPr>
        </p:nvSpPr>
        <p:spPr>
          <a:xfrm>
            <a:off x="540000" y="5512354"/>
            <a:ext cx="7621553" cy="277320"/>
          </a:xfrm>
          <a:prstGeom prst="rect">
            <a:avLst/>
          </a:prstGeom>
        </p:spPr>
        <p:txBody>
          <a:bodyPr lIns="0" tIns="0" rIns="0" bIns="0">
            <a:noAutofit/>
          </a:bodyPr>
          <a:lstStyle>
            <a:lvl1pPr marL="0" indent="0" algn="l">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a:t>
            </a:r>
          </a:p>
        </p:txBody>
      </p:sp>
    </p:spTree>
    <p:extLst>
      <p:ext uri="{BB962C8B-B14F-4D97-AF65-F5344CB8AC3E}">
        <p14:creationId xmlns:p14="http://schemas.microsoft.com/office/powerpoint/2010/main" val="149954254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ubtitle, Summary, Bod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3" name="think-cell Slide" r:id="rId5" imgW="421" imgH="420" progId="TCLayout.ActiveDocument.1">
                  <p:embed/>
                </p:oleObj>
              </mc:Choice>
              <mc:Fallback>
                <p:oleObj name="think-cell Slide" r:id="rId5" imgW="421" imgH="42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7" name="Title Placeholder 1">
            <a:extLst>
              <a:ext uri="{FF2B5EF4-FFF2-40B4-BE49-F238E27FC236}">
                <a16:creationId xmlns:a16="http://schemas.microsoft.com/office/drawing/2014/main" id="{A77F0F7B-5DC0-AE4D-805D-D4592C2895F3}"/>
              </a:ext>
            </a:extLst>
          </p:cNvPr>
          <p:cNvSpPr>
            <a:spLocks noGrp="1"/>
          </p:cNvSpPr>
          <p:nvPr>
            <p:ph type="title" hasCustomPrompt="1"/>
          </p:nvPr>
        </p:nvSpPr>
        <p:spPr>
          <a:xfrm>
            <a:off x="510638" y="297277"/>
            <a:ext cx="9400805" cy="434010"/>
          </a:xfrm>
          <a:prstGeom prst="rect">
            <a:avLst/>
          </a:prstGeom>
        </p:spPr>
        <p:txBody>
          <a:bodyPr vert="horz" lIns="0" tIns="0" rIns="0" bIns="0" rtlCol="0" anchor="t" anchorCtr="0">
            <a:noAutofit/>
          </a:bodyPr>
          <a:lstStyle>
            <a:lvl1pPr>
              <a:defRPr sz="2800">
                <a:latin typeface="+mn-lt"/>
              </a:defRPr>
            </a:lvl1pPr>
          </a:lstStyle>
          <a:p>
            <a:r>
              <a:rPr lang="en-US"/>
              <a:t>Click to add title</a:t>
            </a:r>
          </a:p>
        </p:txBody>
      </p:sp>
      <p:cxnSp>
        <p:nvCxnSpPr>
          <p:cNvPr id="8" name="Straight Connector 7">
            <a:extLst>
              <a:ext uri="{FF2B5EF4-FFF2-40B4-BE49-F238E27FC236}">
                <a16:creationId xmlns:a16="http://schemas.microsoft.com/office/drawing/2014/main" id="{5F118AFB-B1FF-9640-A790-2E771E094A56}"/>
              </a:ext>
            </a:extLst>
          </p:cNvPr>
          <p:cNvCxnSpPr>
            <a:cxnSpLocks/>
          </p:cNvCxnSpPr>
          <p:nvPr userDrawn="1"/>
        </p:nvCxnSpPr>
        <p:spPr>
          <a:xfrm>
            <a:off x="510638" y="783018"/>
            <a:ext cx="6361902"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userDrawn="1">
            <p:ph type="body" sz="quarter" idx="10" hasCustomPrompt="1"/>
          </p:nvPr>
        </p:nvSpPr>
        <p:spPr>
          <a:xfrm>
            <a:off x="510638" y="1308212"/>
            <a:ext cx="11262262" cy="516517"/>
          </a:xfrm>
          <a:prstGeom prst="rect">
            <a:avLst/>
          </a:prstGeom>
        </p:spPr>
        <p:txBody>
          <a:bodyPr lIns="0" tIns="0" rIns="0" bIns="0"/>
          <a:lstStyle>
            <a:lvl1pPr marL="0" indent="0">
              <a:lnSpc>
                <a:spcPct val="100000"/>
              </a:lnSpc>
              <a:spcBef>
                <a:spcPts val="300"/>
              </a:spcBef>
              <a:spcAft>
                <a:spcPts val="300"/>
              </a:spcAft>
              <a:buNone/>
              <a:tabLst/>
              <a:defRPr sz="1400">
                <a:solidFill>
                  <a:schemeClr val="accent2"/>
                </a:solidFill>
              </a:defRPr>
            </a:lvl1pPr>
            <a:lvl2pPr>
              <a:buNone/>
              <a:defRPr/>
            </a:lvl2pPr>
          </a:lstStyle>
          <a:p>
            <a:pPr lvl="0"/>
            <a:r>
              <a:rPr lang="en-US"/>
              <a:t>Click to add summary</a:t>
            </a:r>
          </a:p>
        </p:txBody>
      </p:sp>
      <p:sp>
        <p:nvSpPr>
          <p:cNvPr id="10" name="Text Placeholder 8">
            <a:extLst>
              <a:ext uri="{FF2B5EF4-FFF2-40B4-BE49-F238E27FC236}">
                <a16:creationId xmlns:a16="http://schemas.microsoft.com/office/drawing/2014/main" id="{215965C1-5B87-B342-92DF-960F7A97F380}"/>
              </a:ext>
            </a:extLst>
          </p:cNvPr>
          <p:cNvSpPr>
            <a:spLocks noGrp="1"/>
          </p:cNvSpPr>
          <p:nvPr>
            <p:ph type="body" sz="quarter" idx="11" hasCustomPrompt="1"/>
          </p:nvPr>
        </p:nvSpPr>
        <p:spPr>
          <a:xfrm>
            <a:off x="510638" y="1947306"/>
            <a:ext cx="11262262" cy="4500000"/>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tabLst/>
              <a:defRPr sz="1400"/>
            </a:lvl1pPr>
            <a:lvl2pPr marL="9525" indent="-9525">
              <a:buNone/>
              <a:tabLst/>
              <a:defRPr/>
            </a:lvl2pPr>
            <a:lvl3pPr marL="9525" indent="-9525">
              <a:buNone/>
              <a:tabLst/>
              <a:defRPr/>
            </a:lvl3pPr>
            <a:lvl4pPr marL="9525" indent="-9525">
              <a:buNone/>
              <a:tabLst/>
              <a:defRPr/>
            </a:lvl4pPr>
            <a:lvl5pPr marL="9525" indent="-9525">
              <a:buNone/>
              <a:tabLst/>
              <a:defRPr/>
            </a:lvl5pPr>
          </a:lstStyle>
          <a:p>
            <a:pPr lvl="0"/>
            <a:r>
              <a:rPr lang="en-US"/>
              <a:t>Click to add text</a:t>
            </a:r>
          </a:p>
        </p:txBody>
      </p:sp>
      <p:sp>
        <p:nvSpPr>
          <p:cNvPr id="12" name="Text Placeholder 8">
            <a:extLst>
              <a:ext uri="{FF2B5EF4-FFF2-40B4-BE49-F238E27FC236}">
                <a16:creationId xmlns:a16="http://schemas.microsoft.com/office/drawing/2014/main" id="{EDBD8DDE-2607-2640-81EF-425A65FC7156}"/>
              </a:ext>
            </a:extLst>
          </p:cNvPr>
          <p:cNvSpPr>
            <a:spLocks noGrp="1"/>
          </p:cNvSpPr>
          <p:nvPr>
            <p:ph type="body" sz="quarter" idx="12" hasCustomPrompt="1"/>
          </p:nvPr>
        </p:nvSpPr>
        <p:spPr>
          <a:xfrm>
            <a:off x="510638" y="851055"/>
            <a:ext cx="11262262" cy="334580"/>
          </a:xfrm>
          <a:prstGeom prst="rect">
            <a:avLst/>
          </a:prstGeom>
        </p:spPr>
        <p:txBody>
          <a:bodyPr lIns="0" tIns="0" rIns="0" bIns="0"/>
          <a:lstStyle>
            <a:lvl1pPr marL="0" indent="0">
              <a:lnSpc>
                <a:spcPct val="100000"/>
              </a:lnSpc>
              <a:spcBef>
                <a:spcPts val="300"/>
              </a:spcBef>
              <a:spcAft>
                <a:spcPts val="300"/>
              </a:spcAft>
              <a:buNone/>
              <a:tabLst/>
              <a:defRPr sz="1600">
                <a:solidFill>
                  <a:schemeClr val="accent1"/>
                </a:solidFill>
              </a:defRPr>
            </a:lvl1pPr>
            <a:lvl2pPr>
              <a:buNone/>
              <a:defRPr/>
            </a:lvl2pPr>
          </a:lstStyle>
          <a:p>
            <a:pPr lvl="0"/>
            <a:r>
              <a:rPr lang="en-US"/>
              <a:t>Click to add subtitle</a:t>
            </a:r>
          </a:p>
        </p:txBody>
      </p:sp>
      <p:sp>
        <p:nvSpPr>
          <p:cNvPr id="6" name="Footer Placeholder 5">
            <a:extLst>
              <a:ext uri="{FF2B5EF4-FFF2-40B4-BE49-F238E27FC236}">
                <a16:creationId xmlns:a16="http://schemas.microsoft.com/office/drawing/2014/main" id="{F4903614-D375-794E-BE18-2A6EF1376FDF}"/>
              </a:ext>
            </a:extLst>
          </p:cNvPr>
          <p:cNvSpPr>
            <a:spLocks noGrp="1"/>
          </p:cNvSpPr>
          <p:nvPr>
            <p:ph type="ftr" sz="quarter" idx="13"/>
          </p:nvPr>
        </p:nvSpPr>
        <p:spPr/>
        <p:txBody>
          <a:bodyPr/>
          <a:lstStyle/>
          <a:p>
            <a:r>
              <a:rPr lang="en-GB"/>
              <a:t>© Moorhouse 2020  </a:t>
            </a:r>
          </a:p>
        </p:txBody>
      </p:sp>
    </p:spTree>
    <p:extLst>
      <p:ext uri="{BB962C8B-B14F-4D97-AF65-F5344CB8AC3E}">
        <p14:creationId xmlns:p14="http://schemas.microsoft.com/office/powerpoint/2010/main" val="830921771"/>
      </p:ext>
    </p:extLst>
  </p:cSld>
  <p:clrMapOvr>
    <a:masterClrMapping/>
  </p:clrMapOvr>
  <p:extLst>
    <p:ext uri="{DCECCB84-F9BA-43D5-87BE-67443E8EF086}">
      <p15:sldGuideLst xmlns:p15="http://schemas.microsoft.com/office/powerpoint/2012/main">
        <p15:guide id="1" orient="horz" pos="672">
          <p15:clr>
            <a:srgbClr val="FBAE40"/>
          </p15:clr>
        </p15:guide>
        <p15:guide id="2" pos="7416">
          <p15:clr>
            <a:srgbClr val="FBAE40"/>
          </p15:clr>
        </p15:guide>
        <p15:guide id="3" orient="horz" pos="4068">
          <p15:clr>
            <a:srgbClr val="FBAE40"/>
          </p15:clr>
        </p15:guide>
        <p15:guide id="4" pos="312">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ubtitle, 1 Text Box">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7" name="think-cell Slide" r:id="rId5" imgW="421" imgH="420" progId="TCLayout.ActiveDocument.1">
                  <p:embed/>
                </p:oleObj>
              </mc:Choice>
              <mc:Fallback>
                <p:oleObj name="think-cell Slide" r:id="rId5" imgW="421" imgH="42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cxnSp>
        <p:nvCxnSpPr>
          <p:cNvPr id="8" name="Straight Connector 7">
            <a:extLst>
              <a:ext uri="{FF2B5EF4-FFF2-40B4-BE49-F238E27FC236}">
                <a16:creationId xmlns:a16="http://schemas.microsoft.com/office/drawing/2014/main" id="{5F118AFB-B1FF-9640-A790-2E771E094A56}"/>
              </a:ext>
            </a:extLst>
          </p:cNvPr>
          <p:cNvCxnSpPr>
            <a:cxnSpLocks/>
          </p:cNvCxnSpPr>
          <p:nvPr userDrawn="1"/>
        </p:nvCxnSpPr>
        <p:spPr>
          <a:xfrm>
            <a:off x="510638" y="783018"/>
            <a:ext cx="6361902"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userDrawn="1">
            <p:ph type="body" sz="quarter" idx="10" hasCustomPrompt="1"/>
          </p:nvPr>
        </p:nvSpPr>
        <p:spPr>
          <a:xfrm>
            <a:off x="510638" y="1305404"/>
            <a:ext cx="11262262" cy="5152546"/>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tabLst/>
              <a:defRPr sz="1400"/>
            </a:lvl1pPr>
            <a:lvl2pPr>
              <a:buNone/>
              <a:defRPr/>
            </a:lvl2pPr>
            <a:lvl3pPr>
              <a:buNone/>
              <a:defRPr/>
            </a:lvl3pPr>
            <a:lvl4pPr>
              <a:buNone/>
              <a:defRPr/>
            </a:lvl4pPr>
            <a:lvl5pPr>
              <a:buNone/>
              <a:defRPr/>
            </a:lvl5pPr>
          </a:lstStyle>
          <a:p>
            <a:pPr lvl="0"/>
            <a:r>
              <a:rPr lang="en-US"/>
              <a:t>Click to add text</a:t>
            </a:r>
          </a:p>
        </p:txBody>
      </p:sp>
      <p:sp>
        <p:nvSpPr>
          <p:cNvPr id="10" name="Title Placeholder 1">
            <a:extLst>
              <a:ext uri="{FF2B5EF4-FFF2-40B4-BE49-F238E27FC236}">
                <a16:creationId xmlns:a16="http://schemas.microsoft.com/office/drawing/2014/main" id="{C41CD681-483C-B441-842C-EDADAD5D7B1E}"/>
              </a:ext>
            </a:extLst>
          </p:cNvPr>
          <p:cNvSpPr>
            <a:spLocks noGrp="1"/>
          </p:cNvSpPr>
          <p:nvPr>
            <p:ph type="title" hasCustomPrompt="1"/>
          </p:nvPr>
        </p:nvSpPr>
        <p:spPr>
          <a:xfrm>
            <a:off x="510638" y="297277"/>
            <a:ext cx="9400805" cy="434010"/>
          </a:xfrm>
          <a:prstGeom prst="rect">
            <a:avLst/>
          </a:prstGeom>
        </p:spPr>
        <p:txBody>
          <a:bodyPr vert="horz" lIns="0" tIns="0" rIns="0" bIns="0" rtlCol="0" anchor="t" anchorCtr="0">
            <a:noAutofit/>
          </a:bodyPr>
          <a:lstStyle>
            <a:lvl1pPr>
              <a:defRPr sz="2800">
                <a:latin typeface="+mn-lt"/>
              </a:defRPr>
            </a:lvl1pPr>
          </a:lstStyle>
          <a:p>
            <a:r>
              <a:rPr lang="en-US"/>
              <a:t>Click to add title</a:t>
            </a:r>
          </a:p>
        </p:txBody>
      </p:sp>
      <p:sp>
        <p:nvSpPr>
          <p:cNvPr id="12" name="Text Placeholder 8">
            <a:extLst>
              <a:ext uri="{FF2B5EF4-FFF2-40B4-BE49-F238E27FC236}">
                <a16:creationId xmlns:a16="http://schemas.microsoft.com/office/drawing/2014/main" id="{87471414-239E-9843-9940-2EF118FE70A3}"/>
              </a:ext>
            </a:extLst>
          </p:cNvPr>
          <p:cNvSpPr>
            <a:spLocks noGrp="1"/>
          </p:cNvSpPr>
          <p:nvPr>
            <p:ph type="body" sz="quarter" idx="12" hasCustomPrompt="1"/>
          </p:nvPr>
        </p:nvSpPr>
        <p:spPr>
          <a:xfrm>
            <a:off x="510638" y="851055"/>
            <a:ext cx="11262262" cy="334580"/>
          </a:xfrm>
          <a:prstGeom prst="rect">
            <a:avLst/>
          </a:prstGeom>
        </p:spPr>
        <p:txBody>
          <a:bodyPr lIns="0" tIns="0" rIns="0" bIns="0"/>
          <a:lstStyle>
            <a:lvl1pPr marL="0" indent="0">
              <a:lnSpc>
                <a:spcPct val="100000"/>
              </a:lnSpc>
              <a:spcBef>
                <a:spcPts val="300"/>
              </a:spcBef>
              <a:spcAft>
                <a:spcPts val="300"/>
              </a:spcAft>
              <a:buNone/>
              <a:tabLst/>
              <a:defRPr sz="1600">
                <a:solidFill>
                  <a:schemeClr val="accent1"/>
                </a:solidFill>
              </a:defRPr>
            </a:lvl1pPr>
            <a:lvl2pPr>
              <a:buNone/>
              <a:defRPr/>
            </a:lvl2pPr>
          </a:lstStyle>
          <a:p>
            <a:pPr lvl="0"/>
            <a:r>
              <a:rPr lang="en-US"/>
              <a:t>Click to add subtitle</a:t>
            </a:r>
          </a:p>
        </p:txBody>
      </p:sp>
      <p:sp>
        <p:nvSpPr>
          <p:cNvPr id="5" name="Footer Placeholder 4">
            <a:extLst>
              <a:ext uri="{FF2B5EF4-FFF2-40B4-BE49-F238E27FC236}">
                <a16:creationId xmlns:a16="http://schemas.microsoft.com/office/drawing/2014/main" id="{2D417BC6-2897-D344-949E-7414244A27D6}"/>
              </a:ext>
            </a:extLst>
          </p:cNvPr>
          <p:cNvSpPr>
            <a:spLocks noGrp="1"/>
          </p:cNvSpPr>
          <p:nvPr>
            <p:ph type="ftr" sz="quarter" idx="13"/>
          </p:nvPr>
        </p:nvSpPr>
        <p:spPr/>
        <p:txBody>
          <a:bodyPr/>
          <a:lstStyle/>
          <a:p>
            <a:r>
              <a:rPr lang="en-GB"/>
              <a:t>© Moorhouse 2020  </a:t>
            </a:r>
          </a:p>
        </p:txBody>
      </p:sp>
    </p:spTree>
    <p:extLst>
      <p:ext uri="{BB962C8B-B14F-4D97-AF65-F5344CB8AC3E}">
        <p14:creationId xmlns:p14="http://schemas.microsoft.com/office/powerpoint/2010/main" val="1084266247"/>
      </p:ext>
    </p:extLst>
  </p:cSld>
  <p:clrMapOvr>
    <a:masterClrMapping/>
  </p:clrMapOvr>
  <p:extLst>
    <p:ext uri="{DCECCB84-F9BA-43D5-87BE-67443E8EF086}">
      <p15:sldGuideLst xmlns:p15="http://schemas.microsoft.com/office/powerpoint/2012/main">
        <p15:guide id="1" orient="horz" pos="672">
          <p15:clr>
            <a:srgbClr val="FBAE40"/>
          </p15:clr>
        </p15:guide>
        <p15:guide id="2" pos="7416">
          <p15:clr>
            <a:srgbClr val="FBAE40"/>
          </p15:clr>
        </p15:guide>
        <p15:guide id="3" orient="horz" pos="4068">
          <p15:clr>
            <a:srgbClr val="FBAE40"/>
          </p15:clr>
        </p15:guide>
        <p15:guide id="4" pos="312">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ubtitle, 2 Text Boxes">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49B7C81-6DE7-134A-AF49-C5B48C4FBB5B}"/>
              </a:ext>
            </a:extLst>
          </p:cNvPr>
          <p:cNvSpPr>
            <a:spLocks noGrp="1"/>
          </p:cNvSpPr>
          <p:nvPr>
            <p:ph type="title" hasCustomPrompt="1"/>
          </p:nvPr>
        </p:nvSpPr>
        <p:spPr>
          <a:xfrm>
            <a:off x="510638" y="297277"/>
            <a:ext cx="9400805" cy="434010"/>
          </a:xfrm>
          <a:prstGeom prst="rect">
            <a:avLst/>
          </a:prstGeom>
        </p:spPr>
        <p:txBody>
          <a:bodyPr vert="horz" lIns="0" tIns="0" rIns="0" bIns="0" rtlCol="0" anchor="t" anchorCtr="0">
            <a:noAutofit/>
          </a:bodyPr>
          <a:lstStyle>
            <a:lvl1pPr>
              <a:defRPr sz="2800">
                <a:latin typeface="+mn-lt"/>
              </a:defRPr>
            </a:lvl1pPr>
          </a:lstStyle>
          <a:p>
            <a:r>
              <a:rPr lang="en-US"/>
              <a:t>Click to add title</a:t>
            </a:r>
          </a:p>
        </p:txBody>
      </p:sp>
      <p:cxnSp>
        <p:nvCxnSpPr>
          <p:cNvPr id="4" name="Straight Connector 3">
            <a:extLst>
              <a:ext uri="{FF2B5EF4-FFF2-40B4-BE49-F238E27FC236}">
                <a16:creationId xmlns:a16="http://schemas.microsoft.com/office/drawing/2014/main" id="{A07048F0-CD4E-8D48-B45B-B52352A2A2C3}"/>
              </a:ext>
            </a:extLst>
          </p:cNvPr>
          <p:cNvCxnSpPr>
            <a:cxnSpLocks/>
          </p:cNvCxnSpPr>
          <p:nvPr userDrawn="1"/>
        </p:nvCxnSpPr>
        <p:spPr>
          <a:xfrm>
            <a:off x="510638" y="783018"/>
            <a:ext cx="6361902"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Text Placeholder 8">
            <a:extLst>
              <a:ext uri="{FF2B5EF4-FFF2-40B4-BE49-F238E27FC236}">
                <a16:creationId xmlns:a16="http://schemas.microsoft.com/office/drawing/2014/main" id="{AC2416D7-C968-B242-B9DC-D0DEB8EC22FF}"/>
              </a:ext>
            </a:extLst>
          </p:cNvPr>
          <p:cNvSpPr>
            <a:spLocks noGrp="1"/>
          </p:cNvSpPr>
          <p:nvPr>
            <p:ph type="body" sz="quarter" idx="10" hasCustomPrompt="1"/>
          </p:nvPr>
        </p:nvSpPr>
        <p:spPr>
          <a:xfrm>
            <a:off x="510638" y="1305404"/>
            <a:ext cx="5448184" cy="5148574"/>
          </a:xfrm>
          <a:prstGeom prst="rect">
            <a:avLst/>
          </a:prstGeom>
        </p:spPr>
        <p:txBody>
          <a:bodyPr lIns="0" tIns="0" rIns="0" bIns="0"/>
          <a:lstStyle>
            <a:lvl1pPr marL="0" indent="0">
              <a:lnSpc>
                <a:spcPct val="100000"/>
              </a:lnSpc>
              <a:spcBef>
                <a:spcPts val="300"/>
              </a:spcBef>
              <a:spcAft>
                <a:spcPts val="300"/>
              </a:spcAft>
              <a:buNone/>
              <a:tabLst/>
              <a:defRPr sz="1400"/>
            </a:lvl1pPr>
            <a:lvl2pPr>
              <a:buNone/>
              <a:defRPr/>
            </a:lvl2pPr>
            <a:lvl3pPr>
              <a:buNone/>
              <a:defRPr/>
            </a:lvl3pPr>
            <a:lvl4pPr>
              <a:buNone/>
              <a:defRPr/>
            </a:lvl4pPr>
            <a:lvl5pPr>
              <a:buNone/>
              <a:defRPr/>
            </a:lvl5pPr>
          </a:lstStyle>
          <a:p>
            <a:pPr lvl="0"/>
            <a:r>
              <a:rPr lang="en-US"/>
              <a:t>Click to add text</a:t>
            </a:r>
          </a:p>
        </p:txBody>
      </p:sp>
      <p:sp>
        <p:nvSpPr>
          <p:cNvPr id="8" name="Text Placeholder 8">
            <a:extLst>
              <a:ext uri="{FF2B5EF4-FFF2-40B4-BE49-F238E27FC236}">
                <a16:creationId xmlns:a16="http://schemas.microsoft.com/office/drawing/2014/main" id="{6AA78D8E-15BB-9643-AA8C-1A70CBEE8D37}"/>
              </a:ext>
            </a:extLst>
          </p:cNvPr>
          <p:cNvSpPr>
            <a:spLocks noGrp="1"/>
          </p:cNvSpPr>
          <p:nvPr>
            <p:ph type="body" sz="quarter" idx="11" hasCustomPrompt="1"/>
          </p:nvPr>
        </p:nvSpPr>
        <p:spPr>
          <a:xfrm>
            <a:off x="6233179" y="1305404"/>
            <a:ext cx="5585361" cy="5148573"/>
          </a:xfrm>
          <a:prstGeom prst="rect">
            <a:avLst/>
          </a:prstGeom>
        </p:spPr>
        <p:txBody>
          <a:bodyPr lIns="0" tIns="0" rIns="0" bIns="0"/>
          <a:lstStyle>
            <a:lvl1pPr marL="0" indent="0">
              <a:lnSpc>
                <a:spcPct val="100000"/>
              </a:lnSpc>
              <a:spcBef>
                <a:spcPts val="300"/>
              </a:spcBef>
              <a:spcAft>
                <a:spcPts val="300"/>
              </a:spcAft>
              <a:buNone/>
              <a:tabLst/>
              <a:defRPr sz="1400"/>
            </a:lvl1pPr>
            <a:lvl2pPr marL="9525" indent="-9525">
              <a:buNone/>
              <a:tabLst/>
              <a:defRPr/>
            </a:lvl2pPr>
            <a:lvl3pPr marL="9525" indent="-9525">
              <a:buNone/>
              <a:tabLst/>
              <a:defRPr/>
            </a:lvl3pPr>
            <a:lvl4pPr marL="9525" indent="-9525">
              <a:buNone/>
              <a:tabLst/>
              <a:defRPr/>
            </a:lvl4pPr>
            <a:lvl5pPr marL="9525" indent="-9525">
              <a:buNone/>
              <a:tabLst/>
              <a:defRPr/>
            </a:lvl5pPr>
          </a:lstStyle>
          <a:p>
            <a:pPr lvl="0"/>
            <a:r>
              <a:rPr lang="en-US"/>
              <a:t>Click to add text</a:t>
            </a:r>
          </a:p>
        </p:txBody>
      </p:sp>
      <p:sp>
        <p:nvSpPr>
          <p:cNvPr id="9" name="Text Placeholder 8">
            <a:extLst>
              <a:ext uri="{FF2B5EF4-FFF2-40B4-BE49-F238E27FC236}">
                <a16:creationId xmlns:a16="http://schemas.microsoft.com/office/drawing/2014/main" id="{6815CEFE-7DDC-3F44-91FF-801D5D3F3A7B}"/>
              </a:ext>
            </a:extLst>
          </p:cNvPr>
          <p:cNvSpPr>
            <a:spLocks noGrp="1"/>
          </p:cNvSpPr>
          <p:nvPr>
            <p:ph type="body" sz="quarter" idx="12" hasCustomPrompt="1"/>
          </p:nvPr>
        </p:nvSpPr>
        <p:spPr>
          <a:xfrm>
            <a:off x="510638" y="851055"/>
            <a:ext cx="11262262" cy="334580"/>
          </a:xfrm>
          <a:prstGeom prst="rect">
            <a:avLst/>
          </a:prstGeom>
        </p:spPr>
        <p:txBody>
          <a:bodyPr lIns="0" tIns="0" rIns="0" bIns="0"/>
          <a:lstStyle>
            <a:lvl1pPr marL="0" indent="0">
              <a:lnSpc>
                <a:spcPct val="100000"/>
              </a:lnSpc>
              <a:spcBef>
                <a:spcPts val="300"/>
              </a:spcBef>
              <a:spcAft>
                <a:spcPts val="300"/>
              </a:spcAft>
              <a:buNone/>
              <a:tabLst/>
              <a:defRPr sz="1600">
                <a:solidFill>
                  <a:schemeClr val="accent1"/>
                </a:solidFill>
              </a:defRPr>
            </a:lvl1pPr>
            <a:lvl2pPr>
              <a:buNone/>
              <a:defRPr/>
            </a:lvl2pPr>
          </a:lstStyle>
          <a:p>
            <a:pPr lvl="0"/>
            <a:r>
              <a:rPr lang="en-US"/>
              <a:t>Click to add subtitle</a:t>
            </a:r>
          </a:p>
        </p:txBody>
      </p:sp>
      <p:sp>
        <p:nvSpPr>
          <p:cNvPr id="10" name="Footer Placeholder 9">
            <a:extLst>
              <a:ext uri="{FF2B5EF4-FFF2-40B4-BE49-F238E27FC236}">
                <a16:creationId xmlns:a16="http://schemas.microsoft.com/office/drawing/2014/main" id="{A4A51601-6448-744E-A498-648EE5916964}"/>
              </a:ext>
            </a:extLst>
          </p:cNvPr>
          <p:cNvSpPr>
            <a:spLocks noGrp="1"/>
          </p:cNvSpPr>
          <p:nvPr>
            <p:ph type="ftr" sz="quarter" idx="13"/>
          </p:nvPr>
        </p:nvSpPr>
        <p:spPr/>
        <p:txBody>
          <a:bodyPr/>
          <a:lstStyle/>
          <a:p>
            <a:r>
              <a:rPr lang="en-GB"/>
              <a:t>© Moorhouse 2020  </a:t>
            </a:r>
          </a:p>
        </p:txBody>
      </p:sp>
    </p:spTree>
    <p:extLst>
      <p:ext uri="{BB962C8B-B14F-4D97-AF65-F5344CB8AC3E}">
        <p14:creationId xmlns:p14="http://schemas.microsoft.com/office/powerpoint/2010/main" val="287018907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ubtitle, 3 Text Boxes">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49B7C81-6DE7-134A-AF49-C5B48C4FBB5B}"/>
              </a:ext>
            </a:extLst>
          </p:cNvPr>
          <p:cNvSpPr>
            <a:spLocks noGrp="1"/>
          </p:cNvSpPr>
          <p:nvPr>
            <p:ph type="title" hasCustomPrompt="1"/>
          </p:nvPr>
        </p:nvSpPr>
        <p:spPr>
          <a:xfrm>
            <a:off x="510638" y="297277"/>
            <a:ext cx="9400805" cy="434010"/>
          </a:xfrm>
          <a:prstGeom prst="rect">
            <a:avLst/>
          </a:prstGeom>
        </p:spPr>
        <p:txBody>
          <a:bodyPr vert="horz" lIns="0" tIns="0" rIns="0" bIns="0" rtlCol="0" anchor="t" anchorCtr="0">
            <a:noAutofit/>
          </a:bodyPr>
          <a:lstStyle>
            <a:lvl1pPr>
              <a:defRPr sz="2800">
                <a:latin typeface="+mn-lt"/>
              </a:defRPr>
            </a:lvl1pPr>
          </a:lstStyle>
          <a:p>
            <a:r>
              <a:rPr lang="en-US"/>
              <a:t>Click to add title</a:t>
            </a:r>
          </a:p>
        </p:txBody>
      </p:sp>
      <p:cxnSp>
        <p:nvCxnSpPr>
          <p:cNvPr id="4" name="Straight Connector 3">
            <a:extLst>
              <a:ext uri="{FF2B5EF4-FFF2-40B4-BE49-F238E27FC236}">
                <a16:creationId xmlns:a16="http://schemas.microsoft.com/office/drawing/2014/main" id="{A07048F0-CD4E-8D48-B45B-B52352A2A2C3}"/>
              </a:ext>
            </a:extLst>
          </p:cNvPr>
          <p:cNvCxnSpPr>
            <a:cxnSpLocks/>
          </p:cNvCxnSpPr>
          <p:nvPr userDrawn="1"/>
        </p:nvCxnSpPr>
        <p:spPr>
          <a:xfrm>
            <a:off x="510638" y="783018"/>
            <a:ext cx="6361902"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Text Placeholder 8">
            <a:extLst>
              <a:ext uri="{FF2B5EF4-FFF2-40B4-BE49-F238E27FC236}">
                <a16:creationId xmlns:a16="http://schemas.microsoft.com/office/drawing/2014/main" id="{AC2416D7-C968-B242-B9DC-D0DEB8EC22FF}"/>
              </a:ext>
            </a:extLst>
          </p:cNvPr>
          <p:cNvSpPr>
            <a:spLocks noGrp="1"/>
          </p:cNvSpPr>
          <p:nvPr>
            <p:ph type="body" sz="quarter" idx="10" hasCustomPrompt="1"/>
          </p:nvPr>
        </p:nvSpPr>
        <p:spPr>
          <a:xfrm>
            <a:off x="510638" y="1305402"/>
            <a:ext cx="3420000" cy="5179623"/>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tabLst/>
              <a:defRPr sz="1400"/>
            </a:lvl1pPr>
          </a:lstStyle>
          <a:p>
            <a:pPr lvl="0"/>
            <a:r>
              <a:rPr lang="en-US"/>
              <a:t>Click to add text</a:t>
            </a:r>
          </a:p>
        </p:txBody>
      </p:sp>
      <p:sp>
        <p:nvSpPr>
          <p:cNvPr id="8" name="Text Placeholder 8">
            <a:extLst>
              <a:ext uri="{FF2B5EF4-FFF2-40B4-BE49-F238E27FC236}">
                <a16:creationId xmlns:a16="http://schemas.microsoft.com/office/drawing/2014/main" id="{6AA78D8E-15BB-9643-AA8C-1A70CBEE8D37}"/>
              </a:ext>
            </a:extLst>
          </p:cNvPr>
          <p:cNvSpPr>
            <a:spLocks noGrp="1"/>
          </p:cNvSpPr>
          <p:nvPr>
            <p:ph type="body" sz="quarter" idx="11" hasCustomPrompt="1"/>
          </p:nvPr>
        </p:nvSpPr>
        <p:spPr>
          <a:xfrm>
            <a:off x="4386000" y="1305402"/>
            <a:ext cx="3420000" cy="5179623"/>
          </a:xfrm>
          <a:prstGeom prst="rect">
            <a:avLst/>
          </a:prstGeom>
        </p:spPr>
        <p:txBody>
          <a:bodyPr lIns="0" tIns="0" rIns="0" bIns="0"/>
          <a:lstStyle>
            <a:lvl1pPr marL="0" indent="0">
              <a:lnSpc>
                <a:spcPct val="100000"/>
              </a:lnSpc>
              <a:spcBef>
                <a:spcPts val="300"/>
              </a:spcBef>
              <a:spcAft>
                <a:spcPts val="300"/>
              </a:spcAft>
              <a:buNone/>
              <a:tabLst/>
              <a:defRPr sz="1400"/>
            </a:lvl1pPr>
          </a:lstStyle>
          <a:p>
            <a:pPr lvl="0"/>
            <a:r>
              <a:rPr lang="en-US"/>
              <a:t>Click to add text</a:t>
            </a:r>
          </a:p>
        </p:txBody>
      </p:sp>
      <p:sp>
        <p:nvSpPr>
          <p:cNvPr id="9" name="Text Placeholder 8">
            <a:extLst>
              <a:ext uri="{FF2B5EF4-FFF2-40B4-BE49-F238E27FC236}">
                <a16:creationId xmlns:a16="http://schemas.microsoft.com/office/drawing/2014/main" id="{30695E36-9456-5140-8E3C-DC1268961E29}"/>
              </a:ext>
            </a:extLst>
          </p:cNvPr>
          <p:cNvSpPr>
            <a:spLocks noGrp="1"/>
          </p:cNvSpPr>
          <p:nvPr>
            <p:ph type="body" sz="quarter" idx="12" hasCustomPrompt="1"/>
          </p:nvPr>
        </p:nvSpPr>
        <p:spPr>
          <a:xfrm>
            <a:off x="8261362" y="1305402"/>
            <a:ext cx="3420000" cy="5179623"/>
          </a:xfrm>
          <a:prstGeom prst="rect">
            <a:avLst/>
          </a:prstGeom>
        </p:spPr>
        <p:txBody>
          <a:bodyPr lIns="0" tIns="0" rIns="0" bIns="0"/>
          <a:lstStyle>
            <a:lvl1pPr marL="0" indent="0">
              <a:lnSpc>
                <a:spcPct val="100000"/>
              </a:lnSpc>
              <a:spcBef>
                <a:spcPts val="300"/>
              </a:spcBef>
              <a:spcAft>
                <a:spcPts val="300"/>
              </a:spcAft>
              <a:buNone/>
              <a:tabLst/>
              <a:defRPr sz="1400"/>
            </a:lvl1pPr>
          </a:lstStyle>
          <a:p>
            <a:pPr lvl="0"/>
            <a:r>
              <a:rPr lang="en-US"/>
              <a:t>Click to add text</a:t>
            </a:r>
          </a:p>
        </p:txBody>
      </p:sp>
      <p:sp>
        <p:nvSpPr>
          <p:cNvPr id="10" name="Text Placeholder 8">
            <a:extLst>
              <a:ext uri="{FF2B5EF4-FFF2-40B4-BE49-F238E27FC236}">
                <a16:creationId xmlns:a16="http://schemas.microsoft.com/office/drawing/2014/main" id="{69F2AC11-9F7C-2D44-BB31-1F13E63CD865}"/>
              </a:ext>
            </a:extLst>
          </p:cNvPr>
          <p:cNvSpPr>
            <a:spLocks noGrp="1"/>
          </p:cNvSpPr>
          <p:nvPr>
            <p:ph type="body" sz="quarter" idx="13" hasCustomPrompt="1"/>
          </p:nvPr>
        </p:nvSpPr>
        <p:spPr>
          <a:xfrm>
            <a:off x="510638" y="851055"/>
            <a:ext cx="11262262" cy="334580"/>
          </a:xfrm>
          <a:prstGeom prst="rect">
            <a:avLst/>
          </a:prstGeom>
        </p:spPr>
        <p:txBody>
          <a:bodyPr lIns="0" tIns="0" rIns="0" bIns="0"/>
          <a:lstStyle>
            <a:lvl1pPr marL="0" indent="0">
              <a:lnSpc>
                <a:spcPct val="100000"/>
              </a:lnSpc>
              <a:spcBef>
                <a:spcPts val="300"/>
              </a:spcBef>
              <a:spcAft>
                <a:spcPts val="300"/>
              </a:spcAft>
              <a:buNone/>
              <a:tabLst/>
              <a:defRPr sz="1600">
                <a:solidFill>
                  <a:schemeClr val="accent1"/>
                </a:solidFill>
              </a:defRPr>
            </a:lvl1pPr>
            <a:lvl2pPr>
              <a:buNone/>
              <a:defRPr/>
            </a:lvl2pPr>
          </a:lstStyle>
          <a:p>
            <a:pPr lvl="0"/>
            <a:r>
              <a:rPr lang="en-US"/>
              <a:t>Click to add subtitle</a:t>
            </a:r>
          </a:p>
        </p:txBody>
      </p:sp>
      <p:sp>
        <p:nvSpPr>
          <p:cNvPr id="2" name="Footer Placeholder 1">
            <a:extLst>
              <a:ext uri="{FF2B5EF4-FFF2-40B4-BE49-F238E27FC236}">
                <a16:creationId xmlns:a16="http://schemas.microsoft.com/office/drawing/2014/main" id="{7FB3F751-3DB2-5D4B-988F-C86753AB07C9}"/>
              </a:ext>
            </a:extLst>
          </p:cNvPr>
          <p:cNvSpPr>
            <a:spLocks noGrp="1"/>
          </p:cNvSpPr>
          <p:nvPr>
            <p:ph type="ftr" sz="quarter" idx="14"/>
          </p:nvPr>
        </p:nvSpPr>
        <p:spPr/>
        <p:txBody>
          <a:bodyPr/>
          <a:lstStyle/>
          <a:p>
            <a:r>
              <a:rPr lang="en-GB"/>
              <a:t>© Moorhouse 2020  </a:t>
            </a:r>
          </a:p>
        </p:txBody>
      </p:sp>
    </p:spTree>
    <p:extLst>
      <p:ext uri="{BB962C8B-B14F-4D97-AF65-F5344CB8AC3E}">
        <p14:creationId xmlns:p14="http://schemas.microsoft.com/office/powerpoint/2010/main" val="341559723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ubtitle and Page Number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29" name="think-cell Slide" r:id="rId5" imgW="421" imgH="420" progId="TCLayout.ActiveDocument.1">
                  <p:embed/>
                </p:oleObj>
              </mc:Choice>
              <mc:Fallback>
                <p:oleObj name="think-cell Slide" r:id="rId5" imgW="421" imgH="42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7" name="Title Placeholder 1">
            <a:extLst>
              <a:ext uri="{FF2B5EF4-FFF2-40B4-BE49-F238E27FC236}">
                <a16:creationId xmlns:a16="http://schemas.microsoft.com/office/drawing/2014/main" id="{A77F0F7B-5DC0-AE4D-805D-D4592C2895F3}"/>
              </a:ext>
            </a:extLst>
          </p:cNvPr>
          <p:cNvSpPr>
            <a:spLocks noGrp="1"/>
          </p:cNvSpPr>
          <p:nvPr>
            <p:ph type="title" hasCustomPrompt="1"/>
          </p:nvPr>
        </p:nvSpPr>
        <p:spPr>
          <a:xfrm>
            <a:off x="510638" y="297277"/>
            <a:ext cx="9400805" cy="434010"/>
          </a:xfrm>
          <a:prstGeom prst="rect">
            <a:avLst/>
          </a:prstGeom>
        </p:spPr>
        <p:txBody>
          <a:bodyPr vert="horz" lIns="0" tIns="0" rIns="0" bIns="0" rtlCol="0" anchor="t" anchorCtr="0">
            <a:noAutofit/>
          </a:bodyPr>
          <a:lstStyle>
            <a:lvl1pPr>
              <a:defRPr sz="2800">
                <a:latin typeface="+mn-lt"/>
              </a:defRPr>
            </a:lvl1pPr>
          </a:lstStyle>
          <a:p>
            <a:r>
              <a:rPr lang="en-US"/>
              <a:t>Click to add title</a:t>
            </a:r>
          </a:p>
        </p:txBody>
      </p:sp>
      <p:cxnSp>
        <p:nvCxnSpPr>
          <p:cNvPr id="8" name="Straight Connector 7">
            <a:extLst>
              <a:ext uri="{FF2B5EF4-FFF2-40B4-BE49-F238E27FC236}">
                <a16:creationId xmlns:a16="http://schemas.microsoft.com/office/drawing/2014/main" id="{5F118AFB-B1FF-9640-A790-2E771E094A56}"/>
              </a:ext>
            </a:extLst>
          </p:cNvPr>
          <p:cNvCxnSpPr>
            <a:cxnSpLocks/>
          </p:cNvCxnSpPr>
          <p:nvPr userDrawn="1"/>
        </p:nvCxnSpPr>
        <p:spPr>
          <a:xfrm>
            <a:off x="510638" y="783018"/>
            <a:ext cx="6361902"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5C7E5B43-1A8B-BF4F-B3F2-7ACA4FE8B007}"/>
              </a:ext>
            </a:extLst>
          </p:cNvPr>
          <p:cNvSpPr>
            <a:spLocks noGrp="1"/>
          </p:cNvSpPr>
          <p:nvPr>
            <p:ph type="ftr" sz="quarter" idx="14"/>
          </p:nvPr>
        </p:nvSpPr>
        <p:spPr/>
        <p:txBody>
          <a:bodyPr/>
          <a:lstStyle/>
          <a:p>
            <a:r>
              <a:rPr lang="en-GB"/>
              <a:t>© Moorhouse 2020  </a:t>
            </a:r>
          </a:p>
        </p:txBody>
      </p:sp>
      <p:sp>
        <p:nvSpPr>
          <p:cNvPr id="12" name="Text Placeholder 8">
            <a:extLst>
              <a:ext uri="{FF2B5EF4-FFF2-40B4-BE49-F238E27FC236}">
                <a16:creationId xmlns:a16="http://schemas.microsoft.com/office/drawing/2014/main" id="{0C413A33-1D7F-464C-8AF1-DE3EDA9B4AA7}"/>
              </a:ext>
            </a:extLst>
          </p:cNvPr>
          <p:cNvSpPr>
            <a:spLocks noGrp="1"/>
          </p:cNvSpPr>
          <p:nvPr>
            <p:ph type="body" sz="quarter" idx="13" hasCustomPrompt="1"/>
          </p:nvPr>
        </p:nvSpPr>
        <p:spPr>
          <a:xfrm>
            <a:off x="510638" y="851055"/>
            <a:ext cx="11262262" cy="334580"/>
          </a:xfrm>
          <a:prstGeom prst="rect">
            <a:avLst/>
          </a:prstGeom>
        </p:spPr>
        <p:txBody>
          <a:bodyPr lIns="0" tIns="0" rIns="0" bIns="0"/>
          <a:lstStyle>
            <a:lvl1pPr marL="0" indent="0">
              <a:lnSpc>
                <a:spcPct val="100000"/>
              </a:lnSpc>
              <a:spcBef>
                <a:spcPts val="300"/>
              </a:spcBef>
              <a:spcAft>
                <a:spcPts val="300"/>
              </a:spcAft>
              <a:buNone/>
              <a:tabLst/>
              <a:defRPr sz="1600">
                <a:solidFill>
                  <a:schemeClr val="accent1"/>
                </a:solidFill>
              </a:defRPr>
            </a:lvl1pPr>
            <a:lvl2pPr>
              <a:buNone/>
              <a:defRPr/>
            </a:lvl2pPr>
          </a:lstStyle>
          <a:p>
            <a:pPr lvl="0"/>
            <a:r>
              <a:rPr lang="en-US"/>
              <a:t>Click to add subtitle</a:t>
            </a:r>
          </a:p>
        </p:txBody>
      </p:sp>
    </p:spTree>
    <p:extLst>
      <p:ext uri="{BB962C8B-B14F-4D97-AF65-F5344CB8AC3E}">
        <p14:creationId xmlns:p14="http://schemas.microsoft.com/office/powerpoint/2010/main" val="3289096124"/>
      </p:ext>
    </p:extLst>
  </p:cSld>
  <p:clrMapOvr>
    <a:masterClrMapping/>
  </p:clrMapOvr>
  <p:extLst>
    <p:ext uri="{DCECCB84-F9BA-43D5-87BE-67443E8EF086}">
      <p15:sldGuideLst xmlns:p15="http://schemas.microsoft.com/office/powerpoint/2012/main">
        <p15:guide id="1" orient="horz" pos="672">
          <p15:clr>
            <a:srgbClr val="FBAE40"/>
          </p15:clr>
        </p15:guide>
        <p15:guide id="2" pos="7416">
          <p15:clr>
            <a:srgbClr val="FBAE40"/>
          </p15:clr>
        </p15:guide>
        <p15:guide id="3" orient="horz" pos="4068">
          <p15:clr>
            <a:srgbClr val="FBAE40"/>
          </p15:clr>
        </p15:guide>
        <p15:guide id="4" pos="312">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Logo and Page Number Onl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52A269C-061A-504E-9261-C30F6567843D}"/>
              </a:ext>
            </a:extLst>
          </p:cNvPr>
          <p:cNvSpPr>
            <a:spLocks noGrp="1"/>
          </p:cNvSpPr>
          <p:nvPr>
            <p:ph type="ftr" sz="quarter" idx="10"/>
          </p:nvPr>
        </p:nvSpPr>
        <p:spPr/>
        <p:txBody>
          <a:bodyPr/>
          <a:lstStyle/>
          <a:p>
            <a:r>
              <a:rPr lang="en-GB"/>
              <a:t>© Moorhouse 2020  </a:t>
            </a:r>
          </a:p>
        </p:txBody>
      </p:sp>
    </p:spTree>
    <p:extLst>
      <p:ext uri="{BB962C8B-B14F-4D97-AF65-F5344CB8AC3E}">
        <p14:creationId xmlns:p14="http://schemas.microsoft.com/office/powerpoint/2010/main" val="110989315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Logo Only">
    <p:spTree>
      <p:nvGrpSpPr>
        <p:cNvPr id="1" name=""/>
        <p:cNvGrpSpPr/>
        <p:nvPr/>
      </p:nvGrpSpPr>
      <p:grpSpPr>
        <a:xfrm>
          <a:off x="0" y="0"/>
          <a:ext cx="0" cy="0"/>
          <a:chOff x="0" y="0"/>
          <a:chExt cx="0" cy="0"/>
        </a:xfrm>
      </p:grpSpPr>
      <p:pic>
        <p:nvPicPr>
          <p:cNvPr id="2" name="Picture 1" descr="A picture containing clock, drawing, light&#10;&#10;Description automatically generated">
            <a:extLst>
              <a:ext uri="{FF2B5EF4-FFF2-40B4-BE49-F238E27FC236}">
                <a16:creationId xmlns:a16="http://schemas.microsoft.com/office/drawing/2014/main" id="{AFAC7536-EF67-1542-B05E-447C936C84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61205" y="321363"/>
            <a:ext cx="1650380" cy="411972"/>
          </a:xfrm>
          <a:prstGeom prst="rect">
            <a:avLst/>
          </a:prstGeom>
        </p:spPr>
      </p:pic>
      <p:sp>
        <p:nvSpPr>
          <p:cNvPr id="3" name="Footer Placeholder 2">
            <a:extLst>
              <a:ext uri="{FF2B5EF4-FFF2-40B4-BE49-F238E27FC236}">
                <a16:creationId xmlns:a16="http://schemas.microsoft.com/office/drawing/2014/main" id="{B38ED25A-B8CC-2946-AE24-F42B534F4C3E}"/>
              </a:ext>
            </a:extLst>
          </p:cNvPr>
          <p:cNvSpPr>
            <a:spLocks noGrp="1"/>
          </p:cNvSpPr>
          <p:nvPr>
            <p:ph type="ftr" sz="quarter" idx="10"/>
          </p:nvPr>
        </p:nvSpPr>
        <p:spPr/>
        <p:txBody>
          <a:bodyPr/>
          <a:lstStyle/>
          <a:p>
            <a:r>
              <a:rPr lang="en-GB"/>
              <a:t>© Moorhouse 2020  </a:t>
            </a:r>
          </a:p>
        </p:txBody>
      </p:sp>
    </p:spTree>
    <p:extLst>
      <p:ext uri="{BB962C8B-B14F-4D97-AF65-F5344CB8AC3E}">
        <p14:creationId xmlns:p14="http://schemas.microsoft.com/office/powerpoint/2010/main" val="20967183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Logo Only">
    <p:spTree>
      <p:nvGrpSpPr>
        <p:cNvPr id="1" name=""/>
        <p:cNvGrpSpPr/>
        <p:nvPr/>
      </p:nvGrpSpPr>
      <p:grpSpPr>
        <a:xfrm>
          <a:off x="0" y="0"/>
          <a:ext cx="0" cy="0"/>
          <a:chOff x="0" y="0"/>
          <a:chExt cx="0" cy="0"/>
        </a:xfrm>
      </p:grpSpPr>
      <p:pic>
        <p:nvPicPr>
          <p:cNvPr id="2" name="Picture 1" descr="A picture containing clock, drawing, light&#10;&#10;Description automatically generated">
            <a:extLst>
              <a:ext uri="{FF2B5EF4-FFF2-40B4-BE49-F238E27FC236}">
                <a16:creationId xmlns:a16="http://schemas.microsoft.com/office/drawing/2014/main" id="{AFAC7536-EF67-1542-B05E-447C936C847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61205" y="321363"/>
            <a:ext cx="1650380" cy="411972"/>
          </a:xfrm>
          <a:prstGeom prst="rect">
            <a:avLst/>
          </a:prstGeom>
        </p:spPr>
      </p:pic>
      <p:sp>
        <p:nvSpPr>
          <p:cNvPr id="3" name="Footer Placeholder 2">
            <a:extLst>
              <a:ext uri="{FF2B5EF4-FFF2-40B4-BE49-F238E27FC236}">
                <a16:creationId xmlns:a16="http://schemas.microsoft.com/office/drawing/2014/main" id="{B38ED25A-B8CC-2946-AE24-F42B534F4C3E}"/>
              </a:ext>
            </a:extLst>
          </p:cNvPr>
          <p:cNvSpPr>
            <a:spLocks noGrp="1"/>
          </p:cNvSpPr>
          <p:nvPr>
            <p:ph type="ftr" sz="quarter" idx="10"/>
          </p:nvPr>
        </p:nvSpPr>
        <p:spPr/>
        <p:txBody>
          <a:bodyPr/>
          <a:lstStyle/>
          <a:p>
            <a:r>
              <a:rPr lang="en-GB"/>
              <a:t>© Moorhouse 2020 [Restricted]</a:t>
            </a:r>
          </a:p>
        </p:txBody>
      </p:sp>
    </p:spTree>
    <p:extLst>
      <p:ext uri="{BB962C8B-B14F-4D97-AF65-F5344CB8AC3E}">
        <p14:creationId xmlns:p14="http://schemas.microsoft.com/office/powerpoint/2010/main" val="303183931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Generic Title Slide">
    <p:spTree>
      <p:nvGrpSpPr>
        <p:cNvPr id="1" name=""/>
        <p:cNvGrpSpPr/>
        <p:nvPr/>
      </p:nvGrpSpPr>
      <p:grpSpPr>
        <a:xfrm>
          <a:off x="0" y="0"/>
          <a:ext cx="0" cy="0"/>
          <a:chOff x="0" y="0"/>
          <a:chExt cx="0" cy="0"/>
        </a:xfrm>
      </p:grpSpPr>
      <p:pic>
        <p:nvPicPr>
          <p:cNvPr id="3" name="Picture 2" descr="A harbor filled with lots of tall buildings&#10;&#10;Description automatically generated">
            <a:extLst>
              <a:ext uri="{FF2B5EF4-FFF2-40B4-BE49-F238E27FC236}">
                <a16:creationId xmlns:a16="http://schemas.microsoft.com/office/drawing/2014/main" id="{DC1F0E16-797D-4344-A2D4-8940E9E5047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085" r="40988"/>
          <a:stretch/>
        </p:blipFill>
        <p:spPr>
          <a:xfrm flipH="1">
            <a:off x="4514850" y="4"/>
            <a:ext cx="7677150" cy="6857992"/>
          </a:xfrm>
          <a:custGeom>
            <a:avLst/>
            <a:gdLst>
              <a:gd name="connsiteX0" fmla="*/ 5029202 w 7677150"/>
              <a:gd name="connsiteY0" fmla="*/ 0 h 6857992"/>
              <a:gd name="connsiteX1" fmla="*/ 0 w 7677150"/>
              <a:gd name="connsiteY1" fmla="*/ 0 h 6857992"/>
              <a:gd name="connsiteX2" fmla="*/ 0 w 7677150"/>
              <a:gd name="connsiteY2" fmla="*/ 6857992 h 6857992"/>
              <a:gd name="connsiteX3" fmla="*/ 7677150 w 7677150"/>
              <a:gd name="connsiteY3" fmla="*/ 6857992 h 6857992"/>
            </a:gdLst>
            <a:ahLst/>
            <a:cxnLst>
              <a:cxn ang="0">
                <a:pos x="connsiteX0" y="connsiteY0"/>
              </a:cxn>
              <a:cxn ang="0">
                <a:pos x="connsiteX1" y="connsiteY1"/>
              </a:cxn>
              <a:cxn ang="0">
                <a:pos x="connsiteX2" y="connsiteY2"/>
              </a:cxn>
              <a:cxn ang="0">
                <a:pos x="connsiteX3" y="connsiteY3"/>
              </a:cxn>
            </a:cxnLst>
            <a:rect l="l" t="t" r="r" b="b"/>
            <a:pathLst>
              <a:path w="7677150" h="6857992">
                <a:moveTo>
                  <a:pt x="5029202" y="0"/>
                </a:moveTo>
                <a:lnTo>
                  <a:pt x="0" y="0"/>
                </a:lnTo>
                <a:lnTo>
                  <a:pt x="0" y="6857992"/>
                </a:lnTo>
                <a:lnTo>
                  <a:pt x="7677150" y="6857992"/>
                </a:lnTo>
                <a:close/>
              </a:path>
            </a:pathLst>
          </a:custGeom>
          <a:effectLst>
            <a:reflection endPos="0" dir="5400000" sy="-100000" algn="bl" rotWithShape="0"/>
          </a:effectLst>
        </p:spPr>
      </p:pic>
      <p:grpSp>
        <p:nvGrpSpPr>
          <p:cNvPr id="5" name="Group 4">
            <a:extLst>
              <a:ext uri="{FF2B5EF4-FFF2-40B4-BE49-F238E27FC236}">
                <a16:creationId xmlns:a16="http://schemas.microsoft.com/office/drawing/2014/main" id="{96720D58-539E-9042-A928-348CB38BBDF6}"/>
              </a:ext>
            </a:extLst>
          </p:cNvPr>
          <p:cNvGrpSpPr/>
          <p:nvPr userDrawn="1"/>
        </p:nvGrpSpPr>
        <p:grpSpPr>
          <a:xfrm>
            <a:off x="1" y="3535636"/>
            <a:ext cx="5411972" cy="68922"/>
            <a:chOff x="0" y="3089605"/>
            <a:chExt cx="5937813" cy="68922"/>
          </a:xfrm>
        </p:grpSpPr>
        <p:cxnSp>
          <p:nvCxnSpPr>
            <p:cNvPr id="6" name="Straight Connector 5">
              <a:extLst>
                <a:ext uri="{FF2B5EF4-FFF2-40B4-BE49-F238E27FC236}">
                  <a16:creationId xmlns:a16="http://schemas.microsoft.com/office/drawing/2014/main" id="{8A50D3C1-2264-9C4D-9D03-58E60DFE707B}"/>
                </a:ext>
              </a:extLst>
            </p:cNvPr>
            <p:cNvCxnSpPr>
              <a:cxnSpLocks/>
            </p:cNvCxnSpPr>
            <p:nvPr/>
          </p:nvCxnSpPr>
          <p:spPr>
            <a:xfrm>
              <a:off x="0" y="3124066"/>
              <a:ext cx="5937813"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13044BFE-6E18-AE45-8443-A6F4784D7131}"/>
                </a:ext>
              </a:extLst>
            </p:cNvPr>
            <p:cNvSpPr/>
            <p:nvPr/>
          </p:nvSpPr>
          <p:spPr>
            <a:xfrm>
              <a:off x="700881" y="3089605"/>
              <a:ext cx="842169" cy="6892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8" name="Rectangle 7">
            <a:extLst>
              <a:ext uri="{FF2B5EF4-FFF2-40B4-BE49-F238E27FC236}">
                <a16:creationId xmlns:a16="http://schemas.microsoft.com/office/drawing/2014/main" id="{709C841B-7D0B-B64B-AF92-49F97AE30455}"/>
              </a:ext>
            </a:extLst>
          </p:cNvPr>
          <p:cNvSpPr/>
          <p:nvPr userDrawn="1"/>
        </p:nvSpPr>
        <p:spPr>
          <a:xfrm>
            <a:off x="0" y="6674068"/>
            <a:ext cx="12192000" cy="183932"/>
          </a:xfrm>
          <a:prstGeom prst="rect">
            <a:avLst/>
          </a:prstGeom>
          <a:solidFill>
            <a:srgbClr val="5023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Content Placeholder 17">
            <a:extLst>
              <a:ext uri="{FF2B5EF4-FFF2-40B4-BE49-F238E27FC236}">
                <a16:creationId xmlns:a16="http://schemas.microsoft.com/office/drawing/2014/main" id="{A3F372F6-2EC6-554A-AA35-E1D03D27DB80}"/>
              </a:ext>
            </a:extLst>
          </p:cNvPr>
          <p:cNvSpPr>
            <a:spLocks noGrp="1"/>
          </p:cNvSpPr>
          <p:nvPr>
            <p:ph sz="quarter" idx="10" hasCustomPrompt="1"/>
          </p:nvPr>
        </p:nvSpPr>
        <p:spPr>
          <a:xfrm>
            <a:off x="537425" y="2974801"/>
            <a:ext cx="3646488" cy="473207"/>
          </a:xfrm>
          <a:prstGeom prst="rect">
            <a:avLst/>
          </a:prstGeom>
        </p:spPr>
        <p:txBody>
          <a:bodyPr/>
          <a:lstStyle>
            <a:lvl1pPr marL="0" indent="0">
              <a:lnSpc>
                <a:spcPct val="100000"/>
              </a:lnSpc>
              <a:spcBef>
                <a:spcPts val="300"/>
              </a:spcBef>
              <a:spcAft>
                <a:spcPts val="300"/>
              </a:spcAft>
              <a:buNone/>
              <a:defRPr sz="2800" b="1">
                <a:solidFill>
                  <a:schemeClr val="accent1"/>
                </a:solidFill>
              </a:defRPr>
            </a:lvl1pPr>
          </a:lstStyle>
          <a:p>
            <a:pPr lvl="0"/>
            <a:r>
              <a:rPr lang="en-GB"/>
              <a:t>Add Title</a:t>
            </a:r>
          </a:p>
        </p:txBody>
      </p:sp>
      <p:sp>
        <p:nvSpPr>
          <p:cNvPr id="11" name="Content Placeholder 17">
            <a:extLst>
              <a:ext uri="{FF2B5EF4-FFF2-40B4-BE49-F238E27FC236}">
                <a16:creationId xmlns:a16="http://schemas.microsoft.com/office/drawing/2014/main" id="{6B523996-542A-E340-9D0A-F18DCEB8BB99}"/>
              </a:ext>
            </a:extLst>
          </p:cNvPr>
          <p:cNvSpPr>
            <a:spLocks noGrp="1"/>
          </p:cNvSpPr>
          <p:nvPr>
            <p:ph sz="quarter" idx="11" hasCustomPrompt="1"/>
          </p:nvPr>
        </p:nvSpPr>
        <p:spPr>
          <a:xfrm>
            <a:off x="537425" y="3726647"/>
            <a:ext cx="3646488" cy="473207"/>
          </a:xfrm>
          <a:prstGeom prst="rect">
            <a:avLst/>
          </a:prstGeom>
        </p:spPr>
        <p:txBody>
          <a:bodyPr/>
          <a:lstStyle>
            <a:lvl1pPr marL="0" indent="0">
              <a:lnSpc>
                <a:spcPct val="100000"/>
              </a:lnSpc>
              <a:spcBef>
                <a:spcPts val="300"/>
              </a:spcBef>
              <a:spcAft>
                <a:spcPts val="300"/>
              </a:spcAft>
              <a:buNone/>
              <a:defRPr sz="1600" b="0">
                <a:solidFill>
                  <a:schemeClr val="accent1"/>
                </a:solidFill>
              </a:defRPr>
            </a:lvl1pPr>
          </a:lstStyle>
          <a:p>
            <a:pPr lvl="0"/>
            <a:r>
              <a:rPr lang="en-GB"/>
              <a:t>Add Subtitle</a:t>
            </a:r>
          </a:p>
        </p:txBody>
      </p:sp>
      <p:sp>
        <p:nvSpPr>
          <p:cNvPr id="14" name="Freeform: Shape 2">
            <a:extLst>
              <a:ext uri="{FF2B5EF4-FFF2-40B4-BE49-F238E27FC236}">
                <a16:creationId xmlns:a16="http://schemas.microsoft.com/office/drawing/2014/main" id="{65E09882-346D-3442-A3BD-BD9F48B8403E}"/>
              </a:ext>
            </a:extLst>
          </p:cNvPr>
          <p:cNvSpPr/>
          <p:nvPr userDrawn="1"/>
        </p:nvSpPr>
        <p:spPr>
          <a:xfrm>
            <a:off x="4514850" y="4"/>
            <a:ext cx="7677150" cy="6857996"/>
          </a:xfrm>
          <a:custGeom>
            <a:avLst/>
            <a:gdLst>
              <a:gd name="connsiteX0" fmla="*/ 2647950 w 7677150"/>
              <a:gd name="connsiteY0" fmla="*/ 0 h 6896100"/>
              <a:gd name="connsiteX1" fmla="*/ 7677150 w 7677150"/>
              <a:gd name="connsiteY1" fmla="*/ 0 h 6896100"/>
              <a:gd name="connsiteX2" fmla="*/ 7677150 w 7677150"/>
              <a:gd name="connsiteY2" fmla="*/ 6896100 h 6896100"/>
              <a:gd name="connsiteX3" fmla="*/ 0 w 7677150"/>
              <a:gd name="connsiteY3" fmla="*/ 6896100 h 6896100"/>
              <a:gd name="connsiteX4" fmla="*/ 2647950 w 7677150"/>
              <a:gd name="connsiteY4" fmla="*/ 0 h 6896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77150" h="6896100">
                <a:moveTo>
                  <a:pt x="2647950" y="0"/>
                </a:moveTo>
                <a:lnTo>
                  <a:pt x="7677150" y="0"/>
                </a:lnTo>
                <a:lnTo>
                  <a:pt x="7677150" y="6896100"/>
                </a:lnTo>
                <a:lnTo>
                  <a:pt x="0" y="6896100"/>
                </a:lnTo>
                <a:lnTo>
                  <a:pt x="2647950" y="0"/>
                </a:lnTo>
                <a:close/>
              </a:path>
            </a:pathLst>
          </a:custGeom>
          <a:solidFill>
            <a:schemeClr val="tx1">
              <a:alpha val="55000"/>
            </a:scheme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pic>
        <p:nvPicPr>
          <p:cNvPr id="15" name="Picture 14">
            <a:extLst>
              <a:ext uri="{FF2B5EF4-FFF2-40B4-BE49-F238E27FC236}">
                <a16:creationId xmlns:a16="http://schemas.microsoft.com/office/drawing/2014/main" id="{CD9167ED-C9DC-D04F-875B-571133520E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61205" y="321363"/>
            <a:ext cx="1650380" cy="411972"/>
          </a:xfrm>
          <a:prstGeom prst="rect">
            <a:avLst/>
          </a:prstGeom>
        </p:spPr>
      </p:pic>
      <p:sp>
        <p:nvSpPr>
          <p:cNvPr id="2" name="Footer Placeholder 1">
            <a:extLst>
              <a:ext uri="{FF2B5EF4-FFF2-40B4-BE49-F238E27FC236}">
                <a16:creationId xmlns:a16="http://schemas.microsoft.com/office/drawing/2014/main" id="{29515E71-4BA2-A341-BA2F-4573D5B330C9}"/>
              </a:ext>
            </a:extLst>
          </p:cNvPr>
          <p:cNvSpPr>
            <a:spLocks noGrp="1"/>
          </p:cNvSpPr>
          <p:nvPr>
            <p:ph type="ftr" sz="quarter" idx="12"/>
          </p:nvPr>
        </p:nvSpPr>
        <p:spPr/>
        <p:txBody>
          <a:bodyPr/>
          <a:lstStyle>
            <a:lvl1pPr>
              <a:defRPr>
                <a:solidFill>
                  <a:schemeClr val="bg1"/>
                </a:solidFill>
              </a:defRPr>
            </a:lvl1pPr>
          </a:lstStyle>
          <a:p>
            <a:r>
              <a:rPr lang="en-GB"/>
              <a:t>© Moorhouse 2020  </a:t>
            </a:r>
          </a:p>
        </p:txBody>
      </p:sp>
    </p:spTree>
    <p:extLst>
      <p:ext uri="{BB962C8B-B14F-4D97-AF65-F5344CB8AC3E}">
        <p14:creationId xmlns:p14="http://schemas.microsoft.com/office/powerpoint/2010/main" val="45620644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ivider Slide White">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2EF64F75-66C2-C444-AA86-454AAA5D4529}"/>
              </a:ext>
            </a:extLst>
          </p:cNvPr>
          <p:cNvCxnSpPr>
            <a:cxnSpLocks/>
          </p:cNvCxnSpPr>
          <p:nvPr userDrawn="1"/>
        </p:nvCxnSpPr>
        <p:spPr>
          <a:xfrm>
            <a:off x="1487488" y="1376772"/>
            <a:ext cx="0" cy="4104456"/>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4" name="Content Placeholder 6">
            <a:extLst>
              <a:ext uri="{FF2B5EF4-FFF2-40B4-BE49-F238E27FC236}">
                <a16:creationId xmlns:a16="http://schemas.microsoft.com/office/drawing/2014/main" id="{DA82A1E9-2BB2-664F-AE3E-EE4019615A52}"/>
              </a:ext>
            </a:extLst>
          </p:cNvPr>
          <p:cNvSpPr>
            <a:spLocks noGrp="1"/>
          </p:cNvSpPr>
          <p:nvPr>
            <p:ph sz="quarter" idx="10" hasCustomPrompt="1"/>
          </p:nvPr>
        </p:nvSpPr>
        <p:spPr>
          <a:xfrm>
            <a:off x="1881188" y="1983582"/>
            <a:ext cx="6480000" cy="2890837"/>
          </a:xfrm>
          <a:prstGeom prst="rect">
            <a:avLst/>
          </a:prstGeom>
        </p:spPr>
        <p:txBody>
          <a:bodyPr anchor="ctr"/>
          <a:lstStyle>
            <a:lvl1pPr marL="0" marR="0" indent="0" algn="l" defTabSz="914400" rtl="0" eaLnBrk="1" fontAlgn="auto" latinLnBrk="0" hangingPunct="1">
              <a:lnSpc>
                <a:spcPct val="100000"/>
              </a:lnSpc>
              <a:spcBef>
                <a:spcPts val="300"/>
              </a:spcBef>
              <a:spcAft>
                <a:spcPts val="300"/>
              </a:spcAft>
              <a:buClrTx/>
              <a:buSzTx/>
              <a:buFontTx/>
              <a:buNone/>
              <a:tabLst/>
              <a:defRPr sz="7200" b="1">
                <a:solidFill>
                  <a:schemeClr val="accent1"/>
                </a:solidFill>
              </a:defRPr>
            </a:lvl1pPr>
          </a:lstStyle>
          <a:p>
            <a:pPr lvl="0"/>
            <a:r>
              <a:rPr lang="en-GB"/>
              <a:t>Click to add title</a:t>
            </a:r>
          </a:p>
        </p:txBody>
      </p:sp>
      <p:pic>
        <p:nvPicPr>
          <p:cNvPr id="5" name="Picture 4">
            <a:extLst>
              <a:ext uri="{FF2B5EF4-FFF2-40B4-BE49-F238E27FC236}">
                <a16:creationId xmlns:a16="http://schemas.microsoft.com/office/drawing/2014/main" id="{5D0E6640-3916-874E-9362-574DCC4B2F10}"/>
              </a:ext>
            </a:extLst>
          </p:cNvPr>
          <p:cNvPicPr>
            <a:picLocks noChangeAspect="1"/>
          </p:cNvPicPr>
          <p:nvPr userDrawn="1"/>
        </p:nvPicPr>
        <p:blipFill>
          <a:blip r:embed="rId2"/>
          <a:stretch>
            <a:fillRect/>
          </a:stretch>
        </p:blipFill>
        <p:spPr>
          <a:xfrm>
            <a:off x="9336361" y="5517232"/>
            <a:ext cx="2134931" cy="694800"/>
          </a:xfrm>
          <a:prstGeom prst="rect">
            <a:avLst/>
          </a:prstGeom>
        </p:spPr>
      </p:pic>
      <p:pic>
        <p:nvPicPr>
          <p:cNvPr id="6" name="Picture 5" descr="A picture containing clock, drawing, light&#10;&#10;Description automatically generated">
            <a:extLst>
              <a:ext uri="{FF2B5EF4-FFF2-40B4-BE49-F238E27FC236}">
                <a16:creationId xmlns:a16="http://schemas.microsoft.com/office/drawing/2014/main" id="{0059C6DF-9E0D-F444-BB97-9F50F817279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61205" y="321363"/>
            <a:ext cx="1650380" cy="411972"/>
          </a:xfrm>
          <a:prstGeom prst="rect">
            <a:avLst/>
          </a:prstGeom>
        </p:spPr>
      </p:pic>
    </p:spTree>
    <p:extLst>
      <p:ext uri="{BB962C8B-B14F-4D97-AF65-F5344CB8AC3E}">
        <p14:creationId xmlns:p14="http://schemas.microsoft.com/office/powerpoint/2010/main" val="401962296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ivider Slide Purple">
    <p:bg>
      <p:bgPr>
        <a:solidFill>
          <a:srgbClr val="CCBCD1"/>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130001C2-E701-4A46-BD6E-65255889DC99}"/>
              </a:ext>
            </a:extLst>
          </p:cNvPr>
          <p:cNvCxnSpPr>
            <a:cxnSpLocks/>
          </p:cNvCxnSpPr>
          <p:nvPr userDrawn="1"/>
        </p:nvCxnSpPr>
        <p:spPr>
          <a:xfrm>
            <a:off x="1487488" y="1376772"/>
            <a:ext cx="0" cy="4104456"/>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7" name="Content Placeholder 6">
            <a:extLst>
              <a:ext uri="{FF2B5EF4-FFF2-40B4-BE49-F238E27FC236}">
                <a16:creationId xmlns:a16="http://schemas.microsoft.com/office/drawing/2014/main" id="{D646635C-E952-684F-9467-D9576C82F46B}"/>
              </a:ext>
            </a:extLst>
          </p:cNvPr>
          <p:cNvSpPr>
            <a:spLocks noGrp="1"/>
          </p:cNvSpPr>
          <p:nvPr>
            <p:ph sz="quarter" idx="10" hasCustomPrompt="1"/>
          </p:nvPr>
        </p:nvSpPr>
        <p:spPr>
          <a:xfrm>
            <a:off x="1881188" y="1983582"/>
            <a:ext cx="6480000" cy="2890837"/>
          </a:xfrm>
          <a:prstGeom prst="rect">
            <a:avLst/>
          </a:prstGeom>
        </p:spPr>
        <p:txBody>
          <a:bodyPr anchor="ctr"/>
          <a:lstStyle>
            <a:lvl1pPr marL="0" marR="0" indent="0" algn="l" defTabSz="914400" rtl="0" eaLnBrk="1" fontAlgn="auto" latinLnBrk="0" hangingPunct="1">
              <a:lnSpc>
                <a:spcPct val="100000"/>
              </a:lnSpc>
              <a:spcBef>
                <a:spcPts val="300"/>
              </a:spcBef>
              <a:spcAft>
                <a:spcPts val="300"/>
              </a:spcAft>
              <a:buClrTx/>
              <a:buSzTx/>
              <a:buFontTx/>
              <a:buNone/>
              <a:tabLst/>
              <a:defRPr sz="7200" b="1">
                <a:solidFill>
                  <a:schemeClr val="accent1"/>
                </a:solidFill>
              </a:defRPr>
            </a:lvl1pPr>
          </a:lstStyle>
          <a:p>
            <a:pPr lvl="0"/>
            <a:r>
              <a:rPr lang="en-GB"/>
              <a:t>Click to add title</a:t>
            </a:r>
          </a:p>
        </p:txBody>
      </p:sp>
      <p:pic>
        <p:nvPicPr>
          <p:cNvPr id="6" name="Picture 5">
            <a:extLst>
              <a:ext uri="{FF2B5EF4-FFF2-40B4-BE49-F238E27FC236}">
                <a16:creationId xmlns:a16="http://schemas.microsoft.com/office/drawing/2014/main" id="{569B6D7D-E3AE-2A44-A75D-B75F30B880A3}"/>
              </a:ext>
            </a:extLst>
          </p:cNvPr>
          <p:cNvPicPr>
            <a:picLocks noChangeAspect="1"/>
          </p:cNvPicPr>
          <p:nvPr userDrawn="1"/>
        </p:nvPicPr>
        <p:blipFill rotWithShape="1">
          <a:blip r:embed="rId2"/>
          <a:srcRect t="-1" r="21959" b="-7662"/>
          <a:stretch/>
        </p:blipFill>
        <p:spPr>
          <a:xfrm>
            <a:off x="9347200" y="5518150"/>
            <a:ext cx="2249714" cy="752021"/>
          </a:xfrm>
          <a:prstGeom prst="rect">
            <a:avLst/>
          </a:prstGeom>
        </p:spPr>
      </p:pic>
      <p:pic>
        <p:nvPicPr>
          <p:cNvPr id="5" name="Picture 4" descr="A picture containing clock, drawing, light&#10;&#10;Description automatically generated">
            <a:extLst>
              <a:ext uri="{FF2B5EF4-FFF2-40B4-BE49-F238E27FC236}">
                <a16:creationId xmlns:a16="http://schemas.microsoft.com/office/drawing/2014/main" id="{216146BB-DB31-7A46-9E03-09EA61D2F7D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61205" y="321363"/>
            <a:ext cx="1650380" cy="411972"/>
          </a:xfrm>
          <a:prstGeom prst="rect">
            <a:avLst/>
          </a:prstGeom>
        </p:spPr>
      </p:pic>
    </p:spTree>
    <p:extLst>
      <p:ext uri="{BB962C8B-B14F-4D97-AF65-F5344CB8AC3E}">
        <p14:creationId xmlns:p14="http://schemas.microsoft.com/office/powerpoint/2010/main" val="387261574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ivider Slide Dark">
    <p:bg>
      <p:bgPr>
        <a:solidFill>
          <a:schemeClr val="accent1"/>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2EF64F75-66C2-C444-AA86-454AAA5D4529}"/>
              </a:ext>
            </a:extLst>
          </p:cNvPr>
          <p:cNvCxnSpPr>
            <a:cxnSpLocks/>
          </p:cNvCxnSpPr>
          <p:nvPr userDrawn="1"/>
        </p:nvCxnSpPr>
        <p:spPr>
          <a:xfrm>
            <a:off x="1487488" y="1376772"/>
            <a:ext cx="0" cy="4104456"/>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Content Placeholder 6">
            <a:extLst>
              <a:ext uri="{FF2B5EF4-FFF2-40B4-BE49-F238E27FC236}">
                <a16:creationId xmlns:a16="http://schemas.microsoft.com/office/drawing/2014/main" id="{DA82A1E9-2BB2-664F-AE3E-EE4019615A52}"/>
              </a:ext>
            </a:extLst>
          </p:cNvPr>
          <p:cNvSpPr>
            <a:spLocks noGrp="1"/>
          </p:cNvSpPr>
          <p:nvPr>
            <p:ph sz="quarter" idx="10" hasCustomPrompt="1"/>
          </p:nvPr>
        </p:nvSpPr>
        <p:spPr>
          <a:xfrm>
            <a:off x="1881188" y="1983582"/>
            <a:ext cx="6480000" cy="2890837"/>
          </a:xfrm>
          <a:prstGeom prst="rect">
            <a:avLst/>
          </a:prstGeom>
        </p:spPr>
        <p:txBody>
          <a:bodyPr anchor="ctr"/>
          <a:lstStyle>
            <a:lvl1pPr marL="0" marR="0" indent="0" algn="l" defTabSz="914400" rtl="0" eaLnBrk="1" fontAlgn="auto" latinLnBrk="0" hangingPunct="1">
              <a:lnSpc>
                <a:spcPct val="100000"/>
              </a:lnSpc>
              <a:spcBef>
                <a:spcPts val="300"/>
              </a:spcBef>
              <a:spcAft>
                <a:spcPts val="300"/>
              </a:spcAft>
              <a:buClrTx/>
              <a:buSzTx/>
              <a:buFontTx/>
              <a:buNone/>
              <a:tabLst/>
              <a:defRPr sz="7200" b="1">
                <a:solidFill>
                  <a:schemeClr val="bg1"/>
                </a:solidFill>
              </a:defRPr>
            </a:lvl1pPr>
          </a:lstStyle>
          <a:p>
            <a:pPr lvl="0"/>
            <a:r>
              <a:rPr lang="en-GB"/>
              <a:t>Click to add title</a:t>
            </a:r>
          </a:p>
        </p:txBody>
      </p:sp>
      <p:pic>
        <p:nvPicPr>
          <p:cNvPr id="6" name="Picture 5">
            <a:extLst>
              <a:ext uri="{FF2B5EF4-FFF2-40B4-BE49-F238E27FC236}">
                <a16:creationId xmlns:a16="http://schemas.microsoft.com/office/drawing/2014/main" id="{6DA27D15-5FC7-0E4A-8804-3C58F02F86F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61205" y="321363"/>
            <a:ext cx="1650380" cy="411972"/>
          </a:xfrm>
          <a:prstGeom prst="rect">
            <a:avLst/>
          </a:prstGeom>
        </p:spPr>
      </p:pic>
      <p:pic>
        <p:nvPicPr>
          <p:cNvPr id="5" name="Picture 4">
            <a:extLst>
              <a:ext uri="{FF2B5EF4-FFF2-40B4-BE49-F238E27FC236}">
                <a16:creationId xmlns:a16="http://schemas.microsoft.com/office/drawing/2014/main" id="{5420BEE6-C168-C441-A4F8-3F0C36FF0767}"/>
              </a:ext>
            </a:extLst>
          </p:cNvPr>
          <p:cNvPicPr>
            <a:picLocks noChangeAspect="1"/>
          </p:cNvPicPr>
          <p:nvPr userDrawn="1"/>
        </p:nvPicPr>
        <p:blipFill>
          <a:blip r:embed="rId3"/>
          <a:stretch>
            <a:fillRect/>
          </a:stretch>
        </p:blipFill>
        <p:spPr>
          <a:xfrm>
            <a:off x="9347200" y="5544910"/>
            <a:ext cx="2146300" cy="698500"/>
          </a:xfrm>
          <a:prstGeom prst="rect">
            <a:avLst/>
          </a:prstGeom>
        </p:spPr>
      </p:pic>
    </p:spTree>
    <p:extLst>
      <p:ext uri="{BB962C8B-B14F-4D97-AF65-F5344CB8AC3E}">
        <p14:creationId xmlns:p14="http://schemas.microsoft.com/office/powerpoint/2010/main" val="419753242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Blank Slide Whit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897" name="think-cell Slide" r:id="rId5" imgW="421" imgH="420" progId="TCLayout.ActiveDocument.1">
                  <p:embed/>
                </p:oleObj>
              </mc:Choice>
              <mc:Fallback>
                <p:oleObj name="think-cell Slide" r:id="rId5" imgW="421" imgH="420"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Black" panose="020B0A04020102020204" pitchFamily="34" charset="0"/>
              <a:ea typeface="+mn-ea"/>
              <a:cs typeface="+mn-cs"/>
              <a:sym typeface="Arial Black" panose="020B0A04020102020204" pitchFamily="34" charset="0"/>
            </a:endParaRPr>
          </a:p>
        </p:txBody>
      </p:sp>
      <p:sp>
        <p:nvSpPr>
          <p:cNvPr id="3" name="TextBox 2">
            <a:extLst>
              <a:ext uri="{FF2B5EF4-FFF2-40B4-BE49-F238E27FC236}">
                <a16:creationId xmlns:a16="http://schemas.microsoft.com/office/drawing/2014/main" id="{C8C51CB6-6C68-D54B-8637-B9C4DF209684}"/>
              </a:ext>
            </a:extLst>
          </p:cNvPr>
          <p:cNvSpPr txBox="1"/>
          <p:nvPr userDrawn="1"/>
        </p:nvSpPr>
        <p:spPr>
          <a:xfrm>
            <a:off x="1754372" y="520995"/>
            <a:ext cx="184731" cy="369332"/>
          </a:xfrm>
          <a:prstGeom prst="rect">
            <a:avLst/>
          </a:prstGeom>
          <a:noFill/>
        </p:spPr>
        <p:txBody>
          <a:bodyPr wrap="none" rtlCol="0">
            <a:spAutoFit/>
          </a:bodyPr>
          <a:lstStyle/>
          <a:p>
            <a:endParaRPr lang="en-GB"/>
          </a:p>
        </p:txBody>
      </p:sp>
    </p:spTree>
    <p:extLst>
      <p:ext uri="{BB962C8B-B14F-4D97-AF65-F5344CB8AC3E}">
        <p14:creationId xmlns:p14="http://schemas.microsoft.com/office/powerpoint/2010/main" val="26658501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Blank Slide Purple">
    <p:bg>
      <p:bgPr>
        <a:solidFill>
          <a:srgbClr val="CCBCD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7157122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Blank Slide Dark">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5" name="think-cell Slide" r:id="rId4" imgW="421" imgH="420" progId="TCLayout.ActiveDocument.1">
                  <p:embed/>
                </p:oleObj>
              </mc:Choice>
              <mc:Fallback>
                <p:oleObj name="think-cell Slide" r:id="rId4" imgW="421" imgH="42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04093409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69" name="think-cell Slide" r:id="rId4" imgW="421" imgH="420" progId="TCLayout.ActiveDocument.1">
                  <p:embed/>
                </p:oleObj>
              </mc:Choice>
              <mc:Fallback>
                <p:oleObj name="think-cell Slide" r:id="rId4" imgW="421" imgH="42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AF8501C1-52FE-0147-9319-81DD10D64AB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31666" y="2813846"/>
            <a:ext cx="4928668" cy="1230307"/>
          </a:xfrm>
          <a:prstGeom prst="rect">
            <a:avLst/>
          </a:prstGeom>
        </p:spPr>
      </p:pic>
    </p:spTree>
    <p:extLst>
      <p:ext uri="{BB962C8B-B14F-4D97-AF65-F5344CB8AC3E}">
        <p14:creationId xmlns:p14="http://schemas.microsoft.com/office/powerpoint/2010/main" val="99573984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Title Slide - Option 1">
    <p:spTree>
      <p:nvGrpSpPr>
        <p:cNvPr id="1" name=""/>
        <p:cNvGrpSpPr/>
        <p:nvPr/>
      </p:nvGrpSpPr>
      <p:grpSpPr>
        <a:xfrm>
          <a:off x="0" y="0"/>
          <a:ext cx="0" cy="0"/>
          <a:chOff x="0" y="0"/>
          <a:chExt cx="0" cy="0"/>
        </a:xfrm>
      </p:grpSpPr>
      <p:sp>
        <p:nvSpPr>
          <p:cNvPr id="12" name="Title 1"/>
          <p:cNvSpPr>
            <a:spLocks noGrp="1"/>
          </p:cNvSpPr>
          <p:nvPr>
            <p:ph type="ctrTitle"/>
          </p:nvPr>
        </p:nvSpPr>
        <p:spPr>
          <a:xfrm>
            <a:off x="540000" y="4140000"/>
            <a:ext cx="8289207" cy="1029962"/>
          </a:xfrm>
          <a:prstGeom prst="rect">
            <a:avLst/>
          </a:prstGeom>
        </p:spPr>
        <p:txBody>
          <a:bodyPr wrap="square" lIns="0" tIns="0" rIns="0" bIns="0" anchor="t" anchorCtr="0">
            <a:noAutofit/>
          </a:bodyPr>
          <a:lstStyle>
            <a:lvl1pPr algn="l">
              <a:defRPr sz="3600">
                <a:solidFill>
                  <a:schemeClr val="accent1"/>
                </a:solidFill>
              </a:defRPr>
            </a:lvl1pPr>
          </a:lstStyle>
          <a:p>
            <a:r>
              <a:rPr lang="en-US"/>
              <a:t>Click to edit Master title style</a:t>
            </a:r>
          </a:p>
        </p:txBody>
      </p:sp>
      <p:sp>
        <p:nvSpPr>
          <p:cNvPr id="18" name="Subtitle 2"/>
          <p:cNvSpPr>
            <a:spLocks noGrp="1"/>
          </p:cNvSpPr>
          <p:nvPr>
            <p:ph type="subTitle" idx="1"/>
          </p:nvPr>
        </p:nvSpPr>
        <p:spPr>
          <a:xfrm>
            <a:off x="540000" y="5512354"/>
            <a:ext cx="7621553" cy="277320"/>
          </a:xfrm>
          <a:prstGeom prst="rect">
            <a:avLst/>
          </a:prstGeom>
        </p:spPr>
        <p:txBody>
          <a:bodyPr lIns="0" tIns="0" rIns="0" bIns="0">
            <a:noAutofit/>
          </a:bodyPr>
          <a:lstStyle>
            <a:lvl1pPr marL="0" indent="0" algn="l">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a:t>
            </a:r>
          </a:p>
        </p:txBody>
      </p:sp>
    </p:spTree>
    <p:extLst>
      <p:ext uri="{BB962C8B-B14F-4D97-AF65-F5344CB8AC3E}">
        <p14:creationId xmlns:p14="http://schemas.microsoft.com/office/powerpoint/2010/main" val="94286508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ubtitle, Summary, Bod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1" name="think-cell Slide" r:id="rId5" imgW="421" imgH="420" progId="TCLayout.ActiveDocument.1">
                  <p:embed/>
                </p:oleObj>
              </mc:Choice>
              <mc:Fallback>
                <p:oleObj name="think-cell Slide" r:id="rId5" imgW="421" imgH="42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7" name="Title Placeholder 1">
            <a:extLst>
              <a:ext uri="{FF2B5EF4-FFF2-40B4-BE49-F238E27FC236}">
                <a16:creationId xmlns:a16="http://schemas.microsoft.com/office/drawing/2014/main" id="{A77F0F7B-5DC0-AE4D-805D-D4592C2895F3}"/>
              </a:ext>
            </a:extLst>
          </p:cNvPr>
          <p:cNvSpPr>
            <a:spLocks noGrp="1"/>
          </p:cNvSpPr>
          <p:nvPr>
            <p:ph type="title" hasCustomPrompt="1"/>
          </p:nvPr>
        </p:nvSpPr>
        <p:spPr>
          <a:xfrm>
            <a:off x="510638" y="297277"/>
            <a:ext cx="9400805" cy="434010"/>
          </a:xfrm>
          <a:prstGeom prst="rect">
            <a:avLst/>
          </a:prstGeom>
        </p:spPr>
        <p:txBody>
          <a:bodyPr vert="horz" lIns="0" tIns="0" rIns="0" bIns="0" rtlCol="0" anchor="t" anchorCtr="0">
            <a:noAutofit/>
          </a:bodyPr>
          <a:lstStyle>
            <a:lvl1pPr>
              <a:defRPr sz="2800">
                <a:latin typeface="+mn-lt"/>
              </a:defRPr>
            </a:lvl1pPr>
          </a:lstStyle>
          <a:p>
            <a:r>
              <a:rPr lang="en-US"/>
              <a:t>Click to add title</a:t>
            </a:r>
          </a:p>
        </p:txBody>
      </p:sp>
      <p:cxnSp>
        <p:nvCxnSpPr>
          <p:cNvPr id="8" name="Straight Connector 7">
            <a:extLst>
              <a:ext uri="{FF2B5EF4-FFF2-40B4-BE49-F238E27FC236}">
                <a16:creationId xmlns:a16="http://schemas.microsoft.com/office/drawing/2014/main" id="{5F118AFB-B1FF-9640-A790-2E771E094A56}"/>
              </a:ext>
            </a:extLst>
          </p:cNvPr>
          <p:cNvCxnSpPr>
            <a:cxnSpLocks/>
          </p:cNvCxnSpPr>
          <p:nvPr userDrawn="1"/>
        </p:nvCxnSpPr>
        <p:spPr>
          <a:xfrm>
            <a:off x="510638" y="783018"/>
            <a:ext cx="6361902"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userDrawn="1">
            <p:ph type="body" sz="quarter" idx="10" hasCustomPrompt="1"/>
          </p:nvPr>
        </p:nvSpPr>
        <p:spPr>
          <a:xfrm>
            <a:off x="510638" y="1308212"/>
            <a:ext cx="11262262" cy="516517"/>
          </a:xfrm>
          <a:prstGeom prst="rect">
            <a:avLst/>
          </a:prstGeom>
        </p:spPr>
        <p:txBody>
          <a:bodyPr lIns="0" tIns="0" rIns="0" bIns="0"/>
          <a:lstStyle>
            <a:lvl1pPr marL="0" indent="0">
              <a:lnSpc>
                <a:spcPct val="100000"/>
              </a:lnSpc>
              <a:spcBef>
                <a:spcPts val="300"/>
              </a:spcBef>
              <a:spcAft>
                <a:spcPts val="300"/>
              </a:spcAft>
              <a:buNone/>
              <a:tabLst/>
              <a:defRPr sz="1400">
                <a:solidFill>
                  <a:schemeClr val="accent2"/>
                </a:solidFill>
              </a:defRPr>
            </a:lvl1pPr>
            <a:lvl2pPr>
              <a:buNone/>
              <a:defRPr/>
            </a:lvl2pPr>
          </a:lstStyle>
          <a:p>
            <a:pPr lvl="0"/>
            <a:r>
              <a:rPr lang="en-US"/>
              <a:t>Click to add summary</a:t>
            </a:r>
          </a:p>
        </p:txBody>
      </p:sp>
      <p:sp>
        <p:nvSpPr>
          <p:cNvPr id="10" name="Text Placeholder 8">
            <a:extLst>
              <a:ext uri="{FF2B5EF4-FFF2-40B4-BE49-F238E27FC236}">
                <a16:creationId xmlns:a16="http://schemas.microsoft.com/office/drawing/2014/main" id="{215965C1-5B87-B342-92DF-960F7A97F380}"/>
              </a:ext>
            </a:extLst>
          </p:cNvPr>
          <p:cNvSpPr>
            <a:spLocks noGrp="1"/>
          </p:cNvSpPr>
          <p:nvPr>
            <p:ph type="body" sz="quarter" idx="11" hasCustomPrompt="1"/>
          </p:nvPr>
        </p:nvSpPr>
        <p:spPr>
          <a:xfrm>
            <a:off x="510638" y="1947306"/>
            <a:ext cx="11262262" cy="4500000"/>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tabLst/>
              <a:defRPr sz="1400"/>
            </a:lvl1pPr>
            <a:lvl2pPr marL="9525" indent="-9525">
              <a:buNone/>
              <a:tabLst/>
              <a:defRPr/>
            </a:lvl2pPr>
            <a:lvl3pPr marL="9525" indent="-9525">
              <a:buNone/>
              <a:tabLst/>
              <a:defRPr/>
            </a:lvl3pPr>
            <a:lvl4pPr marL="9525" indent="-9525">
              <a:buNone/>
              <a:tabLst/>
              <a:defRPr/>
            </a:lvl4pPr>
            <a:lvl5pPr marL="9525" indent="-9525">
              <a:buNone/>
              <a:tabLst/>
              <a:defRPr/>
            </a:lvl5pPr>
          </a:lstStyle>
          <a:p>
            <a:pPr lvl="0"/>
            <a:r>
              <a:rPr lang="en-US"/>
              <a:t>Click to add text</a:t>
            </a:r>
          </a:p>
        </p:txBody>
      </p:sp>
      <p:sp>
        <p:nvSpPr>
          <p:cNvPr id="12" name="Text Placeholder 8">
            <a:extLst>
              <a:ext uri="{FF2B5EF4-FFF2-40B4-BE49-F238E27FC236}">
                <a16:creationId xmlns:a16="http://schemas.microsoft.com/office/drawing/2014/main" id="{EDBD8DDE-2607-2640-81EF-425A65FC7156}"/>
              </a:ext>
            </a:extLst>
          </p:cNvPr>
          <p:cNvSpPr>
            <a:spLocks noGrp="1"/>
          </p:cNvSpPr>
          <p:nvPr>
            <p:ph type="body" sz="quarter" idx="12" hasCustomPrompt="1"/>
          </p:nvPr>
        </p:nvSpPr>
        <p:spPr>
          <a:xfrm>
            <a:off x="510638" y="851055"/>
            <a:ext cx="11262262" cy="334580"/>
          </a:xfrm>
          <a:prstGeom prst="rect">
            <a:avLst/>
          </a:prstGeom>
        </p:spPr>
        <p:txBody>
          <a:bodyPr lIns="0" tIns="0" rIns="0" bIns="0"/>
          <a:lstStyle>
            <a:lvl1pPr marL="0" indent="0">
              <a:lnSpc>
                <a:spcPct val="100000"/>
              </a:lnSpc>
              <a:spcBef>
                <a:spcPts val="300"/>
              </a:spcBef>
              <a:spcAft>
                <a:spcPts val="300"/>
              </a:spcAft>
              <a:buNone/>
              <a:tabLst/>
              <a:defRPr sz="1600">
                <a:solidFill>
                  <a:schemeClr val="accent1"/>
                </a:solidFill>
              </a:defRPr>
            </a:lvl1pPr>
            <a:lvl2pPr>
              <a:buNone/>
              <a:defRPr/>
            </a:lvl2pPr>
          </a:lstStyle>
          <a:p>
            <a:pPr lvl="0"/>
            <a:r>
              <a:rPr lang="en-US"/>
              <a:t>Click to add subtitle</a:t>
            </a:r>
          </a:p>
        </p:txBody>
      </p:sp>
      <p:sp>
        <p:nvSpPr>
          <p:cNvPr id="6" name="Footer Placeholder 5">
            <a:extLst>
              <a:ext uri="{FF2B5EF4-FFF2-40B4-BE49-F238E27FC236}">
                <a16:creationId xmlns:a16="http://schemas.microsoft.com/office/drawing/2014/main" id="{F4903614-D375-794E-BE18-2A6EF1376FDF}"/>
              </a:ext>
            </a:extLst>
          </p:cNvPr>
          <p:cNvSpPr>
            <a:spLocks noGrp="1"/>
          </p:cNvSpPr>
          <p:nvPr>
            <p:ph type="ftr" sz="quarter" idx="13"/>
          </p:nvPr>
        </p:nvSpPr>
        <p:spPr/>
        <p:txBody>
          <a:bodyPr/>
          <a:lstStyle/>
          <a:p>
            <a:r>
              <a:rPr lang="en-GB"/>
              <a:t>© Moorhouse 2020 [Restricted]</a:t>
            </a:r>
          </a:p>
        </p:txBody>
      </p:sp>
    </p:spTree>
    <p:extLst>
      <p:ext uri="{BB962C8B-B14F-4D97-AF65-F5344CB8AC3E}">
        <p14:creationId xmlns:p14="http://schemas.microsoft.com/office/powerpoint/2010/main" val="714128947"/>
      </p:ext>
    </p:extLst>
  </p:cSld>
  <p:clrMapOvr>
    <a:masterClrMapping/>
  </p:clrMapOvr>
  <p:extLst>
    <p:ext uri="{DCECCB84-F9BA-43D5-87BE-67443E8EF086}">
      <p15:sldGuideLst xmlns:p15="http://schemas.microsoft.com/office/powerpoint/2012/main">
        <p15:guide id="1" orient="horz" pos="672">
          <p15:clr>
            <a:srgbClr val="FBAE40"/>
          </p15:clr>
        </p15:guide>
        <p15:guide id="2" pos="7416">
          <p15:clr>
            <a:srgbClr val="FBAE40"/>
          </p15:clr>
        </p15:guide>
        <p15:guide id="3" orient="horz" pos="4068">
          <p15:clr>
            <a:srgbClr val="FBAE40"/>
          </p15:clr>
        </p15:guide>
        <p15:guide id="4" pos="31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eneric Title Slide">
    <p:spTree>
      <p:nvGrpSpPr>
        <p:cNvPr id="1" name=""/>
        <p:cNvGrpSpPr/>
        <p:nvPr/>
      </p:nvGrpSpPr>
      <p:grpSpPr>
        <a:xfrm>
          <a:off x="0" y="0"/>
          <a:ext cx="0" cy="0"/>
          <a:chOff x="0" y="0"/>
          <a:chExt cx="0" cy="0"/>
        </a:xfrm>
      </p:grpSpPr>
      <p:pic>
        <p:nvPicPr>
          <p:cNvPr id="3" name="Picture 2" descr="A harbor filled with lots of tall buildings&#10;&#10;Description automatically generated">
            <a:extLst>
              <a:ext uri="{FF2B5EF4-FFF2-40B4-BE49-F238E27FC236}">
                <a16:creationId xmlns:a16="http://schemas.microsoft.com/office/drawing/2014/main" id="{DC1F0E16-797D-4344-A2D4-8940E9E5047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4514850" y="4"/>
            <a:ext cx="7677150" cy="6857992"/>
          </a:xfrm>
          <a:custGeom>
            <a:avLst/>
            <a:gdLst>
              <a:gd name="connsiteX0" fmla="*/ 5029202 w 7677150"/>
              <a:gd name="connsiteY0" fmla="*/ 0 h 6857992"/>
              <a:gd name="connsiteX1" fmla="*/ 0 w 7677150"/>
              <a:gd name="connsiteY1" fmla="*/ 0 h 6857992"/>
              <a:gd name="connsiteX2" fmla="*/ 0 w 7677150"/>
              <a:gd name="connsiteY2" fmla="*/ 6857992 h 6857992"/>
              <a:gd name="connsiteX3" fmla="*/ 7677150 w 7677150"/>
              <a:gd name="connsiteY3" fmla="*/ 6857992 h 6857992"/>
            </a:gdLst>
            <a:ahLst/>
            <a:cxnLst>
              <a:cxn ang="0">
                <a:pos x="connsiteX0" y="connsiteY0"/>
              </a:cxn>
              <a:cxn ang="0">
                <a:pos x="connsiteX1" y="connsiteY1"/>
              </a:cxn>
              <a:cxn ang="0">
                <a:pos x="connsiteX2" y="connsiteY2"/>
              </a:cxn>
              <a:cxn ang="0">
                <a:pos x="connsiteX3" y="connsiteY3"/>
              </a:cxn>
            </a:cxnLst>
            <a:rect l="l" t="t" r="r" b="b"/>
            <a:pathLst>
              <a:path w="7677150" h="6857992">
                <a:moveTo>
                  <a:pt x="5029202" y="0"/>
                </a:moveTo>
                <a:lnTo>
                  <a:pt x="0" y="0"/>
                </a:lnTo>
                <a:lnTo>
                  <a:pt x="0" y="6857992"/>
                </a:lnTo>
                <a:lnTo>
                  <a:pt x="7677150" y="6857992"/>
                </a:lnTo>
                <a:close/>
              </a:path>
            </a:pathLst>
          </a:custGeom>
          <a:effectLst>
            <a:reflection endPos="0" dir="5400000" sy="-100000" algn="bl" rotWithShape="0"/>
          </a:effectLst>
        </p:spPr>
      </p:pic>
      <p:grpSp>
        <p:nvGrpSpPr>
          <p:cNvPr id="5" name="Group 4">
            <a:extLst>
              <a:ext uri="{FF2B5EF4-FFF2-40B4-BE49-F238E27FC236}">
                <a16:creationId xmlns:a16="http://schemas.microsoft.com/office/drawing/2014/main" id="{96720D58-539E-9042-A928-348CB38BBDF6}"/>
              </a:ext>
            </a:extLst>
          </p:cNvPr>
          <p:cNvGrpSpPr/>
          <p:nvPr userDrawn="1"/>
        </p:nvGrpSpPr>
        <p:grpSpPr>
          <a:xfrm>
            <a:off x="1" y="3535636"/>
            <a:ext cx="5411972" cy="68922"/>
            <a:chOff x="0" y="3089605"/>
            <a:chExt cx="5937813" cy="68922"/>
          </a:xfrm>
        </p:grpSpPr>
        <p:cxnSp>
          <p:nvCxnSpPr>
            <p:cNvPr id="6" name="Straight Connector 5">
              <a:extLst>
                <a:ext uri="{FF2B5EF4-FFF2-40B4-BE49-F238E27FC236}">
                  <a16:creationId xmlns:a16="http://schemas.microsoft.com/office/drawing/2014/main" id="{8A50D3C1-2264-9C4D-9D03-58E60DFE707B}"/>
                </a:ext>
              </a:extLst>
            </p:cNvPr>
            <p:cNvCxnSpPr>
              <a:cxnSpLocks/>
            </p:cNvCxnSpPr>
            <p:nvPr/>
          </p:nvCxnSpPr>
          <p:spPr>
            <a:xfrm>
              <a:off x="0" y="3124066"/>
              <a:ext cx="5937813"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13044BFE-6E18-AE45-8443-A6F4784D7131}"/>
                </a:ext>
              </a:extLst>
            </p:cNvPr>
            <p:cNvSpPr/>
            <p:nvPr/>
          </p:nvSpPr>
          <p:spPr>
            <a:xfrm>
              <a:off x="700881" y="3089605"/>
              <a:ext cx="842169" cy="6892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8" name="Rectangle 7">
            <a:extLst>
              <a:ext uri="{FF2B5EF4-FFF2-40B4-BE49-F238E27FC236}">
                <a16:creationId xmlns:a16="http://schemas.microsoft.com/office/drawing/2014/main" id="{709C841B-7D0B-B64B-AF92-49F97AE30455}"/>
              </a:ext>
            </a:extLst>
          </p:cNvPr>
          <p:cNvSpPr/>
          <p:nvPr userDrawn="1"/>
        </p:nvSpPr>
        <p:spPr>
          <a:xfrm>
            <a:off x="0" y="6674068"/>
            <a:ext cx="12192000" cy="183932"/>
          </a:xfrm>
          <a:prstGeom prst="rect">
            <a:avLst/>
          </a:prstGeom>
          <a:solidFill>
            <a:srgbClr val="5023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Content Placeholder 17">
            <a:extLst>
              <a:ext uri="{FF2B5EF4-FFF2-40B4-BE49-F238E27FC236}">
                <a16:creationId xmlns:a16="http://schemas.microsoft.com/office/drawing/2014/main" id="{A3F372F6-2EC6-554A-AA35-E1D03D27DB80}"/>
              </a:ext>
            </a:extLst>
          </p:cNvPr>
          <p:cNvSpPr>
            <a:spLocks noGrp="1"/>
          </p:cNvSpPr>
          <p:nvPr>
            <p:ph sz="quarter" idx="10" hasCustomPrompt="1"/>
          </p:nvPr>
        </p:nvSpPr>
        <p:spPr>
          <a:xfrm>
            <a:off x="537425" y="2974801"/>
            <a:ext cx="3646488" cy="473207"/>
          </a:xfrm>
          <a:prstGeom prst="rect">
            <a:avLst/>
          </a:prstGeom>
        </p:spPr>
        <p:txBody>
          <a:bodyPr/>
          <a:lstStyle>
            <a:lvl1pPr marL="0" indent="0">
              <a:lnSpc>
                <a:spcPct val="100000"/>
              </a:lnSpc>
              <a:spcBef>
                <a:spcPts val="300"/>
              </a:spcBef>
              <a:spcAft>
                <a:spcPts val="300"/>
              </a:spcAft>
              <a:buNone/>
              <a:defRPr sz="2800" b="1">
                <a:solidFill>
                  <a:schemeClr val="accent1"/>
                </a:solidFill>
              </a:defRPr>
            </a:lvl1pPr>
          </a:lstStyle>
          <a:p>
            <a:pPr lvl="0"/>
            <a:r>
              <a:rPr lang="en-GB"/>
              <a:t>Add Title</a:t>
            </a:r>
          </a:p>
        </p:txBody>
      </p:sp>
      <p:sp>
        <p:nvSpPr>
          <p:cNvPr id="11" name="Content Placeholder 17">
            <a:extLst>
              <a:ext uri="{FF2B5EF4-FFF2-40B4-BE49-F238E27FC236}">
                <a16:creationId xmlns:a16="http://schemas.microsoft.com/office/drawing/2014/main" id="{6B523996-542A-E340-9D0A-F18DCEB8BB99}"/>
              </a:ext>
            </a:extLst>
          </p:cNvPr>
          <p:cNvSpPr>
            <a:spLocks noGrp="1"/>
          </p:cNvSpPr>
          <p:nvPr>
            <p:ph sz="quarter" idx="11" hasCustomPrompt="1"/>
          </p:nvPr>
        </p:nvSpPr>
        <p:spPr>
          <a:xfrm>
            <a:off x="537425" y="3726647"/>
            <a:ext cx="3646488" cy="473207"/>
          </a:xfrm>
          <a:prstGeom prst="rect">
            <a:avLst/>
          </a:prstGeom>
        </p:spPr>
        <p:txBody>
          <a:bodyPr/>
          <a:lstStyle>
            <a:lvl1pPr marL="0" indent="0">
              <a:lnSpc>
                <a:spcPct val="100000"/>
              </a:lnSpc>
              <a:spcBef>
                <a:spcPts val="300"/>
              </a:spcBef>
              <a:spcAft>
                <a:spcPts val="300"/>
              </a:spcAft>
              <a:buNone/>
              <a:defRPr sz="1600" b="0">
                <a:solidFill>
                  <a:schemeClr val="accent1"/>
                </a:solidFill>
              </a:defRPr>
            </a:lvl1pPr>
          </a:lstStyle>
          <a:p>
            <a:pPr lvl="0"/>
            <a:r>
              <a:rPr lang="en-GB"/>
              <a:t>Add Subtitle</a:t>
            </a:r>
          </a:p>
        </p:txBody>
      </p:sp>
      <p:sp>
        <p:nvSpPr>
          <p:cNvPr id="14" name="Freeform: Shape 2">
            <a:extLst>
              <a:ext uri="{FF2B5EF4-FFF2-40B4-BE49-F238E27FC236}">
                <a16:creationId xmlns:a16="http://schemas.microsoft.com/office/drawing/2014/main" id="{65E09882-346D-3442-A3BD-BD9F48B8403E}"/>
              </a:ext>
            </a:extLst>
          </p:cNvPr>
          <p:cNvSpPr/>
          <p:nvPr userDrawn="1"/>
        </p:nvSpPr>
        <p:spPr>
          <a:xfrm>
            <a:off x="4514850" y="-10642"/>
            <a:ext cx="7677150" cy="6857996"/>
          </a:xfrm>
          <a:custGeom>
            <a:avLst/>
            <a:gdLst>
              <a:gd name="connsiteX0" fmla="*/ 2647950 w 7677150"/>
              <a:gd name="connsiteY0" fmla="*/ 0 h 6896100"/>
              <a:gd name="connsiteX1" fmla="*/ 7677150 w 7677150"/>
              <a:gd name="connsiteY1" fmla="*/ 0 h 6896100"/>
              <a:gd name="connsiteX2" fmla="*/ 7677150 w 7677150"/>
              <a:gd name="connsiteY2" fmla="*/ 6896100 h 6896100"/>
              <a:gd name="connsiteX3" fmla="*/ 0 w 7677150"/>
              <a:gd name="connsiteY3" fmla="*/ 6896100 h 6896100"/>
              <a:gd name="connsiteX4" fmla="*/ 2647950 w 7677150"/>
              <a:gd name="connsiteY4" fmla="*/ 0 h 6896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77150" h="6896100">
                <a:moveTo>
                  <a:pt x="2647950" y="0"/>
                </a:moveTo>
                <a:lnTo>
                  <a:pt x="7677150" y="0"/>
                </a:lnTo>
                <a:lnTo>
                  <a:pt x="7677150" y="6896100"/>
                </a:lnTo>
                <a:lnTo>
                  <a:pt x="0" y="6896100"/>
                </a:lnTo>
                <a:lnTo>
                  <a:pt x="2647950" y="0"/>
                </a:lnTo>
                <a:close/>
              </a:path>
            </a:pathLst>
          </a:custGeom>
          <a:solidFill>
            <a:schemeClr val="tx1">
              <a:alpha val="55000"/>
            </a:scheme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pic>
        <p:nvPicPr>
          <p:cNvPr id="15" name="Picture 14">
            <a:extLst>
              <a:ext uri="{FF2B5EF4-FFF2-40B4-BE49-F238E27FC236}">
                <a16:creationId xmlns:a16="http://schemas.microsoft.com/office/drawing/2014/main" id="{CD9167ED-C9DC-D04F-875B-571133520ED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161205" y="321363"/>
            <a:ext cx="1650380" cy="411972"/>
          </a:xfrm>
          <a:prstGeom prst="rect">
            <a:avLst/>
          </a:prstGeom>
        </p:spPr>
      </p:pic>
      <p:sp>
        <p:nvSpPr>
          <p:cNvPr id="2" name="Footer Placeholder 1">
            <a:extLst>
              <a:ext uri="{FF2B5EF4-FFF2-40B4-BE49-F238E27FC236}">
                <a16:creationId xmlns:a16="http://schemas.microsoft.com/office/drawing/2014/main" id="{29515E71-4BA2-A341-BA2F-4573D5B330C9}"/>
              </a:ext>
            </a:extLst>
          </p:cNvPr>
          <p:cNvSpPr>
            <a:spLocks noGrp="1"/>
          </p:cNvSpPr>
          <p:nvPr>
            <p:ph type="ftr" sz="quarter" idx="12"/>
          </p:nvPr>
        </p:nvSpPr>
        <p:spPr/>
        <p:txBody>
          <a:bodyPr/>
          <a:lstStyle>
            <a:lvl1pPr>
              <a:defRPr>
                <a:solidFill>
                  <a:schemeClr val="bg1"/>
                </a:solidFill>
              </a:defRPr>
            </a:lvl1pPr>
          </a:lstStyle>
          <a:p>
            <a:r>
              <a:rPr lang="en-GB"/>
              <a:t>© Moorhouse 2020 [Restricted]</a:t>
            </a:r>
          </a:p>
        </p:txBody>
      </p:sp>
    </p:spTree>
    <p:extLst>
      <p:ext uri="{BB962C8B-B14F-4D97-AF65-F5344CB8AC3E}">
        <p14:creationId xmlns:p14="http://schemas.microsoft.com/office/powerpoint/2010/main" val="223322215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ubtitle, 1 Text Box">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5" name="think-cell Slide" r:id="rId5" imgW="421" imgH="420" progId="TCLayout.ActiveDocument.1">
                  <p:embed/>
                </p:oleObj>
              </mc:Choice>
              <mc:Fallback>
                <p:oleObj name="think-cell Slide" r:id="rId5" imgW="421" imgH="42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cxnSp>
        <p:nvCxnSpPr>
          <p:cNvPr id="8" name="Straight Connector 7">
            <a:extLst>
              <a:ext uri="{FF2B5EF4-FFF2-40B4-BE49-F238E27FC236}">
                <a16:creationId xmlns:a16="http://schemas.microsoft.com/office/drawing/2014/main" id="{5F118AFB-B1FF-9640-A790-2E771E094A56}"/>
              </a:ext>
            </a:extLst>
          </p:cNvPr>
          <p:cNvCxnSpPr>
            <a:cxnSpLocks/>
          </p:cNvCxnSpPr>
          <p:nvPr userDrawn="1"/>
        </p:nvCxnSpPr>
        <p:spPr>
          <a:xfrm>
            <a:off x="510638" y="783018"/>
            <a:ext cx="6361902"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userDrawn="1">
            <p:ph type="body" sz="quarter" idx="10" hasCustomPrompt="1"/>
          </p:nvPr>
        </p:nvSpPr>
        <p:spPr>
          <a:xfrm>
            <a:off x="510638" y="1305404"/>
            <a:ext cx="11262262" cy="5152546"/>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tabLst/>
              <a:defRPr sz="1400"/>
            </a:lvl1pPr>
            <a:lvl2pPr>
              <a:buNone/>
              <a:defRPr/>
            </a:lvl2pPr>
            <a:lvl3pPr>
              <a:buNone/>
              <a:defRPr/>
            </a:lvl3pPr>
            <a:lvl4pPr>
              <a:buNone/>
              <a:defRPr/>
            </a:lvl4pPr>
            <a:lvl5pPr>
              <a:buNone/>
              <a:defRPr/>
            </a:lvl5pPr>
          </a:lstStyle>
          <a:p>
            <a:pPr lvl="0"/>
            <a:r>
              <a:rPr lang="en-US"/>
              <a:t>Click to add text</a:t>
            </a:r>
          </a:p>
        </p:txBody>
      </p:sp>
      <p:sp>
        <p:nvSpPr>
          <p:cNvPr id="10" name="Title Placeholder 1">
            <a:extLst>
              <a:ext uri="{FF2B5EF4-FFF2-40B4-BE49-F238E27FC236}">
                <a16:creationId xmlns:a16="http://schemas.microsoft.com/office/drawing/2014/main" id="{C41CD681-483C-B441-842C-EDADAD5D7B1E}"/>
              </a:ext>
            </a:extLst>
          </p:cNvPr>
          <p:cNvSpPr>
            <a:spLocks noGrp="1"/>
          </p:cNvSpPr>
          <p:nvPr>
            <p:ph type="title" hasCustomPrompt="1"/>
          </p:nvPr>
        </p:nvSpPr>
        <p:spPr>
          <a:xfrm>
            <a:off x="510638" y="297277"/>
            <a:ext cx="9400805" cy="434010"/>
          </a:xfrm>
          <a:prstGeom prst="rect">
            <a:avLst/>
          </a:prstGeom>
        </p:spPr>
        <p:txBody>
          <a:bodyPr vert="horz" lIns="0" tIns="0" rIns="0" bIns="0" rtlCol="0" anchor="t" anchorCtr="0">
            <a:noAutofit/>
          </a:bodyPr>
          <a:lstStyle>
            <a:lvl1pPr>
              <a:defRPr sz="2800">
                <a:latin typeface="+mn-lt"/>
              </a:defRPr>
            </a:lvl1pPr>
          </a:lstStyle>
          <a:p>
            <a:r>
              <a:rPr lang="en-US"/>
              <a:t>Click to add title</a:t>
            </a:r>
          </a:p>
        </p:txBody>
      </p:sp>
      <p:sp>
        <p:nvSpPr>
          <p:cNvPr id="12" name="Text Placeholder 8">
            <a:extLst>
              <a:ext uri="{FF2B5EF4-FFF2-40B4-BE49-F238E27FC236}">
                <a16:creationId xmlns:a16="http://schemas.microsoft.com/office/drawing/2014/main" id="{87471414-239E-9843-9940-2EF118FE70A3}"/>
              </a:ext>
            </a:extLst>
          </p:cNvPr>
          <p:cNvSpPr>
            <a:spLocks noGrp="1"/>
          </p:cNvSpPr>
          <p:nvPr>
            <p:ph type="body" sz="quarter" idx="12" hasCustomPrompt="1"/>
          </p:nvPr>
        </p:nvSpPr>
        <p:spPr>
          <a:xfrm>
            <a:off x="510638" y="851055"/>
            <a:ext cx="11262262" cy="334580"/>
          </a:xfrm>
          <a:prstGeom prst="rect">
            <a:avLst/>
          </a:prstGeom>
        </p:spPr>
        <p:txBody>
          <a:bodyPr lIns="0" tIns="0" rIns="0" bIns="0"/>
          <a:lstStyle>
            <a:lvl1pPr marL="0" indent="0">
              <a:lnSpc>
                <a:spcPct val="100000"/>
              </a:lnSpc>
              <a:spcBef>
                <a:spcPts val="300"/>
              </a:spcBef>
              <a:spcAft>
                <a:spcPts val="300"/>
              </a:spcAft>
              <a:buNone/>
              <a:tabLst/>
              <a:defRPr sz="1600">
                <a:solidFill>
                  <a:schemeClr val="accent1"/>
                </a:solidFill>
              </a:defRPr>
            </a:lvl1pPr>
            <a:lvl2pPr>
              <a:buNone/>
              <a:defRPr/>
            </a:lvl2pPr>
          </a:lstStyle>
          <a:p>
            <a:pPr lvl="0"/>
            <a:r>
              <a:rPr lang="en-US"/>
              <a:t>Click to add subtitle</a:t>
            </a:r>
          </a:p>
        </p:txBody>
      </p:sp>
      <p:sp>
        <p:nvSpPr>
          <p:cNvPr id="5" name="Footer Placeholder 4">
            <a:extLst>
              <a:ext uri="{FF2B5EF4-FFF2-40B4-BE49-F238E27FC236}">
                <a16:creationId xmlns:a16="http://schemas.microsoft.com/office/drawing/2014/main" id="{2D417BC6-2897-D344-949E-7414244A27D6}"/>
              </a:ext>
            </a:extLst>
          </p:cNvPr>
          <p:cNvSpPr>
            <a:spLocks noGrp="1"/>
          </p:cNvSpPr>
          <p:nvPr>
            <p:ph type="ftr" sz="quarter" idx="13"/>
          </p:nvPr>
        </p:nvSpPr>
        <p:spPr/>
        <p:txBody>
          <a:bodyPr/>
          <a:lstStyle/>
          <a:p>
            <a:r>
              <a:rPr lang="en-GB"/>
              <a:t>© Moorhouse 2020 [Restricted]</a:t>
            </a:r>
          </a:p>
        </p:txBody>
      </p:sp>
    </p:spTree>
    <p:extLst>
      <p:ext uri="{BB962C8B-B14F-4D97-AF65-F5344CB8AC3E}">
        <p14:creationId xmlns:p14="http://schemas.microsoft.com/office/powerpoint/2010/main" val="2278853736"/>
      </p:ext>
    </p:extLst>
  </p:cSld>
  <p:clrMapOvr>
    <a:masterClrMapping/>
  </p:clrMapOvr>
  <p:extLst>
    <p:ext uri="{DCECCB84-F9BA-43D5-87BE-67443E8EF086}">
      <p15:sldGuideLst xmlns:p15="http://schemas.microsoft.com/office/powerpoint/2012/main">
        <p15:guide id="1" orient="horz" pos="672">
          <p15:clr>
            <a:srgbClr val="FBAE40"/>
          </p15:clr>
        </p15:guide>
        <p15:guide id="2" pos="7416">
          <p15:clr>
            <a:srgbClr val="FBAE40"/>
          </p15:clr>
        </p15:guide>
        <p15:guide id="3" orient="horz" pos="4068">
          <p15:clr>
            <a:srgbClr val="FBAE40"/>
          </p15:clr>
        </p15:guide>
        <p15:guide id="4" pos="312">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ubtitle, 2 Text Boxes">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49B7C81-6DE7-134A-AF49-C5B48C4FBB5B}"/>
              </a:ext>
            </a:extLst>
          </p:cNvPr>
          <p:cNvSpPr>
            <a:spLocks noGrp="1"/>
          </p:cNvSpPr>
          <p:nvPr>
            <p:ph type="title" hasCustomPrompt="1"/>
          </p:nvPr>
        </p:nvSpPr>
        <p:spPr>
          <a:xfrm>
            <a:off x="510638" y="297277"/>
            <a:ext cx="9400805" cy="434010"/>
          </a:xfrm>
          <a:prstGeom prst="rect">
            <a:avLst/>
          </a:prstGeom>
        </p:spPr>
        <p:txBody>
          <a:bodyPr vert="horz" lIns="0" tIns="0" rIns="0" bIns="0" rtlCol="0" anchor="t" anchorCtr="0">
            <a:noAutofit/>
          </a:bodyPr>
          <a:lstStyle>
            <a:lvl1pPr>
              <a:defRPr sz="2800">
                <a:latin typeface="+mn-lt"/>
              </a:defRPr>
            </a:lvl1pPr>
          </a:lstStyle>
          <a:p>
            <a:r>
              <a:rPr lang="en-US"/>
              <a:t>Click to add title</a:t>
            </a:r>
          </a:p>
        </p:txBody>
      </p:sp>
      <p:cxnSp>
        <p:nvCxnSpPr>
          <p:cNvPr id="4" name="Straight Connector 3">
            <a:extLst>
              <a:ext uri="{FF2B5EF4-FFF2-40B4-BE49-F238E27FC236}">
                <a16:creationId xmlns:a16="http://schemas.microsoft.com/office/drawing/2014/main" id="{A07048F0-CD4E-8D48-B45B-B52352A2A2C3}"/>
              </a:ext>
            </a:extLst>
          </p:cNvPr>
          <p:cNvCxnSpPr>
            <a:cxnSpLocks/>
          </p:cNvCxnSpPr>
          <p:nvPr userDrawn="1"/>
        </p:nvCxnSpPr>
        <p:spPr>
          <a:xfrm>
            <a:off x="510638" y="783018"/>
            <a:ext cx="6361902"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Text Placeholder 8">
            <a:extLst>
              <a:ext uri="{FF2B5EF4-FFF2-40B4-BE49-F238E27FC236}">
                <a16:creationId xmlns:a16="http://schemas.microsoft.com/office/drawing/2014/main" id="{AC2416D7-C968-B242-B9DC-D0DEB8EC22FF}"/>
              </a:ext>
            </a:extLst>
          </p:cNvPr>
          <p:cNvSpPr>
            <a:spLocks noGrp="1"/>
          </p:cNvSpPr>
          <p:nvPr>
            <p:ph type="body" sz="quarter" idx="10" hasCustomPrompt="1"/>
          </p:nvPr>
        </p:nvSpPr>
        <p:spPr>
          <a:xfrm>
            <a:off x="510638" y="1305404"/>
            <a:ext cx="5448184" cy="5148574"/>
          </a:xfrm>
          <a:prstGeom prst="rect">
            <a:avLst/>
          </a:prstGeom>
        </p:spPr>
        <p:txBody>
          <a:bodyPr lIns="0" tIns="0" rIns="0" bIns="0"/>
          <a:lstStyle>
            <a:lvl1pPr marL="0" indent="0">
              <a:lnSpc>
                <a:spcPct val="100000"/>
              </a:lnSpc>
              <a:spcBef>
                <a:spcPts val="300"/>
              </a:spcBef>
              <a:spcAft>
                <a:spcPts val="300"/>
              </a:spcAft>
              <a:buNone/>
              <a:tabLst/>
              <a:defRPr sz="1400"/>
            </a:lvl1pPr>
            <a:lvl2pPr>
              <a:buNone/>
              <a:defRPr/>
            </a:lvl2pPr>
            <a:lvl3pPr>
              <a:buNone/>
              <a:defRPr/>
            </a:lvl3pPr>
            <a:lvl4pPr>
              <a:buNone/>
              <a:defRPr/>
            </a:lvl4pPr>
            <a:lvl5pPr>
              <a:buNone/>
              <a:defRPr/>
            </a:lvl5pPr>
          </a:lstStyle>
          <a:p>
            <a:pPr lvl="0"/>
            <a:r>
              <a:rPr lang="en-US"/>
              <a:t>Click to add text</a:t>
            </a:r>
          </a:p>
        </p:txBody>
      </p:sp>
      <p:sp>
        <p:nvSpPr>
          <p:cNvPr id="8" name="Text Placeholder 8">
            <a:extLst>
              <a:ext uri="{FF2B5EF4-FFF2-40B4-BE49-F238E27FC236}">
                <a16:creationId xmlns:a16="http://schemas.microsoft.com/office/drawing/2014/main" id="{6AA78D8E-15BB-9643-AA8C-1A70CBEE8D37}"/>
              </a:ext>
            </a:extLst>
          </p:cNvPr>
          <p:cNvSpPr>
            <a:spLocks noGrp="1"/>
          </p:cNvSpPr>
          <p:nvPr>
            <p:ph type="body" sz="quarter" idx="11" hasCustomPrompt="1"/>
          </p:nvPr>
        </p:nvSpPr>
        <p:spPr>
          <a:xfrm>
            <a:off x="6233179" y="1305404"/>
            <a:ext cx="5585361" cy="5148573"/>
          </a:xfrm>
          <a:prstGeom prst="rect">
            <a:avLst/>
          </a:prstGeom>
        </p:spPr>
        <p:txBody>
          <a:bodyPr lIns="0" tIns="0" rIns="0" bIns="0"/>
          <a:lstStyle>
            <a:lvl1pPr marL="0" indent="0">
              <a:lnSpc>
                <a:spcPct val="100000"/>
              </a:lnSpc>
              <a:spcBef>
                <a:spcPts val="300"/>
              </a:spcBef>
              <a:spcAft>
                <a:spcPts val="300"/>
              </a:spcAft>
              <a:buNone/>
              <a:tabLst/>
              <a:defRPr sz="1400"/>
            </a:lvl1pPr>
            <a:lvl2pPr marL="9525" indent="-9525">
              <a:buNone/>
              <a:tabLst/>
              <a:defRPr/>
            </a:lvl2pPr>
            <a:lvl3pPr marL="9525" indent="-9525">
              <a:buNone/>
              <a:tabLst/>
              <a:defRPr/>
            </a:lvl3pPr>
            <a:lvl4pPr marL="9525" indent="-9525">
              <a:buNone/>
              <a:tabLst/>
              <a:defRPr/>
            </a:lvl4pPr>
            <a:lvl5pPr marL="9525" indent="-9525">
              <a:buNone/>
              <a:tabLst/>
              <a:defRPr/>
            </a:lvl5pPr>
          </a:lstStyle>
          <a:p>
            <a:pPr lvl="0"/>
            <a:r>
              <a:rPr lang="en-US"/>
              <a:t>Click to add text</a:t>
            </a:r>
          </a:p>
        </p:txBody>
      </p:sp>
      <p:sp>
        <p:nvSpPr>
          <p:cNvPr id="9" name="Text Placeholder 8">
            <a:extLst>
              <a:ext uri="{FF2B5EF4-FFF2-40B4-BE49-F238E27FC236}">
                <a16:creationId xmlns:a16="http://schemas.microsoft.com/office/drawing/2014/main" id="{6815CEFE-7DDC-3F44-91FF-801D5D3F3A7B}"/>
              </a:ext>
            </a:extLst>
          </p:cNvPr>
          <p:cNvSpPr>
            <a:spLocks noGrp="1"/>
          </p:cNvSpPr>
          <p:nvPr>
            <p:ph type="body" sz="quarter" idx="12" hasCustomPrompt="1"/>
          </p:nvPr>
        </p:nvSpPr>
        <p:spPr>
          <a:xfrm>
            <a:off x="510638" y="851055"/>
            <a:ext cx="11262262" cy="334580"/>
          </a:xfrm>
          <a:prstGeom prst="rect">
            <a:avLst/>
          </a:prstGeom>
        </p:spPr>
        <p:txBody>
          <a:bodyPr lIns="0" tIns="0" rIns="0" bIns="0"/>
          <a:lstStyle>
            <a:lvl1pPr marL="0" indent="0">
              <a:lnSpc>
                <a:spcPct val="100000"/>
              </a:lnSpc>
              <a:spcBef>
                <a:spcPts val="300"/>
              </a:spcBef>
              <a:spcAft>
                <a:spcPts val="300"/>
              </a:spcAft>
              <a:buNone/>
              <a:tabLst/>
              <a:defRPr sz="1600">
                <a:solidFill>
                  <a:schemeClr val="accent1"/>
                </a:solidFill>
              </a:defRPr>
            </a:lvl1pPr>
            <a:lvl2pPr>
              <a:buNone/>
              <a:defRPr/>
            </a:lvl2pPr>
          </a:lstStyle>
          <a:p>
            <a:pPr lvl="0"/>
            <a:r>
              <a:rPr lang="en-US"/>
              <a:t>Click to add subtitle</a:t>
            </a:r>
          </a:p>
        </p:txBody>
      </p:sp>
      <p:sp>
        <p:nvSpPr>
          <p:cNvPr id="10" name="Footer Placeholder 9">
            <a:extLst>
              <a:ext uri="{FF2B5EF4-FFF2-40B4-BE49-F238E27FC236}">
                <a16:creationId xmlns:a16="http://schemas.microsoft.com/office/drawing/2014/main" id="{A4A51601-6448-744E-A498-648EE5916964}"/>
              </a:ext>
            </a:extLst>
          </p:cNvPr>
          <p:cNvSpPr>
            <a:spLocks noGrp="1"/>
          </p:cNvSpPr>
          <p:nvPr>
            <p:ph type="ftr" sz="quarter" idx="13"/>
          </p:nvPr>
        </p:nvSpPr>
        <p:spPr/>
        <p:txBody>
          <a:bodyPr/>
          <a:lstStyle/>
          <a:p>
            <a:r>
              <a:rPr lang="en-GB"/>
              <a:t>© Moorhouse 2020 [Restricted]</a:t>
            </a:r>
          </a:p>
        </p:txBody>
      </p:sp>
    </p:spTree>
    <p:extLst>
      <p:ext uri="{BB962C8B-B14F-4D97-AF65-F5344CB8AC3E}">
        <p14:creationId xmlns:p14="http://schemas.microsoft.com/office/powerpoint/2010/main" val="188610593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ubtitle, 3 Text Boxes">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49B7C81-6DE7-134A-AF49-C5B48C4FBB5B}"/>
              </a:ext>
            </a:extLst>
          </p:cNvPr>
          <p:cNvSpPr>
            <a:spLocks noGrp="1"/>
          </p:cNvSpPr>
          <p:nvPr>
            <p:ph type="title" hasCustomPrompt="1"/>
          </p:nvPr>
        </p:nvSpPr>
        <p:spPr>
          <a:xfrm>
            <a:off x="510638" y="297277"/>
            <a:ext cx="9400805" cy="434010"/>
          </a:xfrm>
          <a:prstGeom prst="rect">
            <a:avLst/>
          </a:prstGeom>
        </p:spPr>
        <p:txBody>
          <a:bodyPr vert="horz" lIns="0" tIns="0" rIns="0" bIns="0" rtlCol="0" anchor="t" anchorCtr="0">
            <a:noAutofit/>
          </a:bodyPr>
          <a:lstStyle>
            <a:lvl1pPr>
              <a:defRPr sz="2800">
                <a:latin typeface="+mn-lt"/>
              </a:defRPr>
            </a:lvl1pPr>
          </a:lstStyle>
          <a:p>
            <a:r>
              <a:rPr lang="en-US"/>
              <a:t>Click to add title</a:t>
            </a:r>
          </a:p>
        </p:txBody>
      </p:sp>
      <p:cxnSp>
        <p:nvCxnSpPr>
          <p:cNvPr id="4" name="Straight Connector 3">
            <a:extLst>
              <a:ext uri="{FF2B5EF4-FFF2-40B4-BE49-F238E27FC236}">
                <a16:creationId xmlns:a16="http://schemas.microsoft.com/office/drawing/2014/main" id="{A07048F0-CD4E-8D48-B45B-B52352A2A2C3}"/>
              </a:ext>
            </a:extLst>
          </p:cNvPr>
          <p:cNvCxnSpPr>
            <a:cxnSpLocks/>
          </p:cNvCxnSpPr>
          <p:nvPr userDrawn="1"/>
        </p:nvCxnSpPr>
        <p:spPr>
          <a:xfrm>
            <a:off x="510638" y="783018"/>
            <a:ext cx="6361902"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Text Placeholder 8">
            <a:extLst>
              <a:ext uri="{FF2B5EF4-FFF2-40B4-BE49-F238E27FC236}">
                <a16:creationId xmlns:a16="http://schemas.microsoft.com/office/drawing/2014/main" id="{AC2416D7-C968-B242-B9DC-D0DEB8EC22FF}"/>
              </a:ext>
            </a:extLst>
          </p:cNvPr>
          <p:cNvSpPr>
            <a:spLocks noGrp="1"/>
          </p:cNvSpPr>
          <p:nvPr>
            <p:ph type="body" sz="quarter" idx="10" hasCustomPrompt="1"/>
          </p:nvPr>
        </p:nvSpPr>
        <p:spPr>
          <a:xfrm>
            <a:off x="510638" y="1305402"/>
            <a:ext cx="3420000" cy="5179623"/>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tabLst/>
              <a:defRPr sz="1400"/>
            </a:lvl1pPr>
          </a:lstStyle>
          <a:p>
            <a:pPr lvl="0"/>
            <a:r>
              <a:rPr lang="en-US"/>
              <a:t>Click to add text</a:t>
            </a:r>
          </a:p>
        </p:txBody>
      </p:sp>
      <p:sp>
        <p:nvSpPr>
          <p:cNvPr id="8" name="Text Placeholder 8">
            <a:extLst>
              <a:ext uri="{FF2B5EF4-FFF2-40B4-BE49-F238E27FC236}">
                <a16:creationId xmlns:a16="http://schemas.microsoft.com/office/drawing/2014/main" id="{6AA78D8E-15BB-9643-AA8C-1A70CBEE8D37}"/>
              </a:ext>
            </a:extLst>
          </p:cNvPr>
          <p:cNvSpPr>
            <a:spLocks noGrp="1"/>
          </p:cNvSpPr>
          <p:nvPr>
            <p:ph type="body" sz="quarter" idx="11" hasCustomPrompt="1"/>
          </p:nvPr>
        </p:nvSpPr>
        <p:spPr>
          <a:xfrm>
            <a:off x="4386000" y="1305402"/>
            <a:ext cx="3420000" cy="5179623"/>
          </a:xfrm>
          <a:prstGeom prst="rect">
            <a:avLst/>
          </a:prstGeom>
        </p:spPr>
        <p:txBody>
          <a:bodyPr lIns="0" tIns="0" rIns="0" bIns="0"/>
          <a:lstStyle>
            <a:lvl1pPr marL="0" indent="0">
              <a:lnSpc>
                <a:spcPct val="100000"/>
              </a:lnSpc>
              <a:spcBef>
                <a:spcPts val="300"/>
              </a:spcBef>
              <a:spcAft>
                <a:spcPts val="300"/>
              </a:spcAft>
              <a:buNone/>
              <a:tabLst/>
              <a:defRPr sz="1400"/>
            </a:lvl1pPr>
          </a:lstStyle>
          <a:p>
            <a:pPr lvl="0"/>
            <a:r>
              <a:rPr lang="en-US"/>
              <a:t>Click to add text</a:t>
            </a:r>
          </a:p>
        </p:txBody>
      </p:sp>
      <p:sp>
        <p:nvSpPr>
          <p:cNvPr id="9" name="Text Placeholder 8">
            <a:extLst>
              <a:ext uri="{FF2B5EF4-FFF2-40B4-BE49-F238E27FC236}">
                <a16:creationId xmlns:a16="http://schemas.microsoft.com/office/drawing/2014/main" id="{30695E36-9456-5140-8E3C-DC1268961E29}"/>
              </a:ext>
            </a:extLst>
          </p:cNvPr>
          <p:cNvSpPr>
            <a:spLocks noGrp="1"/>
          </p:cNvSpPr>
          <p:nvPr>
            <p:ph type="body" sz="quarter" idx="12" hasCustomPrompt="1"/>
          </p:nvPr>
        </p:nvSpPr>
        <p:spPr>
          <a:xfrm>
            <a:off x="8261362" y="1305402"/>
            <a:ext cx="3420000" cy="5179623"/>
          </a:xfrm>
          <a:prstGeom prst="rect">
            <a:avLst/>
          </a:prstGeom>
        </p:spPr>
        <p:txBody>
          <a:bodyPr lIns="0" tIns="0" rIns="0" bIns="0"/>
          <a:lstStyle>
            <a:lvl1pPr marL="0" indent="0">
              <a:lnSpc>
                <a:spcPct val="100000"/>
              </a:lnSpc>
              <a:spcBef>
                <a:spcPts val="300"/>
              </a:spcBef>
              <a:spcAft>
                <a:spcPts val="300"/>
              </a:spcAft>
              <a:buNone/>
              <a:tabLst/>
              <a:defRPr sz="1400"/>
            </a:lvl1pPr>
          </a:lstStyle>
          <a:p>
            <a:pPr lvl="0"/>
            <a:r>
              <a:rPr lang="en-US"/>
              <a:t>Click to add text</a:t>
            </a:r>
          </a:p>
        </p:txBody>
      </p:sp>
      <p:sp>
        <p:nvSpPr>
          <p:cNvPr id="10" name="Text Placeholder 8">
            <a:extLst>
              <a:ext uri="{FF2B5EF4-FFF2-40B4-BE49-F238E27FC236}">
                <a16:creationId xmlns:a16="http://schemas.microsoft.com/office/drawing/2014/main" id="{69F2AC11-9F7C-2D44-BB31-1F13E63CD865}"/>
              </a:ext>
            </a:extLst>
          </p:cNvPr>
          <p:cNvSpPr>
            <a:spLocks noGrp="1"/>
          </p:cNvSpPr>
          <p:nvPr>
            <p:ph type="body" sz="quarter" idx="13" hasCustomPrompt="1"/>
          </p:nvPr>
        </p:nvSpPr>
        <p:spPr>
          <a:xfrm>
            <a:off x="510638" y="851055"/>
            <a:ext cx="11262262" cy="334580"/>
          </a:xfrm>
          <a:prstGeom prst="rect">
            <a:avLst/>
          </a:prstGeom>
        </p:spPr>
        <p:txBody>
          <a:bodyPr lIns="0" tIns="0" rIns="0" bIns="0"/>
          <a:lstStyle>
            <a:lvl1pPr marL="0" indent="0">
              <a:lnSpc>
                <a:spcPct val="100000"/>
              </a:lnSpc>
              <a:spcBef>
                <a:spcPts val="300"/>
              </a:spcBef>
              <a:spcAft>
                <a:spcPts val="300"/>
              </a:spcAft>
              <a:buNone/>
              <a:tabLst/>
              <a:defRPr sz="1600">
                <a:solidFill>
                  <a:schemeClr val="accent1"/>
                </a:solidFill>
              </a:defRPr>
            </a:lvl1pPr>
            <a:lvl2pPr>
              <a:buNone/>
              <a:defRPr/>
            </a:lvl2pPr>
          </a:lstStyle>
          <a:p>
            <a:pPr lvl="0"/>
            <a:r>
              <a:rPr lang="en-US"/>
              <a:t>Click to add subtitle</a:t>
            </a:r>
          </a:p>
        </p:txBody>
      </p:sp>
      <p:sp>
        <p:nvSpPr>
          <p:cNvPr id="2" name="Footer Placeholder 1">
            <a:extLst>
              <a:ext uri="{FF2B5EF4-FFF2-40B4-BE49-F238E27FC236}">
                <a16:creationId xmlns:a16="http://schemas.microsoft.com/office/drawing/2014/main" id="{7FB3F751-3DB2-5D4B-988F-C86753AB07C9}"/>
              </a:ext>
            </a:extLst>
          </p:cNvPr>
          <p:cNvSpPr>
            <a:spLocks noGrp="1"/>
          </p:cNvSpPr>
          <p:nvPr>
            <p:ph type="ftr" sz="quarter" idx="14"/>
          </p:nvPr>
        </p:nvSpPr>
        <p:spPr/>
        <p:txBody>
          <a:bodyPr/>
          <a:lstStyle/>
          <a:p>
            <a:r>
              <a:rPr lang="en-GB"/>
              <a:t>© Moorhouse 2020 [Restricted]</a:t>
            </a:r>
          </a:p>
        </p:txBody>
      </p:sp>
    </p:spTree>
    <p:extLst>
      <p:ext uri="{BB962C8B-B14F-4D97-AF65-F5344CB8AC3E}">
        <p14:creationId xmlns:p14="http://schemas.microsoft.com/office/powerpoint/2010/main" val="86719963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ubtitle and Page Number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37" name="think-cell Slide" r:id="rId5" imgW="421" imgH="420" progId="TCLayout.ActiveDocument.1">
                  <p:embed/>
                </p:oleObj>
              </mc:Choice>
              <mc:Fallback>
                <p:oleObj name="think-cell Slide" r:id="rId5" imgW="421" imgH="42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7" name="Title Placeholder 1">
            <a:extLst>
              <a:ext uri="{FF2B5EF4-FFF2-40B4-BE49-F238E27FC236}">
                <a16:creationId xmlns:a16="http://schemas.microsoft.com/office/drawing/2014/main" id="{A77F0F7B-5DC0-AE4D-805D-D4592C2895F3}"/>
              </a:ext>
            </a:extLst>
          </p:cNvPr>
          <p:cNvSpPr>
            <a:spLocks noGrp="1"/>
          </p:cNvSpPr>
          <p:nvPr>
            <p:ph type="title" hasCustomPrompt="1"/>
          </p:nvPr>
        </p:nvSpPr>
        <p:spPr>
          <a:xfrm>
            <a:off x="510638" y="297277"/>
            <a:ext cx="9400805" cy="434010"/>
          </a:xfrm>
          <a:prstGeom prst="rect">
            <a:avLst/>
          </a:prstGeom>
        </p:spPr>
        <p:txBody>
          <a:bodyPr vert="horz" lIns="0" tIns="0" rIns="0" bIns="0" rtlCol="0" anchor="t" anchorCtr="0">
            <a:noAutofit/>
          </a:bodyPr>
          <a:lstStyle>
            <a:lvl1pPr>
              <a:defRPr sz="2800">
                <a:latin typeface="+mn-lt"/>
              </a:defRPr>
            </a:lvl1pPr>
          </a:lstStyle>
          <a:p>
            <a:r>
              <a:rPr lang="en-US"/>
              <a:t>Click to add title</a:t>
            </a:r>
          </a:p>
        </p:txBody>
      </p:sp>
      <p:cxnSp>
        <p:nvCxnSpPr>
          <p:cNvPr id="8" name="Straight Connector 7">
            <a:extLst>
              <a:ext uri="{FF2B5EF4-FFF2-40B4-BE49-F238E27FC236}">
                <a16:creationId xmlns:a16="http://schemas.microsoft.com/office/drawing/2014/main" id="{5F118AFB-B1FF-9640-A790-2E771E094A56}"/>
              </a:ext>
            </a:extLst>
          </p:cNvPr>
          <p:cNvCxnSpPr>
            <a:cxnSpLocks/>
          </p:cNvCxnSpPr>
          <p:nvPr userDrawn="1"/>
        </p:nvCxnSpPr>
        <p:spPr>
          <a:xfrm>
            <a:off x="510638" y="783018"/>
            <a:ext cx="6361902"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5C7E5B43-1A8B-BF4F-B3F2-7ACA4FE8B007}"/>
              </a:ext>
            </a:extLst>
          </p:cNvPr>
          <p:cNvSpPr>
            <a:spLocks noGrp="1"/>
          </p:cNvSpPr>
          <p:nvPr>
            <p:ph type="ftr" sz="quarter" idx="14"/>
          </p:nvPr>
        </p:nvSpPr>
        <p:spPr/>
        <p:txBody>
          <a:bodyPr/>
          <a:lstStyle/>
          <a:p>
            <a:r>
              <a:rPr lang="en-GB"/>
              <a:t>© Moorhouse 2020 [Restricted]</a:t>
            </a:r>
          </a:p>
        </p:txBody>
      </p:sp>
      <p:sp>
        <p:nvSpPr>
          <p:cNvPr id="12" name="Text Placeholder 8">
            <a:extLst>
              <a:ext uri="{FF2B5EF4-FFF2-40B4-BE49-F238E27FC236}">
                <a16:creationId xmlns:a16="http://schemas.microsoft.com/office/drawing/2014/main" id="{0C413A33-1D7F-464C-8AF1-DE3EDA9B4AA7}"/>
              </a:ext>
            </a:extLst>
          </p:cNvPr>
          <p:cNvSpPr>
            <a:spLocks noGrp="1"/>
          </p:cNvSpPr>
          <p:nvPr>
            <p:ph type="body" sz="quarter" idx="13" hasCustomPrompt="1"/>
          </p:nvPr>
        </p:nvSpPr>
        <p:spPr>
          <a:xfrm>
            <a:off x="510638" y="851055"/>
            <a:ext cx="11262262" cy="334580"/>
          </a:xfrm>
          <a:prstGeom prst="rect">
            <a:avLst/>
          </a:prstGeom>
        </p:spPr>
        <p:txBody>
          <a:bodyPr lIns="0" tIns="0" rIns="0" bIns="0"/>
          <a:lstStyle>
            <a:lvl1pPr marL="0" indent="0">
              <a:lnSpc>
                <a:spcPct val="100000"/>
              </a:lnSpc>
              <a:spcBef>
                <a:spcPts val="300"/>
              </a:spcBef>
              <a:spcAft>
                <a:spcPts val="300"/>
              </a:spcAft>
              <a:buNone/>
              <a:tabLst/>
              <a:defRPr sz="1600">
                <a:solidFill>
                  <a:schemeClr val="accent1"/>
                </a:solidFill>
              </a:defRPr>
            </a:lvl1pPr>
            <a:lvl2pPr>
              <a:buNone/>
              <a:defRPr/>
            </a:lvl2pPr>
          </a:lstStyle>
          <a:p>
            <a:pPr lvl="0"/>
            <a:r>
              <a:rPr lang="en-US"/>
              <a:t>Click to add subtitle</a:t>
            </a:r>
          </a:p>
        </p:txBody>
      </p:sp>
    </p:spTree>
    <p:extLst>
      <p:ext uri="{BB962C8B-B14F-4D97-AF65-F5344CB8AC3E}">
        <p14:creationId xmlns:p14="http://schemas.microsoft.com/office/powerpoint/2010/main" val="963641682"/>
      </p:ext>
    </p:extLst>
  </p:cSld>
  <p:clrMapOvr>
    <a:masterClrMapping/>
  </p:clrMapOvr>
  <p:extLst>
    <p:ext uri="{DCECCB84-F9BA-43D5-87BE-67443E8EF086}">
      <p15:sldGuideLst xmlns:p15="http://schemas.microsoft.com/office/powerpoint/2012/main">
        <p15:guide id="1" orient="horz" pos="672">
          <p15:clr>
            <a:srgbClr val="FBAE40"/>
          </p15:clr>
        </p15:guide>
        <p15:guide id="2" pos="7416">
          <p15:clr>
            <a:srgbClr val="FBAE40"/>
          </p15:clr>
        </p15:guide>
        <p15:guide id="3" orient="horz" pos="4068">
          <p15:clr>
            <a:srgbClr val="FBAE40"/>
          </p15:clr>
        </p15:guide>
        <p15:guide id="4" pos="312">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Logo and Page Number Onl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52A269C-061A-504E-9261-C30F6567843D}"/>
              </a:ext>
            </a:extLst>
          </p:cNvPr>
          <p:cNvSpPr>
            <a:spLocks noGrp="1"/>
          </p:cNvSpPr>
          <p:nvPr>
            <p:ph type="ftr" sz="quarter" idx="10"/>
          </p:nvPr>
        </p:nvSpPr>
        <p:spPr/>
        <p:txBody>
          <a:bodyPr/>
          <a:lstStyle/>
          <a:p>
            <a:r>
              <a:rPr lang="en-GB"/>
              <a:t>© Moorhouse 2020 [Restricted]</a:t>
            </a:r>
          </a:p>
        </p:txBody>
      </p:sp>
    </p:spTree>
    <p:extLst>
      <p:ext uri="{BB962C8B-B14F-4D97-AF65-F5344CB8AC3E}">
        <p14:creationId xmlns:p14="http://schemas.microsoft.com/office/powerpoint/2010/main" val="64916206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Logo Only">
    <p:spTree>
      <p:nvGrpSpPr>
        <p:cNvPr id="1" name=""/>
        <p:cNvGrpSpPr/>
        <p:nvPr/>
      </p:nvGrpSpPr>
      <p:grpSpPr>
        <a:xfrm>
          <a:off x="0" y="0"/>
          <a:ext cx="0" cy="0"/>
          <a:chOff x="0" y="0"/>
          <a:chExt cx="0" cy="0"/>
        </a:xfrm>
      </p:grpSpPr>
      <p:pic>
        <p:nvPicPr>
          <p:cNvPr id="2" name="Picture 1" descr="A picture containing clock, drawing, light&#10;&#10;Description automatically generated">
            <a:extLst>
              <a:ext uri="{FF2B5EF4-FFF2-40B4-BE49-F238E27FC236}">
                <a16:creationId xmlns:a16="http://schemas.microsoft.com/office/drawing/2014/main" id="{AFAC7536-EF67-1542-B05E-447C936C84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61205" y="321363"/>
            <a:ext cx="1650380" cy="411972"/>
          </a:xfrm>
          <a:prstGeom prst="rect">
            <a:avLst/>
          </a:prstGeom>
        </p:spPr>
      </p:pic>
      <p:sp>
        <p:nvSpPr>
          <p:cNvPr id="3" name="Footer Placeholder 2">
            <a:extLst>
              <a:ext uri="{FF2B5EF4-FFF2-40B4-BE49-F238E27FC236}">
                <a16:creationId xmlns:a16="http://schemas.microsoft.com/office/drawing/2014/main" id="{B38ED25A-B8CC-2946-AE24-F42B534F4C3E}"/>
              </a:ext>
            </a:extLst>
          </p:cNvPr>
          <p:cNvSpPr>
            <a:spLocks noGrp="1"/>
          </p:cNvSpPr>
          <p:nvPr>
            <p:ph type="ftr" sz="quarter" idx="10"/>
          </p:nvPr>
        </p:nvSpPr>
        <p:spPr/>
        <p:txBody>
          <a:bodyPr/>
          <a:lstStyle/>
          <a:p>
            <a:r>
              <a:rPr lang="en-GB"/>
              <a:t>© Moorhouse 2020 [Restricted]</a:t>
            </a:r>
          </a:p>
        </p:txBody>
      </p:sp>
    </p:spTree>
    <p:extLst>
      <p:ext uri="{BB962C8B-B14F-4D97-AF65-F5344CB8AC3E}">
        <p14:creationId xmlns:p14="http://schemas.microsoft.com/office/powerpoint/2010/main" val="101393758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Generic Title Slide">
    <p:spTree>
      <p:nvGrpSpPr>
        <p:cNvPr id="1" name=""/>
        <p:cNvGrpSpPr/>
        <p:nvPr/>
      </p:nvGrpSpPr>
      <p:grpSpPr>
        <a:xfrm>
          <a:off x="0" y="0"/>
          <a:ext cx="0" cy="0"/>
          <a:chOff x="0" y="0"/>
          <a:chExt cx="0" cy="0"/>
        </a:xfrm>
      </p:grpSpPr>
      <p:pic>
        <p:nvPicPr>
          <p:cNvPr id="3" name="Picture 2" descr="A harbor filled with lots of tall buildings&#10;&#10;Description automatically generated">
            <a:extLst>
              <a:ext uri="{FF2B5EF4-FFF2-40B4-BE49-F238E27FC236}">
                <a16:creationId xmlns:a16="http://schemas.microsoft.com/office/drawing/2014/main" id="{DC1F0E16-797D-4344-A2D4-8940E9E5047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085" r="40988"/>
          <a:stretch/>
        </p:blipFill>
        <p:spPr>
          <a:xfrm flipH="1">
            <a:off x="4514850" y="4"/>
            <a:ext cx="7677150" cy="6857992"/>
          </a:xfrm>
          <a:custGeom>
            <a:avLst/>
            <a:gdLst>
              <a:gd name="connsiteX0" fmla="*/ 5029202 w 7677150"/>
              <a:gd name="connsiteY0" fmla="*/ 0 h 6857992"/>
              <a:gd name="connsiteX1" fmla="*/ 0 w 7677150"/>
              <a:gd name="connsiteY1" fmla="*/ 0 h 6857992"/>
              <a:gd name="connsiteX2" fmla="*/ 0 w 7677150"/>
              <a:gd name="connsiteY2" fmla="*/ 6857992 h 6857992"/>
              <a:gd name="connsiteX3" fmla="*/ 7677150 w 7677150"/>
              <a:gd name="connsiteY3" fmla="*/ 6857992 h 6857992"/>
            </a:gdLst>
            <a:ahLst/>
            <a:cxnLst>
              <a:cxn ang="0">
                <a:pos x="connsiteX0" y="connsiteY0"/>
              </a:cxn>
              <a:cxn ang="0">
                <a:pos x="connsiteX1" y="connsiteY1"/>
              </a:cxn>
              <a:cxn ang="0">
                <a:pos x="connsiteX2" y="connsiteY2"/>
              </a:cxn>
              <a:cxn ang="0">
                <a:pos x="connsiteX3" y="connsiteY3"/>
              </a:cxn>
            </a:cxnLst>
            <a:rect l="l" t="t" r="r" b="b"/>
            <a:pathLst>
              <a:path w="7677150" h="6857992">
                <a:moveTo>
                  <a:pt x="5029202" y="0"/>
                </a:moveTo>
                <a:lnTo>
                  <a:pt x="0" y="0"/>
                </a:lnTo>
                <a:lnTo>
                  <a:pt x="0" y="6857992"/>
                </a:lnTo>
                <a:lnTo>
                  <a:pt x="7677150" y="6857992"/>
                </a:lnTo>
                <a:close/>
              </a:path>
            </a:pathLst>
          </a:custGeom>
          <a:effectLst>
            <a:reflection endPos="0" dir="5400000" sy="-100000" algn="bl" rotWithShape="0"/>
          </a:effectLst>
        </p:spPr>
      </p:pic>
      <p:grpSp>
        <p:nvGrpSpPr>
          <p:cNvPr id="5" name="Group 4">
            <a:extLst>
              <a:ext uri="{FF2B5EF4-FFF2-40B4-BE49-F238E27FC236}">
                <a16:creationId xmlns:a16="http://schemas.microsoft.com/office/drawing/2014/main" id="{96720D58-539E-9042-A928-348CB38BBDF6}"/>
              </a:ext>
            </a:extLst>
          </p:cNvPr>
          <p:cNvGrpSpPr/>
          <p:nvPr userDrawn="1"/>
        </p:nvGrpSpPr>
        <p:grpSpPr>
          <a:xfrm>
            <a:off x="1" y="3535636"/>
            <a:ext cx="5411972" cy="68922"/>
            <a:chOff x="0" y="3089605"/>
            <a:chExt cx="5937813" cy="68922"/>
          </a:xfrm>
        </p:grpSpPr>
        <p:cxnSp>
          <p:nvCxnSpPr>
            <p:cNvPr id="6" name="Straight Connector 5">
              <a:extLst>
                <a:ext uri="{FF2B5EF4-FFF2-40B4-BE49-F238E27FC236}">
                  <a16:creationId xmlns:a16="http://schemas.microsoft.com/office/drawing/2014/main" id="{8A50D3C1-2264-9C4D-9D03-58E60DFE707B}"/>
                </a:ext>
              </a:extLst>
            </p:cNvPr>
            <p:cNvCxnSpPr>
              <a:cxnSpLocks/>
            </p:cNvCxnSpPr>
            <p:nvPr/>
          </p:nvCxnSpPr>
          <p:spPr>
            <a:xfrm>
              <a:off x="0" y="3124066"/>
              <a:ext cx="5937813"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13044BFE-6E18-AE45-8443-A6F4784D7131}"/>
                </a:ext>
              </a:extLst>
            </p:cNvPr>
            <p:cNvSpPr/>
            <p:nvPr/>
          </p:nvSpPr>
          <p:spPr>
            <a:xfrm>
              <a:off x="700881" y="3089605"/>
              <a:ext cx="842169" cy="6892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8" name="Rectangle 7">
            <a:extLst>
              <a:ext uri="{FF2B5EF4-FFF2-40B4-BE49-F238E27FC236}">
                <a16:creationId xmlns:a16="http://schemas.microsoft.com/office/drawing/2014/main" id="{709C841B-7D0B-B64B-AF92-49F97AE30455}"/>
              </a:ext>
            </a:extLst>
          </p:cNvPr>
          <p:cNvSpPr/>
          <p:nvPr userDrawn="1"/>
        </p:nvSpPr>
        <p:spPr>
          <a:xfrm>
            <a:off x="0" y="6674068"/>
            <a:ext cx="12192000" cy="183932"/>
          </a:xfrm>
          <a:prstGeom prst="rect">
            <a:avLst/>
          </a:prstGeom>
          <a:solidFill>
            <a:srgbClr val="5023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Content Placeholder 17">
            <a:extLst>
              <a:ext uri="{FF2B5EF4-FFF2-40B4-BE49-F238E27FC236}">
                <a16:creationId xmlns:a16="http://schemas.microsoft.com/office/drawing/2014/main" id="{A3F372F6-2EC6-554A-AA35-E1D03D27DB80}"/>
              </a:ext>
            </a:extLst>
          </p:cNvPr>
          <p:cNvSpPr>
            <a:spLocks noGrp="1"/>
          </p:cNvSpPr>
          <p:nvPr>
            <p:ph sz="quarter" idx="10" hasCustomPrompt="1"/>
          </p:nvPr>
        </p:nvSpPr>
        <p:spPr>
          <a:xfrm>
            <a:off x="537425" y="2974801"/>
            <a:ext cx="3646488" cy="473207"/>
          </a:xfrm>
          <a:prstGeom prst="rect">
            <a:avLst/>
          </a:prstGeom>
        </p:spPr>
        <p:txBody>
          <a:bodyPr/>
          <a:lstStyle>
            <a:lvl1pPr marL="0" indent="0">
              <a:lnSpc>
                <a:spcPct val="100000"/>
              </a:lnSpc>
              <a:spcBef>
                <a:spcPts val="300"/>
              </a:spcBef>
              <a:spcAft>
                <a:spcPts val="300"/>
              </a:spcAft>
              <a:buNone/>
              <a:defRPr sz="2800" b="1">
                <a:solidFill>
                  <a:schemeClr val="accent1"/>
                </a:solidFill>
              </a:defRPr>
            </a:lvl1pPr>
          </a:lstStyle>
          <a:p>
            <a:pPr lvl="0"/>
            <a:r>
              <a:rPr lang="en-GB"/>
              <a:t>Add Title</a:t>
            </a:r>
          </a:p>
        </p:txBody>
      </p:sp>
      <p:sp>
        <p:nvSpPr>
          <p:cNvPr id="11" name="Content Placeholder 17">
            <a:extLst>
              <a:ext uri="{FF2B5EF4-FFF2-40B4-BE49-F238E27FC236}">
                <a16:creationId xmlns:a16="http://schemas.microsoft.com/office/drawing/2014/main" id="{6B523996-542A-E340-9D0A-F18DCEB8BB99}"/>
              </a:ext>
            </a:extLst>
          </p:cNvPr>
          <p:cNvSpPr>
            <a:spLocks noGrp="1"/>
          </p:cNvSpPr>
          <p:nvPr>
            <p:ph sz="quarter" idx="11" hasCustomPrompt="1"/>
          </p:nvPr>
        </p:nvSpPr>
        <p:spPr>
          <a:xfrm>
            <a:off x="537425" y="3726647"/>
            <a:ext cx="3646488" cy="473207"/>
          </a:xfrm>
          <a:prstGeom prst="rect">
            <a:avLst/>
          </a:prstGeom>
        </p:spPr>
        <p:txBody>
          <a:bodyPr/>
          <a:lstStyle>
            <a:lvl1pPr marL="0" indent="0">
              <a:lnSpc>
                <a:spcPct val="100000"/>
              </a:lnSpc>
              <a:spcBef>
                <a:spcPts val="300"/>
              </a:spcBef>
              <a:spcAft>
                <a:spcPts val="300"/>
              </a:spcAft>
              <a:buNone/>
              <a:defRPr sz="1600" b="0">
                <a:solidFill>
                  <a:schemeClr val="accent1"/>
                </a:solidFill>
              </a:defRPr>
            </a:lvl1pPr>
          </a:lstStyle>
          <a:p>
            <a:pPr lvl="0"/>
            <a:r>
              <a:rPr lang="en-GB"/>
              <a:t>Add Subtitle</a:t>
            </a:r>
          </a:p>
        </p:txBody>
      </p:sp>
      <p:sp>
        <p:nvSpPr>
          <p:cNvPr id="14" name="Freeform: Shape 2">
            <a:extLst>
              <a:ext uri="{FF2B5EF4-FFF2-40B4-BE49-F238E27FC236}">
                <a16:creationId xmlns:a16="http://schemas.microsoft.com/office/drawing/2014/main" id="{65E09882-346D-3442-A3BD-BD9F48B8403E}"/>
              </a:ext>
            </a:extLst>
          </p:cNvPr>
          <p:cNvSpPr/>
          <p:nvPr userDrawn="1"/>
        </p:nvSpPr>
        <p:spPr>
          <a:xfrm>
            <a:off x="4514850" y="4"/>
            <a:ext cx="7677150" cy="6857996"/>
          </a:xfrm>
          <a:custGeom>
            <a:avLst/>
            <a:gdLst>
              <a:gd name="connsiteX0" fmla="*/ 2647950 w 7677150"/>
              <a:gd name="connsiteY0" fmla="*/ 0 h 6896100"/>
              <a:gd name="connsiteX1" fmla="*/ 7677150 w 7677150"/>
              <a:gd name="connsiteY1" fmla="*/ 0 h 6896100"/>
              <a:gd name="connsiteX2" fmla="*/ 7677150 w 7677150"/>
              <a:gd name="connsiteY2" fmla="*/ 6896100 h 6896100"/>
              <a:gd name="connsiteX3" fmla="*/ 0 w 7677150"/>
              <a:gd name="connsiteY3" fmla="*/ 6896100 h 6896100"/>
              <a:gd name="connsiteX4" fmla="*/ 2647950 w 7677150"/>
              <a:gd name="connsiteY4" fmla="*/ 0 h 6896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77150" h="6896100">
                <a:moveTo>
                  <a:pt x="2647950" y="0"/>
                </a:moveTo>
                <a:lnTo>
                  <a:pt x="7677150" y="0"/>
                </a:lnTo>
                <a:lnTo>
                  <a:pt x="7677150" y="6896100"/>
                </a:lnTo>
                <a:lnTo>
                  <a:pt x="0" y="6896100"/>
                </a:lnTo>
                <a:lnTo>
                  <a:pt x="2647950" y="0"/>
                </a:lnTo>
                <a:close/>
              </a:path>
            </a:pathLst>
          </a:custGeom>
          <a:solidFill>
            <a:schemeClr val="tx1">
              <a:alpha val="55000"/>
            </a:scheme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pic>
        <p:nvPicPr>
          <p:cNvPr id="15" name="Picture 14">
            <a:extLst>
              <a:ext uri="{FF2B5EF4-FFF2-40B4-BE49-F238E27FC236}">
                <a16:creationId xmlns:a16="http://schemas.microsoft.com/office/drawing/2014/main" id="{CD9167ED-C9DC-D04F-875B-571133520E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61205" y="321363"/>
            <a:ext cx="1650380" cy="411972"/>
          </a:xfrm>
          <a:prstGeom prst="rect">
            <a:avLst/>
          </a:prstGeom>
        </p:spPr>
      </p:pic>
      <p:sp>
        <p:nvSpPr>
          <p:cNvPr id="2" name="Footer Placeholder 1">
            <a:extLst>
              <a:ext uri="{FF2B5EF4-FFF2-40B4-BE49-F238E27FC236}">
                <a16:creationId xmlns:a16="http://schemas.microsoft.com/office/drawing/2014/main" id="{29515E71-4BA2-A341-BA2F-4573D5B330C9}"/>
              </a:ext>
            </a:extLst>
          </p:cNvPr>
          <p:cNvSpPr>
            <a:spLocks noGrp="1"/>
          </p:cNvSpPr>
          <p:nvPr>
            <p:ph type="ftr" sz="quarter" idx="12"/>
          </p:nvPr>
        </p:nvSpPr>
        <p:spPr/>
        <p:txBody>
          <a:bodyPr/>
          <a:lstStyle>
            <a:lvl1pPr>
              <a:defRPr>
                <a:solidFill>
                  <a:schemeClr val="bg1"/>
                </a:solidFill>
              </a:defRPr>
            </a:lvl1pPr>
          </a:lstStyle>
          <a:p>
            <a:r>
              <a:rPr lang="en-GB"/>
              <a:t>© Moorhouse 2020 [Restricted]</a:t>
            </a:r>
          </a:p>
        </p:txBody>
      </p:sp>
    </p:spTree>
    <p:extLst>
      <p:ext uri="{BB962C8B-B14F-4D97-AF65-F5344CB8AC3E}">
        <p14:creationId xmlns:p14="http://schemas.microsoft.com/office/powerpoint/2010/main" val="255544374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lide White">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2EF64F75-66C2-C444-AA86-454AAA5D4529}"/>
              </a:ext>
            </a:extLst>
          </p:cNvPr>
          <p:cNvCxnSpPr>
            <a:cxnSpLocks/>
          </p:cNvCxnSpPr>
          <p:nvPr userDrawn="1"/>
        </p:nvCxnSpPr>
        <p:spPr>
          <a:xfrm>
            <a:off x="1487488" y="1376772"/>
            <a:ext cx="0" cy="4104456"/>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4" name="Content Placeholder 6">
            <a:extLst>
              <a:ext uri="{FF2B5EF4-FFF2-40B4-BE49-F238E27FC236}">
                <a16:creationId xmlns:a16="http://schemas.microsoft.com/office/drawing/2014/main" id="{DA82A1E9-2BB2-664F-AE3E-EE4019615A52}"/>
              </a:ext>
            </a:extLst>
          </p:cNvPr>
          <p:cNvSpPr>
            <a:spLocks noGrp="1"/>
          </p:cNvSpPr>
          <p:nvPr>
            <p:ph sz="quarter" idx="10" hasCustomPrompt="1"/>
          </p:nvPr>
        </p:nvSpPr>
        <p:spPr>
          <a:xfrm>
            <a:off x="1881188" y="1983582"/>
            <a:ext cx="6480000" cy="2890837"/>
          </a:xfrm>
          <a:prstGeom prst="rect">
            <a:avLst/>
          </a:prstGeom>
        </p:spPr>
        <p:txBody>
          <a:bodyPr anchor="ctr"/>
          <a:lstStyle>
            <a:lvl1pPr marL="0" marR="0" indent="0" algn="l" defTabSz="914400" rtl="0" eaLnBrk="1" fontAlgn="auto" latinLnBrk="0" hangingPunct="1">
              <a:lnSpc>
                <a:spcPct val="100000"/>
              </a:lnSpc>
              <a:spcBef>
                <a:spcPts val="300"/>
              </a:spcBef>
              <a:spcAft>
                <a:spcPts val="300"/>
              </a:spcAft>
              <a:buClrTx/>
              <a:buSzTx/>
              <a:buFontTx/>
              <a:buNone/>
              <a:tabLst/>
              <a:defRPr sz="7200" b="1">
                <a:solidFill>
                  <a:schemeClr val="accent1"/>
                </a:solidFill>
              </a:defRPr>
            </a:lvl1pPr>
          </a:lstStyle>
          <a:p>
            <a:pPr lvl="0"/>
            <a:r>
              <a:rPr lang="en-GB"/>
              <a:t>Click to add title</a:t>
            </a:r>
          </a:p>
        </p:txBody>
      </p:sp>
      <p:pic>
        <p:nvPicPr>
          <p:cNvPr id="5" name="Picture 4">
            <a:extLst>
              <a:ext uri="{FF2B5EF4-FFF2-40B4-BE49-F238E27FC236}">
                <a16:creationId xmlns:a16="http://schemas.microsoft.com/office/drawing/2014/main" id="{5D0E6640-3916-874E-9362-574DCC4B2F10}"/>
              </a:ext>
            </a:extLst>
          </p:cNvPr>
          <p:cNvPicPr>
            <a:picLocks noChangeAspect="1"/>
          </p:cNvPicPr>
          <p:nvPr userDrawn="1"/>
        </p:nvPicPr>
        <p:blipFill>
          <a:blip r:embed="rId2"/>
          <a:stretch>
            <a:fillRect/>
          </a:stretch>
        </p:blipFill>
        <p:spPr>
          <a:xfrm>
            <a:off x="9336361" y="5517232"/>
            <a:ext cx="2134931" cy="694800"/>
          </a:xfrm>
          <a:prstGeom prst="rect">
            <a:avLst/>
          </a:prstGeom>
        </p:spPr>
      </p:pic>
      <p:pic>
        <p:nvPicPr>
          <p:cNvPr id="6" name="Picture 5" descr="A picture containing clock, drawing, light&#10;&#10;Description automatically generated">
            <a:extLst>
              <a:ext uri="{FF2B5EF4-FFF2-40B4-BE49-F238E27FC236}">
                <a16:creationId xmlns:a16="http://schemas.microsoft.com/office/drawing/2014/main" id="{0059C6DF-9E0D-F444-BB97-9F50F817279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61205" y="321363"/>
            <a:ext cx="1650380" cy="411972"/>
          </a:xfrm>
          <a:prstGeom prst="rect">
            <a:avLst/>
          </a:prstGeom>
        </p:spPr>
      </p:pic>
    </p:spTree>
    <p:extLst>
      <p:ext uri="{BB962C8B-B14F-4D97-AF65-F5344CB8AC3E}">
        <p14:creationId xmlns:p14="http://schemas.microsoft.com/office/powerpoint/2010/main" val="331974894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Slide Purple">
    <p:bg>
      <p:bgPr>
        <a:solidFill>
          <a:srgbClr val="CCBCD1"/>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130001C2-E701-4A46-BD6E-65255889DC99}"/>
              </a:ext>
            </a:extLst>
          </p:cNvPr>
          <p:cNvCxnSpPr>
            <a:cxnSpLocks/>
          </p:cNvCxnSpPr>
          <p:nvPr userDrawn="1"/>
        </p:nvCxnSpPr>
        <p:spPr>
          <a:xfrm>
            <a:off x="1487488" y="1376772"/>
            <a:ext cx="0" cy="4104456"/>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7" name="Content Placeholder 6">
            <a:extLst>
              <a:ext uri="{FF2B5EF4-FFF2-40B4-BE49-F238E27FC236}">
                <a16:creationId xmlns:a16="http://schemas.microsoft.com/office/drawing/2014/main" id="{D646635C-E952-684F-9467-D9576C82F46B}"/>
              </a:ext>
            </a:extLst>
          </p:cNvPr>
          <p:cNvSpPr>
            <a:spLocks noGrp="1"/>
          </p:cNvSpPr>
          <p:nvPr>
            <p:ph sz="quarter" idx="10" hasCustomPrompt="1"/>
          </p:nvPr>
        </p:nvSpPr>
        <p:spPr>
          <a:xfrm>
            <a:off x="1881188" y="1983582"/>
            <a:ext cx="6480000" cy="2890837"/>
          </a:xfrm>
          <a:prstGeom prst="rect">
            <a:avLst/>
          </a:prstGeom>
        </p:spPr>
        <p:txBody>
          <a:bodyPr anchor="ctr"/>
          <a:lstStyle>
            <a:lvl1pPr marL="0" marR="0" indent="0" algn="l" defTabSz="914400" rtl="0" eaLnBrk="1" fontAlgn="auto" latinLnBrk="0" hangingPunct="1">
              <a:lnSpc>
                <a:spcPct val="100000"/>
              </a:lnSpc>
              <a:spcBef>
                <a:spcPts val="300"/>
              </a:spcBef>
              <a:spcAft>
                <a:spcPts val="300"/>
              </a:spcAft>
              <a:buClrTx/>
              <a:buSzTx/>
              <a:buFontTx/>
              <a:buNone/>
              <a:tabLst/>
              <a:defRPr sz="7200" b="1">
                <a:solidFill>
                  <a:schemeClr val="accent1"/>
                </a:solidFill>
              </a:defRPr>
            </a:lvl1pPr>
          </a:lstStyle>
          <a:p>
            <a:pPr lvl="0"/>
            <a:r>
              <a:rPr lang="en-GB"/>
              <a:t>Click to add title</a:t>
            </a:r>
          </a:p>
        </p:txBody>
      </p:sp>
      <p:pic>
        <p:nvPicPr>
          <p:cNvPr id="6" name="Picture 5">
            <a:extLst>
              <a:ext uri="{FF2B5EF4-FFF2-40B4-BE49-F238E27FC236}">
                <a16:creationId xmlns:a16="http://schemas.microsoft.com/office/drawing/2014/main" id="{569B6D7D-E3AE-2A44-A75D-B75F30B880A3}"/>
              </a:ext>
            </a:extLst>
          </p:cNvPr>
          <p:cNvPicPr>
            <a:picLocks noChangeAspect="1"/>
          </p:cNvPicPr>
          <p:nvPr userDrawn="1"/>
        </p:nvPicPr>
        <p:blipFill rotWithShape="1">
          <a:blip r:embed="rId2"/>
          <a:srcRect t="-1" r="21959" b="-7662"/>
          <a:stretch/>
        </p:blipFill>
        <p:spPr>
          <a:xfrm>
            <a:off x="9347200" y="5518150"/>
            <a:ext cx="2249714" cy="752021"/>
          </a:xfrm>
          <a:prstGeom prst="rect">
            <a:avLst/>
          </a:prstGeom>
        </p:spPr>
      </p:pic>
      <p:pic>
        <p:nvPicPr>
          <p:cNvPr id="5" name="Picture 4" descr="A picture containing clock, drawing, light&#10;&#10;Description automatically generated">
            <a:extLst>
              <a:ext uri="{FF2B5EF4-FFF2-40B4-BE49-F238E27FC236}">
                <a16:creationId xmlns:a16="http://schemas.microsoft.com/office/drawing/2014/main" id="{216146BB-DB31-7A46-9E03-09EA61D2F7D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61205" y="321363"/>
            <a:ext cx="1650380" cy="411972"/>
          </a:xfrm>
          <a:prstGeom prst="rect">
            <a:avLst/>
          </a:prstGeom>
        </p:spPr>
      </p:pic>
    </p:spTree>
    <p:extLst>
      <p:ext uri="{BB962C8B-B14F-4D97-AF65-F5344CB8AC3E}">
        <p14:creationId xmlns:p14="http://schemas.microsoft.com/office/powerpoint/2010/main" val="45355379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Slide Dark">
    <p:bg>
      <p:bgPr>
        <a:solidFill>
          <a:schemeClr val="accent1"/>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2EF64F75-66C2-C444-AA86-454AAA5D4529}"/>
              </a:ext>
            </a:extLst>
          </p:cNvPr>
          <p:cNvCxnSpPr>
            <a:cxnSpLocks/>
          </p:cNvCxnSpPr>
          <p:nvPr userDrawn="1"/>
        </p:nvCxnSpPr>
        <p:spPr>
          <a:xfrm>
            <a:off x="1487488" y="1376772"/>
            <a:ext cx="0" cy="4104456"/>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Content Placeholder 6">
            <a:extLst>
              <a:ext uri="{FF2B5EF4-FFF2-40B4-BE49-F238E27FC236}">
                <a16:creationId xmlns:a16="http://schemas.microsoft.com/office/drawing/2014/main" id="{DA82A1E9-2BB2-664F-AE3E-EE4019615A52}"/>
              </a:ext>
            </a:extLst>
          </p:cNvPr>
          <p:cNvSpPr>
            <a:spLocks noGrp="1"/>
          </p:cNvSpPr>
          <p:nvPr>
            <p:ph sz="quarter" idx="10" hasCustomPrompt="1"/>
          </p:nvPr>
        </p:nvSpPr>
        <p:spPr>
          <a:xfrm>
            <a:off x="1881188" y="1983582"/>
            <a:ext cx="6480000" cy="2890837"/>
          </a:xfrm>
          <a:prstGeom prst="rect">
            <a:avLst/>
          </a:prstGeom>
        </p:spPr>
        <p:txBody>
          <a:bodyPr anchor="ctr"/>
          <a:lstStyle>
            <a:lvl1pPr marL="0" marR="0" indent="0" algn="l" defTabSz="914400" rtl="0" eaLnBrk="1" fontAlgn="auto" latinLnBrk="0" hangingPunct="1">
              <a:lnSpc>
                <a:spcPct val="100000"/>
              </a:lnSpc>
              <a:spcBef>
                <a:spcPts val="300"/>
              </a:spcBef>
              <a:spcAft>
                <a:spcPts val="300"/>
              </a:spcAft>
              <a:buClrTx/>
              <a:buSzTx/>
              <a:buFontTx/>
              <a:buNone/>
              <a:tabLst/>
              <a:defRPr sz="7200" b="1">
                <a:solidFill>
                  <a:schemeClr val="bg1"/>
                </a:solidFill>
              </a:defRPr>
            </a:lvl1pPr>
          </a:lstStyle>
          <a:p>
            <a:pPr lvl="0"/>
            <a:r>
              <a:rPr lang="en-GB"/>
              <a:t>Click to add title</a:t>
            </a:r>
          </a:p>
        </p:txBody>
      </p:sp>
      <p:pic>
        <p:nvPicPr>
          <p:cNvPr id="6" name="Picture 5">
            <a:extLst>
              <a:ext uri="{FF2B5EF4-FFF2-40B4-BE49-F238E27FC236}">
                <a16:creationId xmlns:a16="http://schemas.microsoft.com/office/drawing/2014/main" id="{6DA27D15-5FC7-0E4A-8804-3C58F02F86F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61205" y="321363"/>
            <a:ext cx="1650380" cy="411972"/>
          </a:xfrm>
          <a:prstGeom prst="rect">
            <a:avLst/>
          </a:prstGeom>
        </p:spPr>
      </p:pic>
      <p:pic>
        <p:nvPicPr>
          <p:cNvPr id="5" name="Picture 4">
            <a:extLst>
              <a:ext uri="{FF2B5EF4-FFF2-40B4-BE49-F238E27FC236}">
                <a16:creationId xmlns:a16="http://schemas.microsoft.com/office/drawing/2014/main" id="{5420BEE6-C168-C441-A4F8-3F0C36FF0767}"/>
              </a:ext>
            </a:extLst>
          </p:cNvPr>
          <p:cNvPicPr>
            <a:picLocks noChangeAspect="1"/>
          </p:cNvPicPr>
          <p:nvPr userDrawn="1"/>
        </p:nvPicPr>
        <p:blipFill>
          <a:blip r:embed="rId3"/>
          <a:stretch>
            <a:fillRect/>
          </a:stretch>
        </p:blipFill>
        <p:spPr>
          <a:xfrm>
            <a:off x="9347200" y="5544910"/>
            <a:ext cx="2146300" cy="698500"/>
          </a:xfrm>
          <a:prstGeom prst="rect">
            <a:avLst/>
          </a:prstGeom>
        </p:spPr>
      </p:pic>
    </p:spTree>
    <p:extLst>
      <p:ext uri="{BB962C8B-B14F-4D97-AF65-F5344CB8AC3E}">
        <p14:creationId xmlns:p14="http://schemas.microsoft.com/office/powerpoint/2010/main" val="29274063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Slide White">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2EF64F75-66C2-C444-AA86-454AAA5D4529}"/>
              </a:ext>
            </a:extLst>
          </p:cNvPr>
          <p:cNvCxnSpPr>
            <a:cxnSpLocks/>
          </p:cNvCxnSpPr>
          <p:nvPr userDrawn="1"/>
        </p:nvCxnSpPr>
        <p:spPr>
          <a:xfrm>
            <a:off x="1487488" y="1376772"/>
            <a:ext cx="0" cy="4104456"/>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4" name="Content Placeholder 6">
            <a:extLst>
              <a:ext uri="{FF2B5EF4-FFF2-40B4-BE49-F238E27FC236}">
                <a16:creationId xmlns:a16="http://schemas.microsoft.com/office/drawing/2014/main" id="{DA82A1E9-2BB2-664F-AE3E-EE4019615A52}"/>
              </a:ext>
            </a:extLst>
          </p:cNvPr>
          <p:cNvSpPr>
            <a:spLocks noGrp="1"/>
          </p:cNvSpPr>
          <p:nvPr>
            <p:ph sz="quarter" idx="10" hasCustomPrompt="1"/>
          </p:nvPr>
        </p:nvSpPr>
        <p:spPr>
          <a:xfrm>
            <a:off x="1881188" y="1983582"/>
            <a:ext cx="6480000" cy="2890837"/>
          </a:xfrm>
          <a:prstGeom prst="rect">
            <a:avLst/>
          </a:prstGeom>
        </p:spPr>
        <p:txBody>
          <a:bodyPr anchor="ctr"/>
          <a:lstStyle>
            <a:lvl1pPr marL="0" marR="0" indent="0" algn="l" defTabSz="914400" rtl="0" eaLnBrk="1" fontAlgn="auto" latinLnBrk="0" hangingPunct="1">
              <a:lnSpc>
                <a:spcPct val="100000"/>
              </a:lnSpc>
              <a:spcBef>
                <a:spcPts val="300"/>
              </a:spcBef>
              <a:spcAft>
                <a:spcPts val="300"/>
              </a:spcAft>
              <a:buClrTx/>
              <a:buSzTx/>
              <a:buFontTx/>
              <a:buNone/>
              <a:tabLst/>
              <a:defRPr sz="7200" b="1">
                <a:solidFill>
                  <a:schemeClr val="accent1"/>
                </a:solidFill>
              </a:defRPr>
            </a:lvl1pPr>
          </a:lstStyle>
          <a:p>
            <a:pPr lvl="0"/>
            <a:r>
              <a:rPr lang="en-GB"/>
              <a:t>Click to add title</a:t>
            </a:r>
          </a:p>
        </p:txBody>
      </p:sp>
      <p:pic>
        <p:nvPicPr>
          <p:cNvPr id="5" name="Picture 4">
            <a:extLst>
              <a:ext uri="{FF2B5EF4-FFF2-40B4-BE49-F238E27FC236}">
                <a16:creationId xmlns:a16="http://schemas.microsoft.com/office/drawing/2014/main" id="{5D0E6640-3916-874E-9362-574DCC4B2F1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36361" y="5517232"/>
            <a:ext cx="2134931" cy="694800"/>
          </a:xfrm>
          <a:prstGeom prst="rect">
            <a:avLst/>
          </a:prstGeom>
        </p:spPr>
      </p:pic>
      <p:pic>
        <p:nvPicPr>
          <p:cNvPr id="6" name="Picture 5" descr="A picture containing clock, drawing, light&#10;&#10;Description automatically generated">
            <a:extLst>
              <a:ext uri="{FF2B5EF4-FFF2-40B4-BE49-F238E27FC236}">
                <a16:creationId xmlns:a16="http://schemas.microsoft.com/office/drawing/2014/main" id="{0059C6DF-9E0D-F444-BB97-9F50F817279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161205" y="321363"/>
            <a:ext cx="1650380" cy="411972"/>
          </a:xfrm>
          <a:prstGeom prst="rect">
            <a:avLst/>
          </a:prstGeom>
        </p:spPr>
      </p:pic>
    </p:spTree>
    <p:extLst>
      <p:ext uri="{BB962C8B-B14F-4D97-AF65-F5344CB8AC3E}">
        <p14:creationId xmlns:p14="http://schemas.microsoft.com/office/powerpoint/2010/main" val="34667045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Blank Slide Whit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05" name="think-cell Slide" r:id="rId5" imgW="421" imgH="420" progId="TCLayout.ActiveDocument.1">
                  <p:embed/>
                </p:oleObj>
              </mc:Choice>
              <mc:Fallback>
                <p:oleObj name="think-cell Slide" r:id="rId5" imgW="421" imgH="420"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Black" panose="020B0A04020102020204" pitchFamily="34" charset="0"/>
              <a:ea typeface="+mn-ea"/>
              <a:cs typeface="+mn-cs"/>
              <a:sym typeface="Arial Black" panose="020B0A04020102020204" pitchFamily="34" charset="0"/>
            </a:endParaRPr>
          </a:p>
        </p:txBody>
      </p:sp>
      <p:sp>
        <p:nvSpPr>
          <p:cNvPr id="3" name="TextBox 2">
            <a:extLst>
              <a:ext uri="{FF2B5EF4-FFF2-40B4-BE49-F238E27FC236}">
                <a16:creationId xmlns:a16="http://schemas.microsoft.com/office/drawing/2014/main" id="{C8C51CB6-6C68-D54B-8637-B9C4DF209684}"/>
              </a:ext>
            </a:extLst>
          </p:cNvPr>
          <p:cNvSpPr txBox="1"/>
          <p:nvPr userDrawn="1"/>
        </p:nvSpPr>
        <p:spPr>
          <a:xfrm>
            <a:off x="1754372" y="520995"/>
            <a:ext cx="184731" cy="369332"/>
          </a:xfrm>
          <a:prstGeom prst="rect">
            <a:avLst/>
          </a:prstGeom>
          <a:noFill/>
        </p:spPr>
        <p:txBody>
          <a:bodyPr wrap="none" rtlCol="0">
            <a:spAutoFit/>
          </a:bodyPr>
          <a:lstStyle/>
          <a:p>
            <a:endParaRPr lang="en-GB"/>
          </a:p>
        </p:txBody>
      </p:sp>
    </p:spTree>
    <p:extLst>
      <p:ext uri="{BB962C8B-B14F-4D97-AF65-F5344CB8AC3E}">
        <p14:creationId xmlns:p14="http://schemas.microsoft.com/office/powerpoint/2010/main" val="184733456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Blank Slide Purple">
    <p:bg>
      <p:bgPr>
        <a:solidFill>
          <a:srgbClr val="CCBCD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264019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Blank Slide Dark">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3" name="think-cell Slide" r:id="rId4" imgW="421" imgH="420" progId="TCLayout.ActiveDocument.1">
                  <p:embed/>
                </p:oleObj>
              </mc:Choice>
              <mc:Fallback>
                <p:oleObj name="think-cell Slide" r:id="rId4" imgW="421" imgH="42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25365168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77" name="think-cell Slide" r:id="rId4" imgW="421" imgH="420" progId="TCLayout.ActiveDocument.1">
                  <p:embed/>
                </p:oleObj>
              </mc:Choice>
              <mc:Fallback>
                <p:oleObj name="think-cell Slide" r:id="rId4" imgW="421" imgH="42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AF8501C1-52FE-0147-9319-81DD10D64AB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31666" y="2813846"/>
            <a:ext cx="4928668" cy="1230307"/>
          </a:xfrm>
          <a:prstGeom prst="rect">
            <a:avLst/>
          </a:prstGeom>
        </p:spPr>
      </p:pic>
    </p:spTree>
    <p:extLst>
      <p:ext uri="{BB962C8B-B14F-4D97-AF65-F5344CB8AC3E}">
        <p14:creationId xmlns:p14="http://schemas.microsoft.com/office/powerpoint/2010/main" val="32620682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tags" Target="../tags/tag13.xml"/><Relationship Id="rId3" Type="http://schemas.openxmlformats.org/officeDocument/2006/relationships/slideLayout" Target="../slideLayouts/slideLayout18.xml"/><Relationship Id="rId21" Type="http://schemas.openxmlformats.org/officeDocument/2006/relationships/image" Target="../media/image10.png"/><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vmlDrawing" Target="../drawings/vmlDrawing8.vml"/><Relationship Id="rId2" Type="http://schemas.openxmlformats.org/officeDocument/2006/relationships/slideLayout" Target="../slideLayouts/slideLayout17.xml"/><Relationship Id="rId16" Type="http://schemas.openxmlformats.org/officeDocument/2006/relationships/theme" Target="../theme/theme2.xml"/><Relationship Id="rId20" Type="http://schemas.openxmlformats.org/officeDocument/2006/relationships/image" Target="../media/image1.emf"/><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19" Type="http://schemas.openxmlformats.org/officeDocument/2006/relationships/oleObject" Target="../embeddings/oleObject8.bin"/><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vmlDrawing" Target="../drawings/vmlDrawing15.vml"/><Relationship Id="rId3" Type="http://schemas.openxmlformats.org/officeDocument/2006/relationships/slideLayout" Target="../slideLayouts/slideLayout33.xml"/><Relationship Id="rId21" Type="http://schemas.openxmlformats.org/officeDocument/2006/relationships/image" Target="../media/image1.emf"/><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theme" Target="../theme/theme3.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oleObject" Target="../embeddings/oleObject15.bin"/><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19" Type="http://schemas.openxmlformats.org/officeDocument/2006/relationships/tags" Target="../tags/tag24.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image" Target="../media/image10.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vmlDrawing" Target="../drawings/vmlDrawing22.vml"/><Relationship Id="rId3" Type="http://schemas.openxmlformats.org/officeDocument/2006/relationships/slideLayout" Target="../slideLayouts/slideLayout49.xml"/><Relationship Id="rId21" Type="http://schemas.openxmlformats.org/officeDocument/2006/relationships/image" Target="../media/image1.emf"/><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theme" Target="../theme/theme4.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oleObject" Target="../embeddings/oleObject17.bin"/><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10" Type="http://schemas.openxmlformats.org/officeDocument/2006/relationships/slideLayout" Target="../slideLayouts/slideLayout56.xml"/><Relationship Id="rId19" Type="http://schemas.openxmlformats.org/officeDocument/2006/relationships/tags" Target="../tags/tag3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image" Target="../media/image10.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vmlDrawing" Target="../drawings/vmlDrawing29.vml"/><Relationship Id="rId3" Type="http://schemas.openxmlformats.org/officeDocument/2006/relationships/slideLayout" Target="../slideLayouts/slideLayout65.xml"/><Relationship Id="rId21" Type="http://schemas.openxmlformats.org/officeDocument/2006/relationships/image" Target="../media/image1.emf"/><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theme" Target="../theme/theme5.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oleObject" Target="../embeddings/oleObject24.bin"/><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10" Type="http://schemas.openxmlformats.org/officeDocument/2006/relationships/slideLayout" Target="../slideLayouts/slideLayout72.xml"/><Relationship Id="rId19" Type="http://schemas.openxmlformats.org/officeDocument/2006/relationships/tags" Target="../tags/tag46.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image" Target="../media/image10.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tags" Target="../tags/tag57.xml"/><Relationship Id="rId3" Type="http://schemas.openxmlformats.org/officeDocument/2006/relationships/slideLayout" Target="../slideLayouts/slideLayout81.xml"/><Relationship Id="rId21" Type="http://schemas.openxmlformats.org/officeDocument/2006/relationships/image" Target="../media/image10.png"/><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vmlDrawing" Target="../drawings/vmlDrawing36.vml"/><Relationship Id="rId2" Type="http://schemas.openxmlformats.org/officeDocument/2006/relationships/slideLayout" Target="../slideLayouts/slideLayout80.xml"/><Relationship Id="rId16" Type="http://schemas.openxmlformats.org/officeDocument/2006/relationships/theme" Target="../theme/theme6.xml"/><Relationship Id="rId20" Type="http://schemas.openxmlformats.org/officeDocument/2006/relationships/image" Target="../media/image1.emf"/><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10" Type="http://schemas.openxmlformats.org/officeDocument/2006/relationships/slideLayout" Target="../slideLayouts/slideLayout88.xml"/><Relationship Id="rId19" Type="http://schemas.openxmlformats.org/officeDocument/2006/relationships/oleObject" Target="../embeddings/oleObject31.bin"/><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8"/>
            </p:custDataLst>
            <p:extLst>
              <p:ext uri="{D42A27DB-BD31-4B8C-83A1-F6EECF244321}">
                <p14:modId xmlns:p14="http://schemas.microsoft.com/office/powerpoint/2010/main" val="512524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19" imgW="378" imgH="377" progId="TCLayout.ActiveDocument.1">
                  <p:embed/>
                </p:oleObj>
              </mc:Choice>
              <mc:Fallback>
                <p:oleObj name="think-cell Slide" r:id="rId19" imgW="378" imgH="377" progId="TCLayout.ActiveDocument.1">
                  <p:embed/>
                  <p:pic>
                    <p:nvPicPr>
                      <p:cNvPr id="2" name="Object 1" hidden="1"/>
                      <p:cNvPicPr/>
                      <p:nvPr/>
                    </p:nvPicPr>
                    <p:blipFill>
                      <a:blip r:embed="rId20"/>
                      <a:stretch>
                        <a:fillRect/>
                      </a:stretch>
                    </p:blipFill>
                    <p:spPr>
                      <a:xfrm>
                        <a:off x="1588" y="1588"/>
                        <a:ext cx="1588" cy="1588"/>
                      </a:xfrm>
                      <a:prstGeom prst="rect">
                        <a:avLst/>
                      </a:prstGeom>
                    </p:spPr>
                  </p:pic>
                </p:oleObj>
              </mc:Fallback>
            </mc:AlternateContent>
          </a:graphicData>
        </a:graphic>
      </p:graphicFrame>
      <p:pic>
        <p:nvPicPr>
          <p:cNvPr id="7" name="Picture 6" descr="A picture containing clock, drawing, light&#10;&#10;Description automatically generated">
            <a:extLst>
              <a:ext uri="{FF2B5EF4-FFF2-40B4-BE49-F238E27FC236}">
                <a16:creationId xmlns:a16="http://schemas.microsoft.com/office/drawing/2014/main" id="{9FFE1D19-2C2C-3146-8EDD-034D746072DC}"/>
              </a:ext>
            </a:extLst>
          </p:cNvPr>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10161205" y="321363"/>
            <a:ext cx="1650380" cy="411972"/>
          </a:xfrm>
          <a:prstGeom prst="rect">
            <a:avLst/>
          </a:prstGeom>
        </p:spPr>
      </p:pic>
      <p:sp>
        <p:nvSpPr>
          <p:cNvPr id="4" name="Freeform 70">
            <a:extLst>
              <a:ext uri="{FF2B5EF4-FFF2-40B4-BE49-F238E27FC236}">
                <a16:creationId xmlns:a16="http://schemas.microsoft.com/office/drawing/2014/main" id="{8BF95622-BC38-5F47-A922-3F7837912672}"/>
              </a:ext>
            </a:extLst>
          </p:cNvPr>
          <p:cNvSpPr>
            <a:spLocks/>
          </p:cNvSpPr>
          <p:nvPr userDrawn="1"/>
        </p:nvSpPr>
        <p:spPr bwMode="auto">
          <a:xfrm>
            <a:off x="11703050" y="6380163"/>
            <a:ext cx="488950" cy="477837"/>
          </a:xfrm>
          <a:custGeom>
            <a:avLst/>
            <a:gdLst>
              <a:gd name="T0" fmla="*/ 133 w 133"/>
              <a:gd name="T1" fmla="*/ 0 h 130"/>
              <a:gd name="T2" fmla="*/ 131 w 133"/>
              <a:gd name="T3" fmla="*/ 0 h 130"/>
              <a:gd name="T4" fmla="*/ 0 w 133"/>
              <a:gd name="T5" fmla="*/ 130 h 130"/>
              <a:gd name="T6" fmla="*/ 133 w 133"/>
              <a:gd name="T7" fmla="*/ 130 h 130"/>
              <a:gd name="T8" fmla="*/ 133 w 133"/>
              <a:gd name="T9" fmla="*/ 0 h 130"/>
            </a:gdLst>
            <a:ahLst/>
            <a:cxnLst>
              <a:cxn ang="0">
                <a:pos x="T0" y="T1"/>
              </a:cxn>
              <a:cxn ang="0">
                <a:pos x="T2" y="T3"/>
              </a:cxn>
              <a:cxn ang="0">
                <a:pos x="T4" y="T5"/>
              </a:cxn>
              <a:cxn ang="0">
                <a:pos x="T6" y="T7"/>
              </a:cxn>
              <a:cxn ang="0">
                <a:pos x="T8" y="T9"/>
              </a:cxn>
            </a:cxnLst>
            <a:rect l="0" t="0" r="r" b="b"/>
            <a:pathLst>
              <a:path w="133" h="130">
                <a:moveTo>
                  <a:pt x="133" y="0"/>
                </a:moveTo>
                <a:cubicBezTo>
                  <a:pt x="132" y="0"/>
                  <a:pt x="132" y="0"/>
                  <a:pt x="131" y="0"/>
                </a:cubicBezTo>
                <a:cubicBezTo>
                  <a:pt x="59" y="0"/>
                  <a:pt x="0" y="58"/>
                  <a:pt x="0" y="130"/>
                </a:cubicBezTo>
                <a:cubicBezTo>
                  <a:pt x="133" y="130"/>
                  <a:pt x="133" y="130"/>
                  <a:pt x="133" y="130"/>
                </a:cubicBezTo>
                <a:lnTo>
                  <a:pt x="133" y="0"/>
                </a:lnTo>
                <a:close/>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 name="Slide Number Placeholder 16">
            <a:extLst>
              <a:ext uri="{FF2B5EF4-FFF2-40B4-BE49-F238E27FC236}">
                <a16:creationId xmlns:a16="http://schemas.microsoft.com/office/drawing/2014/main" id="{D9B7120D-ED4D-9345-8F86-3331D1CE8D18}"/>
              </a:ext>
            </a:extLst>
          </p:cNvPr>
          <p:cNvSpPr txBox="1">
            <a:spLocks/>
          </p:cNvSpPr>
          <p:nvPr userDrawn="1"/>
        </p:nvSpPr>
        <p:spPr>
          <a:xfrm>
            <a:off x="11818541" y="6527792"/>
            <a:ext cx="335359" cy="288032"/>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622A5955-F4D1-6C47-B0EC-818FF0E67783}" type="slidenum">
              <a:rPr kumimoji="0" lang="en-GB" sz="1000" b="1" i="0" u="none" strike="noStrike" kern="1200" cap="none" spc="0" normalizeH="0" baseline="0" noProof="0" smtClean="0">
                <a:ln>
                  <a:noFill/>
                </a:ln>
                <a:solidFill>
                  <a:schemeClr val="bg1"/>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1100" b="1" i="0" u="none" strike="noStrike" kern="1200" cap="none" spc="0" normalizeH="0" baseline="0" noProof="0">
              <a:ln>
                <a:noFill/>
              </a:ln>
              <a:solidFill>
                <a:schemeClr val="bg1"/>
              </a:solidFill>
              <a:effectLst/>
              <a:uLnTx/>
              <a:uFillTx/>
              <a:latin typeface="Arial" panose="020B0604020202020204"/>
              <a:ea typeface="+mn-ea"/>
              <a:cs typeface="+mn-cs"/>
            </a:endParaRPr>
          </a:p>
        </p:txBody>
      </p:sp>
      <p:sp>
        <p:nvSpPr>
          <p:cNvPr id="3" name="Footer Placeholder 2">
            <a:extLst>
              <a:ext uri="{FF2B5EF4-FFF2-40B4-BE49-F238E27FC236}">
                <a16:creationId xmlns:a16="http://schemas.microsoft.com/office/drawing/2014/main" id="{EF5613EA-3435-A747-B2FD-4297866DCB17}"/>
              </a:ext>
            </a:extLst>
          </p:cNvPr>
          <p:cNvSpPr>
            <a:spLocks noGrp="1"/>
          </p:cNvSpPr>
          <p:nvPr>
            <p:ph type="ftr" sz="quarter" idx="3"/>
          </p:nvPr>
        </p:nvSpPr>
        <p:spPr>
          <a:xfrm>
            <a:off x="6570" y="6674068"/>
            <a:ext cx="4114800" cy="173286"/>
          </a:xfrm>
          <a:prstGeom prst="rect">
            <a:avLst/>
          </a:prstGeom>
        </p:spPr>
        <p:txBody>
          <a:bodyPr vert="horz" lIns="91440" tIns="45720" rIns="91440" bIns="45720" rtlCol="0" anchor="ctr"/>
          <a:lstStyle>
            <a:lvl1pPr algn="l">
              <a:defRPr sz="800">
                <a:solidFill>
                  <a:schemeClr val="accent1"/>
                </a:solidFill>
              </a:defRPr>
            </a:lvl1pPr>
          </a:lstStyle>
          <a:p>
            <a:r>
              <a:rPr lang="en-GB"/>
              <a:t>© Moorhouse 2020</a:t>
            </a:r>
          </a:p>
        </p:txBody>
      </p:sp>
    </p:spTree>
    <p:extLst>
      <p:ext uri="{BB962C8B-B14F-4D97-AF65-F5344CB8AC3E}">
        <p14:creationId xmlns:p14="http://schemas.microsoft.com/office/powerpoint/2010/main" val="3491695150"/>
      </p:ext>
    </p:extLst>
  </p:cSld>
  <p:clrMap bg1="lt1" tx1="dk1" bg2="lt2" tx2="dk2" accent1="accent1" accent2="accent2" accent3="accent3" accent4="accent4" accent5="accent5" accent6="accent6" hlink="hlink" folHlink="folHlink"/>
  <p:sldLayoutIdLst>
    <p:sldLayoutId id="2147483909" r:id="rId1"/>
    <p:sldLayoutId id="2147483921" r:id="rId2"/>
    <p:sldLayoutId id="2147483906" r:id="rId3"/>
    <p:sldLayoutId id="2147483907" r:id="rId4"/>
    <p:sldLayoutId id="2147483908" r:id="rId5"/>
    <p:sldLayoutId id="2147483914" r:id="rId6"/>
    <p:sldLayoutId id="2147483915" r:id="rId7"/>
    <p:sldLayoutId id="2147483916" r:id="rId8"/>
    <p:sldLayoutId id="2147483911" r:id="rId9"/>
    <p:sldLayoutId id="2147483910" r:id="rId10"/>
    <p:sldLayoutId id="2147483919" r:id="rId11"/>
    <p:sldLayoutId id="2147483912" r:id="rId12"/>
    <p:sldLayoutId id="2147483920" r:id="rId13"/>
    <p:sldLayoutId id="2147483913" r:id="rId14"/>
    <p:sldLayoutId id="2147483918" r:id="rId15"/>
  </p:sldLayoutIdLst>
  <p:hf hdr="0" dt="0"/>
  <p:txStyles>
    <p:titleStyle>
      <a:lvl1pPr algn="l" defTabSz="914400" rtl="0" eaLnBrk="1" latinLnBrk="0" hangingPunct="1">
        <a:lnSpc>
          <a:spcPct val="90000"/>
        </a:lnSpc>
        <a:spcBef>
          <a:spcPct val="0"/>
        </a:spcBef>
        <a:buNone/>
        <a:defRPr sz="2800"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1800" kern="1200">
          <a:solidFill>
            <a:schemeClr val="accent6">
              <a:lumMod val="75000"/>
            </a:schemeClr>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1600" kern="1200">
          <a:solidFill>
            <a:schemeClr val="accent6">
              <a:lumMod val="75000"/>
            </a:schemeClr>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400" kern="1200">
          <a:solidFill>
            <a:schemeClr val="accent6">
              <a:lumMod val="75000"/>
            </a:schemeClr>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200" kern="1200">
          <a:solidFill>
            <a:schemeClr val="accent6">
              <a:lumMod val="75000"/>
            </a:schemeClr>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000" kern="1200">
          <a:solidFill>
            <a:schemeClr val="accent6">
              <a:lumMod val="75000"/>
            </a:schemeClr>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8"/>
            </p:custDataLst>
            <p:extLst>
              <p:ext uri="{D42A27DB-BD31-4B8C-83A1-F6EECF244321}">
                <p14:modId xmlns:p14="http://schemas.microsoft.com/office/powerpoint/2010/main" val="2318311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9" name="think-cell Slide" r:id="rId19" imgW="378" imgH="377" progId="TCLayout.ActiveDocument.1">
                  <p:embed/>
                </p:oleObj>
              </mc:Choice>
              <mc:Fallback>
                <p:oleObj name="think-cell Slide" r:id="rId19" imgW="378" imgH="377" progId="TCLayout.ActiveDocument.1">
                  <p:embed/>
                  <p:pic>
                    <p:nvPicPr>
                      <p:cNvPr id="2" name="Object 1" hidden="1"/>
                      <p:cNvPicPr/>
                      <p:nvPr/>
                    </p:nvPicPr>
                    <p:blipFill>
                      <a:blip r:embed="rId20"/>
                      <a:stretch>
                        <a:fillRect/>
                      </a:stretch>
                    </p:blipFill>
                    <p:spPr>
                      <a:xfrm>
                        <a:off x="1588" y="1588"/>
                        <a:ext cx="1588" cy="1588"/>
                      </a:xfrm>
                      <a:prstGeom prst="rect">
                        <a:avLst/>
                      </a:prstGeom>
                    </p:spPr>
                  </p:pic>
                </p:oleObj>
              </mc:Fallback>
            </mc:AlternateContent>
          </a:graphicData>
        </a:graphic>
      </p:graphicFrame>
      <p:pic>
        <p:nvPicPr>
          <p:cNvPr id="7" name="Picture 6" descr="A picture containing clock, drawing, light&#10;&#10;Description automatically generated">
            <a:extLst>
              <a:ext uri="{FF2B5EF4-FFF2-40B4-BE49-F238E27FC236}">
                <a16:creationId xmlns:a16="http://schemas.microsoft.com/office/drawing/2014/main" id="{9FFE1D19-2C2C-3146-8EDD-034D746072DC}"/>
              </a:ext>
            </a:extLst>
          </p:cNvPr>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a:off x="10161205" y="321363"/>
            <a:ext cx="1650380" cy="411972"/>
          </a:xfrm>
          <a:prstGeom prst="rect">
            <a:avLst/>
          </a:prstGeom>
        </p:spPr>
      </p:pic>
      <p:sp>
        <p:nvSpPr>
          <p:cNvPr id="4" name="Freeform 70">
            <a:extLst>
              <a:ext uri="{FF2B5EF4-FFF2-40B4-BE49-F238E27FC236}">
                <a16:creationId xmlns:a16="http://schemas.microsoft.com/office/drawing/2014/main" id="{8BF95622-BC38-5F47-A922-3F7837912672}"/>
              </a:ext>
            </a:extLst>
          </p:cNvPr>
          <p:cNvSpPr>
            <a:spLocks/>
          </p:cNvSpPr>
          <p:nvPr userDrawn="1"/>
        </p:nvSpPr>
        <p:spPr bwMode="auto">
          <a:xfrm>
            <a:off x="11703050" y="6380163"/>
            <a:ext cx="488950" cy="477837"/>
          </a:xfrm>
          <a:custGeom>
            <a:avLst/>
            <a:gdLst>
              <a:gd name="T0" fmla="*/ 133 w 133"/>
              <a:gd name="T1" fmla="*/ 0 h 130"/>
              <a:gd name="T2" fmla="*/ 131 w 133"/>
              <a:gd name="T3" fmla="*/ 0 h 130"/>
              <a:gd name="T4" fmla="*/ 0 w 133"/>
              <a:gd name="T5" fmla="*/ 130 h 130"/>
              <a:gd name="T6" fmla="*/ 133 w 133"/>
              <a:gd name="T7" fmla="*/ 130 h 130"/>
              <a:gd name="T8" fmla="*/ 133 w 133"/>
              <a:gd name="T9" fmla="*/ 0 h 130"/>
            </a:gdLst>
            <a:ahLst/>
            <a:cxnLst>
              <a:cxn ang="0">
                <a:pos x="T0" y="T1"/>
              </a:cxn>
              <a:cxn ang="0">
                <a:pos x="T2" y="T3"/>
              </a:cxn>
              <a:cxn ang="0">
                <a:pos x="T4" y="T5"/>
              </a:cxn>
              <a:cxn ang="0">
                <a:pos x="T6" y="T7"/>
              </a:cxn>
              <a:cxn ang="0">
                <a:pos x="T8" y="T9"/>
              </a:cxn>
            </a:cxnLst>
            <a:rect l="0" t="0" r="r" b="b"/>
            <a:pathLst>
              <a:path w="133" h="130">
                <a:moveTo>
                  <a:pt x="133" y="0"/>
                </a:moveTo>
                <a:cubicBezTo>
                  <a:pt x="132" y="0"/>
                  <a:pt x="132" y="0"/>
                  <a:pt x="131" y="0"/>
                </a:cubicBezTo>
                <a:cubicBezTo>
                  <a:pt x="59" y="0"/>
                  <a:pt x="0" y="58"/>
                  <a:pt x="0" y="130"/>
                </a:cubicBezTo>
                <a:cubicBezTo>
                  <a:pt x="133" y="130"/>
                  <a:pt x="133" y="130"/>
                  <a:pt x="133" y="130"/>
                </a:cubicBezTo>
                <a:lnTo>
                  <a:pt x="133" y="0"/>
                </a:lnTo>
                <a:close/>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 name="Slide Number Placeholder 16">
            <a:extLst>
              <a:ext uri="{FF2B5EF4-FFF2-40B4-BE49-F238E27FC236}">
                <a16:creationId xmlns:a16="http://schemas.microsoft.com/office/drawing/2014/main" id="{D9B7120D-ED4D-9345-8F86-3331D1CE8D18}"/>
              </a:ext>
            </a:extLst>
          </p:cNvPr>
          <p:cNvSpPr txBox="1">
            <a:spLocks/>
          </p:cNvSpPr>
          <p:nvPr userDrawn="1"/>
        </p:nvSpPr>
        <p:spPr>
          <a:xfrm>
            <a:off x="11818541" y="6527792"/>
            <a:ext cx="335359" cy="288032"/>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622A5955-F4D1-6C47-B0EC-818FF0E67783}" type="slidenum">
              <a:rPr kumimoji="0" lang="en-GB" sz="1000" b="1" i="0" u="none" strike="noStrike" kern="1200" cap="none" spc="0" normalizeH="0" baseline="0" noProof="0" smtClean="0">
                <a:ln>
                  <a:noFill/>
                </a:ln>
                <a:solidFill>
                  <a:schemeClr val="bg1"/>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1100" b="1" i="0" u="none" strike="noStrike" kern="1200" cap="none" spc="0" normalizeH="0" baseline="0" noProof="0">
              <a:ln>
                <a:noFill/>
              </a:ln>
              <a:solidFill>
                <a:schemeClr val="bg1"/>
              </a:solidFill>
              <a:effectLst/>
              <a:uLnTx/>
              <a:uFillTx/>
              <a:latin typeface="Arial" panose="020B0604020202020204"/>
              <a:ea typeface="+mn-ea"/>
              <a:cs typeface="+mn-cs"/>
            </a:endParaRPr>
          </a:p>
        </p:txBody>
      </p:sp>
      <p:sp>
        <p:nvSpPr>
          <p:cNvPr id="3" name="Footer Placeholder 2">
            <a:extLst>
              <a:ext uri="{FF2B5EF4-FFF2-40B4-BE49-F238E27FC236}">
                <a16:creationId xmlns:a16="http://schemas.microsoft.com/office/drawing/2014/main" id="{EF5613EA-3435-A747-B2FD-4297866DCB17}"/>
              </a:ext>
            </a:extLst>
          </p:cNvPr>
          <p:cNvSpPr>
            <a:spLocks noGrp="1"/>
          </p:cNvSpPr>
          <p:nvPr>
            <p:ph type="ftr" sz="quarter" idx="3"/>
          </p:nvPr>
        </p:nvSpPr>
        <p:spPr>
          <a:xfrm>
            <a:off x="6570" y="6674068"/>
            <a:ext cx="4114800" cy="173286"/>
          </a:xfrm>
          <a:prstGeom prst="rect">
            <a:avLst/>
          </a:prstGeom>
        </p:spPr>
        <p:txBody>
          <a:bodyPr vert="horz" lIns="91440" tIns="45720" rIns="91440" bIns="45720" rtlCol="0" anchor="ctr"/>
          <a:lstStyle>
            <a:lvl1pPr algn="l">
              <a:defRPr sz="800">
                <a:solidFill>
                  <a:schemeClr val="accent1"/>
                </a:solidFill>
              </a:defRPr>
            </a:lvl1pPr>
          </a:lstStyle>
          <a:p>
            <a:r>
              <a:rPr lang="en-GB"/>
              <a:t>© Moorhouse 2020 [Restricted]</a:t>
            </a:r>
          </a:p>
        </p:txBody>
      </p:sp>
    </p:spTree>
    <p:extLst>
      <p:ext uri="{BB962C8B-B14F-4D97-AF65-F5344CB8AC3E}">
        <p14:creationId xmlns:p14="http://schemas.microsoft.com/office/powerpoint/2010/main" val="2388049707"/>
      </p:ext>
    </p:extLst>
  </p:cSld>
  <p:clrMap bg1="lt1" tx1="dk1" bg2="lt2" tx2="dk2" accent1="accent1" accent2="accent2" accent3="accent3" accent4="accent4" accent5="accent5" accent6="accent6" hlink="hlink" folHlink="folHlink"/>
  <p:sldLayoutIdLst>
    <p:sldLayoutId id="2147483923" r:id="rId1"/>
    <p:sldLayoutId id="2147483924" r:id="rId2"/>
    <p:sldLayoutId id="2147483925" r:id="rId3"/>
    <p:sldLayoutId id="2147483926" r:id="rId4"/>
    <p:sldLayoutId id="2147483927" r:id="rId5"/>
    <p:sldLayoutId id="2147483928" r:id="rId6"/>
    <p:sldLayoutId id="2147483929" r:id="rId7"/>
    <p:sldLayoutId id="2147483930" r:id="rId8"/>
    <p:sldLayoutId id="2147483931" r:id="rId9"/>
    <p:sldLayoutId id="2147483932" r:id="rId10"/>
    <p:sldLayoutId id="2147483933" r:id="rId11"/>
    <p:sldLayoutId id="2147483934" r:id="rId12"/>
    <p:sldLayoutId id="2147483935" r:id="rId13"/>
    <p:sldLayoutId id="2147483936" r:id="rId14"/>
    <p:sldLayoutId id="2147483937" r:id="rId15"/>
  </p:sldLayoutIdLst>
  <p:hf hdr="0" dt="0"/>
  <p:txStyles>
    <p:titleStyle>
      <a:lvl1pPr algn="l" defTabSz="914400" rtl="0" eaLnBrk="1" latinLnBrk="0" hangingPunct="1">
        <a:lnSpc>
          <a:spcPct val="90000"/>
        </a:lnSpc>
        <a:spcBef>
          <a:spcPct val="0"/>
        </a:spcBef>
        <a:buNone/>
        <a:defRPr sz="2800"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1800" kern="1200">
          <a:solidFill>
            <a:schemeClr val="accent6">
              <a:lumMod val="75000"/>
            </a:schemeClr>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1600" kern="1200">
          <a:solidFill>
            <a:schemeClr val="accent6">
              <a:lumMod val="75000"/>
            </a:schemeClr>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400" kern="1200">
          <a:solidFill>
            <a:schemeClr val="accent6">
              <a:lumMod val="75000"/>
            </a:schemeClr>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200" kern="1200">
          <a:solidFill>
            <a:schemeClr val="accent6">
              <a:lumMod val="75000"/>
            </a:schemeClr>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000" kern="1200">
          <a:solidFill>
            <a:schemeClr val="accent6">
              <a:lumMod val="75000"/>
            </a:schemeClr>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6E51056-6EA7-9D4A-AF20-4104F07EC989}"/>
              </a:ext>
            </a:extLst>
          </p:cNvPr>
          <p:cNvSpPr/>
          <p:nvPr userDrawn="1"/>
        </p:nvSpPr>
        <p:spPr>
          <a:xfrm>
            <a:off x="11856641" y="6559322"/>
            <a:ext cx="335359" cy="29867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2" name="Object 1" hidden="1"/>
          <p:cNvGraphicFramePr>
            <a:graphicFrameLocks noChangeAspect="1"/>
          </p:cNvGraphicFramePr>
          <p:nvPr userDrawn="1">
            <p:custDataLst>
              <p:tags r:id="rId19"/>
            </p:custDataLst>
            <p:extLst>
              <p:ext uri="{D42A27DB-BD31-4B8C-83A1-F6EECF244321}">
                <p14:modId xmlns:p14="http://schemas.microsoft.com/office/powerpoint/2010/main" val="3310593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3" name="think-cell Slide" r:id="rId20" imgW="378" imgH="377" progId="TCLayout.ActiveDocument.1">
                  <p:embed/>
                </p:oleObj>
              </mc:Choice>
              <mc:Fallback>
                <p:oleObj name="think-cell Slide" r:id="rId20" imgW="378" imgH="377" progId="TCLayout.ActiveDocument.1">
                  <p:embed/>
                  <p:pic>
                    <p:nvPicPr>
                      <p:cNvPr id="2" name="Object 1" hidden="1"/>
                      <p:cNvPicPr/>
                      <p:nvPr/>
                    </p:nvPicPr>
                    <p:blipFill>
                      <a:blip r:embed="rId21"/>
                      <a:stretch>
                        <a:fillRect/>
                      </a:stretch>
                    </p:blipFill>
                    <p:spPr>
                      <a:xfrm>
                        <a:off x="1588" y="1588"/>
                        <a:ext cx="1588" cy="1588"/>
                      </a:xfrm>
                      <a:prstGeom prst="rect">
                        <a:avLst/>
                      </a:prstGeom>
                    </p:spPr>
                  </p:pic>
                </p:oleObj>
              </mc:Fallback>
            </mc:AlternateContent>
          </a:graphicData>
        </a:graphic>
      </p:graphicFrame>
      <p:pic>
        <p:nvPicPr>
          <p:cNvPr id="7" name="Picture 6" descr="A picture containing clock, drawing, light&#10;&#10;Description automatically generated">
            <a:extLst>
              <a:ext uri="{FF2B5EF4-FFF2-40B4-BE49-F238E27FC236}">
                <a16:creationId xmlns:a16="http://schemas.microsoft.com/office/drawing/2014/main" id="{9FFE1D19-2C2C-3146-8EDD-034D746072DC}"/>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10161205" y="321363"/>
            <a:ext cx="1650380" cy="411972"/>
          </a:xfrm>
          <a:prstGeom prst="rect">
            <a:avLst/>
          </a:prstGeom>
        </p:spPr>
      </p:pic>
      <p:sp>
        <p:nvSpPr>
          <p:cNvPr id="5" name="Slide Number Placeholder 16">
            <a:extLst>
              <a:ext uri="{FF2B5EF4-FFF2-40B4-BE49-F238E27FC236}">
                <a16:creationId xmlns:a16="http://schemas.microsoft.com/office/drawing/2014/main" id="{D9B7120D-ED4D-9345-8F86-3331D1CE8D18}"/>
              </a:ext>
            </a:extLst>
          </p:cNvPr>
          <p:cNvSpPr txBox="1">
            <a:spLocks/>
          </p:cNvSpPr>
          <p:nvPr userDrawn="1"/>
        </p:nvSpPr>
        <p:spPr>
          <a:xfrm>
            <a:off x="11856641" y="6559322"/>
            <a:ext cx="335359" cy="288032"/>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622A5955-F4D1-6C47-B0EC-818FF0E67783}" type="slidenum">
              <a:rPr kumimoji="0" lang="en-GB" sz="1000" b="1" i="0" u="none" strike="noStrike" kern="1200" cap="none" spc="0" normalizeH="0" baseline="0" noProof="0" smtClean="0">
                <a:ln>
                  <a:noFill/>
                </a:ln>
                <a:solidFill>
                  <a:schemeClr val="bg1"/>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1100" b="1" i="0" u="none" strike="noStrike" kern="1200" cap="none" spc="0" normalizeH="0" baseline="0" noProof="0">
              <a:ln>
                <a:noFill/>
              </a:ln>
              <a:solidFill>
                <a:schemeClr val="bg1"/>
              </a:solidFill>
              <a:effectLst/>
              <a:uLnTx/>
              <a:uFillTx/>
              <a:latin typeface="Arial" panose="020B0604020202020204"/>
              <a:ea typeface="+mn-ea"/>
              <a:cs typeface="+mn-cs"/>
            </a:endParaRPr>
          </a:p>
        </p:txBody>
      </p:sp>
      <p:sp>
        <p:nvSpPr>
          <p:cNvPr id="3" name="Footer Placeholder 2">
            <a:extLst>
              <a:ext uri="{FF2B5EF4-FFF2-40B4-BE49-F238E27FC236}">
                <a16:creationId xmlns:a16="http://schemas.microsoft.com/office/drawing/2014/main" id="{EF5613EA-3435-A747-B2FD-4297866DCB17}"/>
              </a:ext>
            </a:extLst>
          </p:cNvPr>
          <p:cNvSpPr>
            <a:spLocks noGrp="1"/>
          </p:cNvSpPr>
          <p:nvPr>
            <p:ph type="ftr" sz="quarter" idx="3"/>
          </p:nvPr>
        </p:nvSpPr>
        <p:spPr>
          <a:xfrm>
            <a:off x="6570" y="6674068"/>
            <a:ext cx="4114800" cy="173286"/>
          </a:xfrm>
          <a:prstGeom prst="rect">
            <a:avLst/>
          </a:prstGeom>
        </p:spPr>
        <p:txBody>
          <a:bodyPr vert="horz" lIns="91440" tIns="45720" rIns="91440" bIns="45720" rtlCol="0" anchor="ctr"/>
          <a:lstStyle>
            <a:lvl1pPr algn="l">
              <a:defRPr sz="800">
                <a:solidFill>
                  <a:schemeClr val="accent1"/>
                </a:solidFill>
              </a:defRPr>
            </a:lvl1pPr>
          </a:lstStyle>
          <a:p>
            <a:r>
              <a:rPr lang="en-GB"/>
              <a:t>© Moorhouse 2020 [Restricted]</a:t>
            </a:r>
          </a:p>
        </p:txBody>
      </p:sp>
    </p:spTree>
    <p:extLst>
      <p:ext uri="{BB962C8B-B14F-4D97-AF65-F5344CB8AC3E}">
        <p14:creationId xmlns:p14="http://schemas.microsoft.com/office/powerpoint/2010/main" val="848992802"/>
      </p:ext>
    </p:extLst>
  </p:cSld>
  <p:clrMap bg1="lt1" tx1="dk1" bg2="lt2" tx2="dk2" accent1="accent1" accent2="accent2" accent3="accent3" accent4="accent4" accent5="accent5" accent6="accent6" hlink="hlink" folHlink="folHlink"/>
  <p:sldLayoutIdLst>
    <p:sldLayoutId id="2147483939" r:id="rId1"/>
    <p:sldLayoutId id="2147483940" r:id="rId2"/>
    <p:sldLayoutId id="2147483941" r:id="rId3"/>
    <p:sldLayoutId id="2147483942" r:id="rId4"/>
    <p:sldLayoutId id="2147483943" r:id="rId5"/>
    <p:sldLayoutId id="2147483944" r:id="rId6"/>
    <p:sldLayoutId id="2147483945" r:id="rId7"/>
    <p:sldLayoutId id="2147483946" r:id="rId8"/>
    <p:sldLayoutId id="2147483947" r:id="rId9"/>
    <p:sldLayoutId id="2147483948" r:id="rId10"/>
    <p:sldLayoutId id="2147483949" r:id="rId11"/>
    <p:sldLayoutId id="2147483950" r:id="rId12"/>
    <p:sldLayoutId id="2147483951" r:id="rId13"/>
    <p:sldLayoutId id="2147483952" r:id="rId14"/>
    <p:sldLayoutId id="2147483953" r:id="rId15"/>
    <p:sldLayoutId id="2147483954" r:id="rId16"/>
  </p:sldLayoutIdLst>
  <p:hf hdr="0" dt="0"/>
  <p:txStyles>
    <p:titleStyle>
      <a:lvl1pPr algn="l" defTabSz="914400" rtl="0" eaLnBrk="1" latinLnBrk="0" hangingPunct="1">
        <a:lnSpc>
          <a:spcPct val="90000"/>
        </a:lnSpc>
        <a:spcBef>
          <a:spcPct val="0"/>
        </a:spcBef>
        <a:buNone/>
        <a:defRPr sz="2800"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1800" kern="1200">
          <a:solidFill>
            <a:schemeClr val="accent6">
              <a:lumMod val="75000"/>
            </a:schemeClr>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1600" kern="1200">
          <a:solidFill>
            <a:schemeClr val="accent6">
              <a:lumMod val="75000"/>
            </a:schemeClr>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400" kern="1200">
          <a:solidFill>
            <a:schemeClr val="accent6">
              <a:lumMod val="75000"/>
            </a:schemeClr>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200" kern="1200">
          <a:solidFill>
            <a:schemeClr val="accent6">
              <a:lumMod val="75000"/>
            </a:schemeClr>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000" kern="1200">
          <a:solidFill>
            <a:schemeClr val="accent6">
              <a:lumMod val="75000"/>
            </a:schemeClr>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extLst>
              <p:ext uri="{D42A27DB-BD31-4B8C-83A1-F6EECF244321}">
                <p14:modId xmlns:p14="http://schemas.microsoft.com/office/powerpoint/2010/main" val="1521834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1" name="think-cell Slide" r:id="rId20" imgW="378" imgH="377" progId="TCLayout.ActiveDocument.1">
                  <p:embed/>
                </p:oleObj>
              </mc:Choice>
              <mc:Fallback>
                <p:oleObj name="think-cell Slide" r:id="rId20" imgW="378" imgH="377" progId="TCLayout.ActiveDocument.1">
                  <p:embed/>
                  <p:pic>
                    <p:nvPicPr>
                      <p:cNvPr id="2" name="Object 1" hidden="1"/>
                      <p:cNvPicPr/>
                      <p:nvPr/>
                    </p:nvPicPr>
                    <p:blipFill>
                      <a:blip r:embed="rId21"/>
                      <a:stretch>
                        <a:fillRect/>
                      </a:stretch>
                    </p:blipFill>
                    <p:spPr>
                      <a:xfrm>
                        <a:off x="1588" y="1588"/>
                        <a:ext cx="1588" cy="1588"/>
                      </a:xfrm>
                      <a:prstGeom prst="rect">
                        <a:avLst/>
                      </a:prstGeom>
                    </p:spPr>
                  </p:pic>
                </p:oleObj>
              </mc:Fallback>
            </mc:AlternateContent>
          </a:graphicData>
        </a:graphic>
      </p:graphicFrame>
      <p:pic>
        <p:nvPicPr>
          <p:cNvPr id="7" name="Picture 6" descr="A picture containing clock, drawing, light&#10;&#10;Description automatically generated">
            <a:extLst>
              <a:ext uri="{FF2B5EF4-FFF2-40B4-BE49-F238E27FC236}">
                <a16:creationId xmlns:a16="http://schemas.microsoft.com/office/drawing/2014/main" id="{9FFE1D19-2C2C-3146-8EDD-034D746072DC}"/>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10161205" y="321363"/>
            <a:ext cx="1650380" cy="411972"/>
          </a:xfrm>
          <a:prstGeom prst="rect">
            <a:avLst/>
          </a:prstGeom>
        </p:spPr>
      </p:pic>
      <p:sp>
        <p:nvSpPr>
          <p:cNvPr id="3" name="Footer Placeholder 2">
            <a:extLst>
              <a:ext uri="{FF2B5EF4-FFF2-40B4-BE49-F238E27FC236}">
                <a16:creationId xmlns:a16="http://schemas.microsoft.com/office/drawing/2014/main" id="{EF5613EA-3435-A747-B2FD-4297866DCB17}"/>
              </a:ext>
            </a:extLst>
          </p:cNvPr>
          <p:cNvSpPr>
            <a:spLocks noGrp="1"/>
          </p:cNvSpPr>
          <p:nvPr>
            <p:ph type="ftr" sz="quarter" idx="3"/>
          </p:nvPr>
        </p:nvSpPr>
        <p:spPr>
          <a:xfrm>
            <a:off x="6570" y="6674068"/>
            <a:ext cx="4114800" cy="173286"/>
          </a:xfrm>
          <a:prstGeom prst="rect">
            <a:avLst/>
          </a:prstGeom>
        </p:spPr>
        <p:txBody>
          <a:bodyPr vert="horz" lIns="91440" tIns="45720" rIns="91440" bIns="45720" rtlCol="0" anchor="ctr"/>
          <a:lstStyle>
            <a:lvl1pPr algn="l">
              <a:defRPr sz="800">
                <a:solidFill>
                  <a:schemeClr val="accent1"/>
                </a:solidFill>
              </a:defRPr>
            </a:lvl1pPr>
          </a:lstStyle>
          <a:p>
            <a:r>
              <a:rPr lang="en-GB"/>
              <a:t>© Moorhouse 2020  </a:t>
            </a:r>
          </a:p>
        </p:txBody>
      </p:sp>
      <p:sp>
        <p:nvSpPr>
          <p:cNvPr id="8" name="Rectangle 7">
            <a:extLst>
              <a:ext uri="{FF2B5EF4-FFF2-40B4-BE49-F238E27FC236}">
                <a16:creationId xmlns:a16="http://schemas.microsoft.com/office/drawing/2014/main" id="{EB8E992C-747B-1A4A-B733-D685A4858066}"/>
              </a:ext>
            </a:extLst>
          </p:cNvPr>
          <p:cNvSpPr/>
          <p:nvPr userDrawn="1"/>
        </p:nvSpPr>
        <p:spPr>
          <a:xfrm>
            <a:off x="11856641" y="6559322"/>
            <a:ext cx="335359" cy="29867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Slide Number Placeholder 16">
            <a:extLst>
              <a:ext uri="{FF2B5EF4-FFF2-40B4-BE49-F238E27FC236}">
                <a16:creationId xmlns:a16="http://schemas.microsoft.com/office/drawing/2014/main" id="{F8E8B56F-4686-B147-A120-AB1EFA09439A}"/>
              </a:ext>
            </a:extLst>
          </p:cNvPr>
          <p:cNvSpPr txBox="1">
            <a:spLocks/>
          </p:cNvSpPr>
          <p:nvPr userDrawn="1"/>
        </p:nvSpPr>
        <p:spPr>
          <a:xfrm>
            <a:off x="11856641" y="6559322"/>
            <a:ext cx="335359" cy="288032"/>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622A5955-F4D1-6C47-B0EC-818FF0E67783}" type="slidenum">
              <a:rPr kumimoji="0" lang="en-GB" sz="1000" b="1" i="0" u="none" strike="noStrike" kern="1200" cap="none" spc="0" normalizeH="0" baseline="0" noProof="0" smtClean="0">
                <a:ln>
                  <a:noFill/>
                </a:ln>
                <a:solidFill>
                  <a:schemeClr val="bg1"/>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1100" b="1" i="0" u="none" strike="noStrike" kern="1200" cap="none" spc="0" normalizeH="0" baseline="0" noProof="0">
              <a:ln>
                <a:noFill/>
              </a:ln>
              <a:solidFill>
                <a:schemeClr val="bg1"/>
              </a:solidFill>
              <a:effectLst/>
              <a:uLnTx/>
              <a:uFillTx/>
              <a:latin typeface="Arial" panose="020B0604020202020204"/>
              <a:ea typeface="+mn-ea"/>
              <a:cs typeface="+mn-cs"/>
            </a:endParaRPr>
          </a:p>
        </p:txBody>
      </p:sp>
    </p:spTree>
    <p:extLst>
      <p:ext uri="{BB962C8B-B14F-4D97-AF65-F5344CB8AC3E}">
        <p14:creationId xmlns:p14="http://schemas.microsoft.com/office/powerpoint/2010/main" val="1907958553"/>
      </p:ext>
    </p:extLst>
  </p:cSld>
  <p:clrMap bg1="lt1" tx1="dk1" bg2="lt2" tx2="dk2" accent1="accent1" accent2="accent2" accent3="accent3" accent4="accent4" accent5="accent5" accent6="accent6" hlink="hlink" folHlink="folHlink"/>
  <p:sldLayoutIdLst>
    <p:sldLayoutId id="2147483956" r:id="rId1"/>
    <p:sldLayoutId id="2147483957" r:id="rId2"/>
    <p:sldLayoutId id="2147483958" r:id="rId3"/>
    <p:sldLayoutId id="2147483959" r:id="rId4"/>
    <p:sldLayoutId id="2147483960" r:id="rId5"/>
    <p:sldLayoutId id="2147483961" r:id="rId6"/>
    <p:sldLayoutId id="2147483962" r:id="rId7"/>
    <p:sldLayoutId id="2147483963" r:id="rId8"/>
    <p:sldLayoutId id="2147483964" r:id="rId9"/>
    <p:sldLayoutId id="2147483965" r:id="rId10"/>
    <p:sldLayoutId id="2147483966" r:id="rId11"/>
    <p:sldLayoutId id="2147483967" r:id="rId12"/>
    <p:sldLayoutId id="2147483968" r:id="rId13"/>
    <p:sldLayoutId id="2147483969" r:id="rId14"/>
    <p:sldLayoutId id="2147483970" r:id="rId15"/>
    <p:sldLayoutId id="2147483971" r:id="rId16"/>
  </p:sldLayoutIdLst>
  <p:hf hdr="0" dt="0"/>
  <p:txStyles>
    <p:titleStyle>
      <a:lvl1pPr algn="l" defTabSz="914400" rtl="0" eaLnBrk="1" latinLnBrk="0" hangingPunct="1">
        <a:lnSpc>
          <a:spcPct val="90000"/>
        </a:lnSpc>
        <a:spcBef>
          <a:spcPct val="0"/>
        </a:spcBef>
        <a:buNone/>
        <a:defRPr sz="2800"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1800" kern="1200">
          <a:solidFill>
            <a:schemeClr val="accent6">
              <a:lumMod val="75000"/>
            </a:schemeClr>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1600" kern="1200">
          <a:solidFill>
            <a:schemeClr val="accent6">
              <a:lumMod val="75000"/>
            </a:schemeClr>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400" kern="1200">
          <a:solidFill>
            <a:schemeClr val="accent6">
              <a:lumMod val="75000"/>
            </a:schemeClr>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200" kern="1200">
          <a:solidFill>
            <a:schemeClr val="accent6">
              <a:lumMod val="75000"/>
            </a:schemeClr>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000" kern="1200">
          <a:solidFill>
            <a:schemeClr val="accent6">
              <a:lumMod val="75000"/>
            </a:schemeClr>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extLst>
              <p:ext uri="{D42A27DB-BD31-4B8C-83A1-F6EECF244321}">
                <p14:modId xmlns:p14="http://schemas.microsoft.com/office/powerpoint/2010/main" val="4120132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09" name="think-cell Slide" r:id="rId20" imgW="378" imgH="377" progId="TCLayout.ActiveDocument.1">
                  <p:embed/>
                </p:oleObj>
              </mc:Choice>
              <mc:Fallback>
                <p:oleObj name="think-cell Slide" r:id="rId20" imgW="378" imgH="377" progId="TCLayout.ActiveDocument.1">
                  <p:embed/>
                  <p:pic>
                    <p:nvPicPr>
                      <p:cNvPr id="2" name="Object 1" hidden="1"/>
                      <p:cNvPicPr/>
                      <p:nvPr/>
                    </p:nvPicPr>
                    <p:blipFill>
                      <a:blip r:embed="rId21"/>
                      <a:stretch>
                        <a:fillRect/>
                      </a:stretch>
                    </p:blipFill>
                    <p:spPr>
                      <a:xfrm>
                        <a:off x="1588" y="1588"/>
                        <a:ext cx="1588" cy="1588"/>
                      </a:xfrm>
                      <a:prstGeom prst="rect">
                        <a:avLst/>
                      </a:prstGeom>
                    </p:spPr>
                  </p:pic>
                </p:oleObj>
              </mc:Fallback>
            </mc:AlternateContent>
          </a:graphicData>
        </a:graphic>
      </p:graphicFrame>
      <p:pic>
        <p:nvPicPr>
          <p:cNvPr id="7" name="Picture 6" descr="A picture containing clock, drawing, light&#10;&#10;Description automatically generated">
            <a:extLst>
              <a:ext uri="{FF2B5EF4-FFF2-40B4-BE49-F238E27FC236}">
                <a16:creationId xmlns:a16="http://schemas.microsoft.com/office/drawing/2014/main" id="{9FFE1D19-2C2C-3146-8EDD-034D746072DC}"/>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10161205" y="321363"/>
            <a:ext cx="1650380" cy="411972"/>
          </a:xfrm>
          <a:prstGeom prst="rect">
            <a:avLst/>
          </a:prstGeom>
        </p:spPr>
      </p:pic>
      <p:sp>
        <p:nvSpPr>
          <p:cNvPr id="4" name="Freeform 70">
            <a:extLst>
              <a:ext uri="{FF2B5EF4-FFF2-40B4-BE49-F238E27FC236}">
                <a16:creationId xmlns:a16="http://schemas.microsoft.com/office/drawing/2014/main" id="{8BF95622-BC38-5F47-A922-3F7837912672}"/>
              </a:ext>
            </a:extLst>
          </p:cNvPr>
          <p:cNvSpPr>
            <a:spLocks/>
          </p:cNvSpPr>
          <p:nvPr userDrawn="1"/>
        </p:nvSpPr>
        <p:spPr bwMode="auto">
          <a:xfrm>
            <a:off x="11703050" y="6380163"/>
            <a:ext cx="488950" cy="477837"/>
          </a:xfrm>
          <a:custGeom>
            <a:avLst/>
            <a:gdLst>
              <a:gd name="T0" fmla="*/ 133 w 133"/>
              <a:gd name="T1" fmla="*/ 0 h 130"/>
              <a:gd name="T2" fmla="*/ 131 w 133"/>
              <a:gd name="T3" fmla="*/ 0 h 130"/>
              <a:gd name="T4" fmla="*/ 0 w 133"/>
              <a:gd name="T5" fmla="*/ 130 h 130"/>
              <a:gd name="T6" fmla="*/ 133 w 133"/>
              <a:gd name="T7" fmla="*/ 130 h 130"/>
              <a:gd name="T8" fmla="*/ 133 w 133"/>
              <a:gd name="T9" fmla="*/ 0 h 130"/>
            </a:gdLst>
            <a:ahLst/>
            <a:cxnLst>
              <a:cxn ang="0">
                <a:pos x="T0" y="T1"/>
              </a:cxn>
              <a:cxn ang="0">
                <a:pos x="T2" y="T3"/>
              </a:cxn>
              <a:cxn ang="0">
                <a:pos x="T4" y="T5"/>
              </a:cxn>
              <a:cxn ang="0">
                <a:pos x="T6" y="T7"/>
              </a:cxn>
              <a:cxn ang="0">
                <a:pos x="T8" y="T9"/>
              </a:cxn>
            </a:cxnLst>
            <a:rect l="0" t="0" r="r" b="b"/>
            <a:pathLst>
              <a:path w="133" h="130">
                <a:moveTo>
                  <a:pt x="133" y="0"/>
                </a:moveTo>
                <a:cubicBezTo>
                  <a:pt x="132" y="0"/>
                  <a:pt x="132" y="0"/>
                  <a:pt x="131" y="0"/>
                </a:cubicBezTo>
                <a:cubicBezTo>
                  <a:pt x="59" y="0"/>
                  <a:pt x="0" y="58"/>
                  <a:pt x="0" y="130"/>
                </a:cubicBezTo>
                <a:cubicBezTo>
                  <a:pt x="133" y="130"/>
                  <a:pt x="133" y="130"/>
                  <a:pt x="133" y="130"/>
                </a:cubicBezTo>
                <a:lnTo>
                  <a:pt x="133" y="0"/>
                </a:lnTo>
                <a:close/>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 name="Slide Number Placeholder 16">
            <a:extLst>
              <a:ext uri="{FF2B5EF4-FFF2-40B4-BE49-F238E27FC236}">
                <a16:creationId xmlns:a16="http://schemas.microsoft.com/office/drawing/2014/main" id="{D9B7120D-ED4D-9345-8F86-3331D1CE8D18}"/>
              </a:ext>
            </a:extLst>
          </p:cNvPr>
          <p:cNvSpPr txBox="1">
            <a:spLocks/>
          </p:cNvSpPr>
          <p:nvPr userDrawn="1"/>
        </p:nvSpPr>
        <p:spPr>
          <a:xfrm>
            <a:off x="11818541" y="6527792"/>
            <a:ext cx="335359" cy="288032"/>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622A5955-F4D1-6C47-B0EC-818FF0E67783}" type="slidenum">
              <a:rPr kumimoji="0" lang="en-GB" sz="1000" b="1" i="0" u="none" strike="noStrike" kern="1200" cap="none" spc="0" normalizeH="0" baseline="0" noProof="0" smtClean="0">
                <a:ln>
                  <a:noFill/>
                </a:ln>
                <a:solidFill>
                  <a:schemeClr val="bg1"/>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1100" b="1" i="0" u="none" strike="noStrike" kern="1200" cap="none" spc="0" normalizeH="0" baseline="0" noProof="0">
              <a:ln>
                <a:noFill/>
              </a:ln>
              <a:solidFill>
                <a:schemeClr val="bg1"/>
              </a:solidFill>
              <a:effectLst/>
              <a:uLnTx/>
              <a:uFillTx/>
              <a:latin typeface="Arial" panose="020B0604020202020204"/>
              <a:ea typeface="+mn-ea"/>
              <a:cs typeface="+mn-cs"/>
            </a:endParaRPr>
          </a:p>
        </p:txBody>
      </p:sp>
      <p:sp>
        <p:nvSpPr>
          <p:cNvPr id="3" name="Footer Placeholder 2">
            <a:extLst>
              <a:ext uri="{FF2B5EF4-FFF2-40B4-BE49-F238E27FC236}">
                <a16:creationId xmlns:a16="http://schemas.microsoft.com/office/drawing/2014/main" id="{EF5613EA-3435-A747-B2FD-4297866DCB17}"/>
              </a:ext>
            </a:extLst>
          </p:cNvPr>
          <p:cNvSpPr>
            <a:spLocks noGrp="1"/>
          </p:cNvSpPr>
          <p:nvPr>
            <p:ph type="ftr" sz="quarter" idx="3"/>
          </p:nvPr>
        </p:nvSpPr>
        <p:spPr>
          <a:xfrm>
            <a:off x="6570" y="6674068"/>
            <a:ext cx="4114800" cy="173286"/>
          </a:xfrm>
          <a:prstGeom prst="rect">
            <a:avLst/>
          </a:prstGeom>
        </p:spPr>
        <p:txBody>
          <a:bodyPr vert="horz" lIns="91440" tIns="45720" rIns="91440" bIns="45720" rtlCol="0" anchor="ctr"/>
          <a:lstStyle>
            <a:lvl1pPr algn="l">
              <a:defRPr sz="800">
                <a:solidFill>
                  <a:schemeClr val="accent1"/>
                </a:solidFill>
              </a:defRPr>
            </a:lvl1pPr>
          </a:lstStyle>
          <a:p>
            <a:r>
              <a:rPr lang="en-GB"/>
              <a:t>© Moorhouse 2020  </a:t>
            </a:r>
          </a:p>
        </p:txBody>
      </p:sp>
    </p:spTree>
    <p:extLst>
      <p:ext uri="{BB962C8B-B14F-4D97-AF65-F5344CB8AC3E}">
        <p14:creationId xmlns:p14="http://schemas.microsoft.com/office/powerpoint/2010/main" val="3590189432"/>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3981" r:id="rId9"/>
    <p:sldLayoutId id="2147483982" r:id="rId10"/>
    <p:sldLayoutId id="2147483983" r:id="rId11"/>
    <p:sldLayoutId id="2147483984" r:id="rId12"/>
    <p:sldLayoutId id="2147483985" r:id="rId13"/>
    <p:sldLayoutId id="2147483986" r:id="rId14"/>
    <p:sldLayoutId id="2147483987" r:id="rId15"/>
    <p:sldLayoutId id="2147483988" r:id="rId16"/>
  </p:sldLayoutIdLst>
  <p:hf hdr="0" dt="0"/>
  <p:txStyles>
    <p:titleStyle>
      <a:lvl1pPr algn="l" defTabSz="914400" rtl="0" eaLnBrk="1" latinLnBrk="0" hangingPunct="1">
        <a:lnSpc>
          <a:spcPct val="90000"/>
        </a:lnSpc>
        <a:spcBef>
          <a:spcPct val="0"/>
        </a:spcBef>
        <a:buNone/>
        <a:defRPr sz="2800"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1800" kern="1200">
          <a:solidFill>
            <a:schemeClr val="accent6">
              <a:lumMod val="75000"/>
            </a:schemeClr>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1600" kern="1200">
          <a:solidFill>
            <a:schemeClr val="accent6">
              <a:lumMod val="75000"/>
            </a:schemeClr>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400" kern="1200">
          <a:solidFill>
            <a:schemeClr val="accent6">
              <a:lumMod val="75000"/>
            </a:schemeClr>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200" kern="1200">
          <a:solidFill>
            <a:schemeClr val="accent6">
              <a:lumMod val="75000"/>
            </a:schemeClr>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000" kern="1200">
          <a:solidFill>
            <a:schemeClr val="accent6">
              <a:lumMod val="75000"/>
            </a:schemeClr>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8"/>
            </p:custDataLst>
            <p:extLst>
              <p:ext uri="{D42A27DB-BD31-4B8C-83A1-F6EECF244321}">
                <p14:modId xmlns:p14="http://schemas.microsoft.com/office/powerpoint/2010/main" val="2598116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17" name="think-cell Slide" r:id="rId19" imgW="378" imgH="377" progId="TCLayout.ActiveDocument.1">
                  <p:embed/>
                </p:oleObj>
              </mc:Choice>
              <mc:Fallback>
                <p:oleObj name="think-cell Slide" r:id="rId19" imgW="378" imgH="377" progId="TCLayout.ActiveDocument.1">
                  <p:embed/>
                  <p:pic>
                    <p:nvPicPr>
                      <p:cNvPr id="2" name="Object 1" hidden="1"/>
                      <p:cNvPicPr/>
                      <p:nvPr/>
                    </p:nvPicPr>
                    <p:blipFill>
                      <a:blip r:embed="rId20"/>
                      <a:stretch>
                        <a:fillRect/>
                      </a:stretch>
                    </p:blipFill>
                    <p:spPr>
                      <a:xfrm>
                        <a:off x="1588" y="1588"/>
                        <a:ext cx="1588" cy="1588"/>
                      </a:xfrm>
                      <a:prstGeom prst="rect">
                        <a:avLst/>
                      </a:prstGeom>
                    </p:spPr>
                  </p:pic>
                </p:oleObj>
              </mc:Fallback>
            </mc:AlternateContent>
          </a:graphicData>
        </a:graphic>
      </p:graphicFrame>
      <p:pic>
        <p:nvPicPr>
          <p:cNvPr id="7" name="Picture 6" descr="A picture containing clock, drawing, light&#10;&#10;Description automatically generated">
            <a:extLst>
              <a:ext uri="{FF2B5EF4-FFF2-40B4-BE49-F238E27FC236}">
                <a16:creationId xmlns:a16="http://schemas.microsoft.com/office/drawing/2014/main" id="{9FFE1D19-2C2C-3146-8EDD-034D746072DC}"/>
              </a:ext>
            </a:extLst>
          </p:cNvPr>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a:off x="10161205" y="321363"/>
            <a:ext cx="1650380" cy="411972"/>
          </a:xfrm>
          <a:prstGeom prst="rect">
            <a:avLst/>
          </a:prstGeom>
        </p:spPr>
      </p:pic>
      <p:sp>
        <p:nvSpPr>
          <p:cNvPr id="4" name="Freeform 70">
            <a:extLst>
              <a:ext uri="{FF2B5EF4-FFF2-40B4-BE49-F238E27FC236}">
                <a16:creationId xmlns:a16="http://schemas.microsoft.com/office/drawing/2014/main" id="{8BF95622-BC38-5F47-A922-3F7837912672}"/>
              </a:ext>
            </a:extLst>
          </p:cNvPr>
          <p:cNvSpPr>
            <a:spLocks/>
          </p:cNvSpPr>
          <p:nvPr userDrawn="1"/>
        </p:nvSpPr>
        <p:spPr bwMode="auto">
          <a:xfrm>
            <a:off x="11703050" y="6380163"/>
            <a:ext cx="488950" cy="477837"/>
          </a:xfrm>
          <a:custGeom>
            <a:avLst/>
            <a:gdLst>
              <a:gd name="T0" fmla="*/ 133 w 133"/>
              <a:gd name="T1" fmla="*/ 0 h 130"/>
              <a:gd name="T2" fmla="*/ 131 w 133"/>
              <a:gd name="T3" fmla="*/ 0 h 130"/>
              <a:gd name="T4" fmla="*/ 0 w 133"/>
              <a:gd name="T5" fmla="*/ 130 h 130"/>
              <a:gd name="T6" fmla="*/ 133 w 133"/>
              <a:gd name="T7" fmla="*/ 130 h 130"/>
              <a:gd name="T8" fmla="*/ 133 w 133"/>
              <a:gd name="T9" fmla="*/ 0 h 130"/>
            </a:gdLst>
            <a:ahLst/>
            <a:cxnLst>
              <a:cxn ang="0">
                <a:pos x="T0" y="T1"/>
              </a:cxn>
              <a:cxn ang="0">
                <a:pos x="T2" y="T3"/>
              </a:cxn>
              <a:cxn ang="0">
                <a:pos x="T4" y="T5"/>
              </a:cxn>
              <a:cxn ang="0">
                <a:pos x="T6" y="T7"/>
              </a:cxn>
              <a:cxn ang="0">
                <a:pos x="T8" y="T9"/>
              </a:cxn>
            </a:cxnLst>
            <a:rect l="0" t="0" r="r" b="b"/>
            <a:pathLst>
              <a:path w="133" h="130">
                <a:moveTo>
                  <a:pt x="133" y="0"/>
                </a:moveTo>
                <a:cubicBezTo>
                  <a:pt x="132" y="0"/>
                  <a:pt x="132" y="0"/>
                  <a:pt x="131" y="0"/>
                </a:cubicBezTo>
                <a:cubicBezTo>
                  <a:pt x="59" y="0"/>
                  <a:pt x="0" y="58"/>
                  <a:pt x="0" y="130"/>
                </a:cubicBezTo>
                <a:cubicBezTo>
                  <a:pt x="133" y="130"/>
                  <a:pt x="133" y="130"/>
                  <a:pt x="133" y="130"/>
                </a:cubicBezTo>
                <a:lnTo>
                  <a:pt x="133" y="0"/>
                </a:lnTo>
                <a:close/>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 name="Slide Number Placeholder 16">
            <a:extLst>
              <a:ext uri="{FF2B5EF4-FFF2-40B4-BE49-F238E27FC236}">
                <a16:creationId xmlns:a16="http://schemas.microsoft.com/office/drawing/2014/main" id="{D9B7120D-ED4D-9345-8F86-3331D1CE8D18}"/>
              </a:ext>
            </a:extLst>
          </p:cNvPr>
          <p:cNvSpPr txBox="1">
            <a:spLocks/>
          </p:cNvSpPr>
          <p:nvPr userDrawn="1"/>
        </p:nvSpPr>
        <p:spPr>
          <a:xfrm>
            <a:off x="11818541" y="6527792"/>
            <a:ext cx="335359" cy="288032"/>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622A5955-F4D1-6C47-B0EC-818FF0E67783}" type="slidenum">
              <a:rPr kumimoji="0" lang="en-GB" sz="1000" b="1" i="0" u="none" strike="noStrike" kern="1200" cap="none" spc="0" normalizeH="0" baseline="0" noProof="0" smtClean="0">
                <a:ln>
                  <a:noFill/>
                </a:ln>
                <a:solidFill>
                  <a:schemeClr val="bg1"/>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1100" b="1" i="0" u="none" strike="noStrike" kern="1200" cap="none" spc="0" normalizeH="0" baseline="0" noProof="0">
              <a:ln>
                <a:noFill/>
              </a:ln>
              <a:solidFill>
                <a:schemeClr val="bg1"/>
              </a:solidFill>
              <a:effectLst/>
              <a:uLnTx/>
              <a:uFillTx/>
              <a:latin typeface="Arial" panose="020B0604020202020204"/>
              <a:ea typeface="+mn-ea"/>
              <a:cs typeface="+mn-cs"/>
            </a:endParaRPr>
          </a:p>
        </p:txBody>
      </p:sp>
      <p:sp>
        <p:nvSpPr>
          <p:cNvPr id="3" name="Footer Placeholder 2">
            <a:extLst>
              <a:ext uri="{FF2B5EF4-FFF2-40B4-BE49-F238E27FC236}">
                <a16:creationId xmlns:a16="http://schemas.microsoft.com/office/drawing/2014/main" id="{EF5613EA-3435-A747-B2FD-4297866DCB17}"/>
              </a:ext>
            </a:extLst>
          </p:cNvPr>
          <p:cNvSpPr>
            <a:spLocks noGrp="1"/>
          </p:cNvSpPr>
          <p:nvPr>
            <p:ph type="ftr" sz="quarter" idx="3"/>
          </p:nvPr>
        </p:nvSpPr>
        <p:spPr>
          <a:xfrm>
            <a:off x="6570" y="6674068"/>
            <a:ext cx="4114800" cy="173286"/>
          </a:xfrm>
          <a:prstGeom prst="rect">
            <a:avLst/>
          </a:prstGeom>
        </p:spPr>
        <p:txBody>
          <a:bodyPr vert="horz" lIns="91440" tIns="45720" rIns="91440" bIns="45720" rtlCol="0" anchor="ctr"/>
          <a:lstStyle>
            <a:lvl1pPr algn="l">
              <a:defRPr sz="800">
                <a:solidFill>
                  <a:schemeClr val="accent1"/>
                </a:solidFill>
              </a:defRPr>
            </a:lvl1pPr>
          </a:lstStyle>
          <a:p>
            <a:r>
              <a:rPr lang="en-GB"/>
              <a:t>© Moorhouse 2020 [Restricted]</a:t>
            </a:r>
          </a:p>
        </p:txBody>
      </p:sp>
    </p:spTree>
    <p:extLst>
      <p:ext uri="{BB962C8B-B14F-4D97-AF65-F5344CB8AC3E}">
        <p14:creationId xmlns:p14="http://schemas.microsoft.com/office/powerpoint/2010/main" val="2416313747"/>
      </p:ext>
    </p:extLst>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 id="2147483999" r:id="rId10"/>
    <p:sldLayoutId id="2147484000" r:id="rId11"/>
    <p:sldLayoutId id="2147484001" r:id="rId12"/>
    <p:sldLayoutId id="2147484002" r:id="rId13"/>
    <p:sldLayoutId id="2147484003" r:id="rId14"/>
    <p:sldLayoutId id="2147484004" r:id="rId15"/>
  </p:sldLayoutIdLst>
  <p:hf hdr="0" dt="0"/>
  <p:txStyles>
    <p:titleStyle>
      <a:lvl1pPr algn="l" defTabSz="914400" rtl="0" eaLnBrk="1" latinLnBrk="0" hangingPunct="1">
        <a:lnSpc>
          <a:spcPct val="90000"/>
        </a:lnSpc>
        <a:spcBef>
          <a:spcPct val="0"/>
        </a:spcBef>
        <a:buNone/>
        <a:defRPr sz="2800"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1800" kern="1200">
          <a:solidFill>
            <a:schemeClr val="accent6">
              <a:lumMod val="75000"/>
            </a:schemeClr>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1600" kern="1200">
          <a:solidFill>
            <a:schemeClr val="accent6">
              <a:lumMod val="75000"/>
            </a:schemeClr>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400" kern="1200">
          <a:solidFill>
            <a:schemeClr val="accent6">
              <a:lumMod val="75000"/>
            </a:schemeClr>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200" kern="1200">
          <a:solidFill>
            <a:schemeClr val="accent6">
              <a:lumMod val="75000"/>
            </a:schemeClr>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000" kern="1200">
          <a:solidFill>
            <a:schemeClr val="accent6">
              <a:lumMod val="75000"/>
            </a:schemeClr>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xml"/><Relationship Id="rId1" Type="http://schemas.openxmlformats.org/officeDocument/2006/relationships/slideLayout" Target="../slideLayouts/slideLayout46.xml"/></Relationships>
</file>

<file path=ppt/slides/_rels/slide10.xml.rels><?xml version="1.0" encoding="UTF-8" standalone="yes"?>
<Relationships xmlns="http://schemas.openxmlformats.org/package/2006/relationships"><Relationship Id="rId8" Type="http://schemas.openxmlformats.org/officeDocument/2006/relationships/image" Target="../media/image14.tiff"/><Relationship Id="rId3" Type="http://schemas.openxmlformats.org/officeDocument/2006/relationships/tags" Target="../tags/tag73.xml"/><Relationship Id="rId7" Type="http://schemas.openxmlformats.org/officeDocument/2006/relationships/image" Target="../media/image3.emf"/><Relationship Id="rId2" Type="http://schemas.openxmlformats.org/officeDocument/2006/relationships/tags" Target="../tags/tag72.xml"/><Relationship Id="rId1" Type="http://schemas.openxmlformats.org/officeDocument/2006/relationships/vmlDrawing" Target="../drawings/vmlDrawing45.vml"/><Relationship Id="rId6" Type="http://schemas.openxmlformats.org/officeDocument/2006/relationships/oleObject" Target="../embeddings/oleObject40.bin"/><Relationship Id="rId5" Type="http://schemas.openxmlformats.org/officeDocument/2006/relationships/notesSlide" Target="../notesSlides/notesSlide6.xml"/><Relationship Id="rId4" Type="http://schemas.openxmlformats.org/officeDocument/2006/relationships/slideLayout" Target="../slideLayouts/slideLayout31.xml"/><Relationship Id="rId9" Type="http://schemas.openxmlformats.org/officeDocument/2006/relationships/image" Target="../media/image15.emf"/></Relationships>
</file>

<file path=ppt/slides/_rels/slide11.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3.emf"/><Relationship Id="rId2" Type="http://schemas.openxmlformats.org/officeDocument/2006/relationships/tags" Target="../tags/tag74.xml"/><Relationship Id="rId1" Type="http://schemas.openxmlformats.org/officeDocument/2006/relationships/vmlDrawing" Target="../drawings/vmlDrawing46.vml"/><Relationship Id="rId6" Type="http://schemas.openxmlformats.org/officeDocument/2006/relationships/oleObject" Target="../embeddings/oleObject41.bin"/><Relationship Id="rId5" Type="http://schemas.openxmlformats.org/officeDocument/2006/relationships/notesSlide" Target="../notesSlides/notesSlide7.xml"/><Relationship Id="rId4" Type="http://schemas.openxmlformats.org/officeDocument/2006/relationships/slideLayout" Target="../slideLayouts/slideLayout35.xml"/></Relationships>
</file>

<file path=ppt/slides/_rels/slide12.xml.rels><?xml version="1.0" encoding="UTF-8" standalone="yes"?>
<Relationships xmlns="http://schemas.openxmlformats.org/package/2006/relationships"><Relationship Id="rId8" Type="http://schemas.openxmlformats.org/officeDocument/2006/relationships/image" Target="../media/image14.tiff"/><Relationship Id="rId3" Type="http://schemas.openxmlformats.org/officeDocument/2006/relationships/tags" Target="../tags/tag77.xml"/><Relationship Id="rId7" Type="http://schemas.openxmlformats.org/officeDocument/2006/relationships/image" Target="../media/image3.emf"/><Relationship Id="rId2" Type="http://schemas.openxmlformats.org/officeDocument/2006/relationships/tags" Target="../tags/tag76.xml"/><Relationship Id="rId1" Type="http://schemas.openxmlformats.org/officeDocument/2006/relationships/vmlDrawing" Target="../drawings/vmlDrawing47.vml"/><Relationship Id="rId6" Type="http://schemas.openxmlformats.org/officeDocument/2006/relationships/oleObject" Target="../embeddings/oleObject42.bin"/><Relationship Id="rId5" Type="http://schemas.openxmlformats.org/officeDocument/2006/relationships/notesSlide" Target="../notesSlides/notesSlide8.xml"/><Relationship Id="rId4" Type="http://schemas.openxmlformats.org/officeDocument/2006/relationships/slideLayout" Target="../slideLayouts/slideLayout35.xml"/></Relationships>
</file>

<file path=ppt/slides/_rels/slide13.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tags" Target="../tags/tag79.xml"/><Relationship Id="rId7" Type="http://schemas.openxmlformats.org/officeDocument/2006/relationships/image" Target="../media/image3.emf"/><Relationship Id="rId2" Type="http://schemas.openxmlformats.org/officeDocument/2006/relationships/tags" Target="../tags/tag78.xml"/><Relationship Id="rId1" Type="http://schemas.openxmlformats.org/officeDocument/2006/relationships/vmlDrawing" Target="../drawings/vmlDrawing48.vml"/><Relationship Id="rId6" Type="http://schemas.openxmlformats.org/officeDocument/2006/relationships/oleObject" Target="../embeddings/oleObject43.bin"/><Relationship Id="rId5" Type="http://schemas.openxmlformats.org/officeDocument/2006/relationships/notesSlide" Target="../notesSlides/notesSlide9.xml"/><Relationship Id="rId4" Type="http://schemas.openxmlformats.org/officeDocument/2006/relationships/slideLayout" Target="../slideLayouts/slideLayout35.xml"/></Relationships>
</file>

<file path=ppt/slides/_rels/slide14.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3.emf"/><Relationship Id="rId2" Type="http://schemas.openxmlformats.org/officeDocument/2006/relationships/tags" Target="../tags/tag80.xml"/><Relationship Id="rId1" Type="http://schemas.openxmlformats.org/officeDocument/2006/relationships/vmlDrawing" Target="../drawings/vmlDrawing49.vml"/><Relationship Id="rId6" Type="http://schemas.openxmlformats.org/officeDocument/2006/relationships/oleObject" Target="../embeddings/oleObject44.bin"/><Relationship Id="rId5" Type="http://schemas.openxmlformats.org/officeDocument/2006/relationships/notesSlide" Target="../notesSlides/notesSlide10.xml"/><Relationship Id="rId4" Type="http://schemas.openxmlformats.org/officeDocument/2006/relationships/slideLayout" Target="../slideLayouts/slideLayout35.xml"/></Relationships>
</file>

<file path=ppt/slides/_rels/slide15.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3.emf"/><Relationship Id="rId2" Type="http://schemas.openxmlformats.org/officeDocument/2006/relationships/tags" Target="../tags/tag82.xml"/><Relationship Id="rId1" Type="http://schemas.openxmlformats.org/officeDocument/2006/relationships/vmlDrawing" Target="../drawings/vmlDrawing50.vml"/><Relationship Id="rId6" Type="http://schemas.openxmlformats.org/officeDocument/2006/relationships/oleObject" Target="../embeddings/oleObject45.bin"/><Relationship Id="rId5" Type="http://schemas.openxmlformats.org/officeDocument/2006/relationships/notesSlide" Target="../notesSlides/notesSlide11.xml"/><Relationship Id="rId4" Type="http://schemas.openxmlformats.org/officeDocument/2006/relationships/slideLayout" Target="../slideLayouts/slideLayout35.xml"/></Relationships>
</file>

<file path=ppt/slides/_rels/slide16.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3.emf"/><Relationship Id="rId2" Type="http://schemas.openxmlformats.org/officeDocument/2006/relationships/tags" Target="../tags/tag84.xml"/><Relationship Id="rId1" Type="http://schemas.openxmlformats.org/officeDocument/2006/relationships/vmlDrawing" Target="../drawings/vmlDrawing51.vml"/><Relationship Id="rId6" Type="http://schemas.openxmlformats.org/officeDocument/2006/relationships/oleObject" Target="../embeddings/oleObject45.bin"/><Relationship Id="rId5" Type="http://schemas.openxmlformats.org/officeDocument/2006/relationships/notesSlide" Target="../notesSlides/notesSlide12.xml"/><Relationship Id="rId4" Type="http://schemas.openxmlformats.org/officeDocument/2006/relationships/slideLayout" Target="../slideLayouts/slideLayout3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8.xml.rels><?xml version="1.0" encoding="UTF-8" standalone="yes"?>
<Relationships xmlns="http://schemas.openxmlformats.org/package/2006/relationships"><Relationship Id="rId8" Type="http://schemas.openxmlformats.org/officeDocument/2006/relationships/image" Target="../media/image39.emf"/><Relationship Id="rId3" Type="http://schemas.openxmlformats.org/officeDocument/2006/relationships/tags" Target="../tags/tag87.xml"/><Relationship Id="rId7" Type="http://schemas.openxmlformats.org/officeDocument/2006/relationships/image" Target="../media/image3.emf"/><Relationship Id="rId2" Type="http://schemas.openxmlformats.org/officeDocument/2006/relationships/tags" Target="../tags/tag86.xml"/><Relationship Id="rId1" Type="http://schemas.openxmlformats.org/officeDocument/2006/relationships/vmlDrawing" Target="../drawings/vmlDrawing52.vml"/><Relationship Id="rId6" Type="http://schemas.openxmlformats.org/officeDocument/2006/relationships/oleObject" Target="../embeddings/oleObject46.bin"/><Relationship Id="rId5" Type="http://schemas.openxmlformats.org/officeDocument/2006/relationships/notesSlide" Target="../notesSlides/notesSlide13.xml"/><Relationship Id="rId10" Type="http://schemas.openxmlformats.org/officeDocument/2006/relationships/image" Target="../media/image41.emf"/><Relationship Id="rId4" Type="http://schemas.openxmlformats.org/officeDocument/2006/relationships/slideLayout" Target="../slideLayouts/slideLayout31.xml"/><Relationship Id="rId9" Type="http://schemas.openxmlformats.org/officeDocument/2006/relationships/image" Target="../media/image40.emf"/></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1.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notesSlide" Target="../notesSlides/notesSlide15.xml"/><Relationship Id="rId1" Type="http://schemas.openxmlformats.org/officeDocument/2006/relationships/slideLayout" Target="../slideLayouts/slideLayout32.xml"/><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43.svg"/></Relationships>
</file>

<file path=ppt/slides/_rels/slide2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6.xml"/><Relationship Id="rId1" Type="http://schemas.openxmlformats.org/officeDocument/2006/relationships/slideLayout" Target="../slideLayouts/slideLayout32.xml"/></Relationships>
</file>

<file path=ppt/slides/_rels/slide23.xml.rels><?xml version="1.0" encoding="UTF-8" standalone="yes"?>
<Relationships xmlns="http://schemas.openxmlformats.org/package/2006/relationships"><Relationship Id="rId8" Type="http://schemas.openxmlformats.org/officeDocument/2006/relationships/image" Target="../media/image54.svg"/><Relationship Id="rId13" Type="http://schemas.openxmlformats.org/officeDocument/2006/relationships/image" Target="../media/image59.png"/><Relationship Id="rId18" Type="http://schemas.openxmlformats.org/officeDocument/2006/relationships/image" Target="../media/image64.svg"/><Relationship Id="rId26" Type="http://schemas.openxmlformats.org/officeDocument/2006/relationships/image" Target="../media/image72.svg"/><Relationship Id="rId3" Type="http://schemas.openxmlformats.org/officeDocument/2006/relationships/image" Target="../media/image49.png"/><Relationship Id="rId21" Type="http://schemas.openxmlformats.org/officeDocument/2006/relationships/image" Target="../media/image67.png"/><Relationship Id="rId7" Type="http://schemas.openxmlformats.org/officeDocument/2006/relationships/image" Target="../media/image53.png"/><Relationship Id="rId12" Type="http://schemas.openxmlformats.org/officeDocument/2006/relationships/image" Target="../media/image58.svg"/><Relationship Id="rId17" Type="http://schemas.openxmlformats.org/officeDocument/2006/relationships/image" Target="../media/image63.png"/><Relationship Id="rId25" Type="http://schemas.openxmlformats.org/officeDocument/2006/relationships/image" Target="../media/image71.png"/><Relationship Id="rId2" Type="http://schemas.openxmlformats.org/officeDocument/2006/relationships/notesSlide" Target="../notesSlides/notesSlide17.xml"/><Relationship Id="rId16" Type="http://schemas.openxmlformats.org/officeDocument/2006/relationships/image" Target="../media/image62.svg"/><Relationship Id="rId20" Type="http://schemas.openxmlformats.org/officeDocument/2006/relationships/image" Target="../media/image66.svg"/><Relationship Id="rId1" Type="http://schemas.openxmlformats.org/officeDocument/2006/relationships/slideLayout" Target="../slideLayouts/slideLayout32.xml"/><Relationship Id="rId6" Type="http://schemas.openxmlformats.org/officeDocument/2006/relationships/image" Target="../media/image52.svg"/><Relationship Id="rId11" Type="http://schemas.openxmlformats.org/officeDocument/2006/relationships/image" Target="../media/image57.png"/><Relationship Id="rId24" Type="http://schemas.openxmlformats.org/officeDocument/2006/relationships/image" Target="../media/image70.svg"/><Relationship Id="rId5" Type="http://schemas.openxmlformats.org/officeDocument/2006/relationships/image" Target="../media/image51.png"/><Relationship Id="rId15" Type="http://schemas.openxmlformats.org/officeDocument/2006/relationships/image" Target="../media/image61.png"/><Relationship Id="rId23" Type="http://schemas.openxmlformats.org/officeDocument/2006/relationships/image" Target="../media/image69.png"/><Relationship Id="rId10" Type="http://schemas.openxmlformats.org/officeDocument/2006/relationships/image" Target="../media/image56.svg"/><Relationship Id="rId19" Type="http://schemas.openxmlformats.org/officeDocument/2006/relationships/image" Target="../media/image65.png"/><Relationship Id="rId4" Type="http://schemas.openxmlformats.org/officeDocument/2006/relationships/image" Target="../media/image50.svg"/><Relationship Id="rId9" Type="http://schemas.openxmlformats.org/officeDocument/2006/relationships/image" Target="../media/image55.png"/><Relationship Id="rId14" Type="http://schemas.openxmlformats.org/officeDocument/2006/relationships/image" Target="../media/image60.svg"/><Relationship Id="rId22" Type="http://schemas.openxmlformats.org/officeDocument/2006/relationships/image" Target="../media/image68.sv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2.xml"/></Relationships>
</file>

<file path=ppt/slides/_rels/slide25.xml.rels><?xml version="1.0" encoding="UTF-8" standalone="yes"?>
<Relationships xmlns="http://schemas.openxmlformats.org/package/2006/relationships"><Relationship Id="rId8" Type="http://schemas.openxmlformats.org/officeDocument/2006/relationships/image" Target="../media/image76.svg"/><Relationship Id="rId13" Type="http://schemas.openxmlformats.org/officeDocument/2006/relationships/image" Target="../media/image79.png"/><Relationship Id="rId3" Type="http://schemas.openxmlformats.org/officeDocument/2006/relationships/image" Target="../media/image73.png"/><Relationship Id="rId7" Type="http://schemas.openxmlformats.org/officeDocument/2006/relationships/image" Target="../media/image75.png"/><Relationship Id="rId12" Type="http://schemas.openxmlformats.org/officeDocument/2006/relationships/image" Target="../media/image78.svg"/><Relationship Id="rId2" Type="http://schemas.openxmlformats.org/officeDocument/2006/relationships/notesSlide" Target="../notesSlides/notesSlide19.xml"/><Relationship Id="rId16" Type="http://schemas.openxmlformats.org/officeDocument/2006/relationships/image" Target="../media/image47.svg"/><Relationship Id="rId1" Type="http://schemas.openxmlformats.org/officeDocument/2006/relationships/slideLayout" Target="../slideLayouts/slideLayout32.xml"/><Relationship Id="rId6" Type="http://schemas.openxmlformats.org/officeDocument/2006/relationships/image" Target="../media/image45.svg"/><Relationship Id="rId11" Type="http://schemas.openxmlformats.org/officeDocument/2006/relationships/image" Target="../media/image77.png"/><Relationship Id="rId5" Type="http://schemas.openxmlformats.org/officeDocument/2006/relationships/image" Target="../media/image44.png"/><Relationship Id="rId15" Type="http://schemas.openxmlformats.org/officeDocument/2006/relationships/image" Target="../media/image46.png"/><Relationship Id="rId10" Type="http://schemas.openxmlformats.org/officeDocument/2006/relationships/image" Target="../media/image43.svg"/><Relationship Id="rId4" Type="http://schemas.openxmlformats.org/officeDocument/2006/relationships/image" Target="../media/image74.svg"/><Relationship Id="rId9" Type="http://schemas.openxmlformats.org/officeDocument/2006/relationships/image" Target="../media/image42.png"/><Relationship Id="rId14" Type="http://schemas.openxmlformats.org/officeDocument/2006/relationships/image" Target="../media/image80.sv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7.xml.rels><?xml version="1.0" encoding="UTF-8" standalone="yes"?>
<Relationships xmlns="http://schemas.openxmlformats.org/package/2006/relationships"><Relationship Id="rId8" Type="http://schemas.openxmlformats.org/officeDocument/2006/relationships/image" Target="../media/image84.svg"/><Relationship Id="rId3" Type="http://schemas.openxmlformats.org/officeDocument/2006/relationships/image" Target="../media/image77.png"/><Relationship Id="rId7" Type="http://schemas.openxmlformats.org/officeDocument/2006/relationships/image" Target="../media/image83.png"/><Relationship Id="rId2" Type="http://schemas.openxmlformats.org/officeDocument/2006/relationships/notesSlide" Target="../notesSlides/notesSlide20.xml"/><Relationship Id="rId1" Type="http://schemas.openxmlformats.org/officeDocument/2006/relationships/slideLayout" Target="../slideLayouts/slideLayout32.xml"/><Relationship Id="rId6" Type="http://schemas.openxmlformats.org/officeDocument/2006/relationships/image" Target="../media/image82.svg"/><Relationship Id="rId5" Type="http://schemas.openxmlformats.org/officeDocument/2006/relationships/image" Target="../media/image81.png"/><Relationship Id="rId4" Type="http://schemas.openxmlformats.org/officeDocument/2006/relationships/image" Target="../media/image78.svg"/></Relationships>
</file>

<file path=ppt/slides/_rels/slide28.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1.xml"/><Relationship Id="rId1" Type="http://schemas.openxmlformats.org/officeDocument/2006/relationships/slideLayout" Target="../slideLayouts/slideLayout32.xml"/><Relationship Id="rId4" Type="http://schemas.openxmlformats.org/officeDocument/2006/relationships/image" Target="../media/image86.tiff"/></Relationships>
</file>

<file path=ppt/slides/_rels/slide29.xml.rels><?xml version="1.0" encoding="UTF-8" standalone="yes"?>
<Relationships xmlns="http://schemas.openxmlformats.org/package/2006/relationships"><Relationship Id="rId8" Type="http://schemas.openxmlformats.org/officeDocument/2006/relationships/image" Target="../media/image64.svg"/><Relationship Id="rId13" Type="http://schemas.openxmlformats.org/officeDocument/2006/relationships/image" Target="../media/image89.png"/><Relationship Id="rId3" Type="http://schemas.openxmlformats.org/officeDocument/2006/relationships/image" Target="../media/image87.png"/><Relationship Id="rId7" Type="http://schemas.openxmlformats.org/officeDocument/2006/relationships/image" Target="../media/image63.png"/><Relationship Id="rId12" Type="http://schemas.openxmlformats.org/officeDocument/2006/relationships/image" Target="../media/image68.svg"/><Relationship Id="rId2" Type="http://schemas.openxmlformats.org/officeDocument/2006/relationships/notesSlide" Target="../notesSlides/notesSlide22.xml"/><Relationship Id="rId16" Type="http://schemas.openxmlformats.org/officeDocument/2006/relationships/image" Target="../media/image92.svg"/><Relationship Id="rId1" Type="http://schemas.openxmlformats.org/officeDocument/2006/relationships/slideLayout" Target="../slideLayouts/slideLayout32.xml"/><Relationship Id="rId6" Type="http://schemas.openxmlformats.org/officeDocument/2006/relationships/image" Target="../media/image58.svg"/><Relationship Id="rId11" Type="http://schemas.openxmlformats.org/officeDocument/2006/relationships/image" Target="../media/image67.png"/><Relationship Id="rId5" Type="http://schemas.openxmlformats.org/officeDocument/2006/relationships/image" Target="../media/image57.png"/><Relationship Id="rId15" Type="http://schemas.openxmlformats.org/officeDocument/2006/relationships/image" Target="../media/image91.png"/><Relationship Id="rId10" Type="http://schemas.openxmlformats.org/officeDocument/2006/relationships/image" Target="../media/image60.svg"/><Relationship Id="rId4" Type="http://schemas.openxmlformats.org/officeDocument/2006/relationships/image" Target="../media/image88.svg"/><Relationship Id="rId9" Type="http://schemas.openxmlformats.org/officeDocument/2006/relationships/image" Target="../media/image59.png"/><Relationship Id="rId14" Type="http://schemas.openxmlformats.org/officeDocument/2006/relationships/image" Target="../media/image90.sv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2.xml"/></Relationships>
</file>

<file path=ppt/slides/_rels/slide31.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image" Target="../media/image79.png"/><Relationship Id="rId7" Type="http://schemas.openxmlformats.org/officeDocument/2006/relationships/image" Target="../media/image44.png"/><Relationship Id="rId12" Type="http://schemas.openxmlformats.org/officeDocument/2006/relationships/image" Target="../media/image78.svg"/><Relationship Id="rId2" Type="http://schemas.openxmlformats.org/officeDocument/2006/relationships/notesSlide" Target="../notesSlides/notesSlide24.xml"/><Relationship Id="rId1" Type="http://schemas.openxmlformats.org/officeDocument/2006/relationships/slideLayout" Target="../slideLayouts/slideLayout32.xml"/><Relationship Id="rId6" Type="http://schemas.openxmlformats.org/officeDocument/2006/relationships/image" Target="../media/image82.svg"/><Relationship Id="rId11" Type="http://schemas.openxmlformats.org/officeDocument/2006/relationships/image" Target="../media/image77.png"/><Relationship Id="rId5" Type="http://schemas.openxmlformats.org/officeDocument/2006/relationships/image" Target="../media/image81.png"/><Relationship Id="rId10" Type="http://schemas.openxmlformats.org/officeDocument/2006/relationships/image" Target="../media/image94.svg"/><Relationship Id="rId4" Type="http://schemas.openxmlformats.org/officeDocument/2006/relationships/image" Target="../media/image80.svg"/><Relationship Id="rId9" Type="http://schemas.openxmlformats.org/officeDocument/2006/relationships/image" Target="../media/image93.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33.xml.rels><?xml version="1.0" encoding="UTF-8" standalone="yes"?>
<Relationships xmlns="http://schemas.openxmlformats.org/package/2006/relationships"><Relationship Id="rId8" Type="http://schemas.openxmlformats.org/officeDocument/2006/relationships/image" Target="../media/image98.svg"/><Relationship Id="rId3" Type="http://schemas.openxmlformats.org/officeDocument/2006/relationships/image" Target="../media/image95.png"/><Relationship Id="rId7" Type="http://schemas.openxmlformats.org/officeDocument/2006/relationships/image" Target="../media/image97.png"/><Relationship Id="rId2" Type="http://schemas.openxmlformats.org/officeDocument/2006/relationships/notesSlide" Target="../notesSlides/notesSlide25.xml"/><Relationship Id="rId1" Type="http://schemas.openxmlformats.org/officeDocument/2006/relationships/slideLayout" Target="../slideLayouts/slideLayout32.xml"/><Relationship Id="rId6" Type="http://schemas.openxmlformats.org/officeDocument/2006/relationships/image" Target="../media/image82.svg"/><Relationship Id="rId5" Type="http://schemas.openxmlformats.org/officeDocument/2006/relationships/image" Target="../media/image81.png"/><Relationship Id="rId10" Type="http://schemas.openxmlformats.org/officeDocument/2006/relationships/image" Target="../media/image100.svg"/><Relationship Id="rId4" Type="http://schemas.openxmlformats.org/officeDocument/2006/relationships/image" Target="../media/image96.svg"/><Relationship Id="rId9" Type="http://schemas.openxmlformats.org/officeDocument/2006/relationships/image" Target="../media/image99.png"/></Relationships>
</file>

<file path=ppt/slides/_rels/slide3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6.xml"/><Relationship Id="rId1" Type="http://schemas.openxmlformats.org/officeDocument/2006/relationships/slideLayout" Target="../slideLayouts/slideLayout32.xml"/><Relationship Id="rId4" Type="http://schemas.openxmlformats.org/officeDocument/2006/relationships/image" Target="../media/image101.png"/></Relationships>
</file>

<file path=ppt/slides/_rels/slide35.xml.rels><?xml version="1.0" encoding="UTF-8" standalone="yes"?>
<Relationships xmlns="http://schemas.openxmlformats.org/package/2006/relationships"><Relationship Id="rId8" Type="http://schemas.openxmlformats.org/officeDocument/2006/relationships/image" Target="../media/image107.png"/><Relationship Id="rId13" Type="http://schemas.openxmlformats.org/officeDocument/2006/relationships/image" Target="../media/image112.svg"/><Relationship Id="rId18" Type="http://schemas.openxmlformats.org/officeDocument/2006/relationships/image" Target="../media/image117.png"/><Relationship Id="rId3" Type="http://schemas.openxmlformats.org/officeDocument/2006/relationships/image" Target="../media/image102.emf"/><Relationship Id="rId21" Type="http://schemas.openxmlformats.org/officeDocument/2006/relationships/image" Target="../media/image60.svg"/><Relationship Id="rId7" Type="http://schemas.openxmlformats.org/officeDocument/2006/relationships/image" Target="../media/image106.svg"/><Relationship Id="rId12" Type="http://schemas.openxmlformats.org/officeDocument/2006/relationships/image" Target="../media/image111.png"/><Relationship Id="rId17" Type="http://schemas.openxmlformats.org/officeDocument/2006/relationships/image" Target="../media/image116.svg"/><Relationship Id="rId2" Type="http://schemas.openxmlformats.org/officeDocument/2006/relationships/notesSlide" Target="../notesSlides/notesSlide27.xml"/><Relationship Id="rId16" Type="http://schemas.openxmlformats.org/officeDocument/2006/relationships/image" Target="../media/image115.png"/><Relationship Id="rId20" Type="http://schemas.openxmlformats.org/officeDocument/2006/relationships/image" Target="../media/image59.png"/><Relationship Id="rId1" Type="http://schemas.openxmlformats.org/officeDocument/2006/relationships/slideLayout" Target="../slideLayouts/slideLayout32.xml"/><Relationship Id="rId6" Type="http://schemas.openxmlformats.org/officeDocument/2006/relationships/image" Target="../media/image105.png"/><Relationship Id="rId11" Type="http://schemas.openxmlformats.org/officeDocument/2006/relationships/image" Target="../media/image110.svg"/><Relationship Id="rId5" Type="http://schemas.openxmlformats.org/officeDocument/2006/relationships/image" Target="../media/image104.svg"/><Relationship Id="rId15" Type="http://schemas.openxmlformats.org/officeDocument/2006/relationships/image" Target="../media/image114.svg"/><Relationship Id="rId10" Type="http://schemas.openxmlformats.org/officeDocument/2006/relationships/image" Target="../media/image109.png"/><Relationship Id="rId19" Type="http://schemas.openxmlformats.org/officeDocument/2006/relationships/image" Target="../media/image118.svg"/><Relationship Id="rId4" Type="http://schemas.openxmlformats.org/officeDocument/2006/relationships/image" Target="../media/image103.png"/><Relationship Id="rId9" Type="http://schemas.openxmlformats.org/officeDocument/2006/relationships/image" Target="../media/image108.svg"/><Relationship Id="rId14" Type="http://schemas.openxmlformats.org/officeDocument/2006/relationships/image" Target="../media/image113.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2.xml"/></Relationships>
</file>

<file path=ppt/slides/_rels/slide37.xml.rels><?xml version="1.0" encoding="UTF-8" standalone="yes"?>
<Relationships xmlns="http://schemas.openxmlformats.org/package/2006/relationships"><Relationship Id="rId8" Type="http://schemas.openxmlformats.org/officeDocument/2006/relationships/image" Target="../media/image122.svg"/><Relationship Id="rId13" Type="http://schemas.openxmlformats.org/officeDocument/2006/relationships/image" Target="../media/image75.png"/><Relationship Id="rId3" Type="http://schemas.openxmlformats.org/officeDocument/2006/relationships/image" Target="../media/image119.png"/><Relationship Id="rId7" Type="http://schemas.openxmlformats.org/officeDocument/2006/relationships/image" Target="../media/image121.png"/><Relationship Id="rId12" Type="http://schemas.openxmlformats.org/officeDocument/2006/relationships/image" Target="../media/image80.svg"/><Relationship Id="rId2" Type="http://schemas.openxmlformats.org/officeDocument/2006/relationships/notesSlide" Target="../notesSlides/notesSlide29.xml"/><Relationship Id="rId1" Type="http://schemas.openxmlformats.org/officeDocument/2006/relationships/slideLayout" Target="../slideLayouts/slideLayout32.xml"/><Relationship Id="rId6" Type="http://schemas.openxmlformats.org/officeDocument/2006/relationships/image" Target="../media/image96.svg"/><Relationship Id="rId11" Type="http://schemas.openxmlformats.org/officeDocument/2006/relationships/image" Target="../media/image79.png"/><Relationship Id="rId5" Type="http://schemas.openxmlformats.org/officeDocument/2006/relationships/image" Target="../media/image95.png"/><Relationship Id="rId10" Type="http://schemas.openxmlformats.org/officeDocument/2006/relationships/image" Target="../media/image124.svg"/><Relationship Id="rId4" Type="http://schemas.openxmlformats.org/officeDocument/2006/relationships/image" Target="../media/image120.svg"/><Relationship Id="rId9" Type="http://schemas.openxmlformats.org/officeDocument/2006/relationships/image" Target="../media/image123.png"/><Relationship Id="rId14" Type="http://schemas.openxmlformats.org/officeDocument/2006/relationships/image" Target="../media/image76.sv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2.xml"/></Relationships>
</file>

<file path=ppt/slides/_rels/slide4.xml.rels><?xml version="1.0" encoding="UTF-8" standalone="yes"?>
<Relationships xmlns="http://schemas.openxmlformats.org/package/2006/relationships"><Relationship Id="rId8" Type="http://schemas.openxmlformats.org/officeDocument/2006/relationships/image" Target="../media/image14.tiff"/><Relationship Id="rId3" Type="http://schemas.openxmlformats.org/officeDocument/2006/relationships/tags" Target="../tags/tag69.xml"/><Relationship Id="rId7" Type="http://schemas.openxmlformats.org/officeDocument/2006/relationships/image" Target="../media/image3.emf"/><Relationship Id="rId12" Type="http://schemas.openxmlformats.org/officeDocument/2006/relationships/image" Target="../media/image18.emf"/><Relationship Id="rId2" Type="http://schemas.openxmlformats.org/officeDocument/2006/relationships/tags" Target="../tags/tag68.xml"/><Relationship Id="rId1" Type="http://schemas.openxmlformats.org/officeDocument/2006/relationships/vmlDrawing" Target="../drawings/vmlDrawing43.vml"/><Relationship Id="rId6" Type="http://schemas.openxmlformats.org/officeDocument/2006/relationships/oleObject" Target="../embeddings/oleObject38.bin"/><Relationship Id="rId11" Type="http://schemas.openxmlformats.org/officeDocument/2006/relationships/image" Target="../media/image17.emf"/><Relationship Id="rId5" Type="http://schemas.openxmlformats.org/officeDocument/2006/relationships/notesSlide" Target="../notesSlides/notesSlide3.xml"/><Relationship Id="rId10" Type="http://schemas.openxmlformats.org/officeDocument/2006/relationships/image" Target="../media/image16.emf"/><Relationship Id="rId4" Type="http://schemas.openxmlformats.org/officeDocument/2006/relationships/slideLayout" Target="../slideLayouts/slideLayout31.xml"/><Relationship Id="rId9" Type="http://schemas.openxmlformats.org/officeDocument/2006/relationships/image" Target="../media/image15.emf"/></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2.xml.rels><?xml version="1.0" encoding="UTF-8" standalone="yes"?>
<Relationships xmlns="http://schemas.openxmlformats.org/package/2006/relationships"><Relationship Id="rId8" Type="http://schemas.openxmlformats.org/officeDocument/2006/relationships/image" Target="../media/image125.emf"/><Relationship Id="rId3" Type="http://schemas.openxmlformats.org/officeDocument/2006/relationships/tags" Target="../tags/tag89.xml"/><Relationship Id="rId7" Type="http://schemas.openxmlformats.org/officeDocument/2006/relationships/image" Target="../media/image3.emf"/><Relationship Id="rId2" Type="http://schemas.openxmlformats.org/officeDocument/2006/relationships/tags" Target="../tags/tag88.xml"/><Relationship Id="rId1" Type="http://schemas.openxmlformats.org/officeDocument/2006/relationships/vmlDrawing" Target="../drawings/vmlDrawing53.vml"/><Relationship Id="rId6" Type="http://schemas.openxmlformats.org/officeDocument/2006/relationships/oleObject" Target="../embeddings/oleObject47.bin"/><Relationship Id="rId5" Type="http://schemas.openxmlformats.org/officeDocument/2006/relationships/notesSlide" Target="../notesSlides/notesSlide32.xml"/><Relationship Id="rId4" Type="http://schemas.openxmlformats.org/officeDocument/2006/relationships/slideLayout" Target="../slideLayouts/slideLayout31.xml"/><Relationship Id="rId9" Type="http://schemas.openxmlformats.org/officeDocument/2006/relationships/image" Target="../media/image126.emf"/></Relationships>
</file>

<file path=ppt/slides/_rels/slide43.xml.rels><?xml version="1.0" encoding="UTF-8" standalone="yes"?>
<Relationships xmlns="http://schemas.openxmlformats.org/package/2006/relationships"><Relationship Id="rId8" Type="http://schemas.openxmlformats.org/officeDocument/2006/relationships/image" Target="../media/image132.svg"/><Relationship Id="rId3" Type="http://schemas.openxmlformats.org/officeDocument/2006/relationships/image" Target="../media/image127.png"/><Relationship Id="rId7" Type="http://schemas.openxmlformats.org/officeDocument/2006/relationships/image" Target="../media/image131.png"/><Relationship Id="rId12" Type="http://schemas.openxmlformats.org/officeDocument/2006/relationships/image" Target="../media/image136.svg"/><Relationship Id="rId2" Type="http://schemas.openxmlformats.org/officeDocument/2006/relationships/notesSlide" Target="../notesSlides/notesSlide33.xml"/><Relationship Id="rId1" Type="http://schemas.openxmlformats.org/officeDocument/2006/relationships/slideLayout" Target="../slideLayouts/slideLayout32.xml"/><Relationship Id="rId6" Type="http://schemas.openxmlformats.org/officeDocument/2006/relationships/image" Target="../media/image130.svg"/><Relationship Id="rId11" Type="http://schemas.openxmlformats.org/officeDocument/2006/relationships/image" Target="../media/image135.png"/><Relationship Id="rId5" Type="http://schemas.openxmlformats.org/officeDocument/2006/relationships/image" Target="../media/image129.png"/><Relationship Id="rId10" Type="http://schemas.openxmlformats.org/officeDocument/2006/relationships/image" Target="../media/image134.svg"/><Relationship Id="rId4" Type="http://schemas.openxmlformats.org/officeDocument/2006/relationships/image" Target="../media/image128.svg"/><Relationship Id="rId9" Type="http://schemas.openxmlformats.org/officeDocument/2006/relationships/image" Target="../media/image133.png"/></Relationships>
</file>

<file path=ppt/slides/_rels/slide44.xml.rels><?xml version="1.0" encoding="UTF-8" standalone="yes"?>
<Relationships xmlns="http://schemas.openxmlformats.org/package/2006/relationships"><Relationship Id="rId3" Type="http://schemas.openxmlformats.org/officeDocument/2006/relationships/tags" Target="../tags/tag91.xml"/><Relationship Id="rId7" Type="http://schemas.openxmlformats.org/officeDocument/2006/relationships/image" Target="../media/image3.emf"/><Relationship Id="rId2" Type="http://schemas.openxmlformats.org/officeDocument/2006/relationships/tags" Target="../tags/tag90.xml"/><Relationship Id="rId1" Type="http://schemas.openxmlformats.org/officeDocument/2006/relationships/vmlDrawing" Target="../drawings/vmlDrawing54.vml"/><Relationship Id="rId6" Type="http://schemas.openxmlformats.org/officeDocument/2006/relationships/oleObject" Target="../embeddings/oleObject48.bin"/><Relationship Id="rId5" Type="http://schemas.openxmlformats.org/officeDocument/2006/relationships/notesSlide" Target="../notesSlides/notesSlide34.xml"/><Relationship Id="rId4" Type="http://schemas.openxmlformats.org/officeDocument/2006/relationships/slideLayout" Target="../slideLayouts/slideLayout3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6.xml.rels><?xml version="1.0" encoding="UTF-8" standalone="yes"?>
<Relationships xmlns="http://schemas.openxmlformats.org/package/2006/relationships"><Relationship Id="rId8" Type="http://schemas.openxmlformats.org/officeDocument/2006/relationships/image" Target="../media/image137.emf"/><Relationship Id="rId3" Type="http://schemas.openxmlformats.org/officeDocument/2006/relationships/tags" Target="../tags/tag93.xml"/><Relationship Id="rId7" Type="http://schemas.openxmlformats.org/officeDocument/2006/relationships/image" Target="../media/image3.emf"/><Relationship Id="rId2" Type="http://schemas.openxmlformats.org/officeDocument/2006/relationships/tags" Target="../tags/tag92.xml"/><Relationship Id="rId1" Type="http://schemas.openxmlformats.org/officeDocument/2006/relationships/vmlDrawing" Target="../drawings/vmlDrawing55.vml"/><Relationship Id="rId6" Type="http://schemas.openxmlformats.org/officeDocument/2006/relationships/oleObject" Target="../embeddings/oleObject49.bin"/><Relationship Id="rId5" Type="http://schemas.openxmlformats.org/officeDocument/2006/relationships/notesSlide" Target="../notesSlides/notesSlide35.xml"/><Relationship Id="rId4" Type="http://schemas.openxmlformats.org/officeDocument/2006/relationships/slideLayout" Target="../slideLayouts/slideLayout31.xml"/><Relationship Id="rId9" Type="http://schemas.openxmlformats.org/officeDocument/2006/relationships/image" Target="../media/image138.emf"/></Relationships>
</file>

<file path=ppt/slides/_rels/slide47.xml.rels><?xml version="1.0" encoding="UTF-8" standalone="yes"?>
<Relationships xmlns="http://schemas.openxmlformats.org/package/2006/relationships"><Relationship Id="rId3" Type="http://schemas.openxmlformats.org/officeDocument/2006/relationships/tags" Target="../tags/tag95.xml"/><Relationship Id="rId7" Type="http://schemas.openxmlformats.org/officeDocument/2006/relationships/image" Target="../media/image3.emf"/><Relationship Id="rId2" Type="http://schemas.openxmlformats.org/officeDocument/2006/relationships/tags" Target="../tags/tag94.xml"/><Relationship Id="rId1" Type="http://schemas.openxmlformats.org/officeDocument/2006/relationships/vmlDrawing" Target="../drawings/vmlDrawing56.vml"/><Relationship Id="rId6" Type="http://schemas.openxmlformats.org/officeDocument/2006/relationships/oleObject" Target="../embeddings/oleObject50.bin"/><Relationship Id="rId5" Type="http://schemas.openxmlformats.org/officeDocument/2006/relationships/notesSlide" Target="../notesSlides/notesSlide36.xml"/><Relationship Id="rId4" Type="http://schemas.openxmlformats.org/officeDocument/2006/relationships/slideLayout" Target="../slideLayouts/slideLayout51.xml"/></Relationships>
</file>

<file path=ppt/slides/_rels/slide48.xml.rels><?xml version="1.0" encoding="UTF-8" standalone="yes"?>
<Relationships xmlns="http://schemas.openxmlformats.org/package/2006/relationships"><Relationship Id="rId3" Type="http://schemas.openxmlformats.org/officeDocument/2006/relationships/tags" Target="../tags/tag97.xml"/><Relationship Id="rId7" Type="http://schemas.openxmlformats.org/officeDocument/2006/relationships/image" Target="../media/image3.emf"/><Relationship Id="rId2" Type="http://schemas.openxmlformats.org/officeDocument/2006/relationships/tags" Target="../tags/tag96.xml"/><Relationship Id="rId1" Type="http://schemas.openxmlformats.org/officeDocument/2006/relationships/vmlDrawing" Target="../drawings/vmlDrawing57.vml"/><Relationship Id="rId6" Type="http://schemas.openxmlformats.org/officeDocument/2006/relationships/oleObject" Target="../embeddings/oleObject51.bin"/><Relationship Id="rId5" Type="http://schemas.openxmlformats.org/officeDocument/2006/relationships/notesSlide" Target="../notesSlides/notesSlide37.xml"/><Relationship Id="rId4" Type="http://schemas.openxmlformats.org/officeDocument/2006/relationships/slideLayout" Target="../slideLayouts/slideLayout5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50.xml.rels><?xml version="1.0" encoding="UTF-8" standalone="yes"?>
<Relationships xmlns="http://schemas.openxmlformats.org/package/2006/relationships"><Relationship Id="rId8" Type="http://schemas.openxmlformats.org/officeDocument/2006/relationships/image" Target="../media/image139.png"/><Relationship Id="rId3" Type="http://schemas.openxmlformats.org/officeDocument/2006/relationships/tags" Target="../tags/tag99.xml"/><Relationship Id="rId7" Type="http://schemas.openxmlformats.org/officeDocument/2006/relationships/image" Target="../media/image3.emf"/><Relationship Id="rId2" Type="http://schemas.openxmlformats.org/officeDocument/2006/relationships/tags" Target="../tags/tag98.xml"/><Relationship Id="rId1" Type="http://schemas.openxmlformats.org/officeDocument/2006/relationships/vmlDrawing" Target="../drawings/vmlDrawing58.vml"/><Relationship Id="rId6" Type="http://schemas.openxmlformats.org/officeDocument/2006/relationships/oleObject" Target="../embeddings/oleObject52.bin"/><Relationship Id="rId11" Type="http://schemas.openxmlformats.org/officeDocument/2006/relationships/image" Target="../media/image142.svg"/><Relationship Id="rId5" Type="http://schemas.openxmlformats.org/officeDocument/2006/relationships/notesSlide" Target="../notesSlides/notesSlide38.xml"/><Relationship Id="rId10" Type="http://schemas.openxmlformats.org/officeDocument/2006/relationships/image" Target="../media/image141.png"/><Relationship Id="rId4" Type="http://schemas.openxmlformats.org/officeDocument/2006/relationships/slideLayout" Target="../slideLayouts/slideLayout51.xml"/><Relationship Id="rId9" Type="http://schemas.openxmlformats.org/officeDocument/2006/relationships/image" Target="../media/image140.jpeg"/></Relationships>
</file>

<file path=ppt/slides/_rels/slide51.xml.rels><?xml version="1.0" encoding="UTF-8" standalone="yes"?>
<Relationships xmlns="http://schemas.openxmlformats.org/package/2006/relationships"><Relationship Id="rId8" Type="http://schemas.openxmlformats.org/officeDocument/2006/relationships/image" Target="../media/image141.png"/><Relationship Id="rId3" Type="http://schemas.openxmlformats.org/officeDocument/2006/relationships/tags" Target="../tags/tag101.xml"/><Relationship Id="rId7" Type="http://schemas.openxmlformats.org/officeDocument/2006/relationships/image" Target="../media/image3.emf"/><Relationship Id="rId2" Type="http://schemas.openxmlformats.org/officeDocument/2006/relationships/tags" Target="../tags/tag100.xml"/><Relationship Id="rId1" Type="http://schemas.openxmlformats.org/officeDocument/2006/relationships/vmlDrawing" Target="../drawings/vmlDrawing59.vml"/><Relationship Id="rId6" Type="http://schemas.openxmlformats.org/officeDocument/2006/relationships/oleObject" Target="../embeddings/oleObject53.bin"/><Relationship Id="rId5" Type="http://schemas.openxmlformats.org/officeDocument/2006/relationships/notesSlide" Target="../notesSlides/notesSlide39.xml"/><Relationship Id="rId4" Type="http://schemas.openxmlformats.org/officeDocument/2006/relationships/slideLayout" Target="../slideLayouts/slideLayout51.xml"/><Relationship Id="rId9" Type="http://schemas.openxmlformats.org/officeDocument/2006/relationships/image" Target="../media/image142.svg"/></Relationships>
</file>

<file path=ppt/slides/_rels/slide52.xml.rels><?xml version="1.0" encoding="UTF-8" standalone="yes"?>
<Relationships xmlns="http://schemas.openxmlformats.org/package/2006/relationships"><Relationship Id="rId8" Type="http://schemas.openxmlformats.org/officeDocument/2006/relationships/image" Target="../media/image143.png"/><Relationship Id="rId3" Type="http://schemas.openxmlformats.org/officeDocument/2006/relationships/tags" Target="../tags/tag103.xml"/><Relationship Id="rId7" Type="http://schemas.openxmlformats.org/officeDocument/2006/relationships/image" Target="../media/image3.emf"/><Relationship Id="rId2" Type="http://schemas.openxmlformats.org/officeDocument/2006/relationships/tags" Target="../tags/tag102.xml"/><Relationship Id="rId1" Type="http://schemas.openxmlformats.org/officeDocument/2006/relationships/vmlDrawing" Target="../drawings/vmlDrawing60.vml"/><Relationship Id="rId6" Type="http://schemas.openxmlformats.org/officeDocument/2006/relationships/oleObject" Target="../embeddings/oleObject54.bin"/><Relationship Id="rId5" Type="http://schemas.openxmlformats.org/officeDocument/2006/relationships/notesSlide" Target="../notesSlides/notesSlide40.xml"/><Relationship Id="rId10" Type="http://schemas.openxmlformats.org/officeDocument/2006/relationships/image" Target="../media/image145.svg"/><Relationship Id="rId4" Type="http://schemas.openxmlformats.org/officeDocument/2006/relationships/slideLayout" Target="../slideLayouts/slideLayout51.xml"/><Relationship Id="rId9" Type="http://schemas.openxmlformats.org/officeDocument/2006/relationships/image" Target="../media/image144.png"/></Relationships>
</file>

<file path=ppt/slides/_rels/slide53.xml.rels><?xml version="1.0" encoding="UTF-8" standalone="yes"?>
<Relationships xmlns="http://schemas.openxmlformats.org/package/2006/relationships"><Relationship Id="rId8" Type="http://schemas.openxmlformats.org/officeDocument/2006/relationships/image" Target="../media/image144.png"/><Relationship Id="rId3" Type="http://schemas.openxmlformats.org/officeDocument/2006/relationships/tags" Target="../tags/tag105.xml"/><Relationship Id="rId7" Type="http://schemas.openxmlformats.org/officeDocument/2006/relationships/image" Target="../media/image3.emf"/><Relationship Id="rId2" Type="http://schemas.openxmlformats.org/officeDocument/2006/relationships/tags" Target="../tags/tag104.xml"/><Relationship Id="rId1" Type="http://schemas.openxmlformats.org/officeDocument/2006/relationships/vmlDrawing" Target="../drawings/vmlDrawing61.vml"/><Relationship Id="rId6" Type="http://schemas.openxmlformats.org/officeDocument/2006/relationships/oleObject" Target="../embeddings/oleObject55.bin"/><Relationship Id="rId5" Type="http://schemas.openxmlformats.org/officeDocument/2006/relationships/notesSlide" Target="../notesSlides/notesSlide41.xml"/><Relationship Id="rId4" Type="http://schemas.openxmlformats.org/officeDocument/2006/relationships/slideLayout" Target="../slideLayouts/slideLayout51.xml"/><Relationship Id="rId9" Type="http://schemas.openxmlformats.org/officeDocument/2006/relationships/image" Target="../media/image145.svg"/></Relationships>
</file>

<file path=ppt/slides/_rels/slide54.xml.rels><?xml version="1.0" encoding="UTF-8" standalone="yes"?>
<Relationships xmlns="http://schemas.openxmlformats.org/package/2006/relationships"><Relationship Id="rId8" Type="http://schemas.openxmlformats.org/officeDocument/2006/relationships/image" Target="../media/image146.jpeg"/><Relationship Id="rId3" Type="http://schemas.openxmlformats.org/officeDocument/2006/relationships/tags" Target="../tags/tag107.xml"/><Relationship Id="rId7" Type="http://schemas.openxmlformats.org/officeDocument/2006/relationships/image" Target="../media/image3.emf"/><Relationship Id="rId2" Type="http://schemas.openxmlformats.org/officeDocument/2006/relationships/tags" Target="../tags/tag106.xml"/><Relationship Id="rId1" Type="http://schemas.openxmlformats.org/officeDocument/2006/relationships/vmlDrawing" Target="../drawings/vmlDrawing62.vml"/><Relationship Id="rId6" Type="http://schemas.openxmlformats.org/officeDocument/2006/relationships/oleObject" Target="../embeddings/oleObject56.bin"/><Relationship Id="rId5" Type="http://schemas.openxmlformats.org/officeDocument/2006/relationships/notesSlide" Target="../notesSlides/notesSlide42.xml"/><Relationship Id="rId10" Type="http://schemas.openxmlformats.org/officeDocument/2006/relationships/image" Target="../media/image148.svg"/><Relationship Id="rId4" Type="http://schemas.openxmlformats.org/officeDocument/2006/relationships/slideLayout" Target="../slideLayouts/slideLayout51.xml"/><Relationship Id="rId9" Type="http://schemas.openxmlformats.org/officeDocument/2006/relationships/image" Target="../media/image147.png"/></Relationships>
</file>

<file path=ppt/slides/_rels/slide55.xml.rels><?xml version="1.0" encoding="UTF-8" standalone="yes"?>
<Relationships xmlns="http://schemas.openxmlformats.org/package/2006/relationships"><Relationship Id="rId8" Type="http://schemas.openxmlformats.org/officeDocument/2006/relationships/image" Target="../media/image147.png"/><Relationship Id="rId3" Type="http://schemas.openxmlformats.org/officeDocument/2006/relationships/tags" Target="../tags/tag109.xml"/><Relationship Id="rId7" Type="http://schemas.openxmlformats.org/officeDocument/2006/relationships/image" Target="../media/image3.emf"/><Relationship Id="rId2" Type="http://schemas.openxmlformats.org/officeDocument/2006/relationships/tags" Target="../tags/tag108.xml"/><Relationship Id="rId1" Type="http://schemas.openxmlformats.org/officeDocument/2006/relationships/vmlDrawing" Target="../drawings/vmlDrawing63.vml"/><Relationship Id="rId6" Type="http://schemas.openxmlformats.org/officeDocument/2006/relationships/oleObject" Target="../embeddings/oleObject57.bin"/><Relationship Id="rId5" Type="http://schemas.openxmlformats.org/officeDocument/2006/relationships/notesSlide" Target="../notesSlides/notesSlide43.xml"/><Relationship Id="rId4" Type="http://schemas.openxmlformats.org/officeDocument/2006/relationships/slideLayout" Target="../slideLayouts/slideLayout51.xml"/><Relationship Id="rId9" Type="http://schemas.openxmlformats.org/officeDocument/2006/relationships/image" Target="../media/image148.svg"/></Relationships>
</file>

<file path=ppt/slides/_rels/slide5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10.xml"/><Relationship Id="rId7" Type="http://schemas.openxmlformats.org/officeDocument/2006/relationships/oleObject" Target="../embeddings/oleObject58.bin"/><Relationship Id="rId2" Type="http://schemas.openxmlformats.org/officeDocument/2006/relationships/vmlDrawing" Target="../drawings/vmlDrawing64.vml"/><Relationship Id="rId1" Type="http://schemas.openxmlformats.org/officeDocument/2006/relationships/themeOverride" Target="../theme/themeOverride1.xml"/><Relationship Id="rId6" Type="http://schemas.openxmlformats.org/officeDocument/2006/relationships/notesSlide" Target="../notesSlides/notesSlide44.xml"/><Relationship Id="rId11" Type="http://schemas.openxmlformats.org/officeDocument/2006/relationships/image" Target="../media/image130.svg"/><Relationship Id="rId5" Type="http://schemas.openxmlformats.org/officeDocument/2006/relationships/slideLayout" Target="../slideLayouts/slideLayout51.xml"/><Relationship Id="rId10" Type="http://schemas.openxmlformats.org/officeDocument/2006/relationships/image" Target="../media/image129.png"/><Relationship Id="rId4" Type="http://schemas.openxmlformats.org/officeDocument/2006/relationships/tags" Target="../tags/tag111.xml"/><Relationship Id="rId9" Type="http://schemas.openxmlformats.org/officeDocument/2006/relationships/image" Target="../media/image149.png"/></Relationships>
</file>

<file path=ppt/slides/_rels/slide57.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tags" Target="../tags/tag113.xml"/><Relationship Id="rId7" Type="http://schemas.openxmlformats.org/officeDocument/2006/relationships/image" Target="../media/image3.emf"/><Relationship Id="rId2" Type="http://schemas.openxmlformats.org/officeDocument/2006/relationships/tags" Target="../tags/tag112.xml"/><Relationship Id="rId1" Type="http://schemas.openxmlformats.org/officeDocument/2006/relationships/vmlDrawing" Target="../drawings/vmlDrawing65.vml"/><Relationship Id="rId6" Type="http://schemas.openxmlformats.org/officeDocument/2006/relationships/oleObject" Target="../embeddings/oleObject59.bin"/><Relationship Id="rId5" Type="http://schemas.openxmlformats.org/officeDocument/2006/relationships/notesSlide" Target="../notesSlides/notesSlide45.xml"/><Relationship Id="rId4" Type="http://schemas.openxmlformats.org/officeDocument/2006/relationships/slideLayout" Target="../slideLayouts/slideLayout51.xml"/><Relationship Id="rId9" Type="http://schemas.openxmlformats.org/officeDocument/2006/relationships/image" Target="../media/image130.svg"/></Relationships>
</file>

<file path=ppt/slides/_rels/slide58.xml.rels><?xml version="1.0" encoding="UTF-8" standalone="yes"?>
<Relationships xmlns="http://schemas.openxmlformats.org/package/2006/relationships"><Relationship Id="rId8" Type="http://schemas.openxmlformats.org/officeDocument/2006/relationships/image" Target="../media/image150.png"/><Relationship Id="rId3" Type="http://schemas.openxmlformats.org/officeDocument/2006/relationships/tags" Target="../tags/tag115.xml"/><Relationship Id="rId7" Type="http://schemas.openxmlformats.org/officeDocument/2006/relationships/image" Target="../media/image3.emf"/><Relationship Id="rId2" Type="http://schemas.openxmlformats.org/officeDocument/2006/relationships/tags" Target="../tags/tag114.xml"/><Relationship Id="rId1" Type="http://schemas.openxmlformats.org/officeDocument/2006/relationships/vmlDrawing" Target="../drawings/vmlDrawing66.vml"/><Relationship Id="rId6" Type="http://schemas.openxmlformats.org/officeDocument/2006/relationships/oleObject" Target="../embeddings/oleObject60.bin"/><Relationship Id="rId5" Type="http://schemas.openxmlformats.org/officeDocument/2006/relationships/notesSlide" Target="../notesSlides/notesSlide46.xml"/><Relationship Id="rId10" Type="http://schemas.openxmlformats.org/officeDocument/2006/relationships/image" Target="../media/image152.svg"/><Relationship Id="rId4" Type="http://schemas.openxmlformats.org/officeDocument/2006/relationships/slideLayout" Target="../slideLayouts/slideLayout51.xml"/><Relationship Id="rId9" Type="http://schemas.openxmlformats.org/officeDocument/2006/relationships/image" Target="../media/image151.png"/></Relationships>
</file>

<file path=ppt/slides/_rels/slide59.xml.rels><?xml version="1.0" encoding="UTF-8" standalone="yes"?>
<Relationships xmlns="http://schemas.openxmlformats.org/package/2006/relationships"><Relationship Id="rId8" Type="http://schemas.openxmlformats.org/officeDocument/2006/relationships/image" Target="../media/image151.png"/><Relationship Id="rId3" Type="http://schemas.openxmlformats.org/officeDocument/2006/relationships/tags" Target="../tags/tag117.xml"/><Relationship Id="rId7" Type="http://schemas.openxmlformats.org/officeDocument/2006/relationships/image" Target="../media/image3.emf"/><Relationship Id="rId2" Type="http://schemas.openxmlformats.org/officeDocument/2006/relationships/tags" Target="../tags/tag116.xml"/><Relationship Id="rId1" Type="http://schemas.openxmlformats.org/officeDocument/2006/relationships/vmlDrawing" Target="../drawings/vmlDrawing67.vml"/><Relationship Id="rId6" Type="http://schemas.openxmlformats.org/officeDocument/2006/relationships/oleObject" Target="../embeddings/oleObject61.bin"/><Relationship Id="rId5" Type="http://schemas.openxmlformats.org/officeDocument/2006/relationships/notesSlide" Target="../notesSlides/notesSlide47.xml"/><Relationship Id="rId4" Type="http://schemas.openxmlformats.org/officeDocument/2006/relationships/slideLayout" Target="../slideLayouts/slideLayout51.xml"/><Relationship Id="rId9" Type="http://schemas.openxmlformats.org/officeDocument/2006/relationships/image" Target="../media/image152.svg"/></Relationships>
</file>

<file path=ppt/slides/_rels/slide6.xml.rels><?xml version="1.0" encoding="UTF-8" standalone="yes"?>
<Relationships xmlns="http://schemas.openxmlformats.org/package/2006/relationships"><Relationship Id="rId8" Type="http://schemas.openxmlformats.org/officeDocument/2006/relationships/image" Target="../media/image14.tiff"/><Relationship Id="rId13" Type="http://schemas.openxmlformats.org/officeDocument/2006/relationships/image" Target="../media/image17.emf"/><Relationship Id="rId3" Type="http://schemas.openxmlformats.org/officeDocument/2006/relationships/tags" Target="../tags/tag71.xml"/><Relationship Id="rId7" Type="http://schemas.openxmlformats.org/officeDocument/2006/relationships/image" Target="../media/image3.emf"/><Relationship Id="rId12" Type="http://schemas.openxmlformats.org/officeDocument/2006/relationships/image" Target="../media/image20.emf"/><Relationship Id="rId2" Type="http://schemas.openxmlformats.org/officeDocument/2006/relationships/tags" Target="../tags/tag70.xml"/><Relationship Id="rId1" Type="http://schemas.openxmlformats.org/officeDocument/2006/relationships/vmlDrawing" Target="../drawings/vmlDrawing44.vml"/><Relationship Id="rId6" Type="http://schemas.openxmlformats.org/officeDocument/2006/relationships/oleObject" Target="../embeddings/oleObject39.bin"/><Relationship Id="rId11" Type="http://schemas.openxmlformats.org/officeDocument/2006/relationships/image" Target="../media/image19.emf"/><Relationship Id="rId5" Type="http://schemas.openxmlformats.org/officeDocument/2006/relationships/notesSlide" Target="../notesSlides/notesSlide4.xml"/><Relationship Id="rId10" Type="http://schemas.openxmlformats.org/officeDocument/2006/relationships/image" Target="../media/image16.emf"/><Relationship Id="rId4" Type="http://schemas.openxmlformats.org/officeDocument/2006/relationships/slideLayout" Target="../slideLayouts/slideLayout31.xml"/><Relationship Id="rId9" Type="http://schemas.openxmlformats.org/officeDocument/2006/relationships/image" Target="../media/image15.emf"/><Relationship Id="rId14" Type="http://schemas.openxmlformats.org/officeDocument/2006/relationships/image" Target="../media/image18.emf"/></Relationships>
</file>

<file path=ppt/slides/_rels/slide60.xml.rels><?xml version="1.0" encoding="UTF-8" standalone="yes"?>
<Relationships xmlns="http://schemas.openxmlformats.org/package/2006/relationships"><Relationship Id="rId8" Type="http://schemas.openxmlformats.org/officeDocument/2006/relationships/image" Target="../media/image153.jpeg"/><Relationship Id="rId3" Type="http://schemas.openxmlformats.org/officeDocument/2006/relationships/tags" Target="../tags/tag119.xml"/><Relationship Id="rId7" Type="http://schemas.openxmlformats.org/officeDocument/2006/relationships/image" Target="../media/image3.emf"/><Relationship Id="rId2" Type="http://schemas.openxmlformats.org/officeDocument/2006/relationships/tags" Target="../tags/tag118.xml"/><Relationship Id="rId1" Type="http://schemas.openxmlformats.org/officeDocument/2006/relationships/vmlDrawing" Target="../drawings/vmlDrawing68.vml"/><Relationship Id="rId6" Type="http://schemas.openxmlformats.org/officeDocument/2006/relationships/oleObject" Target="../embeddings/oleObject62.bin"/><Relationship Id="rId5" Type="http://schemas.openxmlformats.org/officeDocument/2006/relationships/notesSlide" Target="../notesSlides/notesSlide48.xml"/><Relationship Id="rId10" Type="http://schemas.openxmlformats.org/officeDocument/2006/relationships/image" Target="../media/image155.svg"/><Relationship Id="rId4" Type="http://schemas.openxmlformats.org/officeDocument/2006/relationships/slideLayout" Target="../slideLayouts/slideLayout51.xml"/><Relationship Id="rId9" Type="http://schemas.openxmlformats.org/officeDocument/2006/relationships/image" Target="../media/image154.png"/></Relationships>
</file>

<file path=ppt/slides/_rels/slide61.xml.rels><?xml version="1.0" encoding="UTF-8" standalone="yes"?>
<Relationships xmlns="http://schemas.openxmlformats.org/package/2006/relationships"><Relationship Id="rId8" Type="http://schemas.openxmlformats.org/officeDocument/2006/relationships/image" Target="../media/image154.png"/><Relationship Id="rId3" Type="http://schemas.openxmlformats.org/officeDocument/2006/relationships/tags" Target="../tags/tag121.xml"/><Relationship Id="rId7" Type="http://schemas.openxmlformats.org/officeDocument/2006/relationships/image" Target="../media/image3.emf"/><Relationship Id="rId2" Type="http://schemas.openxmlformats.org/officeDocument/2006/relationships/tags" Target="../tags/tag120.xml"/><Relationship Id="rId1" Type="http://schemas.openxmlformats.org/officeDocument/2006/relationships/vmlDrawing" Target="../drawings/vmlDrawing69.vml"/><Relationship Id="rId6" Type="http://schemas.openxmlformats.org/officeDocument/2006/relationships/oleObject" Target="../embeddings/oleObject63.bin"/><Relationship Id="rId5" Type="http://schemas.openxmlformats.org/officeDocument/2006/relationships/notesSlide" Target="../notesSlides/notesSlide49.xml"/><Relationship Id="rId4" Type="http://schemas.openxmlformats.org/officeDocument/2006/relationships/slideLayout" Target="../slideLayouts/slideLayout51.xml"/><Relationship Id="rId9" Type="http://schemas.openxmlformats.org/officeDocument/2006/relationships/image" Target="../media/image155.svg"/></Relationships>
</file>

<file path=ppt/slides/_rels/slide62.xml.rels><?xml version="1.0" encoding="UTF-8" standalone="yes"?>
<Relationships xmlns="http://schemas.openxmlformats.org/package/2006/relationships"><Relationship Id="rId8" Type="http://schemas.openxmlformats.org/officeDocument/2006/relationships/image" Target="../media/image156.jpeg"/><Relationship Id="rId3" Type="http://schemas.openxmlformats.org/officeDocument/2006/relationships/tags" Target="../tags/tag123.xml"/><Relationship Id="rId7" Type="http://schemas.openxmlformats.org/officeDocument/2006/relationships/image" Target="../media/image3.emf"/><Relationship Id="rId2" Type="http://schemas.openxmlformats.org/officeDocument/2006/relationships/tags" Target="../tags/tag122.xml"/><Relationship Id="rId1" Type="http://schemas.openxmlformats.org/officeDocument/2006/relationships/vmlDrawing" Target="../drawings/vmlDrawing70.vml"/><Relationship Id="rId6" Type="http://schemas.openxmlformats.org/officeDocument/2006/relationships/oleObject" Target="../embeddings/oleObject64.bin"/><Relationship Id="rId5" Type="http://schemas.openxmlformats.org/officeDocument/2006/relationships/notesSlide" Target="../notesSlides/notesSlide50.xml"/><Relationship Id="rId10" Type="http://schemas.openxmlformats.org/officeDocument/2006/relationships/image" Target="../media/image158.svg"/><Relationship Id="rId4" Type="http://schemas.openxmlformats.org/officeDocument/2006/relationships/slideLayout" Target="../slideLayouts/slideLayout51.xml"/><Relationship Id="rId9" Type="http://schemas.openxmlformats.org/officeDocument/2006/relationships/image" Target="../media/image157.png"/></Relationships>
</file>

<file path=ppt/slides/_rels/slide63.xml.rels><?xml version="1.0" encoding="UTF-8" standalone="yes"?>
<Relationships xmlns="http://schemas.openxmlformats.org/package/2006/relationships"><Relationship Id="rId8" Type="http://schemas.openxmlformats.org/officeDocument/2006/relationships/image" Target="../media/image157.png"/><Relationship Id="rId3" Type="http://schemas.openxmlformats.org/officeDocument/2006/relationships/tags" Target="../tags/tag125.xml"/><Relationship Id="rId7" Type="http://schemas.openxmlformats.org/officeDocument/2006/relationships/image" Target="../media/image3.emf"/><Relationship Id="rId2" Type="http://schemas.openxmlformats.org/officeDocument/2006/relationships/tags" Target="../tags/tag124.xml"/><Relationship Id="rId1" Type="http://schemas.openxmlformats.org/officeDocument/2006/relationships/vmlDrawing" Target="../drawings/vmlDrawing71.vml"/><Relationship Id="rId6" Type="http://schemas.openxmlformats.org/officeDocument/2006/relationships/oleObject" Target="../embeddings/oleObject65.bin"/><Relationship Id="rId5" Type="http://schemas.openxmlformats.org/officeDocument/2006/relationships/notesSlide" Target="../notesSlides/notesSlide51.xml"/><Relationship Id="rId4" Type="http://schemas.openxmlformats.org/officeDocument/2006/relationships/slideLayout" Target="../slideLayouts/slideLayout51.xml"/><Relationship Id="rId9" Type="http://schemas.openxmlformats.org/officeDocument/2006/relationships/image" Target="../media/image158.svg"/></Relationships>
</file>

<file path=ppt/slides/_rels/slide64.xml.rels><?xml version="1.0" encoding="UTF-8" standalone="yes"?>
<Relationships xmlns="http://schemas.openxmlformats.org/package/2006/relationships"><Relationship Id="rId8" Type="http://schemas.openxmlformats.org/officeDocument/2006/relationships/image" Target="../media/image159.png"/><Relationship Id="rId3" Type="http://schemas.openxmlformats.org/officeDocument/2006/relationships/tags" Target="../tags/tag127.xml"/><Relationship Id="rId7" Type="http://schemas.openxmlformats.org/officeDocument/2006/relationships/image" Target="../media/image3.emf"/><Relationship Id="rId2" Type="http://schemas.openxmlformats.org/officeDocument/2006/relationships/tags" Target="../tags/tag126.xml"/><Relationship Id="rId1" Type="http://schemas.openxmlformats.org/officeDocument/2006/relationships/vmlDrawing" Target="../drawings/vmlDrawing72.vml"/><Relationship Id="rId6" Type="http://schemas.openxmlformats.org/officeDocument/2006/relationships/oleObject" Target="../embeddings/oleObject66.bin"/><Relationship Id="rId5" Type="http://schemas.openxmlformats.org/officeDocument/2006/relationships/notesSlide" Target="../notesSlides/notesSlide52.xml"/><Relationship Id="rId10" Type="http://schemas.openxmlformats.org/officeDocument/2006/relationships/image" Target="../media/image161.svg"/><Relationship Id="rId4" Type="http://schemas.openxmlformats.org/officeDocument/2006/relationships/slideLayout" Target="../slideLayouts/slideLayout51.xml"/><Relationship Id="rId9" Type="http://schemas.openxmlformats.org/officeDocument/2006/relationships/image" Target="../media/image160.png"/></Relationships>
</file>

<file path=ppt/slides/_rels/slide65.xml.rels><?xml version="1.0" encoding="UTF-8" standalone="yes"?>
<Relationships xmlns="http://schemas.openxmlformats.org/package/2006/relationships"><Relationship Id="rId8" Type="http://schemas.openxmlformats.org/officeDocument/2006/relationships/image" Target="../media/image160.png"/><Relationship Id="rId3" Type="http://schemas.openxmlformats.org/officeDocument/2006/relationships/tags" Target="../tags/tag129.xml"/><Relationship Id="rId7" Type="http://schemas.openxmlformats.org/officeDocument/2006/relationships/image" Target="../media/image3.emf"/><Relationship Id="rId2" Type="http://schemas.openxmlformats.org/officeDocument/2006/relationships/tags" Target="../tags/tag128.xml"/><Relationship Id="rId1" Type="http://schemas.openxmlformats.org/officeDocument/2006/relationships/vmlDrawing" Target="../drawings/vmlDrawing73.vml"/><Relationship Id="rId6" Type="http://schemas.openxmlformats.org/officeDocument/2006/relationships/oleObject" Target="../embeddings/oleObject67.bin"/><Relationship Id="rId5" Type="http://schemas.openxmlformats.org/officeDocument/2006/relationships/notesSlide" Target="../notesSlides/notesSlide53.xml"/><Relationship Id="rId4" Type="http://schemas.openxmlformats.org/officeDocument/2006/relationships/slideLayout" Target="../slideLayouts/slideLayout51.xml"/><Relationship Id="rId9" Type="http://schemas.openxmlformats.org/officeDocument/2006/relationships/image" Target="../media/image161.svg"/></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67.xml.rels><?xml version="1.0" encoding="UTF-8" standalone="yes"?>
<Relationships xmlns="http://schemas.openxmlformats.org/package/2006/relationships"><Relationship Id="rId8" Type="http://schemas.openxmlformats.org/officeDocument/2006/relationships/image" Target="../media/image144.png"/><Relationship Id="rId13" Type="http://schemas.openxmlformats.org/officeDocument/2006/relationships/image" Target="../media/image148.svg"/><Relationship Id="rId18" Type="http://schemas.openxmlformats.org/officeDocument/2006/relationships/image" Target="../media/image157.png"/><Relationship Id="rId3" Type="http://schemas.openxmlformats.org/officeDocument/2006/relationships/tags" Target="../tags/tag131.xml"/><Relationship Id="rId21" Type="http://schemas.openxmlformats.org/officeDocument/2006/relationships/image" Target="../media/image161.svg"/><Relationship Id="rId7" Type="http://schemas.openxmlformats.org/officeDocument/2006/relationships/image" Target="../media/image3.emf"/><Relationship Id="rId12" Type="http://schemas.openxmlformats.org/officeDocument/2006/relationships/image" Target="../media/image147.png"/><Relationship Id="rId17" Type="http://schemas.openxmlformats.org/officeDocument/2006/relationships/image" Target="../media/image155.svg"/><Relationship Id="rId2" Type="http://schemas.openxmlformats.org/officeDocument/2006/relationships/tags" Target="../tags/tag130.xml"/><Relationship Id="rId16" Type="http://schemas.openxmlformats.org/officeDocument/2006/relationships/image" Target="../media/image154.png"/><Relationship Id="rId20" Type="http://schemas.openxmlformats.org/officeDocument/2006/relationships/image" Target="../media/image160.png"/><Relationship Id="rId1" Type="http://schemas.openxmlformats.org/officeDocument/2006/relationships/vmlDrawing" Target="../drawings/vmlDrawing74.vml"/><Relationship Id="rId6" Type="http://schemas.openxmlformats.org/officeDocument/2006/relationships/oleObject" Target="../embeddings/oleObject68.bin"/><Relationship Id="rId11" Type="http://schemas.openxmlformats.org/officeDocument/2006/relationships/image" Target="../media/image142.svg"/><Relationship Id="rId5" Type="http://schemas.openxmlformats.org/officeDocument/2006/relationships/notesSlide" Target="../notesSlides/notesSlide54.xml"/><Relationship Id="rId15" Type="http://schemas.openxmlformats.org/officeDocument/2006/relationships/image" Target="../media/image130.svg"/><Relationship Id="rId10" Type="http://schemas.openxmlformats.org/officeDocument/2006/relationships/image" Target="../media/image141.png"/><Relationship Id="rId19" Type="http://schemas.openxmlformats.org/officeDocument/2006/relationships/image" Target="../media/image158.svg"/><Relationship Id="rId4" Type="http://schemas.openxmlformats.org/officeDocument/2006/relationships/slideLayout" Target="../slideLayouts/slideLayout35.xml"/><Relationship Id="rId9" Type="http://schemas.openxmlformats.org/officeDocument/2006/relationships/image" Target="../media/image145.svg"/><Relationship Id="rId14" Type="http://schemas.openxmlformats.org/officeDocument/2006/relationships/image" Target="../media/image129.png"/></Relationships>
</file>

<file path=ppt/slides/_rels/slide68.xml.rels><?xml version="1.0" encoding="UTF-8" standalone="yes"?>
<Relationships xmlns="http://schemas.openxmlformats.org/package/2006/relationships"><Relationship Id="rId3" Type="http://schemas.openxmlformats.org/officeDocument/2006/relationships/tags" Target="../tags/tag133.xml"/><Relationship Id="rId7" Type="http://schemas.openxmlformats.org/officeDocument/2006/relationships/image" Target="../media/image3.emf"/><Relationship Id="rId2" Type="http://schemas.openxmlformats.org/officeDocument/2006/relationships/tags" Target="../tags/tag132.xml"/><Relationship Id="rId1" Type="http://schemas.openxmlformats.org/officeDocument/2006/relationships/vmlDrawing" Target="../drawings/vmlDrawing75.vml"/><Relationship Id="rId6" Type="http://schemas.openxmlformats.org/officeDocument/2006/relationships/oleObject" Target="../embeddings/oleObject69.bin"/><Relationship Id="rId5" Type="http://schemas.openxmlformats.org/officeDocument/2006/relationships/notesSlide" Target="../notesSlides/notesSlide55.xml"/><Relationship Id="rId4" Type="http://schemas.openxmlformats.org/officeDocument/2006/relationships/slideLayout" Target="../slideLayouts/slideLayout35.xml"/></Relationships>
</file>

<file path=ppt/slides/_rels/slide69.xml.rels><?xml version="1.0" encoding="UTF-8" standalone="yes"?>
<Relationships xmlns="http://schemas.openxmlformats.org/package/2006/relationships"><Relationship Id="rId3" Type="http://schemas.openxmlformats.org/officeDocument/2006/relationships/tags" Target="../tags/tag135.xml"/><Relationship Id="rId7" Type="http://schemas.openxmlformats.org/officeDocument/2006/relationships/image" Target="../media/image3.emf"/><Relationship Id="rId2" Type="http://schemas.openxmlformats.org/officeDocument/2006/relationships/tags" Target="../tags/tag134.xml"/><Relationship Id="rId1" Type="http://schemas.openxmlformats.org/officeDocument/2006/relationships/vmlDrawing" Target="../drawings/vmlDrawing76.vml"/><Relationship Id="rId6" Type="http://schemas.openxmlformats.org/officeDocument/2006/relationships/oleObject" Target="../embeddings/oleObject70.bin"/><Relationship Id="rId5" Type="http://schemas.openxmlformats.org/officeDocument/2006/relationships/notesSlide" Target="../notesSlides/notesSlide56.xml"/><Relationship Id="rId4" Type="http://schemas.openxmlformats.org/officeDocument/2006/relationships/slideLayout" Target="../slideLayouts/slideLayout35.xml"/></Relationships>
</file>

<file path=ppt/slides/_rels/slide7.xml.rels><?xml version="1.0" encoding="UTF-8" standalone="yes"?>
<Relationships xmlns="http://schemas.openxmlformats.org/package/2006/relationships"><Relationship Id="rId8" Type="http://schemas.openxmlformats.org/officeDocument/2006/relationships/image" Target="../media/image26.svg"/><Relationship Id="rId13" Type="http://schemas.openxmlformats.org/officeDocument/2006/relationships/image" Target="../media/image31.png"/><Relationship Id="rId18" Type="http://schemas.openxmlformats.org/officeDocument/2006/relationships/image" Target="../media/image36.svg"/><Relationship Id="rId3" Type="http://schemas.openxmlformats.org/officeDocument/2006/relationships/image" Target="../media/image21.png"/><Relationship Id="rId7" Type="http://schemas.openxmlformats.org/officeDocument/2006/relationships/image" Target="../media/image25.png"/><Relationship Id="rId12" Type="http://schemas.openxmlformats.org/officeDocument/2006/relationships/image" Target="../media/image30.svg"/><Relationship Id="rId17" Type="http://schemas.openxmlformats.org/officeDocument/2006/relationships/image" Target="../media/image35.png"/><Relationship Id="rId2" Type="http://schemas.openxmlformats.org/officeDocument/2006/relationships/notesSlide" Target="../notesSlides/notesSlide5.xml"/><Relationship Id="rId16" Type="http://schemas.openxmlformats.org/officeDocument/2006/relationships/image" Target="../media/image34.svg"/><Relationship Id="rId1" Type="http://schemas.openxmlformats.org/officeDocument/2006/relationships/slideLayout" Target="../slideLayouts/slideLayout32.xml"/><Relationship Id="rId6" Type="http://schemas.openxmlformats.org/officeDocument/2006/relationships/image" Target="../media/image24.svg"/><Relationship Id="rId11" Type="http://schemas.openxmlformats.org/officeDocument/2006/relationships/image" Target="../media/image29.png"/><Relationship Id="rId5" Type="http://schemas.openxmlformats.org/officeDocument/2006/relationships/image" Target="../media/image23.png"/><Relationship Id="rId15" Type="http://schemas.openxmlformats.org/officeDocument/2006/relationships/image" Target="../media/image33.png"/><Relationship Id="rId10" Type="http://schemas.openxmlformats.org/officeDocument/2006/relationships/image" Target="../media/image28.svg"/><Relationship Id="rId4" Type="http://schemas.openxmlformats.org/officeDocument/2006/relationships/image" Target="../media/image22.svg"/><Relationship Id="rId9" Type="http://schemas.openxmlformats.org/officeDocument/2006/relationships/image" Target="../media/image27.png"/><Relationship Id="rId14" Type="http://schemas.openxmlformats.org/officeDocument/2006/relationships/image" Target="../media/image32.sv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71.xml.rels><?xml version="1.0" encoding="UTF-8" standalone="yes"?>
<Relationships xmlns="http://schemas.openxmlformats.org/package/2006/relationships"><Relationship Id="rId8" Type="http://schemas.openxmlformats.org/officeDocument/2006/relationships/image" Target="../media/image162.png"/><Relationship Id="rId13" Type="http://schemas.openxmlformats.org/officeDocument/2006/relationships/image" Target="../media/image167.svg"/><Relationship Id="rId18" Type="http://schemas.openxmlformats.org/officeDocument/2006/relationships/image" Target="../media/image172.png"/><Relationship Id="rId3" Type="http://schemas.openxmlformats.org/officeDocument/2006/relationships/tags" Target="../tags/tag137.xml"/><Relationship Id="rId7" Type="http://schemas.openxmlformats.org/officeDocument/2006/relationships/image" Target="../media/image3.emf"/><Relationship Id="rId12" Type="http://schemas.openxmlformats.org/officeDocument/2006/relationships/image" Target="../media/image166.png"/><Relationship Id="rId17" Type="http://schemas.openxmlformats.org/officeDocument/2006/relationships/image" Target="../media/image171.svg"/><Relationship Id="rId2" Type="http://schemas.openxmlformats.org/officeDocument/2006/relationships/tags" Target="../tags/tag136.xml"/><Relationship Id="rId16" Type="http://schemas.openxmlformats.org/officeDocument/2006/relationships/image" Target="../media/image170.png"/><Relationship Id="rId1" Type="http://schemas.openxmlformats.org/officeDocument/2006/relationships/vmlDrawing" Target="../drawings/vmlDrawing77.vml"/><Relationship Id="rId6" Type="http://schemas.openxmlformats.org/officeDocument/2006/relationships/oleObject" Target="../embeddings/oleObject71.bin"/><Relationship Id="rId11" Type="http://schemas.openxmlformats.org/officeDocument/2006/relationships/image" Target="../media/image165.svg"/><Relationship Id="rId5" Type="http://schemas.openxmlformats.org/officeDocument/2006/relationships/notesSlide" Target="../notesSlides/notesSlide57.xml"/><Relationship Id="rId15" Type="http://schemas.openxmlformats.org/officeDocument/2006/relationships/image" Target="../media/image169.svg"/><Relationship Id="rId10" Type="http://schemas.openxmlformats.org/officeDocument/2006/relationships/image" Target="../media/image164.png"/><Relationship Id="rId19" Type="http://schemas.openxmlformats.org/officeDocument/2006/relationships/image" Target="../media/image173.svg"/><Relationship Id="rId4" Type="http://schemas.openxmlformats.org/officeDocument/2006/relationships/slideLayout" Target="../slideLayouts/slideLayout35.xml"/><Relationship Id="rId9" Type="http://schemas.openxmlformats.org/officeDocument/2006/relationships/image" Target="../media/image163.svg"/><Relationship Id="rId14" Type="http://schemas.openxmlformats.org/officeDocument/2006/relationships/image" Target="../media/image168.png"/></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73.xml.rels><?xml version="1.0" encoding="UTF-8" standalone="yes"?>
<Relationships xmlns="http://schemas.openxmlformats.org/package/2006/relationships"><Relationship Id="rId8" Type="http://schemas.openxmlformats.org/officeDocument/2006/relationships/image" Target="../media/image14.tiff"/><Relationship Id="rId13" Type="http://schemas.openxmlformats.org/officeDocument/2006/relationships/image" Target="../media/image17.emf"/><Relationship Id="rId3" Type="http://schemas.openxmlformats.org/officeDocument/2006/relationships/tags" Target="../tags/tag139.xml"/><Relationship Id="rId7" Type="http://schemas.openxmlformats.org/officeDocument/2006/relationships/image" Target="../media/image3.emf"/><Relationship Id="rId12" Type="http://schemas.openxmlformats.org/officeDocument/2006/relationships/image" Target="../media/image20.emf"/><Relationship Id="rId2" Type="http://schemas.openxmlformats.org/officeDocument/2006/relationships/tags" Target="../tags/tag138.xml"/><Relationship Id="rId1" Type="http://schemas.openxmlformats.org/officeDocument/2006/relationships/vmlDrawing" Target="../drawings/vmlDrawing78.vml"/><Relationship Id="rId6" Type="http://schemas.openxmlformats.org/officeDocument/2006/relationships/oleObject" Target="../embeddings/oleObject72.bin"/><Relationship Id="rId11" Type="http://schemas.openxmlformats.org/officeDocument/2006/relationships/image" Target="../media/image19.emf"/><Relationship Id="rId5" Type="http://schemas.openxmlformats.org/officeDocument/2006/relationships/notesSlide" Target="../notesSlides/notesSlide58.xml"/><Relationship Id="rId10" Type="http://schemas.openxmlformats.org/officeDocument/2006/relationships/image" Target="../media/image16.emf"/><Relationship Id="rId4" Type="http://schemas.openxmlformats.org/officeDocument/2006/relationships/slideLayout" Target="../slideLayouts/slideLayout31.xml"/><Relationship Id="rId9" Type="http://schemas.openxmlformats.org/officeDocument/2006/relationships/image" Target="../media/image15.emf"/><Relationship Id="rId14" Type="http://schemas.openxmlformats.org/officeDocument/2006/relationships/image" Target="../media/image18.emf"/></Relationships>
</file>

<file path=ppt/slides/_rels/slide74.xml.rels><?xml version="1.0" encoding="UTF-8" standalone="yes"?>
<Relationships xmlns="http://schemas.openxmlformats.org/package/2006/relationships"><Relationship Id="rId8" Type="http://schemas.openxmlformats.org/officeDocument/2006/relationships/image" Target="../media/image14.tiff"/><Relationship Id="rId3" Type="http://schemas.openxmlformats.org/officeDocument/2006/relationships/tags" Target="../tags/tag141.xml"/><Relationship Id="rId7" Type="http://schemas.openxmlformats.org/officeDocument/2006/relationships/image" Target="../media/image3.emf"/><Relationship Id="rId2" Type="http://schemas.openxmlformats.org/officeDocument/2006/relationships/tags" Target="../tags/tag140.xml"/><Relationship Id="rId1" Type="http://schemas.openxmlformats.org/officeDocument/2006/relationships/vmlDrawing" Target="../drawings/vmlDrawing79.vml"/><Relationship Id="rId6" Type="http://schemas.openxmlformats.org/officeDocument/2006/relationships/oleObject" Target="../embeddings/oleObject73.bin"/><Relationship Id="rId5" Type="http://schemas.openxmlformats.org/officeDocument/2006/relationships/notesSlide" Target="../notesSlides/notesSlide59.xml"/><Relationship Id="rId4" Type="http://schemas.openxmlformats.org/officeDocument/2006/relationships/slideLayout" Target="../slideLayouts/slideLayout31.xml"/><Relationship Id="rId9" Type="http://schemas.openxmlformats.org/officeDocument/2006/relationships/image" Target="../media/image15.emf"/></Relationships>
</file>

<file path=ppt/slides/_rels/slide75.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tags" Target="../tags/tag143.xml"/><Relationship Id="rId7" Type="http://schemas.openxmlformats.org/officeDocument/2006/relationships/image" Target="../media/image3.emf"/><Relationship Id="rId2" Type="http://schemas.openxmlformats.org/officeDocument/2006/relationships/tags" Target="../tags/tag142.xml"/><Relationship Id="rId1" Type="http://schemas.openxmlformats.org/officeDocument/2006/relationships/vmlDrawing" Target="../drawings/vmlDrawing80.vml"/><Relationship Id="rId6" Type="http://schemas.openxmlformats.org/officeDocument/2006/relationships/oleObject" Target="../embeddings/oleObject74.bin"/><Relationship Id="rId5" Type="http://schemas.openxmlformats.org/officeDocument/2006/relationships/notesSlide" Target="../notesSlides/notesSlide60.xml"/><Relationship Id="rId4" Type="http://schemas.openxmlformats.org/officeDocument/2006/relationships/slideLayout" Target="../slideLayouts/slideLayout35.xml"/></Relationships>
</file>

<file path=ppt/slides/_rels/slide76.xml.rels><?xml version="1.0" encoding="UTF-8" standalone="yes"?>
<Relationships xmlns="http://schemas.openxmlformats.org/package/2006/relationships"><Relationship Id="rId8" Type="http://schemas.openxmlformats.org/officeDocument/2006/relationships/image" Target="../media/image39.emf"/><Relationship Id="rId3" Type="http://schemas.openxmlformats.org/officeDocument/2006/relationships/tags" Target="../tags/tag145.xml"/><Relationship Id="rId7" Type="http://schemas.openxmlformats.org/officeDocument/2006/relationships/image" Target="../media/image3.emf"/><Relationship Id="rId2" Type="http://schemas.openxmlformats.org/officeDocument/2006/relationships/tags" Target="../tags/tag144.xml"/><Relationship Id="rId1" Type="http://schemas.openxmlformats.org/officeDocument/2006/relationships/vmlDrawing" Target="../drawings/vmlDrawing81.vml"/><Relationship Id="rId6" Type="http://schemas.openxmlformats.org/officeDocument/2006/relationships/oleObject" Target="../embeddings/oleObject75.bin"/><Relationship Id="rId5" Type="http://schemas.openxmlformats.org/officeDocument/2006/relationships/notesSlide" Target="../notesSlides/notesSlide61.xml"/><Relationship Id="rId10" Type="http://schemas.openxmlformats.org/officeDocument/2006/relationships/image" Target="../media/image41.emf"/><Relationship Id="rId4" Type="http://schemas.openxmlformats.org/officeDocument/2006/relationships/slideLayout" Target="../slideLayouts/slideLayout31.xml"/><Relationship Id="rId9" Type="http://schemas.openxmlformats.org/officeDocument/2006/relationships/image" Target="../media/image40.emf"/></Relationships>
</file>

<file path=ppt/slides/_rels/slide77.xml.rels><?xml version="1.0" encoding="UTF-8" standalone="yes"?>
<Relationships xmlns="http://schemas.openxmlformats.org/package/2006/relationships"><Relationship Id="rId8" Type="http://schemas.openxmlformats.org/officeDocument/2006/relationships/image" Target="../media/image125.emf"/><Relationship Id="rId3" Type="http://schemas.openxmlformats.org/officeDocument/2006/relationships/tags" Target="../tags/tag147.xml"/><Relationship Id="rId7" Type="http://schemas.openxmlformats.org/officeDocument/2006/relationships/image" Target="../media/image3.emf"/><Relationship Id="rId2" Type="http://schemas.openxmlformats.org/officeDocument/2006/relationships/tags" Target="../tags/tag146.xml"/><Relationship Id="rId1" Type="http://schemas.openxmlformats.org/officeDocument/2006/relationships/vmlDrawing" Target="../drawings/vmlDrawing82.vml"/><Relationship Id="rId6" Type="http://schemas.openxmlformats.org/officeDocument/2006/relationships/oleObject" Target="../embeddings/oleObject76.bin"/><Relationship Id="rId5" Type="http://schemas.openxmlformats.org/officeDocument/2006/relationships/notesSlide" Target="../notesSlides/notesSlide62.xml"/><Relationship Id="rId4" Type="http://schemas.openxmlformats.org/officeDocument/2006/relationships/slideLayout" Target="../slideLayouts/slideLayout31.xml"/><Relationship Id="rId9" Type="http://schemas.openxmlformats.org/officeDocument/2006/relationships/image" Target="../media/image126.emf"/></Relationships>
</file>

<file path=ppt/slides/_rels/slide78.xml.rels><?xml version="1.0" encoding="UTF-8" standalone="yes"?>
<Relationships xmlns="http://schemas.openxmlformats.org/package/2006/relationships"><Relationship Id="rId3" Type="http://schemas.openxmlformats.org/officeDocument/2006/relationships/tags" Target="../tags/tag149.xml"/><Relationship Id="rId7" Type="http://schemas.openxmlformats.org/officeDocument/2006/relationships/image" Target="../media/image3.emf"/><Relationship Id="rId2" Type="http://schemas.openxmlformats.org/officeDocument/2006/relationships/tags" Target="../tags/tag148.xml"/><Relationship Id="rId1" Type="http://schemas.openxmlformats.org/officeDocument/2006/relationships/vmlDrawing" Target="../drawings/vmlDrawing83.vml"/><Relationship Id="rId6" Type="http://schemas.openxmlformats.org/officeDocument/2006/relationships/oleObject" Target="../embeddings/oleObject77.bin"/><Relationship Id="rId5" Type="http://schemas.openxmlformats.org/officeDocument/2006/relationships/notesSlide" Target="../notesSlides/notesSlide63.xml"/><Relationship Id="rId4" Type="http://schemas.openxmlformats.org/officeDocument/2006/relationships/slideLayout" Target="../slideLayouts/slideLayout35.xml"/></Relationships>
</file>

<file path=ppt/slides/_rels/slide79.xml.rels><?xml version="1.0" encoding="UTF-8" standalone="yes"?>
<Relationships xmlns="http://schemas.openxmlformats.org/package/2006/relationships"><Relationship Id="rId8" Type="http://schemas.openxmlformats.org/officeDocument/2006/relationships/image" Target="../media/image137.emf"/><Relationship Id="rId3" Type="http://schemas.openxmlformats.org/officeDocument/2006/relationships/tags" Target="../tags/tag151.xml"/><Relationship Id="rId7" Type="http://schemas.openxmlformats.org/officeDocument/2006/relationships/image" Target="../media/image3.emf"/><Relationship Id="rId2" Type="http://schemas.openxmlformats.org/officeDocument/2006/relationships/tags" Target="../tags/tag150.xml"/><Relationship Id="rId1" Type="http://schemas.openxmlformats.org/officeDocument/2006/relationships/vmlDrawing" Target="../drawings/vmlDrawing84.vml"/><Relationship Id="rId6" Type="http://schemas.openxmlformats.org/officeDocument/2006/relationships/oleObject" Target="../embeddings/oleObject78.bin"/><Relationship Id="rId5" Type="http://schemas.openxmlformats.org/officeDocument/2006/relationships/notesSlide" Target="../notesSlides/notesSlide64.xml"/><Relationship Id="rId4" Type="http://schemas.openxmlformats.org/officeDocument/2006/relationships/slideLayout" Target="../slideLayouts/slideLayout31.xml"/><Relationship Id="rId9" Type="http://schemas.openxmlformats.org/officeDocument/2006/relationships/image" Target="../media/image138.emf"/></Relationships>
</file>

<file path=ppt/slides/_rels/slide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2.xml"/></Relationships>
</file>

<file path=ppt/slides/_rels/slide80.xml.rels><?xml version="1.0" encoding="UTF-8" standalone="yes"?>
<Relationships xmlns="http://schemas.openxmlformats.org/package/2006/relationships"><Relationship Id="rId8" Type="http://schemas.openxmlformats.org/officeDocument/2006/relationships/image" Target="../media/image144.png"/><Relationship Id="rId13" Type="http://schemas.openxmlformats.org/officeDocument/2006/relationships/image" Target="../media/image148.svg"/><Relationship Id="rId18" Type="http://schemas.openxmlformats.org/officeDocument/2006/relationships/image" Target="../media/image157.png"/><Relationship Id="rId3" Type="http://schemas.openxmlformats.org/officeDocument/2006/relationships/tags" Target="../tags/tag153.xml"/><Relationship Id="rId21" Type="http://schemas.openxmlformats.org/officeDocument/2006/relationships/image" Target="../media/image161.svg"/><Relationship Id="rId7" Type="http://schemas.openxmlformats.org/officeDocument/2006/relationships/image" Target="../media/image3.emf"/><Relationship Id="rId12" Type="http://schemas.openxmlformats.org/officeDocument/2006/relationships/image" Target="../media/image147.png"/><Relationship Id="rId17" Type="http://schemas.openxmlformats.org/officeDocument/2006/relationships/image" Target="../media/image155.svg"/><Relationship Id="rId2" Type="http://schemas.openxmlformats.org/officeDocument/2006/relationships/tags" Target="../tags/tag152.xml"/><Relationship Id="rId16" Type="http://schemas.openxmlformats.org/officeDocument/2006/relationships/image" Target="../media/image154.png"/><Relationship Id="rId20" Type="http://schemas.openxmlformats.org/officeDocument/2006/relationships/image" Target="../media/image160.png"/><Relationship Id="rId1" Type="http://schemas.openxmlformats.org/officeDocument/2006/relationships/vmlDrawing" Target="../drawings/vmlDrawing85.vml"/><Relationship Id="rId6" Type="http://schemas.openxmlformats.org/officeDocument/2006/relationships/oleObject" Target="../embeddings/oleObject79.bin"/><Relationship Id="rId11" Type="http://schemas.openxmlformats.org/officeDocument/2006/relationships/image" Target="../media/image142.svg"/><Relationship Id="rId5" Type="http://schemas.openxmlformats.org/officeDocument/2006/relationships/notesSlide" Target="../notesSlides/notesSlide65.xml"/><Relationship Id="rId15" Type="http://schemas.openxmlformats.org/officeDocument/2006/relationships/image" Target="../media/image130.svg"/><Relationship Id="rId10" Type="http://schemas.openxmlformats.org/officeDocument/2006/relationships/image" Target="../media/image141.png"/><Relationship Id="rId19" Type="http://schemas.openxmlformats.org/officeDocument/2006/relationships/image" Target="../media/image158.svg"/><Relationship Id="rId4" Type="http://schemas.openxmlformats.org/officeDocument/2006/relationships/slideLayout" Target="../slideLayouts/slideLayout35.xml"/><Relationship Id="rId9" Type="http://schemas.openxmlformats.org/officeDocument/2006/relationships/image" Target="../media/image145.svg"/><Relationship Id="rId14" Type="http://schemas.openxmlformats.org/officeDocument/2006/relationships/image" Target="../media/image129.png"/></Relationships>
</file>

<file path=ppt/slides/_rels/slide81.xml.rels><?xml version="1.0" encoding="UTF-8" standalone="yes"?>
<Relationships xmlns="http://schemas.openxmlformats.org/package/2006/relationships"><Relationship Id="rId3" Type="http://schemas.openxmlformats.org/officeDocument/2006/relationships/tags" Target="../tags/tag155.xml"/><Relationship Id="rId7" Type="http://schemas.openxmlformats.org/officeDocument/2006/relationships/image" Target="../media/image3.emf"/><Relationship Id="rId2" Type="http://schemas.openxmlformats.org/officeDocument/2006/relationships/tags" Target="../tags/tag154.xml"/><Relationship Id="rId1" Type="http://schemas.openxmlformats.org/officeDocument/2006/relationships/vmlDrawing" Target="../drawings/vmlDrawing86.vml"/><Relationship Id="rId6" Type="http://schemas.openxmlformats.org/officeDocument/2006/relationships/oleObject" Target="../embeddings/oleObject80.bin"/><Relationship Id="rId5" Type="http://schemas.openxmlformats.org/officeDocument/2006/relationships/notesSlide" Target="../notesSlides/notesSlide66.xml"/><Relationship Id="rId4" Type="http://schemas.openxmlformats.org/officeDocument/2006/relationships/slideLayout" Target="../slideLayouts/slideLayout35.xml"/></Relationships>
</file>

<file path=ppt/slides/_rels/slide82.xml.rels><?xml version="1.0" encoding="UTF-8" standalone="yes"?>
<Relationships xmlns="http://schemas.openxmlformats.org/package/2006/relationships"><Relationship Id="rId3" Type="http://schemas.openxmlformats.org/officeDocument/2006/relationships/tags" Target="../tags/tag157.xml"/><Relationship Id="rId7" Type="http://schemas.openxmlformats.org/officeDocument/2006/relationships/image" Target="../media/image3.emf"/><Relationship Id="rId2" Type="http://schemas.openxmlformats.org/officeDocument/2006/relationships/tags" Target="../tags/tag156.xml"/><Relationship Id="rId1" Type="http://schemas.openxmlformats.org/officeDocument/2006/relationships/vmlDrawing" Target="../drawings/vmlDrawing87.vml"/><Relationship Id="rId6" Type="http://schemas.openxmlformats.org/officeDocument/2006/relationships/oleObject" Target="../embeddings/oleObject81.bin"/><Relationship Id="rId5" Type="http://schemas.openxmlformats.org/officeDocument/2006/relationships/notesSlide" Target="../notesSlides/notesSlide67.xml"/><Relationship Id="rId4" Type="http://schemas.openxmlformats.org/officeDocument/2006/relationships/slideLayout" Target="../slideLayouts/slideLayout35.xml"/></Relationships>
</file>

<file path=ppt/slides/_rels/slide83.xml.rels><?xml version="1.0" encoding="UTF-8" standalone="yes"?>
<Relationships xmlns="http://schemas.openxmlformats.org/package/2006/relationships"><Relationship Id="rId8" Type="http://schemas.openxmlformats.org/officeDocument/2006/relationships/image" Target="../media/image162.png"/><Relationship Id="rId13" Type="http://schemas.openxmlformats.org/officeDocument/2006/relationships/image" Target="../media/image167.svg"/><Relationship Id="rId18" Type="http://schemas.openxmlformats.org/officeDocument/2006/relationships/image" Target="../media/image172.png"/><Relationship Id="rId3" Type="http://schemas.openxmlformats.org/officeDocument/2006/relationships/tags" Target="../tags/tag159.xml"/><Relationship Id="rId7" Type="http://schemas.openxmlformats.org/officeDocument/2006/relationships/image" Target="../media/image3.emf"/><Relationship Id="rId12" Type="http://schemas.openxmlformats.org/officeDocument/2006/relationships/image" Target="../media/image166.png"/><Relationship Id="rId17" Type="http://schemas.openxmlformats.org/officeDocument/2006/relationships/image" Target="../media/image171.svg"/><Relationship Id="rId2" Type="http://schemas.openxmlformats.org/officeDocument/2006/relationships/tags" Target="../tags/tag158.xml"/><Relationship Id="rId16" Type="http://schemas.openxmlformats.org/officeDocument/2006/relationships/image" Target="../media/image170.png"/><Relationship Id="rId1" Type="http://schemas.openxmlformats.org/officeDocument/2006/relationships/vmlDrawing" Target="../drawings/vmlDrawing88.vml"/><Relationship Id="rId6" Type="http://schemas.openxmlformats.org/officeDocument/2006/relationships/oleObject" Target="../embeddings/oleObject82.bin"/><Relationship Id="rId11" Type="http://schemas.openxmlformats.org/officeDocument/2006/relationships/image" Target="../media/image165.svg"/><Relationship Id="rId5" Type="http://schemas.openxmlformats.org/officeDocument/2006/relationships/notesSlide" Target="../notesSlides/notesSlide68.xml"/><Relationship Id="rId15" Type="http://schemas.openxmlformats.org/officeDocument/2006/relationships/image" Target="../media/image169.svg"/><Relationship Id="rId10" Type="http://schemas.openxmlformats.org/officeDocument/2006/relationships/image" Target="../media/image164.png"/><Relationship Id="rId19" Type="http://schemas.openxmlformats.org/officeDocument/2006/relationships/image" Target="../media/image173.svg"/><Relationship Id="rId4" Type="http://schemas.openxmlformats.org/officeDocument/2006/relationships/slideLayout" Target="../slideLayouts/slideLayout35.xml"/><Relationship Id="rId9" Type="http://schemas.openxmlformats.org/officeDocument/2006/relationships/image" Target="../media/image163.svg"/><Relationship Id="rId14" Type="http://schemas.openxmlformats.org/officeDocument/2006/relationships/image" Target="../media/image168.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B989DD5-C24F-F94E-BAC6-26FB054A0200}"/>
              </a:ext>
            </a:extLst>
          </p:cNvPr>
          <p:cNvPicPr/>
          <p:nvPr/>
        </p:nvPicPr>
        <p:blipFill rotWithShape="1">
          <a:blip r:embed="rId3" cstate="screen">
            <a:extLst>
              <a:ext uri="{28A0092B-C50C-407E-A947-70E740481C1C}">
                <a14:useLocalDpi xmlns:a14="http://schemas.microsoft.com/office/drawing/2010/main" val="0"/>
              </a:ext>
            </a:extLst>
          </a:blip>
          <a:srcRect l="-88" r="-84"/>
          <a:stretch/>
        </p:blipFill>
        <p:spPr>
          <a:xfrm>
            <a:off x="-18849" y="896257"/>
            <a:ext cx="12222000" cy="5961743"/>
          </a:xfrm>
          <a:prstGeom prst="rect">
            <a:avLst/>
          </a:prstGeom>
        </p:spPr>
      </p:pic>
      <p:sp>
        <p:nvSpPr>
          <p:cNvPr id="6" name="Rectangle 5"/>
          <p:cNvSpPr/>
          <p:nvPr/>
        </p:nvSpPr>
        <p:spPr>
          <a:xfrm>
            <a:off x="-18288" y="3759201"/>
            <a:ext cx="8028878" cy="24408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Title 2"/>
          <p:cNvSpPr>
            <a:spLocks noGrp="1"/>
          </p:cNvSpPr>
          <p:nvPr>
            <p:ph type="ctrTitle"/>
          </p:nvPr>
        </p:nvSpPr>
        <p:spPr>
          <a:xfrm>
            <a:off x="395037" y="4140000"/>
            <a:ext cx="7020527" cy="1029962"/>
          </a:xfrm>
        </p:spPr>
        <p:txBody>
          <a:bodyPr/>
          <a:lstStyle/>
          <a:p>
            <a:r>
              <a:rPr lang="en-GB" sz="2400" b="1">
                <a:solidFill>
                  <a:srgbClr val="50235C"/>
                </a:solidFill>
                <a:latin typeface="Arial"/>
                <a:ea typeface="Effra" charset="0"/>
                <a:cs typeface="Arial"/>
              </a:rPr>
              <a:t>STW </a:t>
            </a:r>
            <a:r>
              <a:rPr lang="en-GB" sz="2400" b="1">
                <a:solidFill>
                  <a:srgbClr val="50235C"/>
                </a:solidFill>
                <a:latin typeface="Arial"/>
                <a:cs typeface="Arial"/>
              </a:rPr>
              <a:t>mental health Portfolio Review &amp; System Design </a:t>
            </a:r>
            <a:br>
              <a:rPr lang="en-GB" sz="1400">
                <a:solidFill>
                  <a:srgbClr val="50235C"/>
                </a:solidFill>
                <a:latin typeface="Arial" panose="020B0604020202020204" pitchFamily="34" charset="0"/>
                <a:cs typeface="Arial" panose="020B0604020202020204" pitchFamily="34" charset="0"/>
              </a:rPr>
            </a:br>
            <a:br>
              <a:rPr lang="en-GB" sz="1400">
                <a:solidFill>
                  <a:srgbClr val="50235C"/>
                </a:solidFill>
                <a:latin typeface="Arial" panose="020B0604020202020204" pitchFamily="34" charset="0"/>
                <a:cs typeface="Arial" panose="020B0604020202020204" pitchFamily="34" charset="0"/>
              </a:rPr>
            </a:br>
            <a:r>
              <a:rPr lang="en-GB" sz="1400">
                <a:solidFill>
                  <a:srgbClr val="50235C"/>
                </a:solidFill>
                <a:latin typeface="Arial" panose="020B0604020202020204" pitchFamily="34" charset="0"/>
                <a:cs typeface="Arial" panose="020B0604020202020204" pitchFamily="34" charset="0"/>
              </a:rPr>
              <a:t>Master deliverable</a:t>
            </a:r>
            <a:endParaRPr lang="en-GB" sz="1400">
              <a:solidFill>
                <a:srgbClr val="50235C"/>
              </a:solidFill>
              <a:latin typeface="Arial" panose="020B0604020202020204" pitchFamily="34" charset="0"/>
              <a:ea typeface="Effra" charset="0"/>
              <a:cs typeface="Arial" panose="020B0604020202020204" pitchFamily="34" charset="0"/>
            </a:endParaRPr>
          </a:p>
        </p:txBody>
      </p:sp>
      <p:grpSp>
        <p:nvGrpSpPr>
          <p:cNvPr id="3" name="Group 2">
            <a:extLst>
              <a:ext uri="{FF2B5EF4-FFF2-40B4-BE49-F238E27FC236}">
                <a16:creationId xmlns:a16="http://schemas.microsoft.com/office/drawing/2014/main" id="{A338AF61-C215-FA43-BCF7-766B8A09658B}"/>
              </a:ext>
            </a:extLst>
          </p:cNvPr>
          <p:cNvGrpSpPr/>
          <p:nvPr/>
        </p:nvGrpSpPr>
        <p:grpSpPr>
          <a:xfrm>
            <a:off x="361584" y="5280326"/>
            <a:ext cx="1433766" cy="681417"/>
            <a:chOff x="361584" y="5336081"/>
            <a:chExt cx="1433766" cy="681417"/>
          </a:xfrm>
        </p:grpSpPr>
        <p:sp>
          <p:nvSpPr>
            <p:cNvPr id="8" name="Subtitle 3">
              <a:extLst>
                <a:ext uri="{FF2B5EF4-FFF2-40B4-BE49-F238E27FC236}">
                  <a16:creationId xmlns:a16="http://schemas.microsoft.com/office/drawing/2014/main" id="{77BFE849-4BB6-1245-8013-9EC80472DD21}"/>
                </a:ext>
              </a:extLst>
            </p:cNvPr>
            <p:cNvSpPr txBox="1">
              <a:spLocks/>
            </p:cNvSpPr>
            <p:nvPr/>
          </p:nvSpPr>
          <p:spPr>
            <a:xfrm>
              <a:off x="361584" y="5706769"/>
              <a:ext cx="1433766" cy="310729"/>
            </a:xfrm>
            <a:prstGeom prst="rect">
              <a:avLst/>
            </a:prstGeom>
          </p:spPr>
          <p:txBody>
            <a:bodyPr/>
            <a:lstStyle>
              <a:lvl1pPr marL="228600" indent="-228600" algn="l" defTabSz="914400" rtl="0" eaLnBrk="1" latinLnBrk="0" hangingPunct="1">
                <a:lnSpc>
                  <a:spcPct val="90000"/>
                </a:lnSpc>
                <a:spcBef>
                  <a:spcPts val="1000"/>
                </a:spcBef>
                <a:buFont typeface="Arial"/>
                <a:buChar char="•"/>
                <a:defRPr sz="1800" kern="1200">
                  <a:solidFill>
                    <a:schemeClr val="accent6">
                      <a:lumMod val="75000"/>
                    </a:schemeClr>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1600" kern="1200">
                  <a:solidFill>
                    <a:schemeClr val="accent6">
                      <a:lumMod val="75000"/>
                    </a:schemeClr>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400" kern="1200">
                  <a:solidFill>
                    <a:schemeClr val="accent6">
                      <a:lumMod val="75000"/>
                    </a:schemeClr>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200" kern="1200">
                  <a:solidFill>
                    <a:schemeClr val="accent6">
                      <a:lumMod val="75000"/>
                    </a:schemeClr>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000" kern="1200">
                  <a:solidFill>
                    <a:schemeClr val="accent6">
                      <a:lumMod val="75000"/>
                    </a:schemeClr>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a:buNone/>
                <a:tabLst/>
                <a:defRPr/>
              </a:pPr>
              <a:r>
                <a:rPr kumimoji="0" lang="en-US" sz="1100" b="1" i="0" u="none" strike="noStrike" kern="1200" cap="none" spc="0" normalizeH="0" baseline="0" noProof="0">
                  <a:ln>
                    <a:noFill/>
                  </a:ln>
                  <a:solidFill>
                    <a:srgbClr val="50235C"/>
                  </a:solidFill>
                  <a:effectLst/>
                  <a:uLnTx/>
                  <a:uFillTx/>
                  <a:latin typeface="Arial" panose="020B0604020202020204"/>
                  <a:ea typeface="+mn-ea"/>
                  <a:cs typeface="+mn-cs"/>
                </a:rPr>
                <a:t>January 2022</a:t>
              </a:r>
            </a:p>
          </p:txBody>
        </p:sp>
        <p:sp>
          <p:nvSpPr>
            <p:cNvPr id="9" name="Subtitle 3">
              <a:extLst>
                <a:ext uri="{FF2B5EF4-FFF2-40B4-BE49-F238E27FC236}">
                  <a16:creationId xmlns:a16="http://schemas.microsoft.com/office/drawing/2014/main" id="{2F615BCD-D044-0C49-BE8D-6AA3E0F21B7D}"/>
                </a:ext>
              </a:extLst>
            </p:cNvPr>
            <p:cNvSpPr txBox="1">
              <a:spLocks/>
            </p:cNvSpPr>
            <p:nvPr/>
          </p:nvSpPr>
          <p:spPr>
            <a:xfrm>
              <a:off x="361584" y="5336081"/>
              <a:ext cx="1433766" cy="310729"/>
            </a:xfrm>
            <a:prstGeom prst="rect">
              <a:avLst/>
            </a:prstGeom>
          </p:spPr>
          <p:txBody>
            <a:bodyPr/>
            <a:lstStyle>
              <a:lvl1pPr marL="228600" indent="-228600" algn="l" defTabSz="914400" rtl="0" eaLnBrk="1" latinLnBrk="0" hangingPunct="1">
                <a:lnSpc>
                  <a:spcPct val="90000"/>
                </a:lnSpc>
                <a:spcBef>
                  <a:spcPts val="1000"/>
                </a:spcBef>
                <a:buFont typeface="Arial"/>
                <a:buChar char="•"/>
                <a:defRPr sz="1800" kern="1200">
                  <a:solidFill>
                    <a:schemeClr val="accent6">
                      <a:lumMod val="75000"/>
                    </a:schemeClr>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1600" kern="1200">
                  <a:solidFill>
                    <a:schemeClr val="accent6">
                      <a:lumMod val="75000"/>
                    </a:schemeClr>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400" kern="1200">
                  <a:solidFill>
                    <a:schemeClr val="accent6">
                      <a:lumMod val="75000"/>
                    </a:schemeClr>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200" kern="1200">
                  <a:solidFill>
                    <a:schemeClr val="accent6">
                      <a:lumMod val="75000"/>
                    </a:schemeClr>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000" kern="1200">
                  <a:solidFill>
                    <a:schemeClr val="accent6">
                      <a:lumMod val="75000"/>
                    </a:schemeClr>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a:buNone/>
                <a:tabLst/>
                <a:defRPr/>
              </a:pPr>
              <a:endParaRPr kumimoji="0" lang="en-US" sz="1100" b="0" i="1" u="none" strike="noStrike" kern="1200" cap="none" spc="0" normalizeH="0" baseline="0" noProof="0">
                <a:ln>
                  <a:noFill/>
                </a:ln>
                <a:solidFill>
                  <a:srgbClr val="FFFFFF">
                    <a:lumMod val="50000"/>
                  </a:srgbClr>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38991567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1DEC92A-C88D-F946-A1A9-8B38E6C4179D}"/>
              </a:ext>
            </a:extLst>
          </p:cNvPr>
          <p:cNvSpPr/>
          <p:nvPr/>
        </p:nvSpPr>
        <p:spPr>
          <a:xfrm>
            <a:off x="517131" y="1623206"/>
            <a:ext cx="3162458" cy="260222"/>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lish-GB" sz="1200" b="1">
                <a:solidFill>
                  <a:srgbClr val="50235C"/>
                </a:solidFill>
              </a:rPr>
              <a:t>Approach &amp; </a:t>
            </a:r>
            <a:r>
              <a:rPr lang="en-GB" sz="1200" b="1">
                <a:solidFill>
                  <a:srgbClr val="50235C"/>
                </a:solidFill>
              </a:rPr>
              <a:t>o</a:t>
            </a:r>
            <a:r>
              <a:rPr lang="english-GB" sz="1200" b="1">
                <a:solidFill>
                  <a:srgbClr val="50235C"/>
                </a:solidFill>
              </a:rPr>
              <a:t>utput</a:t>
            </a:r>
          </a:p>
        </p:txBody>
      </p:sp>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85"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800" b="0" i="0" u="none" strike="noStrike" kern="1200" cap="none" spc="0" normalizeH="0" baseline="0" noProof="0">
              <a:ln>
                <a:noFill/>
              </a:ln>
              <a:solidFill>
                <a:srgbClr val="FFFFFF"/>
              </a:solidFill>
              <a:effectLst/>
              <a:uLnTx/>
              <a:uFillTx/>
              <a:latin typeface="Arial" panose="020B0604020202020204"/>
              <a:ea typeface="+mn-ea"/>
              <a:cs typeface="+mn-cs"/>
              <a:sym typeface="Arial" panose="020B0604020202020204" pitchFamily="34" charset="0"/>
            </a:endParaRPr>
          </a:p>
        </p:txBody>
      </p:sp>
      <p:sp>
        <p:nvSpPr>
          <p:cNvPr id="2" name="Title 1"/>
          <p:cNvSpPr>
            <a:spLocks noGrp="1"/>
          </p:cNvSpPr>
          <p:nvPr>
            <p:ph type="title"/>
          </p:nvPr>
        </p:nvSpPr>
        <p:spPr>
          <a:xfrm>
            <a:off x="510638" y="297277"/>
            <a:ext cx="9321425" cy="434010"/>
          </a:xfrm>
          <a:prstGeom prst="rect">
            <a:avLst/>
          </a:prstGeom>
        </p:spPr>
        <p:txBody>
          <a:bodyPr/>
          <a:lstStyle/>
          <a:p>
            <a:r>
              <a:rPr lang="en-GB"/>
              <a:t>Executive summary: Service mapping and gap analysis </a:t>
            </a:r>
          </a:p>
        </p:txBody>
      </p:sp>
      <p:sp>
        <p:nvSpPr>
          <p:cNvPr id="5" name="Footer Placeholder 4">
            <a:extLst>
              <a:ext uri="{FF2B5EF4-FFF2-40B4-BE49-F238E27FC236}">
                <a16:creationId xmlns:a16="http://schemas.microsoft.com/office/drawing/2014/main" id="{8378A888-C2F3-1F46-BFE9-6AED0C113342}"/>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50235C"/>
                </a:solidFill>
                <a:effectLst/>
                <a:uLnTx/>
                <a:uFillTx/>
                <a:latin typeface="Arial" panose="020B0604020202020204"/>
                <a:ea typeface="+mn-ea"/>
                <a:cs typeface="+mn-cs"/>
              </a:rPr>
              <a:t>© Moorhouse 2021 [Restricted]</a:t>
            </a:r>
          </a:p>
        </p:txBody>
      </p:sp>
      <p:sp>
        <p:nvSpPr>
          <p:cNvPr id="27" name="Rectangle 26">
            <a:extLst>
              <a:ext uri="{FF2B5EF4-FFF2-40B4-BE49-F238E27FC236}">
                <a16:creationId xmlns:a16="http://schemas.microsoft.com/office/drawing/2014/main" id="{4EFAD1A4-9034-8448-A693-CCB4220B8B5E}"/>
              </a:ext>
            </a:extLst>
          </p:cNvPr>
          <p:cNvSpPr/>
          <p:nvPr/>
        </p:nvSpPr>
        <p:spPr>
          <a:xfrm>
            <a:off x="510638" y="871696"/>
            <a:ext cx="11272233" cy="461665"/>
          </a:xfrm>
          <a:prstGeom prst="rect">
            <a:avLst/>
          </a:prstGeom>
        </p:spPr>
        <p:txBody>
          <a:bodyPr wrap="square" lIns="0">
            <a:spAutoFit/>
          </a:bodyPr>
          <a:lstStyle/>
          <a:p>
            <a:r>
              <a:rPr lang="en-GB" sz="1200" b="1">
                <a:solidFill>
                  <a:srgbClr val="51235C"/>
                </a:solidFill>
                <a:latin typeface="Arial" panose="020B0604020202020204" pitchFamily="34" charset="0"/>
                <a:cs typeface="Arial" panose="020B0604020202020204" pitchFamily="34" charset="0"/>
              </a:rPr>
              <a:t>Stakeholder interviews and a desktop review were used to map the current mental health services across STW, to support a gap analysis of the existing service provision and the development of a vision and strategy for the future. </a:t>
            </a:r>
          </a:p>
        </p:txBody>
      </p:sp>
      <p:cxnSp>
        <p:nvCxnSpPr>
          <p:cNvPr id="29" name="Straight Connector 28">
            <a:extLst>
              <a:ext uri="{FF2B5EF4-FFF2-40B4-BE49-F238E27FC236}">
                <a16:creationId xmlns:a16="http://schemas.microsoft.com/office/drawing/2014/main" id="{614F206B-05A2-7C4C-95E4-28B2D9B67F64}"/>
              </a:ext>
            </a:extLst>
          </p:cNvPr>
          <p:cNvCxnSpPr>
            <a:cxnSpLocks/>
          </p:cNvCxnSpPr>
          <p:nvPr/>
        </p:nvCxnSpPr>
        <p:spPr>
          <a:xfrm>
            <a:off x="4114360" y="1999792"/>
            <a:ext cx="0" cy="4207845"/>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762DF57-84A7-E447-9663-FFF81F2335B2}"/>
              </a:ext>
            </a:extLst>
          </p:cNvPr>
          <p:cNvCxnSpPr>
            <a:cxnSpLocks/>
          </p:cNvCxnSpPr>
          <p:nvPr/>
        </p:nvCxnSpPr>
        <p:spPr>
          <a:xfrm>
            <a:off x="8071378" y="1999792"/>
            <a:ext cx="0" cy="4207845"/>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5831CEDB-D38E-1343-BE9C-83F0EFBBD13F}"/>
              </a:ext>
            </a:extLst>
          </p:cNvPr>
          <p:cNvSpPr txBox="1"/>
          <p:nvPr/>
        </p:nvSpPr>
        <p:spPr>
          <a:xfrm>
            <a:off x="4491059" y="1623206"/>
            <a:ext cx="3162467" cy="276999"/>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2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b="1">
                <a:solidFill>
                  <a:srgbClr val="50235C"/>
                </a:solidFill>
              </a:rPr>
              <a:t>Findings</a:t>
            </a:r>
          </a:p>
        </p:txBody>
      </p:sp>
      <p:sp>
        <p:nvSpPr>
          <p:cNvPr id="40" name="TextBox 39">
            <a:extLst>
              <a:ext uri="{FF2B5EF4-FFF2-40B4-BE49-F238E27FC236}">
                <a16:creationId xmlns:a16="http://schemas.microsoft.com/office/drawing/2014/main" id="{E1C0E2C8-7B47-E548-A07D-68D7A4F22BA7}"/>
              </a:ext>
            </a:extLst>
          </p:cNvPr>
          <p:cNvSpPr txBox="1"/>
          <p:nvPr/>
        </p:nvSpPr>
        <p:spPr>
          <a:xfrm>
            <a:off x="8464995" y="1623206"/>
            <a:ext cx="3162467" cy="276999"/>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2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b="1">
                <a:solidFill>
                  <a:srgbClr val="50235C"/>
                </a:solidFill>
              </a:rPr>
              <a:t>Recommendations &amp; next steps</a:t>
            </a:r>
          </a:p>
        </p:txBody>
      </p:sp>
      <p:sp>
        <p:nvSpPr>
          <p:cNvPr id="43" name="Rectangle 42">
            <a:extLst>
              <a:ext uri="{FF2B5EF4-FFF2-40B4-BE49-F238E27FC236}">
                <a16:creationId xmlns:a16="http://schemas.microsoft.com/office/drawing/2014/main" id="{6722C459-EA4B-9046-BFE4-5ADCCCE9822B}"/>
              </a:ext>
            </a:extLst>
          </p:cNvPr>
          <p:cNvSpPr/>
          <p:nvPr/>
        </p:nvSpPr>
        <p:spPr>
          <a:xfrm rot="16200000">
            <a:off x="-455689" y="5587903"/>
            <a:ext cx="1668641" cy="276999"/>
          </a:xfrm>
          <a:prstGeom prst="rect">
            <a:avLst/>
          </a:prstGeom>
        </p:spPr>
        <p:txBody>
          <a:bodyPr wrap="square" lIns="0">
            <a:spAutoFit/>
          </a:bodyPr>
          <a:lstStyle/>
          <a:p>
            <a:pPr algn="ctr"/>
            <a:r>
              <a:rPr lang="en-GB" sz="1200" b="1">
                <a:solidFill>
                  <a:srgbClr val="51235C"/>
                </a:solidFill>
                <a:latin typeface="Arial" panose="020B0604020202020204" pitchFamily="34" charset="0"/>
                <a:cs typeface="Arial" panose="020B0604020202020204" pitchFamily="34" charset="0"/>
              </a:rPr>
              <a:t>Output</a:t>
            </a:r>
          </a:p>
        </p:txBody>
      </p:sp>
      <p:sp>
        <p:nvSpPr>
          <p:cNvPr id="44" name="Rectangle 43">
            <a:extLst>
              <a:ext uri="{FF2B5EF4-FFF2-40B4-BE49-F238E27FC236}">
                <a16:creationId xmlns:a16="http://schemas.microsoft.com/office/drawing/2014/main" id="{94F77078-9FB8-334E-9C10-E9F04E16BBA7}"/>
              </a:ext>
            </a:extLst>
          </p:cNvPr>
          <p:cNvSpPr/>
          <p:nvPr/>
        </p:nvSpPr>
        <p:spPr>
          <a:xfrm>
            <a:off x="510638" y="4974572"/>
            <a:ext cx="3168951" cy="1472805"/>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45" name="Picture 44">
            <a:extLst>
              <a:ext uri="{FF2B5EF4-FFF2-40B4-BE49-F238E27FC236}">
                <a16:creationId xmlns:a16="http://schemas.microsoft.com/office/drawing/2014/main" id="{948F28F6-61E2-7243-997A-555466F62827}"/>
              </a:ext>
            </a:extLst>
          </p:cNvPr>
          <p:cNvPicPr>
            <a:picLocks noChangeAspect="1"/>
          </p:cNvPicPr>
          <p:nvPr/>
        </p:nvPicPr>
        <p:blipFill>
          <a:blip r:embed="rId8"/>
          <a:stretch>
            <a:fillRect/>
          </a:stretch>
        </p:blipFill>
        <p:spPr>
          <a:xfrm>
            <a:off x="757262" y="5159456"/>
            <a:ext cx="1022878" cy="826848"/>
          </a:xfrm>
          <a:prstGeom prst="rect">
            <a:avLst/>
          </a:prstGeom>
          <a:ln>
            <a:solidFill>
              <a:srgbClr val="50235B"/>
            </a:solidFill>
          </a:ln>
          <a:effectLst>
            <a:outerShdw blurRad="50800" dist="38100" dir="8100000" algn="tr" rotWithShape="0">
              <a:prstClr val="black">
                <a:alpha val="40000"/>
              </a:prstClr>
            </a:outerShdw>
          </a:effectLst>
        </p:spPr>
      </p:pic>
      <p:pic>
        <p:nvPicPr>
          <p:cNvPr id="46" name="Picture 45">
            <a:extLst>
              <a:ext uri="{FF2B5EF4-FFF2-40B4-BE49-F238E27FC236}">
                <a16:creationId xmlns:a16="http://schemas.microsoft.com/office/drawing/2014/main" id="{6BA8DE75-D227-DB40-A572-28050B78841A}"/>
              </a:ext>
            </a:extLst>
          </p:cNvPr>
          <p:cNvPicPr>
            <a:picLocks noChangeAspect="1"/>
          </p:cNvPicPr>
          <p:nvPr/>
        </p:nvPicPr>
        <p:blipFill>
          <a:blip r:embed="rId9"/>
          <a:stretch>
            <a:fillRect/>
          </a:stretch>
        </p:blipFill>
        <p:spPr>
          <a:xfrm>
            <a:off x="2077553" y="5169214"/>
            <a:ext cx="1435258" cy="807333"/>
          </a:xfrm>
          <a:prstGeom prst="rect">
            <a:avLst/>
          </a:prstGeom>
          <a:ln>
            <a:solidFill>
              <a:srgbClr val="50235B"/>
            </a:solidFill>
          </a:ln>
          <a:effectLst>
            <a:outerShdw blurRad="50800" dist="38100" dir="8100000" algn="tr" rotWithShape="0">
              <a:prstClr val="black">
                <a:alpha val="40000"/>
              </a:prstClr>
            </a:outerShdw>
          </a:effectLst>
        </p:spPr>
      </p:pic>
      <p:sp>
        <p:nvSpPr>
          <p:cNvPr id="48" name="TextBox 47">
            <a:extLst>
              <a:ext uri="{FF2B5EF4-FFF2-40B4-BE49-F238E27FC236}">
                <a16:creationId xmlns:a16="http://schemas.microsoft.com/office/drawing/2014/main" id="{A64AE93D-4341-5940-88E2-777BF375B524}"/>
              </a:ext>
            </a:extLst>
          </p:cNvPr>
          <p:cNvSpPr txBox="1"/>
          <p:nvPr/>
        </p:nvSpPr>
        <p:spPr>
          <a:xfrm>
            <a:off x="1958638" y="5971963"/>
            <a:ext cx="1511216" cy="430887"/>
          </a:xfrm>
          <a:prstGeom prst="rect">
            <a:avLst/>
          </a:prstGeom>
          <a:noFill/>
        </p:spPr>
        <p:txBody>
          <a:bodyPr wrap="square" lIns="91440" tIns="45720" rIns="91440" bIns="45720" rtlCol="0" anchor="t">
            <a:spAutoFit/>
          </a:bodyPr>
          <a:lstStyle/>
          <a:p>
            <a:pPr marR="0" lvl="0" algn="ctr" defTabSz="914400" rtl="0" eaLnBrk="1" fontAlgn="auto" latinLnBrk="0" hangingPunct="1">
              <a:lnSpc>
                <a:spcPct val="100000"/>
              </a:lnSpc>
              <a:spcBef>
                <a:spcPts val="0"/>
              </a:spcBef>
              <a:spcAft>
                <a:spcPts val="600"/>
              </a:spcAft>
              <a:buClr>
                <a:srgbClr val="50235C"/>
              </a:buClr>
              <a:buSzTx/>
              <a:tabLst/>
              <a:defRPr/>
            </a:pPr>
            <a:r>
              <a:rPr lang="en-GB" sz="1100" spc="-5">
                <a:solidFill>
                  <a:schemeClr val="tx1">
                    <a:lumMod val="50000"/>
                    <a:lumOff val="50000"/>
                  </a:schemeClr>
                </a:solidFill>
                <a:latin typeface="Arial" panose="020B0604020202020204"/>
                <a:cs typeface="Arial"/>
              </a:rPr>
              <a:t>High-level gap analysis</a:t>
            </a:r>
            <a:endParaRPr kumimoji="0" lang="en-GB" sz="11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endParaRPr>
          </a:p>
        </p:txBody>
      </p:sp>
      <p:sp>
        <p:nvSpPr>
          <p:cNvPr id="49" name="TextBox 48">
            <a:extLst>
              <a:ext uri="{FF2B5EF4-FFF2-40B4-BE49-F238E27FC236}">
                <a16:creationId xmlns:a16="http://schemas.microsoft.com/office/drawing/2014/main" id="{EB12C5EA-D5E9-6642-B105-31F682D36F5D}"/>
              </a:ext>
            </a:extLst>
          </p:cNvPr>
          <p:cNvSpPr txBox="1"/>
          <p:nvPr/>
        </p:nvSpPr>
        <p:spPr>
          <a:xfrm>
            <a:off x="440634" y="5971963"/>
            <a:ext cx="1511221" cy="430887"/>
          </a:xfrm>
          <a:prstGeom prst="rect">
            <a:avLst/>
          </a:prstGeom>
          <a:noFill/>
        </p:spPr>
        <p:txBody>
          <a:bodyPr wrap="square" lIns="91440" tIns="45720" rIns="91440" bIns="45720" rtlCol="0" anchor="t">
            <a:spAutoFit/>
          </a:bodyPr>
          <a:lstStyle/>
          <a:p>
            <a:pPr marR="0" lvl="0" algn="ctr" defTabSz="914400" rtl="0" eaLnBrk="1" fontAlgn="auto" latinLnBrk="0" hangingPunct="1">
              <a:lnSpc>
                <a:spcPct val="100000"/>
              </a:lnSpc>
              <a:spcBef>
                <a:spcPts val="0"/>
              </a:spcBef>
              <a:spcAft>
                <a:spcPts val="600"/>
              </a:spcAft>
              <a:buClr>
                <a:srgbClr val="50235C"/>
              </a:buClr>
              <a:buSzTx/>
              <a:tabLst/>
              <a:defRPr/>
            </a:pPr>
            <a:r>
              <a:rPr kumimoji="0" lang="en-GB" sz="11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rPr>
              <a:t>As-is service mapping </a:t>
            </a:r>
          </a:p>
        </p:txBody>
      </p:sp>
      <p:sp>
        <p:nvSpPr>
          <p:cNvPr id="51" name="TextBox 50">
            <a:extLst>
              <a:ext uri="{FF2B5EF4-FFF2-40B4-BE49-F238E27FC236}">
                <a16:creationId xmlns:a16="http://schemas.microsoft.com/office/drawing/2014/main" id="{390FA1DD-16DF-2E48-8A6B-AA33E10B0B14}"/>
              </a:ext>
            </a:extLst>
          </p:cNvPr>
          <p:cNvSpPr txBox="1"/>
          <p:nvPr/>
        </p:nvSpPr>
        <p:spPr>
          <a:xfrm>
            <a:off x="510638" y="2126095"/>
            <a:ext cx="3162457" cy="2554545"/>
          </a:xfrm>
          <a:prstGeom prst="rect">
            <a:avLst/>
          </a:prstGeom>
          <a:noFill/>
        </p:spPr>
        <p:txBody>
          <a:bodyPr wrap="square" rtlCol="0">
            <a:spAutoFit/>
          </a:bodyPr>
          <a:lstStyle/>
          <a:p>
            <a:pPr marL="184150" lvl="0" indent="-184150">
              <a:spcBef>
                <a:spcPts val="400"/>
              </a:spcBef>
              <a:spcAft>
                <a:spcPts val="400"/>
              </a:spcAft>
              <a:buClr>
                <a:schemeClr val="tx2">
                  <a:lumMod val="65000"/>
                  <a:lumOff val="35000"/>
                </a:schemeClr>
              </a:buClr>
              <a:buFont typeface="Arial" panose="020B0604020202020204" pitchFamily="34" charset="0"/>
              <a:buChar char="•"/>
              <a:defRPr/>
            </a:pPr>
            <a:r>
              <a:rPr lang="en-GB" sz="1000" b="1">
                <a:solidFill>
                  <a:schemeClr val="tx2">
                    <a:lumMod val="65000"/>
                    <a:lumOff val="35000"/>
                  </a:schemeClr>
                </a:solidFill>
                <a:latin typeface="Arial" panose="020B0604020202020204" pitchFamily="34" charset="0"/>
                <a:cs typeface="Arial" panose="020B0604020202020204" pitchFamily="34" charset="0"/>
              </a:rPr>
              <a:t>Interviews conducted with &gt;60 stakeholders and service users </a:t>
            </a:r>
            <a:r>
              <a:rPr lang="en-GB" sz="1000">
                <a:solidFill>
                  <a:schemeClr val="tx2">
                    <a:lumMod val="65000"/>
                    <a:lumOff val="35000"/>
                  </a:schemeClr>
                </a:solidFill>
                <a:latin typeface="Arial" panose="020B0604020202020204" pitchFamily="34" charset="0"/>
                <a:cs typeface="Arial" panose="020B0604020202020204" pitchFamily="34" charset="0"/>
              </a:rPr>
              <a:t>representing mental health, physical health, CCG, council, third sector and provider organisations to capture and map existing services and understand their strengths, existing gaps, and challenges.</a:t>
            </a:r>
          </a:p>
          <a:p>
            <a:pPr marL="184150" lvl="0" indent="-184150">
              <a:spcBef>
                <a:spcPts val="400"/>
              </a:spcBef>
              <a:spcAft>
                <a:spcPts val="400"/>
              </a:spcAft>
              <a:buClr>
                <a:schemeClr val="tx2">
                  <a:lumMod val="65000"/>
                  <a:lumOff val="35000"/>
                </a:schemeClr>
              </a:buClr>
              <a:buFont typeface="Arial" panose="020B0604020202020204" pitchFamily="34" charset="0"/>
              <a:buChar char="•"/>
              <a:defRPr/>
            </a:pPr>
            <a:r>
              <a:rPr lang="en-GB" sz="1000" b="1">
                <a:solidFill>
                  <a:schemeClr val="tx2">
                    <a:lumMod val="65000"/>
                    <a:lumOff val="35000"/>
                  </a:schemeClr>
                </a:solidFill>
                <a:latin typeface="Arial" panose="020B0604020202020204" pitchFamily="34" charset="0"/>
                <a:cs typeface="Arial" panose="020B0604020202020204" pitchFamily="34" charset="0"/>
              </a:rPr>
              <a:t>Map existing Mental Health services </a:t>
            </a:r>
            <a:r>
              <a:rPr lang="en-GB" sz="1000">
                <a:solidFill>
                  <a:schemeClr val="tx2">
                    <a:lumMod val="65000"/>
                    <a:lumOff val="35000"/>
                  </a:schemeClr>
                </a:solidFill>
                <a:latin typeface="Arial" panose="020B0604020202020204" pitchFamily="34" charset="0"/>
                <a:cs typeface="Arial" panose="020B0604020202020204" pitchFamily="34" charset="0"/>
              </a:rPr>
              <a:t>across STW into a service directory.</a:t>
            </a:r>
          </a:p>
          <a:p>
            <a:pPr marL="184150" lvl="0" indent="-184150">
              <a:spcBef>
                <a:spcPts val="400"/>
              </a:spcBef>
              <a:spcAft>
                <a:spcPts val="400"/>
              </a:spcAft>
              <a:buClr>
                <a:schemeClr val="tx2">
                  <a:lumMod val="65000"/>
                  <a:lumOff val="35000"/>
                </a:schemeClr>
              </a:buClr>
              <a:buFont typeface="Arial" panose="020B0604020202020204" pitchFamily="34" charset="0"/>
              <a:buChar char="•"/>
              <a:defRPr/>
            </a:pPr>
            <a:r>
              <a:rPr lang="en-GB" sz="1000" b="1">
                <a:solidFill>
                  <a:schemeClr val="tx2">
                    <a:lumMod val="65000"/>
                    <a:lumOff val="35000"/>
                  </a:schemeClr>
                </a:solidFill>
                <a:latin typeface="Arial" panose="020B0604020202020204" pitchFamily="34" charset="0"/>
                <a:cs typeface="Arial" panose="020B0604020202020204" pitchFamily="34" charset="0"/>
              </a:rPr>
              <a:t>Conduct a gap analysis </a:t>
            </a:r>
            <a:r>
              <a:rPr lang="en-GB" sz="1000">
                <a:solidFill>
                  <a:schemeClr val="tx2">
                    <a:lumMod val="65000"/>
                    <a:lumOff val="35000"/>
                  </a:schemeClr>
                </a:solidFill>
                <a:latin typeface="Arial" panose="020B0604020202020204" pitchFamily="34" charset="0"/>
                <a:cs typeface="Arial" panose="020B0604020202020204" pitchFamily="34" charset="0"/>
              </a:rPr>
              <a:t>to assess where service provision is challenged and where improvement opportunities exist. </a:t>
            </a:r>
          </a:p>
          <a:p>
            <a:pPr marL="184150" lvl="0" indent="-184150">
              <a:spcBef>
                <a:spcPts val="400"/>
              </a:spcBef>
              <a:spcAft>
                <a:spcPts val="400"/>
              </a:spcAft>
              <a:buClr>
                <a:schemeClr val="tx2">
                  <a:lumMod val="65000"/>
                  <a:lumOff val="35000"/>
                </a:schemeClr>
              </a:buClr>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Use the outputs of the gap analysis to </a:t>
            </a:r>
            <a:r>
              <a:rPr lang="en-GB" sz="1000" b="1">
                <a:solidFill>
                  <a:schemeClr val="tx2">
                    <a:lumMod val="65000"/>
                    <a:lumOff val="35000"/>
                  </a:schemeClr>
                </a:solidFill>
                <a:latin typeface="Arial" panose="020B0604020202020204" pitchFamily="34" charset="0"/>
                <a:cs typeface="Arial" panose="020B0604020202020204" pitchFamily="34" charset="0"/>
              </a:rPr>
              <a:t>inform the development of a vision and strategy for mental health services </a:t>
            </a:r>
            <a:r>
              <a:rPr lang="en-GB" sz="1000">
                <a:solidFill>
                  <a:schemeClr val="tx2">
                    <a:lumMod val="65000"/>
                    <a:lumOff val="35000"/>
                  </a:schemeClr>
                </a:solidFill>
                <a:latin typeface="Arial" panose="020B0604020202020204" pitchFamily="34" charset="0"/>
                <a:cs typeface="Arial" panose="020B0604020202020204" pitchFamily="34" charset="0"/>
              </a:rPr>
              <a:t>across STW.</a:t>
            </a:r>
          </a:p>
        </p:txBody>
      </p:sp>
      <p:sp>
        <p:nvSpPr>
          <p:cNvPr id="52" name="TextBox 51">
            <a:extLst>
              <a:ext uri="{FF2B5EF4-FFF2-40B4-BE49-F238E27FC236}">
                <a16:creationId xmlns:a16="http://schemas.microsoft.com/office/drawing/2014/main" id="{C37DDBA5-5D7E-DA48-82EE-A53F018A0B51}"/>
              </a:ext>
            </a:extLst>
          </p:cNvPr>
          <p:cNvSpPr txBox="1"/>
          <p:nvPr/>
        </p:nvSpPr>
        <p:spPr>
          <a:xfrm>
            <a:off x="4491058" y="2126096"/>
            <a:ext cx="3162467" cy="4324261"/>
          </a:xfrm>
          <a:prstGeom prst="rect">
            <a:avLst/>
          </a:prstGeom>
          <a:noFill/>
        </p:spPr>
        <p:txBody>
          <a:bodyPr wrap="square" rtlCol="0">
            <a:spAutoFit/>
          </a:bodyPr>
          <a:lstStyle/>
          <a:p>
            <a:pPr marL="184150" lvl="0" indent="-184150">
              <a:spcBef>
                <a:spcPts val="300"/>
              </a:spcBef>
              <a:spcAft>
                <a:spcPts val="300"/>
              </a:spcAft>
              <a:buClr>
                <a:schemeClr val="tx2">
                  <a:lumMod val="65000"/>
                  <a:lumOff val="35000"/>
                </a:schemeClr>
              </a:buClr>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As of winter 2021, there are </a:t>
            </a:r>
            <a:r>
              <a:rPr lang="en-GB" sz="1000" b="1">
                <a:solidFill>
                  <a:schemeClr val="tx2">
                    <a:lumMod val="65000"/>
                    <a:lumOff val="35000"/>
                  </a:schemeClr>
                </a:solidFill>
                <a:latin typeface="Arial" panose="020B0604020202020204" pitchFamily="34" charset="0"/>
                <a:cs typeface="Arial" panose="020B0604020202020204" pitchFamily="34" charset="0"/>
              </a:rPr>
              <a:t>76 mental health services </a:t>
            </a:r>
            <a:r>
              <a:rPr lang="en-GB" sz="1000">
                <a:solidFill>
                  <a:schemeClr val="tx2">
                    <a:lumMod val="65000"/>
                    <a:lumOff val="35000"/>
                  </a:schemeClr>
                </a:solidFill>
                <a:latin typeface="Arial" panose="020B0604020202020204" pitchFamily="34" charset="0"/>
                <a:cs typeface="Arial" panose="020B0604020202020204" pitchFamily="34" charset="0"/>
              </a:rPr>
              <a:t>across STW ICS</a:t>
            </a:r>
            <a:r>
              <a:rPr lang="en-GB" sz="1000" b="1">
                <a:solidFill>
                  <a:schemeClr val="tx2">
                    <a:lumMod val="65000"/>
                    <a:lumOff val="35000"/>
                  </a:schemeClr>
                </a:solidFill>
                <a:latin typeface="Arial" panose="020B0604020202020204" pitchFamily="34" charset="0"/>
                <a:cs typeface="Arial" panose="020B0604020202020204" pitchFamily="34" charset="0"/>
              </a:rPr>
              <a:t>. </a:t>
            </a:r>
          </a:p>
          <a:p>
            <a:pPr marL="184150" lvl="0" indent="-184150">
              <a:spcBef>
                <a:spcPts val="300"/>
              </a:spcBef>
              <a:spcAft>
                <a:spcPts val="300"/>
              </a:spcAft>
              <a:buClr>
                <a:schemeClr val="tx2">
                  <a:lumMod val="65000"/>
                  <a:lumOff val="35000"/>
                </a:schemeClr>
              </a:buClr>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These can be categorised by provider type </a:t>
            </a:r>
          </a:p>
          <a:p>
            <a:pPr marL="311150" lvl="1" indent="-131763">
              <a:spcBef>
                <a:spcPts val="300"/>
              </a:spcBef>
              <a:spcAft>
                <a:spcPts val="300"/>
              </a:spcAft>
              <a:buClr>
                <a:schemeClr val="tx2">
                  <a:lumMod val="65000"/>
                  <a:lumOff val="35000"/>
                </a:schemeClr>
              </a:buClr>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34 services offered by the third sector.</a:t>
            </a:r>
          </a:p>
          <a:p>
            <a:pPr marL="311150" lvl="1" indent="-131763">
              <a:spcBef>
                <a:spcPts val="300"/>
              </a:spcBef>
              <a:spcAft>
                <a:spcPts val="300"/>
              </a:spcAft>
              <a:buClr>
                <a:schemeClr val="tx2">
                  <a:lumMod val="65000"/>
                  <a:lumOff val="35000"/>
                </a:schemeClr>
              </a:buClr>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35 services offered by the health sector.</a:t>
            </a:r>
          </a:p>
          <a:p>
            <a:pPr marL="311150" lvl="1" indent="-131763">
              <a:spcBef>
                <a:spcPts val="300"/>
              </a:spcBef>
              <a:spcAft>
                <a:spcPts val="300"/>
              </a:spcAft>
              <a:buClr>
                <a:schemeClr val="tx2">
                  <a:lumMod val="65000"/>
                  <a:lumOff val="35000"/>
                </a:schemeClr>
              </a:buClr>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Remaining services offered by local councils and other public sector organisations. </a:t>
            </a:r>
          </a:p>
          <a:p>
            <a:pPr marL="184150" indent="-184150">
              <a:spcBef>
                <a:spcPts val="300"/>
              </a:spcBef>
              <a:spcAft>
                <a:spcPts val="300"/>
              </a:spcAft>
              <a:buClr>
                <a:schemeClr val="tx2">
                  <a:lumMod val="65000"/>
                  <a:lumOff val="35000"/>
                </a:schemeClr>
              </a:buClr>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Based on interviews, the strengths, challenges and gaps in existing service provision were identified and categorised into six key themes:</a:t>
            </a:r>
          </a:p>
          <a:p>
            <a:pPr marL="311150" lvl="1" indent="-131763">
              <a:spcBef>
                <a:spcPts val="300"/>
              </a:spcBef>
              <a:spcAft>
                <a:spcPts val="300"/>
              </a:spcAft>
              <a:buClr>
                <a:schemeClr val="tx2">
                  <a:lumMod val="65000"/>
                  <a:lumOff val="35000"/>
                </a:schemeClr>
              </a:buClr>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Partnerships and collaborative working</a:t>
            </a:r>
          </a:p>
          <a:p>
            <a:pPr marL="311150" lvl="1" indent="-131763">
              <a:spcBef>
                <a:spcPts val="300"/>
              </a:spcBef>
              <a:spcAft>
                <a:spcPts val="300"/>
              </a:spcAft>
              <a:buClr>
                <a:schemeClr val="tx2">
                  <a:lumMod val="65000"/>
                  <a:lumOff val="35000"/>
                </a:schemeClr>
              </a:buClr>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Proactive commissioning and planning</a:t>
            </a:r>
          </a:p>
          <a:p>
            <a:pPr marL="311150" lvl="1" indent="-131763">
              <a:spcBef>
                <a:spcPts val="300"/>
              </a:spcBef>
              <a:spcAft>
                <a:spcPts val="300"/>
              </a:spcAft>
              <a:buClr>
                <a:schemeClr val="tx2">
                  <a:lumMod val="65000"/>
                  <a:lumOff val="35000"/>
                </a:schemeClr>
              </a:buClr>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Oversight and Investment</a:t>
            </a:r>
          </a:p>
          <a:p>
            <a:pPr marL="311150" lvl="1" indent="-131763">
              <a:spcBef>
                <a:spcPts val="300"/>
              </a:spcBef>
              <a:spcAft>
                <a:spcPts val="300"/>
              </a:spcAft>
              <a:buClr>
                <a:schemeClr val="tx2">
                  <a:lumMod val="65000"/>
                  <a:lumOff val="35000"/>
                </a:schemeClr>
              </a:buClr>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Information sharing and communication</a:t>
            </a:r>
          </a:p>
          <a:p>
            <a:pPr marL="311150" lvl="1" indent="-131763">
              <a:spcBef>
                <a:spcPts val="300"/>
              </a:spcBef>
              <a:spcAft>
                <a:spcPts val="300"/>
              </a:spcAft>
              <a:buClr>
                <a:schemeClr val="tx2">
                  <a:lumMod val="65000"/>
                  <a:lumOff val="35000"/>
                </a:schemeClr>
              </a:buClr>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Responsive care</a:t>
            </a:r>
          </a:p>
          <a:p>
            <a:pPr marL="311150" lvl="1" indent="-131763">
              <a:spcBef>
                <a:spcPts val="300"/>
              </a:spcBef>
              <a:spcAft>
                <a:spcPts val="300"/>
              </a:spcAft>
              <a:buClr>
                <a:schemeClr val="tx2">
                  <a:lumMod val="65000"/>
                  <a:lumOff val="35000"/>
                </a:schemeClr>
              </a:buClr>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Empowering a sustainable workforce</a:t>
            </a:r>
          </a:p>
          <a:p>
            <a:pPr marL="179388" lvl="1" indent="-179388">
              <a:spcBef>
                <a:spcPts val="300"/>
              </a:spcBef>
              <a:spcAft>
                <a:spcPts val="300"/>
              </a:spcAft>
              <a:buClr>
                <a:schemeClr val="tx2">
                  <a:lumMod val="65000"/>
                  <a:lumOff val="35000"/>
                </a:schemeClr>
              </a:buClr>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Key challenges of funding and resource limitations were found across a wide range of services.</a:t>
            </a:r>
          </a:p>
          <a:p>
            <a:pPr marL="179388" lvl="1" indent="-179388">
              <a:spcBef>
                <a:spcPts val="300"/>
              </a:spcBef>
              <a:spcAft>
                <a:spcPts val="300"/>
              </a:spcAft>
              <a:buClr>
                <a:schemeClr val="tx2">
                  <a:lumMod val="65000"/>
                  <a:lumOff val="35000"/>
                </a:schemeClr>
              </a:buClr>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Three areas of challenge for staff and service users were identified for further exploration.</a:t>
            </a:r>
          </a:p>
        </p:txBody>
      </p:sp>
      <p:graphicFrame>
        <p:nvGraphicFramePr>
          <p:cNvPr id="23" name="Table 22">
            <a:extLst>
              <a:ext uri="{FF2B5EF4-FFF2-40B4-BE49-F238E27FC236}">
                <a16:creationId xmlns:a16="http://schemas.microsoft.com/office/drawing/2014/main" id="{BF01113C-4355-AA41-ACC8-FB5FB953F491}"/>
              </a:ext>
            </a:extLst>
          </p:cNvPr>
          <p:cNvGraphicFramePr>
            <a:graphicFrameLocks noGrp="1"/>
          </p:cNvGraphicFramePr>
          <p:nvPr>
            <p:extLst>
              <p:ext uri="{D42A27DB-BD31-4B8C-83A1-F6EECF244321}">
                <p14:modId xmlns:p14="http://schemas.microsoft.com/office/powerpoint/2010/main" val="1754283390"/>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A"/>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
        <p:nvSpPr>
          <p:cNvPr id="24" name="TextBox 23">
            <a:extLst>
              <a:ext uri="{FF2B5EF4-FFF2-40B4-BE49-F238E27FC236}">
                <a16:creationId xmlns:a16="http://schemas.microsoft.com/office/drawing/2014/main" id="{774854AB-C44D-0E4B-B80A-C2F5D8CBADEE}"/>
              </a:ext>
            </a:extLst>
          </p:cNvPr>
          <p:cNvSpPr txBox="1"/>
          <p:nvPr/>
        </p:nvSpPr>
        <p:spPr>
          <a:xfrm>
            <a:off x="8483414" y="2126095"/>
            <a:ext cx="3162467" cy="3785652"/>
          </a:xfrm>
          <a:prstGeom prst="rect">
            <a:avLst/>
          </a:prstGeom>
          <a:noFill/>
        </p:spPr>
        <p:txBody>
          <a:bodyPr wrap="square" rtlCol="0">
            <a:spAutoFit/>
          </a:bodyPr>
          <a:lstStyle/>
          <a:p>
            <a:pPr marL="184150" lvl="0" indent="-184150">
              <a:spcBef>
                <a:spcPts val="600"/>
              </a:spcBef>
              <a:spcAft>
                <a:spcPts val="600"/>
              </a:spcAft>
              <a:buClr>
                <a:schemeClr val="tx2">
                  <a:lumMod val="65000"/>
                  <a:lumOff val="35000"/>
                </a:schemeClr>
              </a:buClr>
              <a:buFont typeface="Arial" panose="020B0604020202020204" pitchFamily="34" charset="0"/>
              <a:buChar char="•"/>
              <a:defRPr/>
            </a:pPr>
            <a:r>
              <a:rPr lang="en-GB" sz="1000" b="1">
                <a:solidFill>
                  <a:schemeClr val="tx2">
                    <a:lumMod val="65000"/>
                    <a:lumOff val="35000"/>
                  </a:schemeClr>
                </a:solidFill>
                <a:latin typeface="Arial" panose="020B0604020202020204" pitchFamily="34" charset="0"/>
                <a:cs typeface="Arial" panose="020B0604020202020204" pitchFamily="34" charset="0"/>
              </a:rPr>
              <a:t>Deep-dive into each of the areas of service user challenge </a:t>
            </a:r>
            <a:r>
              <a:rPr lang="en-GB" sz="1000">
                <a:solidFill>
                  <a:schemeClr val="tx2">
                    <a:lumMod val="65000"/>
                    <a:lumOff val="35000"/>
                  </a:schemeClr>
                </a:solidFill>
                <a:latin typeface="Arial" panose="020B0604020202020204" pitchFamily="34" charset="0"/>
                <a:cs typeface="Arial" panose="020B0604020202020204" pitchFamily="34" charset="0"/>
              </a:rPr>
              <a:t>to validate, test and explore the pain points and flows for patients in these common areas.  </a:t>
            </a:r>
          </a:p>
          <a:p>
            <a:pPr marL="184150" lvl="0" indent="-184150">
              <a:spcBef>
                <a:spcPts val="600"/>
              </a:spcBef>
              <a:spcAft>
                <a:spcPts val="600"/>
              </a:spcAft>
              <a:buClr>
                <a:schemeClr val="tx2">
                  <a:lumMod val="65000"/>
                  <a:lumOff val="35000"/>
                </a:schemeClr>
              </a:buClr>
              <a:buFont typeface="Arial" panose="020B0604020202020204" pitchFamily="34" charset="0"/>
              <a:buChar char="•"/>
              <a:defRPr/>
            </a:pPr>
            <a:r>
              <a:rPr lang="en-GB" sz="1000" b="1">
                <a:solidFill>
                  <a:schemeClr val="tx2">
                    <a:lumMod val="65000"/>
                    <a:lumOff val="35000"/>
                  </a:schemeClr>
                </a:solidFill>
                <a:latin typeface="Arial" panose="020B0604020202020204" pitchFamily="34" charset="0"/>
                <a:cs typeface="Arial" panose="020B0604020202020204" pitchFamily="34" charset="0"/>
              </a:rPr>
              <a:t>Explore the three areas of staff and patient challenge </a:t>
            </a:r>
            <a:r>
              <a:rPr lang="en-GB" sz="1000">
                <a:solidFill>
                  <a:schemeClr val="tx2">
                    <a:lumMod val="65000"/>
                    <a:lumOff val="35000"/>
                  </a:schemeClr>
                </a:solidFill>
                <a:latin typeface="Arial" panose="020B0604020202020204" pitchFamily="34" charset="0"/>
                <a:cs typeface="Arial" panose="020B0604020202020204" pitchFamily="34" charset="0"/>
              </a:rPr>
              <a:t>to understand the journey in more detail to support the gap analysis and the production of tactical recommendations for improvement. </a:t>
            </a:r>
          </a:p>
          <a:p>
            <a:pPr marL="184150" lvl="0" indent="-184150">
              <a:spcBef>
                <a:spcPts val="600"/>
              </a:spcBef>
              <a:spcAft>
                <a:spcPts val="600"/>
              </a:spcAft>
              <a:buClr>
                <a:schemeClr val="tx2">
                  <a:lumMod val="65000"/>
                  <a:lumOff val="35000"/>
                </a:schemeClr>
              </a:buClr>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Over the long term, conduct a </a:t>
            </a:r>
            <a:r>
              <a:rPr lang="en-GB" sz="1000" b="1">
                <a:solidFill>
                  <a:schemeClr val="tx2">
                    <a:lumMod val="65000"/>
                    <a:lumOff val="35000"/>
                  </a:schemeClr>
                </a:solidFill>
                <a:latin typeface="Arial" panose="020B0604020202020204" pitchFamily="34" charset="0"/>
                <a:cs typeface="Arial" panose="020B0604020202020204" pitchFamily="34" charset="0"/>
              </a:rPr>
              <a:t>root cause analysis of the gaps and challenges </a:t>
            </a:r>
            <a:r>
              <a:rPr lang="en-GB" sz="1000">
                <a:solidFill>
                  <a:schemeClr val="tx2">
                    <a:lumMod val="65000"/>
                    <a:lumOff val="35000"/>
                  </a:schemeClr>
                </a:solidFill>
                <a:latin typeface="Arial" panose="020B0604020202020204" pitchFamily="34" charset="0"/>
                <a:cs typeface="Arial" panose="020B0604020202020204" pitchFamily="34" charset="0"/>
              </a:rPr>
              <a:t>across the system to identify the common factors such as limited funding and / or resources that are causing the gaps and challenges. </a:t>
            </a:r>
          </a:p>
          <a:p>
            <a:pPr marL="184150" lvl="0" indent="-184150">
              <a:spcBef>
                <a:spcPts val="600"/>
              </a:spcBef>
              <a:spcAft>
                <a:spcPts val="600"/>
              </a:spcAft>
              <a:buClr>
                <a:schemeClr val="tx2">
                  <a:lumMod val="65000"/>
                  <a:lumOff val="35000"/>
                </a:schemeClr>
              </a:buClr>
              <a:buFont typeface="Arial" panose="020B0604020202020204" pitchFamily="34" charset="0"/>
              <a:buChar char="•"/>
              <a:defRPr/>
            </a:pPr>
            <a:r>
              <a:rPr lang="en-GB" sz="1000" b="1">
                <a:solidFill>
                  <a:schemeClr val="tx2">
                    <a:lumMod val="65000"/>
                    <a:lumOff val="35000"/>
                  </a:schemeClr>
                </a:solidFill>
                <a:latin typeface="Arial" panose="020B0604020202020204" pitchFamily="34" charset="0"/>
                <a:cs typeface="Arial" panose="020B0604020202020204" pitchFamily="34" charset="0"/>
              </a:rPr>
              <a:t>Utilise the service mapping document to support staff across the system to gain a better understanding of the service provision</a:t>
            </a:r>
            <a:r>
              <a:rPr lang="en-GB" sz="1000">
                <a:solidFill>
                  <a:schemeClr val="tx2">
                    <a:lumMod val="65000"/>
                    <a:lumOff val="35000"/>
                  </a:schemeClr>
                </a:solidFill>
                <a:latin typeface="Arial" panose="020B0604020202020204" pitchFamily="34" charset="0"/>
                <a:cs typeface="Arial" panose="020B0604020202020204" pitchFamily="34" charset="0"/>
              </a:rPr>
              <a:t>, entry criteria and scope of existing services such that patients and service users can have improved signposting to the most appropriate services. </a:t>
            </a:r>
          </a:p>
        </p:txBody>
      </p:sp>
    </p:spTree>
    <p:extLst>
      <p:ext uri="{BB962C8B-B14F-4D97-AF65-F5344CB8AC3E}">
        <p14:creationId xmlns:p14="http://schemas.microsoft.com/office/powerpoint/2010/main" val="41847422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33"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en-IN" sz="2800">
              <a:solidFill>
                <a:srgbClr val="FFFFFF"/>
              </a:solidFill>
              <a:sym typeface="Arial" panose="020B0604020202020204" pitchFamily="34" charset="0"/>
            </a:endParaRPr>
          </a:p>
        </p:txBody>
      </p:sp>
      <p:sp>
        <p:nvSpPr>
          <p:cNvPr id="2" name="Title 1"/>
          <p:cNvSpPr>
            <a:spLocks noGrp="1"/>
          </p:cNvSpPr>
          <p:nvPr>
            <p:ph type="title"/>
          </p:nvPr>
        </p:nvSpPr>
        <p:spPr>
          <a:prstGeom prst="rect">
            <a:avLst/>
          </a:prstGeom>
        </p:spPr>
        <p:txBody>
          <a:bodyPr/>
          <a:lstStyle/>
          <a:p>
            <a:r>
              <a:rPr lang="en-US"/>
              <a:t>Summary</a:t>
            </a:r>
            <a:endParaRPr lang="en-IN"/>
          </a:p>
        </p:txBody>
      </p:sp>
      <p:sp>
        <p:nvSpPr>
          <p:cNvPr id="6" name="Footer Placeholder 5">
            <a:extLst>
              <a:ext uri="{FF2B5EF4-FFF2-40B4-BE49-F238E27FC236}">
                <a16:creationId xmlns:a16="http://schemas.microsoft.com/office/drawing/2014/main" id="{62E3292C-AE15-8E46-8E62-F9C713150B0B}"/>
              </a:ext>
            </a:extLst>
          </p:cNvPr>
          <p:cNvSpPr>
            <a:spLocks noGrp="1"/>
          </p:cNvSpPr>
          <p:nvPr>
            <p:ph type="ftr" sz="quarter" idx="14"/>
          </p:nvPr>
        </p:nvSpPr>
        <p:spPr/>
        <p:txBody>
          <a:bodyPr/>
          <a:lstStyle/>
          <a:p>
            <a:r>
              <a:rPr lang="en-GB"/>
              <a:t>© Moorhouse 2021  </a:t>
            </a:r>
          </a:p>
        </p:txBody>
      </p:sp>
      <p:sp>
        <p:nvSpPr>
          <p:cNvPr id="9" name="Rectangle 7">
            <a:extLst>
              <a:ext uri="{FF2B5EF4-FFF2-40B4-BE49-F238E27FC236}">
                <a16:creationId xmlns:a16="http://schemas.microsoft.com/office/drawing/2014/main" id="{0E21E275-F6DD-E647-AA25-29499D14E0C6}"/>
              </a:ext>
            </a:extLst>
          </p:cNvPr>
          <p:cNvSpPr/>
          <p:nvPr/>
        </p:nvSpPr>
        <p:spPr>
          <a:xfrm>
            <a:off x="510638" y="832641"/>
            <a:ext cx="11112792" cy="461665"/>
          </a:xfrm>
          <a:prstGeom prst="rect">
            <a:avLst/>
          </a:prstGeom>
        </p:spPr>
        <p:txBody>
          <a:bodyPr wrap="square">
            <a:spAutoFit/>
          </a:bodyPr>
          <a:lstStyle/>
          <a:p>
            <a:r>
              <a:rPr lang="en-GB" sz="1200" b="1">
                <a:solidFill>
                  <a:srgbClr val="50235B"/>
                </a:solidFill>
                <a:latin typeface="Arial" panose="020B0604020202020204" pitchFamily="34" charset="0"/>
                <a:cs typeface="Arial" panose="020B0604020202020204" pitchFamily="34" charset="0"/>
              </a:rPr>
              <a:t>Based on interviews with over 60 stakeholders and service users from across Shropshire, Telford &amp; Wrekin, strengths, gaps and challenges of the existing mental health service provision were identified, these were then categorised into six resonant themes. </a:t>
            </a:r>
          </a:p>
        </p:txBody>
      </p:sp>
      <p:sp>
        <p:nvSpPr>
          <p:cNvPr id="5" name="Rectangle 7">
            <a:extLst>
              <a:ext uri="{FF2B5EF4-FFF2-40B4-BE49-F238E27FC236}">
                <a16:creationId xmlns:a16="http://schemas.microsoft.com/office/drawing/2014/main" id="{0E21E275-F6DD-E647-AA25-29499D14E0C6}"/>
              </a:ext>
            </a:extLst>
          </p:cNvPr>
          <p:cNvSpPr/>
          <p:nvPr/>
        </p:nvSpPr>
        <p:spPr>
          <a:xfrm>
            <a:off x="510638" y="832641"/>
            <a:ext cx="11112792" cy="338554"/>
          </a:xfrm>
          <a:prstGeom prst="rect">
            <a:avLst/>
          </a:prstGeom>
        </p:spPr>
        <p:txBody>
          <a:bodyPr wrap="square">
            <a:spAutoFit/>
          </a:bodyPr>
          <a:lstStyle/>
          <a:p>
            <a:endParaRPr lang="en-GB" sz="1600">
              <a:solidFill>
                <a:srgbClr val="50235B"/>
              </a:solidFill>
              <a:latin typeface="Arial" panose="020B0604020202020204" pitchFamily="34" charset="0"/>
              <a:cs typeface="Arial" panose="020B0604020202020204" pitchFamily="34" charset="0"/>
            </a:endParaRPr>
          </a:p>
        </p:txBody>
      </p:sp>
      <p:cxnSp>
        <p:nvCxnSpPr>
          <p:cNvPr id="10" name="Straight Connector 9">
            <a:extLst>
              <a:ext uri="{FF2B5EF4-FFF2-40B4-BE49-F238E27FC236}">
                <a16:creationId xmlns:a16="http://schemas.microsoft.com/office/drawing/2014/main" id="{C3C7D6D3-997B-2C41-BA51-2969A3A4E582}"/>
              </a:ext>
            </a:extLst>
          </p:cNvPr>
          <p:cNvCxnSpPr/>
          <p:nvPr/>
        </p:nvCxnSpPr>
        <p:spPr>
          <a:xfrm>
            <a:off x="4389120" y="1612588"/>
            <a:ext cx="0" cy="458740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aphicFrame>
        <p:nvGraphicFramePr>
          <p:cNvPr id="15" name="Table 14">
            <a:extLst>
              <a:ext uri="{FF2B5EF4-FFF2-40B4-BE49-F238E27FC236}">
                <a16:creationId xmlns:a16="http://schemas.microsoft.com/office/drawing/2014/main" id="{BC2CEA3F-1AFE-A741-9057-3B32934C32C7}"/>
              </a:ext>
            </a:extLst>
          </p:cNvPr>
          <p:cNvGraphicFramePr>
            <a:graphicFrameLocks noGrp="1"/>
          </p:cNvGraphicFramePr>
          <p:nvPr>
            <p:extLst>
              <p:ext uri="{D42A27DB-BD31-4B8C-83A1-F6EECF244321}">
                <p14:modId xmlns:p14="http://schemas.microsoft.com/office/powerpoint/2010/main" val="2219800625"/>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A"/>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graphicFrame>
        <p:nvGraphicFramePr>
          <p:cNvPr id="11" name="Table 10">
            <a:extLst>
              <a:ext uri="{FF2B5EF4-FFF2-40B4-BE49-F238E27FC236}">
                <a16:creationId xmlns:a16="http://schemas.microsoft.com/office/drawing/2014/main" id="{35441FE6-AE12-0245-B9F4-8F9D8C92969F}"/>
              </a:ext>
            </a:extLst>
          </p:cNvPr>
          <p:cNvGraphicFramePr>
            <a:graphicFrameLocks noGrp="1"/>
          </p:cNvGraphicFramePr>
          <p:nvPr>
            <p:extLst>
              <p:ext uri="{D42A27DB-BD31-4B8C-83A1-F6EECF244321}">
                <p14:modId xmlns:p14="http://schemas.microsoft.com/office/powerpoint/2010/main" val="3387657842"/>
              </p:ext>
            </p:extLst>
          </p:nvPr>
        </p:nvGraphicFramePr>
        <p:xfrm>
          <a:off x="4745625" y="1612588"/>
          <a:ext cx="7113273" cy="4614435"/>
        </p:xfrm>
        <a:graphic>
          <a:graphicData uri="http://schemas.openxmlformats.org/drawingml/2006/table">
            <a:tbl>
              <a:tblPr firstRow="1" bandRow="1">
                <a:tableStyleId>{69012ECD-51FC-41F1-AA8D-1B2483CD663E}</a:tableStyleId>
              </a:tblPr>
              <a:tblGrid>
                <a:gridCol w="1530484">
                  <a:extLst>
                    <a:ext uri="{9D8B030D-6E8A-4147-A177-3AD203B41FA5}">
                      <a16:colId xmlns:a16="http://schemas.microsoft.com/office/drawing/2014/main" val="3421423669"/>
                    </a:ext>
                  </a:extLst>
                </a:gridCol>
                <a:gridCol w="5582789">
                  <a:extLst>
                    <a:ext uri="{9D8B030D-6E8A-4147-A177-3AD203B41FA5}">
                      <a16:colId xmlns:a16="http://schemas.microsoft.com/office/drawing/2014/main" val="1139324989"/>
                    </a:ext>
                  </a:extLst>
                </a:gridCol>
              </a:tblGrid>
              <a:tr h="216814">
                <a:tc>
                  <a:txBody>
                    <a:bodyPr/>
                    <a:lstStyle/>
                    <a:p>
                      <a:pPr algn="ctr"/>
                      <a:r>
                        <a:rPr lang="en-GB" sz="1000" b="1">
                          <a:solidFill>
                            <a:srgbClr val="50235C"/>
                          </a:solidFill>
                        </a:rPr>
                        <a:t>Theme</a:t>
                      </a:r>
                    </a:p>
                  </a:txBody>
                  <a:tcPr anchor="ctr">
                    <a:solidFill>
                      <a:srgbClr val="F1EDF4"/>
                    </a:solidFill>
                  </a:tcPr>
                </a:tc>
                <a:tc>
                  <a:txBody>
                    <a:bodyPr/>
                    <a:lstStyle/>
                    <a:p>
                      <a:r>
                        <a:rPr lang="en-GB" sz="1000">
                          <a:solidFill>
                            <a:srgbClr val="50235C"/>
                          </a:solidFill>
                        </a:rPr>
                        <a:t>What we heard</a:t>
                      </a:r>
                    </a:p>
                  </a:txBody>
                  <a:tcPr anchor="ctr">
                    <a:solidFill>
                      <a:srgbClr val="F1EDF4"/>
                    </a:solidFill>
                  </a:tcPr>
                </a:tc>
                <a:extLst>
                  <a:ext uri="{0D108BD9-81ED-4DB2-BD59-A6C34878D82A}">
                    <a16:rowId xmlns:a16="http://schemas.microsoft.com/office/drawing/2014/main" val="1083767238"/>
                  </a:ext>
                </a:extLst>
              </a:tr>
              <a:tr h="710766">
                <a:tc>
                  <a:txBody>
                    <a:bodyPr/>
                    <a:lstStyle/>
                    <a:p>
                      <a:pPr marL="0" indent="0" algn="l">
                        <a:spcBef>
                          <a:spcPts val="1200"/>
                        </a:spcBef>
                        <a:spcAft>
                          <a:spcPts val="900"/>
                        </a:spcAft>
                        <a:buFont typeface="+mj-lt"/>
                        <a:buNone/>
                        <a:defRPr/>
                      </a:pPr>
                      <a:r>
                        <a:rPr lang="en-GB" sz="1000" b="1">
                          <a:solidFill>
                            <a:srgbClr val="50235B"/>
                          </a:solidFill>
                        </a:rPr>
                        <a:t>1. Partnerships and collaborative working</a:t>
                      </a:r>
                    </a:p>
                  </a:txBody>
                  <a:tcPr anchor="c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0" strike="noStrike" kern="1200" noProof="0">
                          <a:solidFill>
                            <a:schemeClr val="tx2">
                              <a:lumMod val="65000"/>
                              <a:lumOff val="35000"/>
                            </a:schemeClr>
                          </a:solidFill>
                          <a:latin typeface="+mn-lt"/>
                          <a:ea typeface="+mn-ea"/>
                          <a:cs typeface="+mn-cs"/>
                        </a:rPr>
                        <a:t>Instances of siloed working across adult mental health services and support provision, risks service users falling through gaps, and can result an inconsistent approach to care and support</a:t>
                      </a:r>
                    </a:p>
                  </a:txBody>
                  <a:tcPr anchor="ctr"/>
                </a:tc>
                <a:extLst>
                  <a:ext uri="{0D108BD9-81ED-4DB2-BD59-A6C34878D82A}">
                    <a16:rowId xmlns:a16="http://schemas.microsoft.com/office/drawing/2014/main" val="1446499864"/>
                  </a:ext>
                </a:extLst>
              </a:tr>
              <a:tr h="746099">
                <a:tc>
                  <a:txBody>
                    <a:bodyPr/>
                    <a:lstStyle/>
                    <a:p>
                      <a:pPr marL="0" indent="0" algn="l">
                        <a:spcBef>
                          <a:spcPts val="1200"/>
                        </a:spcBef>
                        <a:spcAft>
                          <a:spcPts val="900"/>
                        </a:spcAft>
                        <a:buFont typeface="+mj-lt"/>
                        <a:buNone/>
                        <a:defRPr/>
                      </a:pPr>
                      <a:r>
                        <a:rPr lang="en-GB" sz="1000" b="1">
                          <a:solidFill>
                            <a:srgbClr val="50235B"/>
                          </a:solidFill>
                        </a:rPr>
                        <a:t>2. Proactive commissioning and planning</a:t>
                      </a:r>
                    </a:p>
                  </a:txBody>
                  <a:tcPr anchor="c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0" strike="noStrike" kern="1200" noProof="0">
                          <a:solidFill>
                            <a:schemeClr val="tx2">
                              <a:lumMod val="65000"/>
                              <a:lumOff val="35000"/>
                            </a:schemeClr>
                          </a:solidFill>
                          <a:latin typeface="+mn-lt"/>
                          <a:ea typeface="+mn-ea"/>
                          <a:cs typeface="+mn-cs"/>
                        </a:rPr>
                        <a:t>Given National funding constraints, STW is often reliant upon the use of short-term contracting for services across the system, this presents a challenge for a number of organisations who are unable to plan for the future and attract the best staff, leading to challenges building experienced teams. </a:t>
                      </a:r>
                    </a:p>
                  </a:txBody>
                  <a:tcPr anchor="ctr"/>
                </a:tc>
                <a:extLst>
                  <a:ext uri="{0D108BD9-81ED-4DB2-BD59-A6C34878D82A}">
                    <a16:rowId xmlns:a16="http://schemas.microsoft.com/office/drawing/2014/main" val="241204339"/>
                  </a:ext>
                </a:extLst>
              </a:tr>
              <a:tr h="746099">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a:solidFill>
                            <a:srgbClr val="50235B"/>
                          </a:solidFill>
                        </a:rPr>
                        <a:t>3. Funding and Investment</a:t>
                      </a:r>
                    </a:p>
                  </a:txBody>
                  <a:tcPr anchor="c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0" kern="1200" noProof="0">
                          <a:solidFill>
                            <a:schemeClr val="tx2">
                              <a:lumMod val="65000"/>
                              <a:lumOff val="35000"/>
                            </a:schemeClr>
                          </a:solidFill>
                          <a:latin typeface="+mn-lt"/>
                          <a:ea typeface="+mn-ea"/>
                          <a:cs typeface="+mn-cs"/>
                        </a:rPr>
                        <a:t>STW faces a serious funding challenge, with mental health services receiving lower levels than national averages. This results in a more limited provision of services and restricted capacity for existing services.  </a:t>
                      </a:r>
                    </a:p>
                  </a:txBody>
                  <a:tcPr anchor="ctr"/>
                </a:tc>
                <a:extLst>
                  <a:ext uri="{0D108BD9-81ED-4DB2-BD59-A6C34878D82A}">
                    <a16:rowId xmlns:a16="http://schemas.microsoft.com/office/drawing/2014/main" val="361827888"/>
                  </a:ext>
                </a:extLst>
              </a:tr>
              <a:tr h="710766">
                <a:tc>
                  <a:txBody>
                    <a:bodyPr/>
                    <a:lstStyle/>
                    <a:p>
                      <a:pPr marL="0" indent="0" algn="l">
                        <a:spcBef>
                          <a:spcPts val="1200"/>
                        </a:spcBef>
                        <a:spcAft>
                          <a:spcPts val="900"/>
                        </a:spcAft>
                        <a:buFont typeface="+mj-lt"/>
                        <a:buNone/>
                      </a:pPr>
                      <a:r>
                        <a:rPr lang="en-GB" sz="1000" b="1">
                          <a:solidFill>
                            <a:srgbClr val="50235B"/>
                          </a:solidFill>
                        </a:rPr>
                        <a:t>4. Information sharing and collaboration</a:t>
                      </a:r>
                    </a:p>
                  </a:txBody>
                  <a:tcPr anchor="c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0" kern="1200" noProof="0">
                          <a:solidFill>
                            <a:schemeClr val="tx2">
                              <a:lumMod val="65000"/>
                              <a:lumOff val="35000"/>
                            </a:schemeClr>
                          </a:solidFill>
                          <a:latin typeface="+mn-lt"/>
                          <a:ea typeface="+mn-ea"/>
                          <a:cs typeface="+mn-cs"/>
                        </a:rPr>
                        <a:t>The disconnect and siloed working across the system is also compounded by the limited ability to share information between organisations due to the different systems in place. This means staff have limited ability to work collaboratively and can result in patients moving between services more often.</a:t>
                      </a:r>
                    </a:p>
                  </a:txBody>
                  <a:tcPr anchor="ctr"/>
                </a:tc>
                <a:extLst>
                  <a:ext uri="{0D108BD9-81ED-4DB2-BD59-A6C34878D82A}">
                    <a16:rowId xmlns:a16="http://schemas.microsoft.com/office/drawing/2014/main" val="2776838267"/>
                  </a:ext>
                </a:extLst>
              </a:tr>
              <a:tr h="746099">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a:solidFill>
                            <a:srgbClr val="50235B"/>
                          </a:solidFill>
                        </a:rPr>
                        <a:t>5. Responsive</a:t>
                      </a:r>
                      <a:r>
                        <a:rPr lang="en-GB" sz="1000" b="1">
                          <a:solidFill>
                            <a:srgbClr val="413F40"/>
                          </a:solidFill>
                        </a:rPr>
                        <a:t> care</a:t>
                      </a:r>
                      <a:endParaRPr lang="en-GB" sz="1000" b="1" kern="1200" noProof="0">
                        <a:solidFill>
                          <a:schemeClr val="bg2"/>
                        </a:solidFill>
                        <a:latin typeface="+mn-lt"/>
                        <a:ea typeface="+mn-ea"/>
                        <a:cs typeface="+mn-cs"/>
                      </a:endParaRPr>
                    </a:p>
                  </a:txBody>
                  <a:tcPr anchor="c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0" kern="1200">
                          <a:solidFill>
                            <a:schemeClr val="tx2">
                              <a:lumMod val="65000"/>
                              <a:lumOff val="35000"/>
                            </a:schemeClr>
                          </a:solidFill>
                          <a:latin typeface="+mn-lt"/>
                          <a:ea typeface="+mn-ea"/>
                          <a:cs typeface="+mn-cs"/>
                        </a:rPr>
                        <a:t>Service users do not always receive the care that they need in an appropriate amount of time or in an appropriate setting, this occasionally leads to increased severity of patients’ conditions when they do reach the appropriate care settings. </a:t>
                      </a:r>
                    </a:p>
                  </a:txBody>
                  <a:tcPr anchor="ctr"/>
                </a:tc>
                <a:extLst>
                  <a:ext uri="{0D108BD9-81ED-4DB2-BD59-A6C34878D82A}">
                    <a16:rowId xmlns:a16="http://schemas.microsoft.com/office/drawing/2014/main" val="551916313"/>
                  </a:ext>
                </a:extLst>
              </a:tr>
              <a:tr h="710766">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000" b="1">
                          <a:solidFill>
                            <a:srgbClr val="50235B"/>
                          </a:solidFill>
                        </a:rPr>
                        <a:t>6. Empowering a sustainable workforce</a:t>
                      </a:r>
                    </a:p>
                  </a:txBody>
                  <a:tcPr anchor="c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0" kern="1200" noProof="0">
                          <a:solidFill>
                            <a:schemeClr val="tx2">
                              <a:lumMod val="65000"/>
                              <a:lumOff val="35000"/>
                            </a:schemeClr>
                          </a:solidFill>
                          <a:latin typeface="+mn-lt"/>
                          <a:ea typeface="+mn-ea"/>
                          <a:cs typeface="+mn-cs"/>
                        </a:rPr>
                        <a:t>Given both the rural geographical nature of the system, combined with the common shortage of well trained mental health staff across the NHS, STW face a a significant challenge in attracting and retaining the best staff, resulting in a shortage of staff in some roles and an overreliance on agency support. </a:t>
                      </a:r>
                    </a:p>
                  </a:txBody>
                  <a:tcPr anchor="ctr"/>
                </a:tc>
                <a:extLst>
                  <a:ext uri="{0D108BD9-81ED-4DB2-BD59-A6C34878D82A}">
                    <a16:rowId xmlns:a16="http://schemas.microsoft.com/office/drawing/2014/main" val="288689440"/>
                  </a:ext>
                </a:extLst>
              </a:tr>
            </a:tbl>
          </a:graphicData>
        </a:graphic>
      </p:graphicFrame>
      <p:sp>
        <p:nvSpPr>
          <p:cNvPr id="21" name="Pentagon 20">
            <a:extLst>
              <a:ext uri="{FF2B5EF4-FFF2-40B4-BE49-F238E27FC236}">
                <a16:creationId xmlns:a16="http://schemas.microsoft.com/office/drawing/2014/main" id="{72A1BCA6-9EFD-304F-A5E5-7D1213DA6C02}"/>
              </a:ext>
            </a:extLst>
          </p:cNvPr>
          <p:cNvSpPr/>
          <p:nvPr/>
        </p:nvSpPr>
        <p:spPr>
          <a:xfrm>
            <a:off x="2979167" y="2114577"/>
            <a:ext cx="948584" cy="330974"/>
          </a:xfrm>
          <a:prstGeom prst="homePlate">
            <a:avLst/>
          </a:prstGeom>
          <a:solidFill>
            <a:srgbClr val="8368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4</a:t>
            </a:r>
          </a:p>
        </p:txBody>
      </p:sp>
      <p:sp>
        <p:nvSpPr>
          <p:cNvPr id="23" name="Pentagon 22">
            <a:extLst>
              <a:ext uri="{FF2B5EF4-FFF2-40B4-BE49-F238E27FC236}">
                <a16:creationId xmlns:a16="http://schemas.microsoft.com/office/drawing/2014/main" id="{2233DD38-FDCF-7D4A-9961-DC5698D24CED}"/>
              </a:ext>
            </a:extLst>
          </p:cNvPr>
          <p:cNvSpPr/>
          <p:nvPr/>
        </p:nvSpPr>
        <p:spPr>
          <a:xfrm>
            <a:off x="2202866" y="2114577"/>
            <a:ext cx="948584" cy="330974"/>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3</a:t>
            </a:r>
          </a:p>
        </p:txBody>
      </p:sp>
      <p:sp>
        <p:nvSpPr>
          <p:cNvPr id="24" name="TextBox 23">
            <a:extLst>
              <a:ext uri="{FF2B5EF4-FFF2-40B4-BE49-F238E27FC236}">
                <a16:creationId xmlns:a16="http://schemas.microsoft.com/office/drawing/2014/main" id="{30B54731-2875-F94E-A417-1F80D2986AC3}"/>
              </a:ext>
            </a:extLst>
          </p:cNvPr>
          <p:cNvSpPr txBox="1"/>
          <p:nvPr/>
        </p:nvSpPr>
        <p:spPr>
          <a:xfrm>
            <a:off x="630936" y="2789936"/>
            <a:ext cx="3327997" cy="3093154"/>
          </a:xfrm>
          <a:prstGeom prst="rect">
            <a:avLst/>
          </a:prstGeom>
          <a:noFill/>
        </p:spPr>
        <p:txBody>
          <a:bodyPr wrap="square" rtlCol="0">
            <a:spAutoFit/>
          </a:bodyPr>
          <a:lstStyle/>
          <a:p>
            <a:pPr marL="184150" lvl="0" indent="-184150">
              <a:spcBef>
                <a:spcPts val="600"/>
              </a:spcBef>
              <a:spcAft>
                <a:spcPts val="600"/>
              </a:spcAft>
              <a:buClr>
                <a:srgbClr val="50235B"/>
              </a:buClr>
              <a:buFont typeface="+mj-lt"/>
              <a:buAutoNum type="arabicPeriod"/>
              <a:defRPr/>
            </a:pPr>
            <a:r>
              <a:rPr lang="en-GB" sz="1100" b="1">
                <a:solidFill>
                  <a:srgbClr val="50235C"/>
                </a:solidFill>
                <a:latin typeface="Arial" panose="020B0604020202020204" pitchFamily="34" charset="0"/>
                <a:cs typeface="Arial" panose="020B0604020202020204" pitchFamily="34" charset="0"/>
              </a:rPr>
              <a:t>Interviews with over 60 stakeholders and service users </a:t>
            </a:r>
            <a:r>
              <a:rPr lang="en-GB" sz="1100">
                <a:solidFill>
                  <a:schemeClr val="tx2">
                    <a:lumMod val="65000"/>
                    <a:lumOff val="35000"/>
                  </a:schemeClr>
                </a:solidFill>
                <a:latin typeface="Arial" panose="020B0604020202020204" pitchFamily="34" charset="0"/>
                <a:cs typeface="Arial" panose="020B0604020202020204" pitchFamily="34" charset="0"/>
              </a:rPr>
              <a:t>representing mental health, physical health, CCG, council, third sector and provider organisations to build a picture of existing services and understand strengths, gaps and challenges.</a:t>
            </a:r>
          </a:p>
          <a:p>
            <a:pPr marL="184150" lvl="0" indent="-184150">
              <a:spcBef>
                <a:spcPts val="600"/>
              </a:spcBef>
              <a:spcAft>
                <a:spcPts val="600"/>
              </a:spcAft>
              <a:buClr>
                <a:srgbClr val="50235B"/>
              </a:buClr>
              <a:buFont typeface="+mj-lt"/>
              <a:buAutoNum type="arabicPeriod"/>
              <a:defRPr/>
            </a:pPr>
            <a:r>
              <a:rPr lang="en-GB" sz="1100" b="1">
                <a:solidFill>
                  <a:srgbClr val="50235C"/>
                </a:solidFill>
                <a:latin typeface="Arial" panose="020B0604020202020204" pitchFamily="34" charset="0"/>
                <a:cs typeface="Arial" panose="020B0604020202020204" pitchFamily="34" charset="0"/>
              </a:rPr>
              <a:t>Map existing Mental Health services </a:t>
            </a:r>
            <a:r>
              <a:rPr lang="en-GB" sz="1100">
                <a:solidFill>
                  <a:schemeClr val="tx2">
                    <a:lumMod val="65000"/>
                    <a:lumOff val="35000"/>
                  </a:schemeClr>
                </a:solidFill>
                <a:latin typeface="Arial" panose="020B0604020202020204" pitchFamily="34" charset="0"/>
                <a:cs typeface="Arial" panose="020B0604020202020204" pitchFamily="34" charset="0"/>
              </a:rPr>
              <a:t>across STW into a service directory.</a:t>
            </a:r>
          </a:p>
          <a:p>
            <a:pPr marL="184150" lvl="0" indent="-184150">
              <a:spcBef>
                <a:spcPts val="600"/>
              </a:spcBef>
              <a:spcAft>
                <a:spcPts val="600"/>
              </a:spcAft>
              <a:buClr>
                <a:srgbClr val="50235B"/>
              </a:buClr>
              <a:buFont typeface="+mj-lt"/>
              <a:buAutoNum type="arabicPeriod"/>
              <a:defRPr/>
            </a:pPr>
            <a:r>
              <a:rPr lang="en-GB" sz="1100" b="1">
                <a:solidFill>
                  <a:srgbClr val="50235C"/>
                </a:solidFill>
                <a:latin typeface="Arial" panose="020B0604020202020204" pitchFamily="34" charset="0"/>
                <a:cs typeface="Arial" panose="020B0604020202020204" pitchFamily="34" charset="0"/>
              </a:rPr>
              <a:t>Conduct a gap analysis </a:t>
            </a:r>
            <a:r>
              <a:rPr lang="en-GB" sz="1100">
                <a:solidFill>
                  <a:schemeClr val="tx2">
                    <a:lumMod val="65000"/>
                    <a:lumOff val="35000"/>
                  </a:schemeClr>
                </a:solidFill>
                <a:latin typeface="Arial" panose="020B0604020202020204" pitchFamily="34" charset="0"/>
                <a:cs typeface="Arial" panose="020B0604020202020204" pitchFamily="34" charset="0"/>
              </a:rPr>
              <a:t>to assess where service provision is challenged and where improvement opportunities lie. </a:t>
            </a:r>
          </a:p>
          <a:p>
            <a:pPr marL="184150" lvl="0" indent="-184150">
              <a:spcBef>
                <a:spcPts val="600"/>
              </a:spcBef>
              <a:spcAft>
                <a:spcPts val="600"/>
              </a:spcAft>
              <a:buClr>
                <a:srgbClr val="50235B"/>
              </a:buClr>
              <a:buFont typeface="+mj-lt"/>
              <a:buAutoNum type="arabicPeriod"/>
              <a:defRPr/>
            </a:pPr>
            <a:r>
              <a:rPr lang="en-GB" sz="1100">
                <a:solidFill>
                  <a:schemeClr val="tx2">
                    <a:lumMod val="65000"/>
                    <a:lumOff val="35000"/>
                  </a:schemeClr>
                </a:solidFill>
                <a:latin typeface="Arial" panose="020B0604020202020204" pitchFamily="34" charset="0"/>
                <a:cs typeface="Arial" panose="020B0604020202020204" pitchFamily="34" charset="0"/>
              </a:rPr>
              <a:t>Use the outputs of the gap analysis to </a:t>
            </a:r>
            <a:r>
              <a:rPr lang="en-GB" sz="1100" b="1">
                <a:solidFill>
                  <a:srgbClr val="50235C"/>
                </a:solidFill>
                <a:latin typeface="Arial" panose="020B0604020202020204" pitchFamily="34" charset="0"/>
                <a:cs typeface="Arial" panose="020B0604020202020204" pitchFamily="34" charset="0"/>
              </a:rPr>
              <a:t>inform the development of a vision and strategy for mental health services </a:t>
            </a:r>
            <a:r>
              <a:rPr lang="en-GB" sz="1100">
                <a:solidFill>
                  <a:schemeClr val="tx2">
                    <a:lumMod val="65000"/>
                    <a:lumOff val="35000"/>
                  </a:schemeClr>
                </a:solidFill>
                <a:latin typeface="Arial" panose="020B0604020202020204" pitchFamily="34" charset="0"/>
                <a:cs typeface="Arial" panose="020B0604020202020204" pitchFamily="34" charset="0"/>
              </a:rPr>
              <a:t>across Shropshire, Telford &amp; Wrekin.  </a:t>
            </a:r>
          </a:p>
        </p:txBody>
      </p:sp>
      <p:sp>
        <p:nvSpPr>
          <p:cNvPr id="25" name="TextBox 24">
            <a:extLst>
              <a:ext uri="{FF2B5EF4-FFF2-40B4-BE49-F238E27FC236}">
                <a16:creationId xmlns:a16="http://schemas.microsoft.com/office/drawing/2014/main" id="{05FC20FC-53D7-4741-AFED-EA57729BFC4F}"/>
              </a:ext>
            </a:extLst>
          </p:cNvPr>
          <p:cNvSpPr txBox="1"/>
          <p:nvPr/>
        </p:nvSpPr>
        <p:spPr>
          <a:xfrm>
            <a:off x="510638" y="1612588"/>
            <a:ext cx="1697901" cy="307777"/>
          </a:xfrm>
          <a:prstGeom prst="rect">
            <a:avLst/>
          </a:prstGeom>
          <a:noFill/>
        </p:spPr>
        <p:txBody>
          <a:bodyPr wrap="none" rtlCol="0">
            <a:spAutoFit/>
          </a:bodyPr>
          <a:lstStyle/>
          <a:p>
            <a:r>
              <a:rPr lang="en-GB" sz="1400" b="1">
                <a:solidFill>
                  <a:srgbClr val="50235B"/>
                </a:solidFill>
              </a:rPr>
              <a:t>Process overview</a:t>
            </a:r>
          </a:p>
        </p:txBody>
      </p:sp>
      <p:sp>
        <p:nvSpPr>
          <p:cNvPr id="26" name="Pentagon 25">
            <a:extLst>
              <a:ext uri="{FF2B5EF4-FFF2-40B4-BE49-F238E27FC236}">
                <a16:creationId xmlns:a16="http://schemas.microsoft.com/office/drawing/2014/main" id="{3DBEE28B-08BF-1D42-AFDF-4E090D2A561E}"/>
              </a:ext>
            </a:extLst>
          </p:cNvPr>
          <p:cNvSpPr/>
          <p:nvPr/>
        </p:nvSpPr>
        <p:spPr>
          <a:xfrm>
            <a:off x="1417628" y="2114577"/>
            <a:ext cx="948584" cy="330974"/>
          </a:xfrm>
          <a:prstGeom prst="homePlate">
            <a:avLst/>
          </a:prstGeom>
          <a:solidFill>
            <a:srgbClr val="8368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2</a:t>
            </a:r>
          </a:p>
        </p:txBody>
      </p:sp>
      <p:sp>
        <p:nvSpPr>
          <p:cNvPr id="27" name="Pentagon 26">
            <a:extLst>
              <a:ext uri="{FF2B5EF4-FFF2-40B4-BE49-F238E27FC236}">
                <a16:creationId xmlns:a16="http://schemas.microsoft.com/office/drawing/2014/main" id="{C2D1AB97-8636-DC4D-8D8D-A3B67CE46BC4}"/>
              </a:ext>
            </a:extLst>
          </p:cNvPr>
          <p:cNvSpPr/>
          <p:nvPr/>
        </p:nvSpPr>
        <p:spPr>
          <a:xfrm>
            <a:off x="630936" y="2114577"/>
            <a:ext cx="948584" cy="330974"/>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1</a:t>
            </a:r>
          </a:p>
        </p:txBody>
      </p:sp>
    </p:spTree>
    <p:extLst>
      <p:ext uri="{BB962C8B-B14F-4D97-AF65-F5344CB8AC3E}">
        <p14:creationId xmlns:p14="http://schemas.microsoft.com/office/powerpoint/2010/main" val="21239399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81"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en-IN" sz="2800">
              <a:solidFill>
                <a:srgbClr val="FFFFFF"/>
              </a:solidFill>
              <a:sym typeface="Arial" panose="020B0604020202020204" pitchFamily="34" charset="0"/>
            </a:endParaRPr>
          </a:p>
        </p:txBody>
      </p:sp>
      <p:sp>
        <p:nvSpPr>
          <p:cNvPr id="2" name="Title 1"/>
          <p:cNvSpPr>
            <a:spLocks noGrp="1"/>
          </p:cNvSpPr>
          <p:nvPr>
            <p:ph type="title"/>
          </p:nvPr>
        </p:nvSpPr>
        <p:spPr>
          <a:xfrm>
            <a:off x="545264" y="297277"/>
            <a:ext cx="9366179" cy="434010"/>
          </a:xfrm>
          <a:prstGeom prst="rect">
            <a:avLst/>
          </a:prstGeom>
        </p:spPr>
        <p:txBody>
          <a:bodyPr/>
          <a:lstStyle/>
          <a:p>
            <a:r>
              <a:rPr lang="en-US"/>
              <a:t>Service mapping</a:t>
            </a:r>
            <a:endParaRPr lang="en-IN"/>
          </a:p>
        </p:txBody>
      </p:sp>
      <p:sp>
        <p:nvSpPr>
          <p:cNvPr id="6" name="Footer Placeholder 5">
            <a:extLst>
              <a:ext uri="{FF2B5EF4-FFF2-40B4-BE49-F238E27FC236}">
                <a16:creationId xmlns:a16="http://schemas.microsoft.com/office/drawing/2014/main" id="{62E3292C-AE15-8E46-8E62-F9C713150B0B}"/>
              </a:ext>
            </a:extLst>
          </p:cNvPr>
          <p:cNvSpPr>
            <a:spLocks noGrp="1"/>
          </p:cNvSpPr>
          <p:nvPr>
            <p:ph type="ftr" sz="quarter" idx="14"/>
          </p:nvPr>
        </p:nvSpPr>
        <p:spPr/>
        <p:txBody>
          <a:bodyPr/>
          <a:lstStyle/>
          <a:p>
            <a:r>
              <a:rPr lang="en-GB"/>
              <a:t>© Moorhouse 2021  </a:t>
            </a:r>
          </a:p>
        </p:txBody>
      </p:sp>
      <p:graphicFrame>
        <p:nvGraphicFramePr>
          <p:cNvPr id="8" name="Table 7">
            <a:extLst>
              <a:ext uri="{FF2B5EF4-FFF2-40B4-BE49-F238E27FC236}">
                <a16:creationId xmlns:a16="http://schemas.microsoft.com/office/drawing/2014/main" id="{D90532D5-FC69-1240-84DF-79F74138ACF2}"/>
              </a:ext>
            </a:extLst>
          </p:cNvPr>
          <p:cNvGraphicFramePr>
            <a:graphicFrameLocks noGrp="1"/>
          </p:cNvGraphicFramePr>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A"/>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graphicFrame>
        <p:nvGraphicFramePr>
          <p:cNvPr id="10" name="Table 9">
            <a:extLst>
              <a:ext uri="{FF2B5EF4-FFF2-40B4-BE49-F238E27FC236}">
                <a16:creationId xmlns:a16="http://schemas.microsoft.com/office/drawing/2014/main" id="{18EC0086-D094-1243-B68C-870EE04E7F1F}"/>
              </a:ext>
            </a:extLst>
          </p:cNvPr>
          <p:cNvGraphicFramePr>
            <a:graphicFrameLocks noGrp="1"/>
          </p:cNvGraphicFramePr>
          <p:nvPr/>
        </p:nvGraphicFramePr>
        <p:xfrm>
          <a:off x="3460173" y="844633"/>
          <a:ext cx="8379526" cy="5510620"/>
        </p:xfrm>
        <a:graphic>
          <a:graphicData uri="http://schemas.openxmlformats.org/drawingml/2006/table">
            <a:tbl>
              <a:tblPr firstRow="1" bandRow="1">
                <a:tableStyleId>{5C22544A-7EE6-4342-B048-85BDC9FD1C3A}</a:tableStyleId>
              </a:tblPr>
              <a:tblGrid>
                <a:gridCol w="1530188">
                  <a:extLst>
                    <a:ext uri="{9D8B030D-6E8A-4147-A177-3AD203B41FA5}">
                      <a16:colId xmlns:a16="http://schemas.microsoft.com/office/drawing/2014/main" val="3796819404"/>
                    </a:ext>
                  </a:extLst>
                </a:gridCol>
                <a:gridCol w="6849338">
                  <a:extLst>
                    <a:ext uri="{9D8B030D-6E8A-4147-A177-3AD203B41FA5}">
                      <a16:colId xmlns:a16="http://schemas.microsoft.com/office/drawing/2014/main" val="921540492"/>
                    </a:ext>
                  </a:extLst>
                </a:gridCol>
              </a:tblGrid>
              <a:tr h="346752">
                <a:tc>
                  <a:txBody>
                    <a:bodyPr/>
                    <a:lstStyle/>
                    <a:p>
                      <a:pPr algn="ctr"/>
                      <a:r>
                        <a:rPr lang="en-GB" sz="900" noProof="0">
                          <a:solidFill>
                            <a:srgbClr val="50235C"/>
                          </a:solidFill>
                          <a:latin typeface="Arial" panose="020B0604020202020204" pitchFamily="34" charset="0"/>
                          <a:cs typeface="Arial" panose="020B0604020202020204" pitchFamily="34" charset="0"/>
                        </a:rPr>
                        <a:t>Area</a:t>
                      </a:r>
                    </a:p>
                  </a:txBody>
                  <a:tcPr marL="108000" marR="108000" marT="108000" marB="108000" anchor="ctr">
                    <a:lnL w="12700" cap="flat" cmpd="sng" algn="ctr">
                      <a:solidFill>
                        <a:srgbClr val="EFECF2"/>
                      </a:solidFill>
                      <a:prstDash val="solid"/>
                      <a:round/>
                      <a:headEnd type="none" w="med" len="med"/>
                      <a:tailEnd type="none" w="med" len="med"/>
                    </a:lnL>
                    <a:lnB w="12700" cap="flat" cmpd="sng" algn="ctr">
                      <a:noFill/>
                      <a:prstDash val="solid"/>
                      <a:round/>
                      <a:headEnd type="none" w="med" len="med"/>
                      <a:tailEnd type="none" w="med" len="med"/>
                    </a:lnB>
                    <a:solidFill>
                      <a:srgbClr val="F1EDF4"/>
                    </a:solidFill>
                  </a:tcPr>
                </a:tc>
                <a:tc>
                  <a:txBody>
                    <a:bodyPr/>
                    <a:lstStyle/>
                    <a:p>
                      <a:pPr algn="ctr"/>
                      <a:r>
                        <a:rPr lang="en-GB" sz="900" noProof="0">
                          <a:solidFill>
                            <a:srgbClr val="50235C"/>
                          </a:solidFill>
                          <a:latin typeface="Arial" panose="020B0604020202020204" pitchFamily="34" charset="0"/>
                          <a:cs typeface="Arial" panose="020B0604020202020204" pitchFamily="34" charset="0"/>
                        </a:rPr>
                        <a:t>Description </a:t>
                      </a:r>
                    </a:p>
                  </a:txBody>
                  <a:tcPr marL="108000" marR="108000" marT="108000" marB="108000" anchor="ctr">
                    <a:lnB w="12700" cap="flat" cmpd="sng" algn="ctr">
                      <a:noFill/>
                      <a:prstDash val="solid"/>
                      <a:round/>
                      <a:headEnd type="none" w="med" len="med"/>
                      <a:tailEnd type="none" w="med" len="med"/>
                    </a:lnB>
                    <a:solidFill>
                      <a:srgbClr val="F1EDF4"/>
                    </a:solidFill>
                  </a:tcPr>
                </a:tc>
                <a:extLst>
                  <a:ext uri="{0D108BD9-81ED-4DB2-BD59-A6C34878D82A}">
                    <a16:rowId xmlns:a16="http://schemas.microsoft.com/office/drawing/2014/main" val="2008318479"/>
                  </a:ext>
                </a:extLst>
              </a:tr>
              <a:tr h="49989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1" kern="1200" noProof="0">
                          <a:solidFill>
                            <a:srgbClr val="50235A"/>
                          </a:solidFill>
                          <a:latin typeface="Arial" panose="020B0604020202020204" pitchFamily="34" charset="0"/>
                          <a:ea typeface="+mn-ea"/>
                          <a:cs typeface="Arial" panose="020B0604020202020204" pitchFamily="34" charset="0"/>
                        </a:rPr>
                        <a:t>Early intervention and prevention</a:t>
                      </a: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rgbClr val="AC9AB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noProof="0">
                          <a:solidFill>
                            <a:schemeClr val="tx2">
                              <a:lumMod val="65000"/>
                              <a:lumOff val="35000"/>
                            </a:schemeClr>
                          </a:solidFill>
                          <a:latin typeface="Arial" panose="020B0604020202020204" pitchFamily="34" charset="0"/>
                          <a:cs typeface="Arial" panose="020B0604020202020204" pitchFamily="34" charset="0"/>
                        </a:rPr>
                        <a:t>The early intervention programmes across the ICS provide valuable support and outreach to service users and have been shown to reduce the use of inpatient beds. However due to the high level of demand in the system at present, the outreach teams have limited capacity to ‘reach out’ to patients as they can be bogged down by existing referrals. </a:t>
                      </a:r>
                    </a:p>
                  </a:txBody>
                  <a:tcPr anchor="ctr">
                    <a:lnL w="12700" cmpd="sng">
                      <a:noFill/>
                    </a:lnL>
                    <a:lnR w="12700" cmpd="sng">
                      <a:noFill/>
                    </a:lnR>
                    <a:lnT w="12700" cap="flat" cmpd="sng" algn="ctr">
                      <a:noFill/>
                      <a:prstDash val="solid"/>
                      <a:round/>
                      <a:headEnd type="none" w="med" len="med"/>
                      <a:tailEnd type="none" w="med" len="med"/>
                    </a:lnT>
                    <a:lnB w="12700" cap="flat" cmpd="sng" algn="ctr">
                      <a:solidFill>
                        <a:srgbClr val="AC9AB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7837186"/>
                  </a:ext>
                </a:extLst>
              </a:tr>
              <a:tr h="49989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1" kern="1200" noProof="0">
                          <a:solidFill>
                            <a:srgbClr val="50235A"/>
                          </a:solidFill>
                          <a:latin typeface="Arial" panose="020B0604020202020204" pitchFamily="34" charset="0"/>
                          <a:ea typeface="+mn-ea"/>
                          <a:cs typeface="Arial" panose="020B0604020202020204" pitchFamily="34" charset="0"/>
                        </a:rPr>
                        <a:t>Secure beds for female mental health patients</a:t>
                      </a:r>
                    </a:p>
                  </a:txBody>
                  <a:tcPr anchor="ctr">
                    <a:lnL w="12700" cap="flat" cmpd="sng" algn="ctr">
                      <a:noFill/>
                      <a:prstDash val="solid"/>
                      <a:round/>
                      <a:headEnd type="none" w="med" len="med"/>
                      <a:tailEnd type="none" w="med" len="med"/>
                    </a:lnL>
                    <a:lnR w="12700" cmpd="sng">
                      <a:noFill/>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kern="1200" noProof="0">
                          <a:solidFill>
                            <a:schemeClr val="tx2">
                              <a:lumMod val="65000"/>
                              <a:lumOff val="35000"/>
                            </a:schemeClr>
                          </a:solidFill>
                          <a:latin typeface="Arial" panose="020B0604020202020204" pitchFamily="34" charset="0"/>
                          <a:ea typeface="+mn-ea"/>
                          <a:cs typeface="Arial" panose="020B0604020202020204" pitchFamily="34" charset="0"/>
                        </a:rPr>
                        <a:t>There is currently no provision of female PICU beds and no provision of secure facilities for females with a forensic history. This results in female service users requiring secure accommodation having to be treated out of the area.</a:t>
                      </a:r>
                    </a:p>
                  </a:txBody>
                  <a:tcPr anchor="ctr">
                    <a:lnL w="12700" cmpd="sng">
                      <a:noFill/>
                    </a:lnL>
                    <a:lnR w="12700" cmpd="sng">
                      <a:noFill/>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3681782"/>
                  </a:ext>
                </a:extLst>
              </a:tr>
              <a:tr h="49989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1" kern="1200">
                          <a:solidFill>
                            <a:srgbClr val="50235A"/>
                          </a:solidFill>
                          <a:latin typeface="Arial" panose="020B0604020202020204" pitchFamily="34" charset="0"/>
                          <a:ea typeface="+mn-ea"/>
                          <a:cs typeface="Arial" panose="020B0604020202020204" pitchFamily="34" charset="0"/>
                        </a:rPr>
                        <a:t>Third sector partnerships</a:t>
                      </a:r>
                    </a:p>
                  </a:txBody>
                  <a:tcPr anchor="ctr">
                    <a:lnL w="12700" cap="flat" cmpd="sng" algn="ctr">
                      <a:noFill/>
                      <a:prstDash val="solid"/>
                      <a:round/>
                      <a:headEnd type="none" w="med" len="med"/>
                      <a:tailEnd type="none" w="med" len="med"/>
                    </a:lnL>
                    <a:lnR w="12700" cmpd="sng">
                      <a:noFill/>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spcBef>
                          <a:spcPts val="0"/>
                        </a:spcBef>
                        <a:spcAft>
                          <a:spcPts val="0"/>
                        </a:spcAft>
                        <a:buFont typeface="Arial" panose="020B0604020202020204" pitchFamily="34" charset="0"/>
                        <a:buChar char="•"/>
                      </a:pPr>
                      <a:r>
                        <a:rPr lang="en-GB" sz="800">
                          <a:solidFill>
                            <a:schemeClr val="tx2">
                              <a:lumMod val="65000"/>
                              <a:lumOff val="35000"/>
                            </a:schemeClr>
                          </a:solidFill>
                          <a:latin typeface="Arial" panose="020B0604020202020204" pitchFamily="34" charset="0"/>
                          <a:cs typeface="Arial" panose="020B0604020202020204" pitchFamily="34" charset="0"/>
                        </a:rPr>
                        <a:t>The lack of a consentient coordinated and structured approach to collaboration with the Third Sector means the system is not capitalising on the range of skills, services and capacity the third sector has to offer. With organisations and departments working in siloes and not aware of services on offer by other organisations and teams within the system.</a:t>
                      </a:r>
                    </a:p>
                  </a:txBody>
                  <a:tcPr anchor="ctr">
                    <a:lnL w="12700" cmpd="sng">
                      <a:noFill/>
                    </a:lnL>
                    <a:lnR w="12700" cmpd="sng">
                      <a:noFill/>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89349565"/>
                  </a:ext>
                </a:extLst>
              </a:tr>
              <a:tr h="8444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1" kern="1200">
                          <a:solidFill>
                            <a:srgbClr val="50235A"/>
                          </a:solidFill>
                          <a:latin typeface="Arial" panose="020B0604020202020204" pitchFamily="34" charset="0"/>
                          <a:ea typeface="+mn-ea"/>
                          <a:cs typeface="Arial" panose="020B0604020202020204" pitchFamily="34" charset="0"/>
                        </a:rPr>
                        <a:t>Step down care</a:t>
                      </a:r>
                    </a:p>
                  </a:txBody>
                  <a:tcPr anchor="ctr">
                    <a:lnL w="12700" cap="flat" cmpd="sng" algn="ctr">
                      <a:noFill/>
                      <a:prstDash val="solid"/>
                      <a:round/>
                      <a:headEnd type="none" w="med" len="med"/>
                      <a:tailEnd type="none" w="med" len="med"/>
                    </a:lnL>
                    <a:lnR w="12700" cmpd="sng">
                      <a:noFill/>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kern="1200" noProof="0">
                          <a:solidFill>
                            <a:schemeClr val="tx2">
                              <a:lumMod val="65000"/>
                              <a:lumOff val="35000"/>
                            </a:schemeClr>
                          </a:solidFill>
                          <a:latin typeface="Arial" panose="020B0604020202020204" pitchFamily="34" charset="0"/>
                          <a:ea typeface="+mn-ea"/>
                          <a:cs typeface="Arial" panose="020B0604020202020204" pitchFamily="34" charset="0"/>
                        </a:rPr>
                        <a:t>It can be very difficult to find safe and secure housing and accommodation for those with mental health needs, even more so for those with an additional forensic histor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kern="1200" noProof="0">
                          <a:solidFill>
                            <a:schemeClr val="tx2">
                              <a:lumMod val="65000"/>
                              <a:lumOff val="35000"/>
                            </a:schemeClr>
                          </a:solidFill>
                          <a:latin typeface="Arial" panose="020B0604020202020204" pitchFamily="34" charset="0"/>
                          <a:ea typeface="+mn-ea"/>
                          <a:cs typeface="Arial" panose="020B0604020202020204" pitchFamily="34" charset="0"/>
                        </a:rPr>
                        <a:t>This has been seen to result in service users ending up in unsuitable accommodation which ultimately results in them being re-admitted to services – creating a revolving doo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kern="1200" noProof="0">
                          <a:solidFill>
                            <a:schemeClr val="tx2">
                              <a:lumMod val="65000"/>
                              <a:lumOff val="35000"/>
                            </a:schemeClr>
                          </a:solidFill>
                          <a:latin typeface="Arial" panose="020B0604020202020204" pitchFamily="34" charset="0"/>
                          <a:ea typeface="+mn-ea"/>
                          <a:cs typeface="Arial" panose="020B0604020202020204" pitchFamily="34" charset="0"/>
                        </a:rPr>
                        <a:t>This is also creates a backlog with service users staying in hospital for longer due to the lack of onward funded routes of step down care. </a:t>
                      </a:r>
                    </a:p>
                  </a:txBody>
                  <a:tcPr anchor="ctr">
                    <a:lnL w="12700" cmpd="sng">
                      <a:noFill/>
                    </a:lnL>
                    <a:lnR w="12700" cmpd="sng">
                      <a:noFill/>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6419956"/>
                  </a:ext>
                </a:extLst>
              </a:tr>
              <a:tr h="49989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1" kern="1200" noProof="0">
                          <a:solidFill>
                            <a:srgbClr val="50235A"/>
                          </a:solidFill>
                          <a:latin typeface="Arial" panose="020B0604020202020204" pitchFamily="34" charset="0"/>
                          <a:ea typeface="+mn-ea"/>
                          <a:cs typeface="Arial" panose="020B0604020202020204" pitchFamily="34" charset="0"/>
                        </a:rPr>
                        <a:t>Carer support</a:t>
                      </a:r>
                    </a:p>
                  </a:txBody>
                  <a:tcPr anchor="ctr">
                    <a:lnL w="12700" cap="flat" cmpd="sng" algn="ctr">
                      <a:noFill/>
                      <a:prstDash val="solid"/>
                      <a:round/>
                      <a:headEnd type="none" w="med" len="med"/>
                      <a:tailEnd type="none" w="med" len="med"/>
                    </a:lnL>
                    <a:lnR w="12700" cmpd="sng">
                      <a:noFill/>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noProof="0">
                          <a:solidFill>
                            <a:schemeClr val="tx2">
                              <a:lumMod val="65000"/>
                              <a:lumOff val="35000"/>
                            </a:schemeClr>
                          </a:solidFill>
                          <a:latin typeface="Arial" panose="020B0604020202020204" pitchFamily="34" charset="0"/>
                          <a:cs typeface="Arial" panose="020B0604020202020204" pitchFamily="34" charset="0"/>
                        </a:rPr>
                        <a:t>Linked to the provision and range of step down care, an important part of the patient journey is moving back into the community; often this means moving back with family or loved ones who become carers for service users. However front line staff felt that carers are often ill equipped and not given adequate support to manage the complexities of some mental health service users. </a:t>
                      </a:r>
                    </a:p>
                  </a:txBody>
                  <a:tcPr anchor="ctr">
                    <a:lnL w="12700" cmpd="sng">
                      <a:noFill/>
                    </a:lnL>
                    <a:lnR w="12700" cmpd="sng">
                      <a:noFill/>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8071991"/>
                  </a:ext>
                </a:extLst>
              </a:tr>
              <a:tr h="5942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1" kern="1200" noProof="0">
                          <a:solidFill>
                            <a:srgbClr val="50235A"/>
                          </a:solidFill>
                          <a:latin typeface="Arial" panose="020B0604020202020204" pitchFamily="34" charset="0"/>
                          <a:ea typeface="+mn-ea"/>
                          <a:cs typeface="Arial" panose="020B0604020202020204" pitchFamily="34" charset="0"/>
                        </a:rPr>
                        <a:t>Long term service user support</a:t>
                      </a:r>
                    </a:p>
                  </a:txBody>
                  <a:tcPr anchor="ctr">
                    <a:lnL w="12700" cap="flat" cmpd="sng" algn="ctr">
                      <a:noFill/>
                      <a:prstDash val="solid"/>
                      <a:round/>
                      <a:headEnd type="none" w="med" len="med"/>
                      <a:tailEnd type="none" w="med" len="med"/>
                    </a:lnL>
                    <a:lnR w="12700" cmpd="sng">
                      <a:noFill/>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kern="1200" noProof="0">
                          <a:solidFill>
                            <a:schemeClr val="tx2">
                              <a:lumMod val="65000"/>
                              <a:lumOff val="35000"/>
                            </a:schemeClr>
                          </a:solidFill>
                          <a:latin typeface="Arial" panose="020B0604020202020204" pitchFamily="34" charset="0"/>
                          <a:ea typeface="+mn-ea"/>
                          <a:cs typeface="Arial" panose="020B0604020202020204" pitchFamily="34" charset="0"/>
                        </a:rPr>
                        <a:t>Many services offered to service users have a limit on the care and support they are able to offer, whether that is a period of tie or a maximum number of services, due to funding constraints and other guidelines. Service users have highlighted that this often leaves them feeling anxious when approaching the end of their current pathway and users often feel ‘dropped’ by services with little support once they leave formal care settings. </a:t>
                      </a:r>
                    </a:p>
                  </a:txBody>
                  <a:tcPr anchor="ctr">
                    <a:lnL w="12700" cmpd="sng">
                      <a:noFill/>
                    </a:lnL>
                    <a:lnR w="12700" cmpd="sng">
                      <a:noFill/>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14064677"/>
                  </a:ext>
                </a:extLst>
              </a:tr>
              <a:tr h="7193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1" kern="1200" noProof="0">
                          <a:solidFill>
                            <a:srgbClr val="50235A"/>
                          </a:solidFill>
                          <a:latin typeface="Arial" panose="020B0604020202020204" pitchFamily="34" charset="0"/>
                          <a:ea typeface="+mn-ea"/>
                          <a:cs typeface="Arial" panose="020B0604020202020204" pitchFamily="34" charset="0"/>
                        </a:rPr>
                        <a:t>IAPT treatment</a:t>
                      </a:r>
                    </a:p>
                  </a:txBody>
                  <a:tcPr anchor="ctr">
                    <a:lnL w="12700" cap="flat" cmpd="sng" algn="ctr">
                      <a:noFill/>
                      <a:prstDash val="solid"/>
                      <a:round/>
                      <a:headEnd type="none" w="med" len="med"/>
                      <a:tailEnd type="none" w="med" len="med"/>
                    </a:lnL>
                    <a:lnR w="12700" cmpd="sng">
                      <a:noFill/>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kern="1200" noProof="0">
                          <a:solidFill>
                            <a:schemeClr val="tx2">
                              <a:lumMod val="65000"/>
                              <a:lumOff val="35000"/>
                            </a:schemeClr>
                          </a:solidFill>
                          <a:latin typeface="Arial" panose="020B0604020202020204" pitchFamily="34" charset="0"/>
                          <a:ea typeface="+mn-ea"/>
                          <a:cs typeface="Arial" panose="020B0604020202020204" pitchFamily="34" charset="0"/>
                        </a:rPr>
                        <a:t>IAPT services are meeting the 18 week wait time targets across the board, but this is masking the fact that many patients aren’t receiving the most appropriate treatment for their condition as IAPT is not always set up to treat more complex pati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kern="1200" noProof="0">
                          <a:solidFill>
                            <a:schemeClr val="tx2">
                              <a:lumMod val="65000"/>
                              <a:lumOff val="35000"/>
                            </a:schemeClr>
                          </a:solidFill>
                          <a:latin typeface="Arial" panose="020B0604020202020204" pitchFamily="34" charset="0"/>
                          <a:ea typeface="+mn-ea"/>
                          <a:cs typeface="Arial" panose="020B0604020202020204" pitchFamily="34" charset="0"/>
                        </a:rPr>
                        <a:t>There is a commissioning gap in capacity of 2,642 referrals attending a therapeutic session between the locally commissioned services and the requirement to achieve national targe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kern="1200" noProof="0">
                          <a:solidFill>
                            <a:schemeClr val="tx2">
                              <a:lumMod val="65000"/>
                              <a:lumOff val="35000"/>
                            </a:schemeClr>
                          </a:solidFill>
                          <a:latin typeface="Arial" panose="020B0604020202020204" pitchFamily="34" charset="0"/>
                          <a:ea typeface="+mn-ea"/>
                          <a:cs typeface="Arial" panose="020B0604020202020204" pitchFamily="34" charset="0"/>
                        </a:rPr>
                        <a:t>67% of GPs rated the experience of using IAPT services by their patients as ‘poor’ or ‘need improvement’ and only 5.5.% rated them as ‘good’.</a:t>
                      </a:r>
                    </a:p>
                  </a:txBody>
                  <a:tcPr anchor="ctr">
                    <a:lnL w="12700" cmpd="sng">
                      <a:noFill/>
                    </a:lnL>
                    <a:lnR w="12700" cmpd="sng">
                      <a:noFill/>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68366654"/>
                  </a:ext>
                </a:extLst>
              </a:tr>
              <a:tr h="49989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1" kern="1200" noProof="0">
                          <a:solidFill>
                            <a:srgbClr val="50235A"/>
                          </a:solidFill>
                          <a:latin typeface="Arial" panose="020B0604020202020204" pitchFamily="34" charset="0"/>
                          <a:ea typeface="+mn-ea"/>
                          <a:cs typeface="Arial" panose="020B0604020202020204" pitchFamily="34" charset="0"/>
                        </a:rPr>
                        <a:t>Staff mental health support</a:t>
                      </a:r>
                    </a:p>
                  </a:txBody>
                  <a:tcPr anchor="ctr">
                    <a:lnL w="12700" cap="flat" cmpd="sng" algn="ctr">
                      <a:noFill/>
                      <a:prstDash val="solid"/>
                      <a:round/>
                      <a:headEnd type="none" w="med" len="med"/>
                      <a:tailEnd type="none" w="med" len="med"/>
                    </a:lnL>
                    <a:lnR w="12700" cmpd="sng">
                      <a:noFill/>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kern="1200" noProof="0">
                          <a:solidFill>
                            <a:schemeClr val="tx2">
                              <a:lumMod val="65000"/>
                              <a:lumOff val="35000"/>
                            </a:schemeClr>
                          </a:solidFill>
                          <a:latin typeface="Arial" panose="020B0604020202020204" pitchFamily="34" charset="0"/>
                          <a:ea typeface="+mn-ea"/>
                          <a:cs typeface="Arial" panose="020B0604020202020204" pitchFamily="34" charset="0"/>
                        </a:rPr>
                        <a:t>Currently 10% of the calls to 24 hour mental health support telephone line are from Health and Social care staff. This has been found due to an unwillingness to seek support internally because of trust issues.</a:t>
                      </a:r>
                    </a:p>
                  </a:txBody>
                  <a:tcPr anchor="ctr">
                    <a:lnL w="12700" cmpd="sng">
                      <a:noFill/>
                    </a:lnL>
                    <a:lnR w="12700" cmpd="sng">
                      <a:noFill/>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7789717"/>
                  </a:ext>
                </a:extLst>
              </a:tr>
              <a:tr h="49989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1" kern="1200" noProof="0">
                          <a:solidFill>
                            <a:srgbClr val="50235A"/>
                          </a:solidFill>
                          <a:latin typeface="Arial" panose="020B0604020202020204" pitchFamily="34" charset="0"/>
                          <a:ea typeface="+mn-ea"/>
                          <a:cs typeface="Arial" panose="020B0604020202020204" pitchFamily="34" charset="0"/>
                        </a:rPr>
                        <a:t>Crisis services</a:t>
                      </a:r>
                    </a:p>
                  </a:txBody>
                  <a:tcPr anchor="ctr">
                    <a:lnL w="12700" cap="flat" cmpd="sng" algn="ctr">
                      <a:noFill/>
                      <a:prstDash val="solid"/>
                      <a:round/>
                      <a:headEnd type="none" w="med" len="med"/>
                      <a:tailEnd type="none" w="med" len="med"/>
                    </a:lnL>
                    <a:lnR w="12700" cmpd="sng">
                      <a:noFill/>
                    </a:lnR>
                    <a:lnT w="12700" cap="flat" cmpd="sng" algn="ctr">
                      <a:solidFill>
                        <a:srgbClr val="AC9AB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kern="1200" noProof="0">
                          <a:solidFill>
                            <a:schemeClr val="tx2">
                              <a:lumMod val="65000"/>
                              <a:lumOff val="35000"/>
                            </a:schemeClr>
                          </a:solidFill>
                          <a:latin typeface="Arial" panose="020B0604020202020204" pitchFamily="34" charset="0"/>
                          <a:ea typeface="+mn-ea"/>
                          <a:cs typeface="Arial" panose="020B0604020202020204" pitchFamily="34" charset="0"/>
                        </a:rPr>
                        <a:t>Across STW no Acute trust is currently meeting the ‘Core 24’ service standard against NHS England criteria, this compares to the target of 50% in 2020/21,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kern="1200" noProof="0">
                          <a:solidFill>
                            <a:schemeClr val="tx2">
                              <a:lumMod val="65000"/>
                              <a:lumOff val="35000"/>
                            </a:schemeClr>
                          </a:solidFill>
                          <a:latin typeface="Arial" panose="020B0604020202020204" pitchFamily="34" charset="0"/>
                          <a:ea typeface="+mn-ea"/>
                          <a:cs typeface="Arial" panose="020B0604020202020204" pitchFamily="34" charset="0"/>
                        </a:rPr>
                        <a:t>This has the potential to mean that service users in crisis may not get timely access to services when they are required.</a:t>
                      </a:r>
                    </a:p>
                  </a:txBody>
                  <a:tcPr anchor="ctr">
                    <a:lnL w="12700" cmpd="sng">
                      <a:noFill/>
                    </a:lnL>
                    <a:lnR w="12700" cmpd="sng">
                      <a:noFill/>
                    </a:lnR>
                    <a:lnT w="12700" cap="flat" cmpd="sng" algn="ctr">
                      <a:solidFill>
                        <a:srgbClr val="AC9AB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7747887"/>
                  </a:ext>
                </a:extLst>
              </a:tr>
            </a:tbl>
          </a:graphicData>
        </a:graphic>
      </p:graphicFrame>
      <p:sp>
        <p:nvSpPr>
          <p:cNvPr id="5" name="TextBox 4">
            <a:extLst>
              <a:ext uri="{FF2B5EF4-FFF2-40B4-BE49-F238E27FC236}">
                <a16:creationId xmlns:a16="http://schemas.microsoft.com/office/drawing/2014/main" id="{EA4A6C30-C81B-C242-879D-7780197EBE67}"/>
              </a:ext>
            </a:extLst>
          </p:cNvPr>
          <p:cNvSpPr txBox="1"/>
          <p:nvPr/>
        </p:nvSpPr>
        <p:spPr>
          <a:xfrm>
            <a:off x="545264" y="2698697"/>
            <a:ext cx="2398763" cy="3529171"/>
          </a:xfrm>
          <a:prstGeom prst="rect">
            <a:avLst/>
          </a:prstGeom>
          <a:noFill/>
        </p:spPr>
        <p:txBody>
          <a:bodyPr wrap="square" rtlCol="0">
            <a:spAutoFit/>
          </a:bodyPr>
          <a:lstStyle/>
          <a:p>
            <a:pPr>
              <a:spcBef>
                <a:spcPts val="200"/>
              </a:spcBef>
              <a:spcAft>
                <a:spcPts val="200"/>
              </a:spcAft>
            </a:pPr>
            <a:r>
              <a:rPr lang="en-GB" sz="1000">
                <a:solidFill>
                  <a:schemeClr val="tx2">
                    <a:lumMod val="65000"/>
                    <a:lumOff val="35000"/>
                  </a:schemeClr>
                </a:solidFill>
              </a:rPr>
              <a:t>A </a:t>
            </a:r>
            <a:r>
              <a:rPr lang="en-GB" sz="1000" b="1">
                <a:solidFill>
                  <a:srgbClr val="50235C"/>
                </a:solidFill>
              </a:rPr>
              <a:t>detailed service mapping process </a:t>
            </a:r>
            <a:r>
              <a:rPr lang="en-GB" sz="1000">
                <a:solidFill>
                  <a:schemeClr val="tx2">
                    <a:lumMod val="65000"/>
                    <a:lumOff val="35000"/>
                  </a:schemeClr>
                </a:solidFill>
              </a:rPr>
              <a:t>was undertaken consisting of significant desktop review of service provision across Shropshire, Telford &amp; Wrekin, followed by </a:t>
            </a:r>
            <a:r>
              <a:rPr lang="en-GB" sz="1000" b="1">
                <a:solidFill>
                  <a:srgbClr val="50235C"/>
                </a:solidFill>
              </a:rPr>
              <a:t>validation by representatives from the key organisations </a:t>
            </a:r>
            <a:r>
              <a:rPr lang="en-GB" sz="1000">
                <a:solidFill>
                  <a:schemeClr val="tx2">
                    <a:lumMod val="65000"/>
                    <a:lumOff val="35000"/>
                  </a:schemeClr>
                </a:solidFill>
              </a:rPr>
              <a:t>across the system. This was then supplemented by interviews with senior stakeholders. The process resulted in a </a:t>
            </a:r>
            <a:r>
              <a:rPr lang="en-GB" sz="1000" b="1">
                <a:solidFill>
                  <a:srgbClr val="50235C"/>
                </a:solidFill>
              </a:rPr>
              <a:t>detailed map of existing services across the system </a:t>
            </a:r>
            <a:r>
              <a:rPr lang="en-GB" sz="1000">
                <a:solidFill>
                  <a:schemeClr val="tx2">
                    <a:lumMod val="65000"/>
                    <a:lumOff val="35000"/>
                  </a:schemeClr>
                </a:solidFill>
              </a:rPr>
              <a:t>identifying; </a:t>
            </a:r>
          </a:p>
          <a:p>
            <a:pPr marL="171450" indent="-171450">
              <a:spcBef>
                <a:spcPts val="200"/>
              </a:spcBef>
              <a:spcAft>
                <a:spcPts val="200"/>
              </a:spcAft>
              <a:buFont typeface="Arial" panose="020B0604020202020204" pitchFamily="34" charset="0"/>
              <a:buChar char="•"/>
            </a:pPr>
            <a:r>
              <a:rPr lang="en-GB" sz="1000" b="1">
                <a:solidFill>
                  <a:srgbClr val="50235C"/>
                </a:solidFill>
              </a:rPr>
              <a:t>76 mental health services </a:t>
            </a:r>
            <a:r>
              <a:rPr lang="en-GB" sz="1000">
                <a:solidFill>
                  <a:schemeClr val="tx2">
                    <a:lumMod val="65000"/>
                    <a:lumOff val="35000"/>
                  </a:schemeClr>
                </a:solidFill>
              </a:rPr>
              <a:t>being offered across STW. </a:t>
            </a:r>
          </a:p>
          <a:p>
            <a:pPr marL="171450" indent="-171450">
              <a:spcBef>
                <a:spcPts val="200"/>
              </a:spcBef>
              <a:spcAft>
                <a:spcPts val="200"/>
              </a:spcAft>
              <a:buFont typeface="Arial" panose="020B0604020202020204" pitchFamily="34" charset="0"/>
              <a:buChar char="•"/>
            </a:pPr>
            <a:r>
              <a:rPr lang="en-GB" sz="1000" b="1">
                <a:solidFill>
                  <a:srgbClr val="50235C"/>
                </a:solidFill>
              </a:rPr>
              <a:t>34 of the services </a:t>
            </a:r>
            <a:r>
              <a:rPr lang="en-GB" sz="1000">
                <a:solidFill>
                  <a:schemeClr val="tx2">
                    <a:lumMod val="65000"/>
                    <a:lumOff val="35000"/>
                  </a:schemeClr>
                </a:solidFill>
              </a:rPr>
              <a:t>are offered by the </a:t>
            </a:r>
            <a:r>
              <a:rPr lang="en-GB" sz="1000" b="1">
                <a:solidFill>
                  <a:srgbClr val="50235C"/>
                </a:solidFill>
              </a:rPr>
              <a:t>third sector</a:t>
            </a:r>
            <a:r>
              <a:rPr lang="en-GB" sz="1000">
                <a:solidFill>
                  <a:schemeClr val="tx2">
                    <a:lumMod val="65000"/>
                    <a:lumOff val="35000"/>
                  </a:schemeClr>
                </a:solidFill>
              </a:rPr>
              <a:t>.</a:t>
            </a:r>
          </a:p>
          <a:p>
            <a:pPr marL="171450" indent="-171450">
              <a:spcBef>
                <a:spcPts val="200"/>
              </a:spcBef>
              <a:spcAft>
                <a:spcPts val="200"/>
              </a:spcAft>
              <a:buFont typeface="Arial" panose="020B0604020202020204" pitchFamily="34" charset="0"/>
              <a:buChar char="•"/>
            </a:pPr>
            <a:r>
              <a:rPr lang="en-GB" sz="1000" b="1">
                <a:solidFill>
                  <a:srgbClr val="50235C"/>
                </a:solidFill>
              </a:rPr>
              <a:t>35 of the services </a:t>
            </a:r>
            <a:r>
              <a:rPr lang="en-GB" sz="1000">
                <a:solidFill>
                  <a:schemeClr val="tx2">
                    <a:lumMod val="65000"/>
                    <a:lumOff val="35000"/>
                  </a:schemeClr>
                </a:solidFill>
              </a:rPr>
              <a:t>are offered by the </a:t>
            </a:r>
            <a:r>
              <a:rPr lang="en-GB" sz="1000" b="1">
                <a:solidFill>
                  <a:srgbClr val="50235C"/>
                </a:solidFill>
              </a:rPr>
              <a:t>health sector</a:t>
            </a:r>
            <a:r>
              <a:rPr lang="en-GB" sz="1000">
                <a:solidFill>
                  <a:schemeClr val="tx2">
                    <a:lumMod val="65000"/>
                    <a:lumOff val="35000"/>
                  </a:schemeClr>
                </a:solidFill>
              </a:rPr>
              <a:t>.</a:t>
            </a:r>
          </a:p>
          <a:p>
            <a:pPr marL="171450" indent="-171450">
              <a:spcBef>
                <a:spcPts val="200"/>
              </a:spcBef>
              <a:spcAft>
                <a:spcPts val="200"/>
              </a:spcAft>
              <a:buFont typeface="Arial" panose="020B0604020202020204" pitchFamily="34" charset="0"/>
              <a:buChar char="•"/>
            </a:pPr>
            <a:r>
              <a:rPr lang="en-GB" sz="1000">
                <a:solidFill>
                  <a:schemeClr val="tx2">
                    <a:lumMod val="65000"/>
                    <a:lumOff val="35000"/>
                  </a:schemeClr>
                </a:solidFill>
              </a:rPr>
              <a:t>Remaining services are </a:t>
            </a:r>
            <a:r>
              <a:rPr lang="en-GB" sz="1000" b="1">
                <a:solidFill>
                  <a:srgbClr val="50235C"/>
                </a:solidFill>
              </a:rPr>
              <a:t>offered by local councils and other public sector organisations</a:t>
            </a:r>
            <a:r>
              <a:rPr lang="en-GB" sz="1000">
                <a:solidFill>
                  <a:schemeClr val="tx2">
                    <a:lumMod val="65000"/>
                    <a:lumOff val="35000"/>
                  </a:schemeClr>
                </a:solidFill>
              </a:rPr>
              <a:t>. </a:t>
            </a:r>
          </a:p>
        </p:txBody>
      </p:sp>
      <p:pic>
        <p:nvPicPr>
          <p:cNvPr id="13" name="Picture 12">
            <a:extLst>
              <a:ext uri="{FF2B5EF4-FFF2-40B4-BE49-F238E27FC236}">
                <a16:creationId xmlns:a16="http://schemas.microsoft.com/office/drawing/2014/main" id="{7F1ADE29-4FA0-2A49-9B17-45C03569E81A}"/>
              </a:ext>
            </a:extLst>
          </p:cNvPr>
          <p:cNvPicPr>
            <a:picLocks noChangeAspect="1"/>
          </p:cNvPicPr>
          <p:nvPr/>
        </p:nvPicPr>
        <p:blipFill>
          <a:blip r:embed="rId8"/>
          <a:stretch>
            <a:fillRect/>
          </a:stretch>
        </p:blipFill>
        <p:spPr>
          <a:xfrm>
            <a:off x="894620" y="1178516"/>
            <a:ext cx="1468819" cy="1187326"/>
          </a:xfrm>
          <a:prstGeom prst="rect">
            <a:avLst/>
          </a:prstGeom>
          <a:ln>
            <a:solidFill>
              <a:srgbClr val="50235B"/>
            </a:solidFill>
          </a:ln>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32859626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29"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en-IN" sz="2800">
              <a:solidFill>
                <a:srgbClr val="FFFFFF"/>
              </a:solidFill>
              <a:sym typeface="Arial" panose="020B0604020202020204" pitchFamily="34" charset="0"/>
            </a:endParaRPr>
          </a:p>
        </p:txBody>
      </p:sp>
      <p:sp>
        <p:nvSpPr>
          <p:cNvPr id="2" name="Title 1"/>
          <p:cNvSpPr>
            <a:spLocks noGrp="1"/>
          </p:cNvSpPr>
          <p:nvPr>
            <p:ph type="title"/>
          </p:nvPr>
        </p:nvSpPr>
        <p:spPr>
          <a:xfrm>
            <a:off x="545264" y="297277"/>
            <a:ext cx="9366179" cy="434010"/>
          </a:xfrm>
          <a:prstGeom prst="rect">
            <a:avLst/>
          </a:prstGeom>
        </p:spPr>
        <p:txBody>
          <a:bodyPr/>
          <a:lstStyle/>
          <a:p>
            <a:r>
              <a:rPr lang="en-US"/>
              <a:t>Service mapping</a:t>
            </a:r>
            <a:endParaRPr lang="en-IN"/>
          </a:p>
        </p:txBody>
      </p:sp>
      <p:sp>
        <p:nvSpPr>
          <p:cNvPr id="6" name="Footer Placeholder 5">
            <a:extLst>
              <a:ext uri="{FF2B5EF4-FFF2-40B4-BE49-F238E27FC236}">
                <a16:creationId xmlns:a16="http://schemas.microsoft.com/office/drawing/2014/main" id="{62E3292C-AE15-8E46-8E62-F9C713150B0B}"/>
              </a:ext>
            </a:extLst>
          </p:cNvPr>
          <p:cNvSpPr>
            <a:spLocks noGrp="1"/>
          </p:cNvSpPr>
          <p:nvPr>
            <p:ph type="ftr" sz="quarter" idx="14"/>
          </p:nvPr>
        </p:nvSpPr>
        <p:spPr/>
        <p:txBody>
          <a:bodyPr/>
          <a:lstStyle/>
          <a:p>
            <a:r>
              <a:rPr lang="en-GB"/>
              <a:t>© Moorhouse 2021  </a:t>
            </a:r>
          </a:p>
        </p:txBody>
      </p:sp>
      <p:graphicFrame>
        <p:nvGraphicFramePr>
          <p:cNvPr id="8" name="Table 7">
            <a:extLst>
              <a:ext uri="{FF2B5EF4-FFF2-40B4-BE49-F238E27FC236}">
                <a16:creationId xmlns:a16="http://schemas.microsoft.com/office/drawing/2014/main" id="{D90532D5-FC69-1240-84DF-79F74138ACF2}"/>
              </a:ext>
            </a:extLst>
          </p:cNvPr>
          <p:cNvGraphicFramePr>
            <a:graphicFrameLocks noGrp="1"/>
          </p:cNvGraphicFramePr>
          <p:nvPr>
            <p:extLst>
              <p:ext uri="{D42A27DB-BD31-4B8C-83A1-F6EECF244321}">
                <p14:modId xmlns:p14="http://schemas.microsoft.com/office/powerpoint/2010/main" val="1057866286"/>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A"/>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pic>
        <p:nvPicPr>
          <p:cNvPr id="9" name="Picture 8" descr="Timeline, calendar&#10;&#10;Description automatically generated">
            <a:extLst>
              <a:ext uri="{FF2B5EF4-FFF2-40B4-BE49-F238E27FC236}">
                <a16:creationId xmlns:a16="http://schemas.microsoft.com/office/drawing/2014/main" id="{F4AA1760-BB5E-2D4B-B292-BCFF1C2211C1}"/>
              </a:ext>
            </a:extLst>
          </p:cNvPr>
          <p:cNvPicPr>
            <a:picLocks noChangeAspect="1"/>
          </p:cNvPicPr>
          <p:nvPr/>
        </p:nvPicPr>
        <p:blipFill rotWithShape="1">
          <a:blip r:embed="rId8">
            <a:extLst>
              <a:ext uri="{28A0092B-C50C-407E-A947-70E740481C1C}">
                <a14:useLocalDpi xmlns:a14="http://schemas.microsoft.com/office/drawing/2010/main" val="0"/>
              </a:ext>
            </a:extLst>
          </a:blip>
          <a:srcRect b="58866"/>
          <a:stretch/>
        </p:blipFill>
        <p:spPr>
          <a:xfrm>
            <a:off x="546729" y="3014736"/>
            <a:ext cx="11420116" cy="1792200"/>
          </a:xfrm>
          <a:prstGeom prst="rect">
            <a:avLst/>
          </a:prstGeom>
        </p:spPr>
      </p:pic>
      <p:sp>
        <p:nvSpPr>
          <p:cNvPr id="14" name="Rectangle 7">
            <a:extLst>
              <a:ext uri="{FF2B5EF4-FFF2-40B4-BE49-F238E27FC236}">
                <a16:creationId xmlns:a16="http://schemas.microsoft.com/office/drawing/2014/main" id="{0B1C539B-11B5-D548-9272-286ED508473B}"/>
              </a:ext>
            </a:extLst>
          </p:cNvPr>
          <p:cNvSpPr/>
          <p:nvPr/>
        </p:nvSpPr>
        <p:spPr>
          <a:xfrm>
            <a:off x="510638" y="832641"/>
            <a:ext cx="11112792" cy="276999"/>
          </a:xfrm>
          <a:prstGeom prst="rect">
            <a:avLst/>
          </a:prstGeom>
        </p:spPr>
        <p:txBody>
          <a:bodyPr wrap="square">
            <a:spAutoFit/>
          </a:bodyPr>
          <a:lstStyle/>
          <a:p>
            <a:r>
              <a:rPr lang="en-GB" sz="1200" b="1">
                <a:solidFill>
                  <a:srgbClr val="50235B"/>
                </a:solidFill>
                <a:latin typeface="Arial" panose="020B0604020202020204" pitchFamily="34" charset="0"/>
                <a:cs typeface="Arial" panose="020B0604020202020204" pitchFamily="34" charset="0"/>
              </a:rPr>
              <a:t>A map of existing services has been created in excel, with key information available for each of the 76 service offerings. </a:t>
            </a:r>
          </a:p>
        </p:txBody>
      </p:sp>
      <p:sp>
        <p:nvSpPr>
          <p:cNvPr id="12" name="Rectangle 11">
            <a:extLst>
              <a:ext uri="{FF2B5EF4-FFF2-40B4-BE49-F238E27FC236}">
                <a16:creationId xmlns:a16="http://schemas.microsoft.com/office/drawing/2014/main" id="{C2123E69-BD00-EC4E-9DEE-7380A20C6E35}"/>
              </a:ext>
            </a:extLst>
          </p:cNvPr>
          <p:cNvSpPr/>
          <p:nvPr/>
        </p:nvSpPr>
        <p:spPr>
          <a:xfrm>
            <a:off x="2379488" y="5162311"/>
            <a:ext cx="1260000" cy="862149"/>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rgbClr val="50235C"/>
                </a:solidFill>
              </a:rPr>
              <a:t>Summary</a:t>
            </a:r>
            <a:r>
              <a:rPr lang="en-GB" sz="900">
                <a:solidFill>
                  <a:srgbClr val="50235C"/>
                </a:solidFill>
              </a:rPr>
              <a:t> - Summary of the service and what it offers to service users</a:t>
            </a:r>
          </a:p>
        </p:txBody>
      </p:sp>
      <p:sp>
        <p:nvSpPr>
          <p:cNvPr id="15" name="Rectangle 14">
            <a:extLst>
              <a:ext uri="{FF2B5EF4-FFF2-40B4-BE49-F238E27FC236}">
                <a16:creationId xmlns:a16="http://schemas.microsoft.com/office/drawing/2014/main" id="{9B5646B4-0E60-7F43-8198-D232D3D6E9AC}"/>
              </a:ext>
            </a:extLst>
          </p:cNvPr>
          <p:cNvSpPr/>
          <p:nvPr/>
        </p:nvSpPr>
        <p:spPr>
          <a:xfrm>
            <a:off x="3727723" y="1694818"/>
            <a:ext cx="1260000" cy="849600"/>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rgbClr val="50235C"/>
                </a:solidFill>
              </a:rPr>
              <a:t>Organisation Name </a:t>
            </a:r>
            <a:r>
              <a:rPr lang="en-GB" sz="900">
                <a:solidFill>
                  <a:srgbClr val="50235C"/>
                </a:solidFill>
              </a:rPr>
              <a:t>- Organisation that is delivering the service</a:t>
            </a:r>
          </a:p>
        </p:txBody>
      </p:sp>
      <p:sp>
        <p:nvSpPr>
          <p:cNvPr id="16" name="Rectangle 15">
            <a:extLst>
              <a:ext uri="{FF2B5EF4-FFF2-40B4-BE49-F238E27FC236}">
                <a16:creationId xmlns:a16="http://schemas.microsoft.com/office/drawing/2014/main" id="{47994770-58E3-2147-82B6-665805922250}"/>
              </a:ext>
            </a:extLst>
          </p:cNvPr>
          <p:cNvSpPr/>
          <p:nvPr/>
        </p:nvSpPr>
        <p:spPr>
          <a:xfrm>
            <a:off x="4468412" y="5160100"/>
            <a:ext cx="1260000" cy="853591"/>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rgbClr val="50235C"/>
                </a:solidFill>
              </a:rPr>
              <a:t>Organisation Type </a:t>
            </a:r>
            <a:r>
              <a:rPr lang="en-GB" sz="900">
                <a:solidFill>
                  <a:srgbClr val="50235C"/>
                </a:solidFill>
              </a:rPr>
              <a:t>- Organisation type (for categorisation)</a:t>
            </a:r>
          </a:p>
        </p:txBody>
      </p:sp>
      <p:sp>
        <p:nvSpPr>
          <p:cNvPr id="17" name="Rectangle 16">
            <a:extLst>
              <a:ext uri="{FF2B5EF4-FFF2-40B4-BE49-F238E27FC236}">
                <a16:creationId xmlns:a16="http://schemas.microsoft.com/office/drawing/2014/main" id="{90317DA8-67D0-624E-B206-F37034F4D249}"/>
              </a:ext>
            </a:extLst>
          </p:cNvPr>
          <p:cNvSpPr/>
          <p:nvPr/>
        </p:nvSpPr>
        <p:spPr>
          <a:xfrm>
            <a:off x="5122714" y="1694818"/>
            <a:ext cx="1260000" cy="849600"/>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rgbClr val="50235C"/>
                </a:solidFill>
              </a:rPr>
              <a:t>Sector</a:t>
            </a:r>
            <a:r>
              <a:rPr lang="en-GB" sz="900">
                <a:solidFill>
                  <a:srgbClr val="50235C"/>
                </a:solidFill>
              </a:rPr>
              <a:t> – the sector that the service provider operates in, i.e. third, health etc</a:t>
            </a:r>
          </a:p>
        </p:txBody>
      </p:sp>
      <p:sp>
        <p:nvSpPr>
          <p:cNvPr id="18" name="Rectangle 17">
            <a:extLst>
              <a:ext uri="{FF2B5EF4-FFF2-40B4-BE49-F238E27FC236}">
                <a16:creationId xmlns:a16="http://schemas.microsoft.com/office/drawing/2014/main" id="{3BC1A861-F5FB-7445-90C7-A5F9773060D1}"/>
              </a:ext>
            </a:extLst>
          </p:cNvPr>
          <p:cNvSpPr/>
          <p:nvPr/>
        </p:nvSpPr>
        <p:spPr>
          <a:xfrm>
            <a:off x="5826896" y="5162817"/>
            <a:ext cx="1431241" cy="853591"/>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rgbClr val="50235C"/>
                </a:solidFill>
              </a:rPr>
              <a:t>Service Type </a:t>
            </a:r>
            <a:r>
              <a:rPr lang="en-GB" sz="900">
                <a:solidFill>
                  <a:srgbClr val="50235C"/>
                </a:solidFill>
              </a:rPr>
              <a:t>- mental, physical, social care, early intervention, community outreach, etc</a:t>
            </a:r>
          </a:p>
        </p:txBody>
      </p:sp>
      <p:sp>
        <p:nvSpPr>
          <p:cNvPr id="19" name="Rectangle 18">
            <a:extLst>
              <a:ext uri="{FF2B5EF4-FFF2-40B4-BE49-F238E27FC236}">
                <a16:creationId xmlns:a16="http://schemas.microsoft.com/office/drawing/2014/main" id="{06DFB2FC-95CA-0B4B-9DF0-6A90691C1AAF}"/>
              </a:ext>
            </a:extLst>
          </p:cNvPr>
          <p:cNvSpPr/>
          <p:nvPr/>
        </p:nvSpPr>
        <p:spPr>
          <a:xfrm>
            <a:off x="6517705" y="1694818"/>
            <a:ext cx="1260000" cy="849600"/>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rgbClr val="50235C"/>
                </a:solidFill>
              </a:rPr>
              <a:t>Service setting </a:t>
            </a:r>
            <a:r>
              <a:rPr lang="en-GB" sz="900">
                <a:solidFill>
                  <a:srgbClr val="50235C"/>
                </a:solidFill>
              </a:rPr>
              <a:t>– where the service is delivered, in hospital, in primary care, in the community</a:t>
            </a:r>
          </a:p>
        </p:txBody>
      </p:sp>
      <p:sp>
        <p:nvSpPr>
          <p:cNvPr id="20" name="Rectangle 19">
            <a:extLst>
              <a:ext uri="{FF2B5EF4-FFF2-40B4-BE49-F238E27FC236}">
                <a16:creationId xmlns:a16="http://schemas.microsoft.com/office/drawing/2014/main" id="{F79E7AF6-D050-9B49-8C47-5F427141F539}"/>
              </a:ext>
            </a:extLst>
          </p:cNvPr>
          <p:cNvSpPr/>
          <p:nvPr/>
        </p:nvSpPr>
        <p:spPr>
          <a:xfrm>
            <a:off x="7356621" y="5167389"/>
            <a:ext cx="1431241" cy="851992"/>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rgbClr val="50235C"/>
                </a:solidFill>
              </a:rPr>
              <a:t>Geographical patch </a:t>
            </a:r>
            <a:r>
              <a:rPr lang="en-GB" sz="900">
                <a:solidFill>
                  <a:srgbClr val="50235C"/>
                </a:solidFill>
              </a:rPr>
              <a:t>–  area that operates,  to support understanding of gaps and differences across the patch</a:t>
            </a:r>
          </a:p>
        </p:txBody>
      </p:sp>
      <p:sp>
        <p:nvSpPr>
          <p:cNvPr id="21" name="Rectangle 20">
            <a:extLst>
              <a:ext uri="{FF2B5EF4-FFF2-40B4-BE49-F238E27FC236}">
                <a16:creationId xmlns:a16="http://schemas.microsoft.com/office/drawing/2014/main" id="{6300BFAC-9D94-3A4C-B38C-6285B00D63B7}"/>
              </a:ext>
            </a:extLst>
          </p:cNvPr>
          <p:cNvSpPr/>
          <p:nvPr/>
        </p:nvSpPr>
        <p:spPr>
          <a:xfrm>
            <a:off x="7912696" y="1689335"/>
            <a:ext cx="1260000" cy="849600"/>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rgbClr val="50235C"/>
                </a:solidFill>
              </a:rPr>
              <a:t>Service capacity </a:t>
            </a:r>
            <a:r>
              <a:rPr lang="en-GB" sz="900">
                <a:solidFill>
                  <a:srgbClr val="50235C"/>
                </a:solidFill>
              </a:rPr>
              <a:t>– to understand the volume of users that can use the service at any given time</a:t>
            </a:r>
          </a:p>
        </p:txBody>
      </p:sp>
      <p:sp>
        <p:nvSpPr>
          <p:cNvPr id="22" name="Rectangle 21">
            <a:extLst>
              <a:ext uri="{FF2B5EF4-FFF2-40B4-BE49-F238E27FC236}">
                <a16:creationId xmlns:a16="http://schemas.microsoft.com/office/drawing/2014/main" id="{FA244FE5-B54A-FA45-9F97-08286B132B33}"/>
              </a:ext>
            </a:extLst>
          </p:cNvPr>
          <p:cNvSpPr/>
          <p:nvPr/>
        </p:nvSpPr>
        <p:spPr>
          <a:xfrm>
            <a:off x="8886346" y="5166589"/>
            <a:ext cx="1260000" cy="853591"/>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rgbClr val="50235C"/>
                </a:solidFill>
              </a:rPr>
              <a:t>Referral source </a:t>
            </a:r>
            <a:r>
              <a:rPr lang="en-GB" sz="900">
                <a:solidFill>
                  <a:srgbClr val="50235C"/>
                </a:solidFill>
              </a:rPr>
              <a:t>– how people are referred into the service</a:t>
            </a:r>
          </a:p>
        </p:txBody>
      </p:sp>
      <p:sp>
        <p:nvSpPr>
          <p:cNvPr id="24" name="Rectangle 23">
            <a:extLst>
              <a:ext uri="{FF2B5EF4-FFF2-40B4-BE49-F238E27FC236}">
                <a16:creationId xmlns:a16="http://schemas.microsoft.com/office/drawing/2014/main" id="{F2E01983-6D3C-1D4B-BE7A-9226144A9DAC}"/>
              </a:ext>
            </a:extLst>
          </p:cNvPr>
          <p:cNvSpPr/>
          <p:nvPr/>
        </p:nvSpPr>
        <p:spPr>
          <a:xfrm>
            <a:off x="9307687" y="1689335"/>
            <a:ext cx="1260000" cy="849600"/>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rgbClr val="50235C"/>
                </a:solidFill>
              </a:rPr>
              <a:t>Entry criteria </a:t>
            </a:r>
            <a:r>
              <a:rPr lang="en-GB" sz="900">
                <a:solidFill>
                  <a:srgbClr val="50235C"/>
                </a:solidFill>
              </a:rPr>
              <a:t>– the type of users / challenges that this service supports</a:t>
            </a:r>
          </a:p>
        </p:txBody>
      </p:sp>
      <p:sp>
        <p:nvSpPr>
          <p:cNvPr id="25" name="Rectangle 24">
            <a:extLst>
              <a:ext uri="{FF2B5EF4-FFF2-40B4-BE49-F238E27FC236}">
                <a16:creationId xmlns:a16="http://schemas.microsoft.com/office/drawing/2014/main" id="{BA1724D7-9CF7-7C4F-BD43-05F065F60F08}"/>
              </a:ext>
            </a:extLst>
          </p:cNvPr>
          <p:cNvSpPr/>
          <p:nvPr/>
        </p:nvSpPr>
        <p:spPr>
          <a:xfrm>
            <a:off x="10244830" y="5166589"/>
            <a:ext cx="1843538" cy="859281"/>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rgbClr val="50235C"/>
                </a:solidFill>
              </a:rPr>
              <a:t>Exclusion criteria</a:t>
            </a:r>
            <a:r>
              <a:rPr lang="en-GB" sz="900">
                <a:solidFill>
                  <a:srgbClr val="50235C"/>
                </a:solidFill>
              </a:rPr>
              <a:t> – any factors or presentations that result in a user being excluded or discounted from a given service</a:t>
            </a:r>
          </a:p>
        </p:txBody>
      </p:sp>
      <p:sp>
        <p:nvSpPr>
          <p:cNvPr id="26" name="Rectangle 25">
            <a:extLst>
              <a:ext uri="{FF2B5EF4-FFF2-40B4-BE49-F238E27FC236}">
                <a16:creationId xmlns:a16="http://schemas.microsoft.com/office/drawing/2014/main" id="{FB651069-BDE0-1348-8004-AF151BBD4442}"/>
              </a:ext>
            </a:extLst>
          </p:cNvPr>
          <p:cNvSpPr/>
          <p:nvPr/>
        </p:nvSpPr>
        <p:spPr>
          <a:xfrm>
            <a:off x="10702676" y="1679654"/>
            <a:ext cx="1260000" cy="859281"/>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rgbClr val="50235C"/>
                </a:solidFill>
              </a:rPr>
              <a:t>Source</a:t>
            </a:r>
            <a:r>
              <a:rPr lang="en-GB" sz="900">
                <a:solidFill>
                  <a:srgbClr val="50235C"/>
                </a:solidFill>
              </a:rPr>
              <a:t> – location of any relevant artefacts and information about the service</a:t>
            </a:r>
          </a:p>
        </p:txBody>
      </p:sp>
      <p:sp>
        <p:nvSpPr>
          <p:cNvPr id="27" name="Rectangle 26">
            <a:extLst>
              <a:ext uri="{FF2B5EF4-FFF2-40B4-BE49-F238E27FC236}">
                <a16:creationId xmlns:a16="http://schemas.microsoft.com/office/drawing/2014/main" id="{F1638528-F1EE-1A47-8D7D-031C70C9D51E}"/>
              </a:ext>
            </a:extLst>
          </p:cNvPr>
          <p:cNvSpPr/>
          <p:nvPr/>
        </p:nvSpPr>
        <p:spPr>
          <a:xfrm>
            <a:off x="546729" y="1689335"/>
            <a:ext cx="1260000" cy="849600"/>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rgbClr val="50235C"/>
                </a:solidFill>
              </a:rPr>
              <a:t>Name of service </a:t>
            </a:r>
            <a:r>
              <a:rPr lang="en-GB" sz="900">
                <a:solidFill>
                  <a:srgbClr val="50235C"/>
                </a:solidFill>
              </a:rPr>
              <a:t>– The common name/names of each service</a:t>
            </a:r>
          </a:p>
        </p:txBody>
      </p:sp>
      <p:cxnSp>
        <p:nvCxnSpPr>
          <p:cNvPr id="29" name="Straight Arrow Connector 28">
            <a:extLst>
              <a:ext uri="{FF2B5EF4-FFF2-40B4-BE49-F238E27FC236}">
                <a16:creationId xmlns:a16="http://schemas.microsoft.com/office/drawing/2014/main" id="{0B1C6789-76C7-2643-B4EE-B4BB92E9FD63}"/>
              </a:ext>
            </a:extLst>
          </p:cNvPr>
          <p:cNvCxnSpPr>
            <a:stCxn id="27" idx="2"/>
          </p:cNvCxnSpPr>
          <p:nvPr/>
        </p:nvCxnSpPr>
        <p:spPr>
          <a:xfrm>
            <a:off x="1176729" y="2538935"/>
            <a:ext cx="0" cy="47580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423180AB-186F-B446-8A88-670A3A4F5A2B}"/>
              </a:ext>
            </a:extLst>
          </p:cNvPr>
          <p:cNvCxnSpPr>
            <a:cxnSpLocks/>
            <a:stCxn id="12" idx="0"/>
          </p:cNvCxnSpPr>
          <p:nvPr/>
        </p:nvCxnSpPr>
        <p:spPr>
          <a:xfrm flipH="1" flipV="1">
            <a:off x="2899749" y="4819828"/>
            <a:ext cx="109739" cy="34248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E1F1BB4E-63BA-2F4A-AFBF-F25637BC856D}"/>
              </a:ext>
            </a:extLst>
          </p:cNvPr>
          <p:cNvCxnSpPr>
            <a:cxnSpLocks/>
            <a:stCxn id="15" idx="2"/>
          </p:cNvCxnSpPr>
          <p:nvPr/>
        </p:nvCxnSpPr>
        <p:spPr>
          <a:xfrm>
            <a:off x="4357723" y="2544418"/>
            <a:ext cx="373977" cy="47031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B306803B-E943-A94B-9673-8DBC950436B0}"/>
              </a:ext>
            </a:extLst>
          </p:cNvPr>
          <p:cNvCxnSpPr>
            <a:cxnSpLocks/>
            <a:stCxn id="17" idx="2"/>
          </p:cNvCxnSpPr>
          <p:nvPr/>
        </p:nvCxnSpPr>
        <p:spPr>
          <a:xfrm>
            <a:off x="5752714" y="2544418"/>
            <a:ext cx="135177" cy="47031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1D5B3665-B1BF-4447-825D-49883C4CF923}"/>
              </a:ext>
            </a:extLst>
          </p:cNvPr>
          <p:cNvCxnSpPr>
            <a:cxnSpLocks/>
            <a:stCxn id="19" idx="2"/>
          </p:cNvCxnSpPr>
          <p:nvPr/>
        </p:nvCxnSpPr>
        <p:spPr>
          <a:xfrm flipH="1">
            <a:off x="7012714" y="2544418"/>
            <a:ext cx="134991" cy="47031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1ADD3DA8-E740-0D4E-805F-FA36E72AD403}"/>
              </a:ext>
            </a:extLst>
          </p:cNvPr>
          <p:cNvCxnSpPr>
            <a:cxnSpLocks/>
            <a:stCxn id="21" idx="2"/>
          </p:cNvCxnSpPr>
          <p:nvPr/>
        </p:nvCxnSpPr>
        <p:spPr>
          <a:xfrm flipH="1">
            <a:off x="8103494" y="2538935"/>
            <a:ext cx="439202" cy="48128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3685426F-219C-C646-9675-502BA0C8D85A}"/>
              </a:ext>
            </a:extLst>
          </p:cNvPr>
          <p:cNvCxnSpPr>
            <a:cxnSpLocks/>
            <a:stCxn id="24" idx="2"/>
          </p:cNvCxnSpPr>
          <p:nvPr/>
        </p:nvCxnSpPr>
        <p:spPr>
          <a:xfrm>
            <a:off x="9937687" y="2538935"/>
            <a:ext cx="9847" cy="48128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ED59C27A-720B-3F4C-850F-928CE397FD26}"/>
              </a:ext>
            </a:extLst>
          </p:cNvPr>
          <p:cNvCxnSpPr>
            <a:cxnSpLocks/>
            <a:stCxn id="26" idx="2"/>
          </p:cNvCxnSpPr>
          <p:nvPr/>
        </p:nvCxnSpPr>
        <p:spPr>
          <a:xfrm>
            <a:off x="11332676" y="2538935"/>
            <a:ext cx="180693" cy="48128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48A34E94-E3E6-9441-B0AF-BBEF3171E8A7}"/>
              </a:ext>
            </a:extLst>
          </p:cNvPr>
          <p:cNvCxnSpPr>
            <a:cxnSpLocks/>
            <a:stCxn id="16" idx="0"/>
          </p:cNvCxnSpPr>
          <p:nvPr/>
        </p:nvCxnSpPr>
        <p:spPr>
          <a:xfrm flipV="1">
            <a:off x="5098412" y="4801894"/>
            <a:ext cx="264096" cy="358206"/>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31D8246B-9B98-3141-BAD4-3821EFD7692D}"/>
              </a:ext>
            </a:extLst>
          </p:cNvPr>
          <p:cNvCxnSpPr>
            <a:cxnSpLocks/>
            <a:stCxn id="18" idx="0"/>
          </p:cNvCxnSpPr>
          <p:nvPr/>
        </p:nvCxnSpPr>
        <p:spPr>
          <a:xfrm flipH="1" flipV="1">
            <a:off x="6496089" y="4819829"/>
            <a:ext cx="46428" cy="34298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762AC9D9-3156-6946-B738-342DDCC17B2C}"/>
              </a:ext>
            </a:extLst>
          </p:cNvPr>
          <p:cNvCxnSpPr>
            <a:cxnSpLocks/>
            <a:stCxn id="20" idx="0"/>
          </p:cNvCxnSpPr>
          <p:nvPr/>
        </p:nvCxnSpPr>
        <p:spPr>
          <a:xfrm flipH="1" flipV="1">
            <a:off x="7561172" y="4791823"/>
            <a:ext cx="511070" cy="375566"/>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47632726-CE22-A84C-A5C3-50268025FA68}"/>
              </a:ext>
            </a:extLst>
          </p:cNvPr>
          <p:cNvCxnSpPr>
            <a:cxnSpLocks/>
            <a:stCxn id="22" idx="0"/>
          </p:cNvCxnSpPr>
          <p:nvPr/>
        </p:nvCxnSpPr>
        <p:spPr>
          <a:xfrm flipH="1" flipV="1">
            <a:off x="9172696" y="4797307"/>
            <a:ext cx="343650" cy="369282"/>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7D5B19ED-89ED-B049-BCDF-AA812266A48B}"/>
              </a:ext>
            </a:extLst>
          </p:cNvPr>
          <p:cNvCxnSpPr>
            <a:cxnSpLocks/>
            <a:stCxn id="25" idx="0"/>
          </p:cNvCxnSpPr>
          <p:nvPr/>
        </p:nvCxnSpPr>
        <p:spPr>
          <a:xfrm flipH="1" flipV="1">
            <a:off x="11058935" y="4791823"/>
            <a:ext cx="107664" cy="374766"/>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69223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977"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en-IN" sz="2800">
              <a:solidFill>
                <a:srgbClr val="FFFFFF"/>
              </a:solidFill>
              <a:sym typeface="Arial" panose="020B0604020202020204" pitchFamily="34" charset="0"/>
            </a:endParaRPr>
          </a:p>
        </p:txBody>
      </p:sp>
      <p:sp>
        <p:nvSpPr>
          <p:cNvPr id="2" name="Title 1"/>
          <p:cNvSpPr>
            <a:spLocks noGrp="1"/>
          </p:cNvSpPr>
          <p:nvPr>
            <p:ph type="title"/>
          </p:nvPr>
        </p:nvSpPr>
        <p:spPr>
          <a:xfrm>
            <a:off x="545264" y="297277"/>
            <a:ext cx="9366179" cy="434010"/>
          </a:xfrm>
          <a:prstGeom prst="rect">
            <a:avLst/>
          </a:prstGeom>
        </p:spPr>
        <p:txBody>
          <a:bodyPr/>
          <a:lstStyle/>
          <a:p>
            <a:r>
              <a:rPr lang="en-US"/>
              <a:t>Strengths of mental health services</a:t>
            </a:r>
            <a:endParaRPr lang="en-IN"/>
          </a:p>
        </p:txBody>
      </p:sp>
      <p:sp>
        <p:nvSpPr>
          <p:cNvPr id="6" name="Footer Placeholder 5">
            <a:extLst>
              <a:ext uri="{FF2B5EF4-FFF2-40B4-BE49-F238E27FC236}">
                <a16:creationId xmlns:a16="http://schemas.microsoft.com/office/drawing/2014/main" id="{62E3292C-AE15-8E46-8E62-F9C713150B0B}"/>
              </a:ext>
            </a:extLst>
          </p:cNvPr>
          <p:cNvSpPr>
            <a:spLocks noGrp="1"/>
          </p:cNvSpPr>
          <p:nvPr>
            <p:ph type="ftr" sz="quarter" idx="14"/>
          </p:nvPr>
        </p:nvSpPr>
        <p:spPr/>
        <p:txBody>
          <a:bodyPr/>
          <a:lstStyle/>
          <a:p>
            <a:r>
              <a:rPr lang="en-GB"/>
              <a:t>© Moorhouse 2021  </a:t>
            </a:r>
          </a:p>
        </p:txBody>
      </p:sp>
      <p:sp>
        <p:nvSpPr>
          <p:cNvPr id="16" name="Rectangle 15">
            <a:extLst>
              <a:ext uri="{FF2B5EF4-FFF2-40B4-BE49-F238E27FC236}">
                <a16:creationId xmlns:a16="http://schemas.microsoft.com/office/drawing/2014/main" id="{F715D659-0B3D-3441-8784-EDED0A7173C7}"/>
              </a:ext>
            </a:extLst>
          </p:cNvPr>
          <p:cNvSpPr/>
          <p:nvPr/>
        </p:nvSpPr>
        <p:spPr>
          <a:xfrm>
            <a:off x="505239" y="832641"/>
            <a:ext cx="11279177" cy="461665"/>
          </a:xfrm>
          <a:prstGeom prst="rect">
            <a:avLst/>
          </a:prstGeom>
        </p:spPr>
        <p:txBody>
          <a:bodyPr wrap="square">
            <a:spAutoFit/>
          </a:bodyPr>
          <a:lstStyle/>
          <a:p>
            <a:pPr>
              <a:defRPr/>
            </a:pPr>
            <a:r>
              <a:rPr lang="en-GB" sz="1200" b="1">
                <a:solidFill>
                  <a:srgbClr val="50235C"/>
                </a:solidFill>
              </a:rPr>
              <a:t>Through stakeholder engagement and interviews, four key strengths were identified. </a:t>
            </a:r>
          </a:p>
          <a:p>
            <a:pPr lvl="0">
              <a:defRPr/>
            </a:pPr>
            <a:endParaRPr lang="en-GB" sz="1200" b="1">
              <a:solidFill>
                <a:srgbClr val="50235C"/>
              </a:solidFill>
            </a:endParaRPr>
          </a:p>
        </p:txBody>
      </p:sp>
      <p:graphicFrame>
        <p:nvGraphicFramePr>
          <p:cNvPr id="26" name="Table 25">
            <a:extLst>
              <a:ext uri="{FF2B5EF4-FFF2-40B4-BE49-F238E27FC236}">
                <a16:creationId xmlns:a16="http://schemas.microsoft.com/office/drawing/2014/main" id="{B868C0AB-3D2C-4647-A123-6629F1806D7E}"/>
              </a:ext>
            </a:extLst>
          </p:cNvPr>
          <p:cNvGraphicFramePr>
            <a:graphicFrameLocks noGrp="1"/>
          </p:cNvGraphicFramePr>
          <p:nvPr>
            <p:extLst>
              <p:ext uri="{D42A27DB-BD31-4B8C-83A1-F6EECF244321}">
                <p14:modId xmlns:p14="http://schemas.microsoft.com/office/powerpoint/2010/main" val="1267948979"/>
              </p:ext>
            </p:extLst>
          </p:nvPr>
        </p:nvGraphicFramePr>
        <p:xfrm>
          <a:off x="545264" y="1457214"/>
          <a:ext cx="11122480" cy="4497816"/>
        </p:xfrm>
        <a:graphic>
          <a:graphicData uri="http://schemas.openxmlformats.org/drawingml/2006/table">
            <a:tbl>
              <a:tblPr firstRow="1" bandRow="1">
                <a:tableStyleId>{5C22544A-7EE6-4342-B048-85BDC9FD1C3A}</a:tableStyleId>
              </a:tblPr>
              <a:tblGrid>
                <a:gridCol w="1540377">
                  <a:extLst>
                    <a:ext uri="{9D8B030D-6E8A-4147-A177-3AD203B41FA5}">
                      <a16:colId xmlns:a16="http://schemas.microsoft.com/office/drawing/2014/main" val="3796819404"/>
                    </a:ext>
                  </a:extLst>
                </a:gridCol>
                <a:gridCol w="9582103">
                  <a:extLst>
                    <a:ext uri="{9D8B030D-6E8A-4147-A177-3AD203B41FA5}">
                      <a16:colId xmlns:a16="http://schemas.microsoft.com/office/drawing/2014/main" val="921540492"/>
                    </a:ext>
                  </a:extLst>
                </a:gridCol>
              </a:tblGrid>
              <a:tr h="369404">
                <a:tc>
                  <a:txBody>
                    <a:bodyPr/>
                    <a:lstStyle/>
                    <a:p>
                      <a:pPr algn="ctr"/>
                      <a:r>
                        <a:rPr lang="en-GB" sz="1000" noProof="0">
                          <a:solidFill>
                            <a:srgbClr val="50235C"/>
                          </a:solidFill>
                          <a:latin typeface="Arial"/>
                          <a:cs typeface="Arial"/>
                        </a:rPr>
                        <a:t>Strength</a:t>
                      </a:r>
                      <a:endParaRPr lang="en-GB" sz="1000" noProof="0">
                        <a:solidFill>
                          <a:srgbClr val="50235C"/>
                        </a:solidFill>
                        <a:latin typeface="Arial" panose="020B0604020202020204" pitchFamily="34" charset="0"/>
                        <a:cs typeface="Arial" panose="020B0604020202020204" pitchFamily="34" charset="0"/>
                      </a:endParaRPr>
                    </a:p>
                  </a:txBody>
                  <a:tcPr marL="108000" marR="108000" marT="108000" marB="108000" anchor="ctr">
                    <a:lnL w="12700" cap="flat" cmpd="sng" algn="ctr">
                      <a:solidFill>
                        <a:srgbClr val="EFECF2"/>
                      </a:solidFill>
                      <a:prstDash val="solid"/>
                      <a:round/>
                      <a:headEnd type="none" w="med" len="med"/>
                      <a:tailEnd type="none" w="med" len="med"/>
                    </a:lnL>
                    <a:lnB w="12700" cap="flat" cmpd="sng" algn="ctr">
                      <a:noFill/>
                      <a:prstDash val="solid"/>
                      <a:round/>
                      <a:headEnd type="none" w="med" len="med"/>
                      <a:tailEnd type="none" w="med" len="med"/>
                    </a:lnB>
                    <a:solidFill>
                      <a:srgbClr val="F1EDF4"/>
                    </a:solidFill>
                  </a:tcPr>
                </a:tc>
                <a:tc>
                  <a:txBody>
                    <a:bodyPr/>
                    <a:lstStyle/>
                    <a:p>
                      <a:pPr algn="ctr"/>
                      <a:r>
                        <a:rPr lang="en-GB" sz="1000" noProof="0">
                          <a:solidFill>
                            <a:srgbClr val="50235C"/>
                          </a:solidFill>
                          <a:latin typeface="Arial"/>
                          <a:cs typeface="Arial"/>
                        </a:rPr>
                        <a:t>Description </a:t>
                      </a:r>
                      <a:endParaRPr lang="en-GB" sz="1000" noProof="0">
                        <a:solidFill>
                          <a:srgbClr val="50235C"/>
                        </a:solidFill>
                        <a:latin typeface="Arial" panose="020B0604020202020204" pitchFamily="34" charset="0"/>
                        <a:cs typeface="Arial" panose="020B0604020202020204" pitchFamily="34" charset="0"/>
                      </a:endParaRPr>
                    </a:p>
                  </a:txBody>
                  <a:tcPr marL="108000" marR="108000" marT="108000" marB="108000" anchor="ctr">
                    <a:lnB w="12700" cap="flat" cmpd="sng" algn="ctr">
                      <a:noFill/>
                      <a:prstDash val="solid"/>
                      <a:round/>
                      <a:headEnd type="none" w="med" len="med"/>
                      <a:tailEnd type="none" w="med" len="med"/>
                    </a:lnB>
                    <a:solidFill>
                      <a:srgbClr val="F1EDF4"/>
                    </a:solidFill>
                  </a:tcPr>
                </a:tc>
                <a:extLst>
                  <a:ext uri="{0D108BD9-81ED-4DB2-BD59-A6C34878D82A}">
                    <a16:rowId xmlns:a16="http://schemas.microsoft.com/office/drawing/2014/main" val="2008318479"/>
                  </a:ext>
                </a:extLst>
              </a:tr>
              <a:tr h="10321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kern="1200" noProof="0">
                          <a:solidFill>
                            <a:srgbClr val="50235A"/>
                          </a:solidFill>
                          <a:latin typeface="+mn-lt"/>
                          <a:ea typeface="+mn-ea"/>
                          <a:cs typeface="+mn-cs"/>
                        </a:rPr>
                        <a:t>Strong and dynamic third sector</a:t>
                      </a: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rgbClr val="AC9AB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noProof="0">
                          <a:solidFill>
                            <a:schemeClr val="tx2">
                              <a:lumMod val="65000"/>
                              <a:lumOff val="35000"/>
                            </a:schemeClr>
                          </a:solidFill>
                        </a:rPr>
                        <a:t>Across the third sector there is a wide range of valuable service offerings to support service us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noProof="0">
                          <a:solidFill>
                            <a:schemeClr val="tx2">
                              <a:lumMod val="65000"/>
                              <a:lumOff val="35000"/>
                            </a:schemeClr>
                          </a:solidFill>
                        </a:rPr>
                        <a:t>The Telford mental health Alliance promotes a multi-agency approach to supporting adults with poor mental health. The alliance acts a conduit for referrals for </a:t>
                      </a:r>
                      <a:r>
                        <a:rPr lang="en-GB" sz="1000" b="0" noProof="0">
                          <a:solidFill>
                            <a:schemeClr val="tx2">
                              <a:lumMod val="65000"/>
                              <a:lumOff val="35000"/>
                            </a:schemeClr>
                          </a:solidFill>
                        </a:rPr>
                        <a:t>community support and service allocations for individuals who have non statutory support needs on discharge from inpatient care and to prevent readmiss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noProof="0">
                          <a:solidFill>
                            <a:schemeClr val="tx2">
                              <a:lumMod val="65000"/>
                              <a:lumOff val="35000"/>
                            </a:schemeClr>
                          </a:solidFill>
                        </a:rPr>
                        <a:t>Shropshire sanctuary supports over 70 people per month, aimed at avoiding admissions and supporting service users in the community.  </a:t>
                      </a:r>
                    </a:p>
                  </a:txBody>
                  <a:tcPr anchor="ctr">
                    <a:lnL w="12700" cmpd="sng">
                      <a:noFill/>
                    </a:lnL>
                    <a:lnR w="12700" cmpd="sng">
                      <a:noFill/>
                    </a:lnR>
                    <a:lnT w="12700" cap="flat" cmpd="sng" algn="ctr">
                      <a:noFill/>
                      <a:prstDash val="solid"/>
                      <a:round/>
                      <a:headEnd type="none" w="med" len="med"/>
                      <a:tailEnd type="none" w="med" len="med"/>
                    </a:lnT>
                    <a:lnB w="12700" cap="flat" cmpd="sng" algn="ctr">
                      <a:solidFill>
                        <a:srgbClr val="AC9AB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057837186"/>
                  </a:ext>
                </a:extLst>
              </a:tr>
              <a:tr h="10321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kern="1200" noProof="0">
                          <a:solidFill>
                            <a:srgbClr val="50235A"/>
                          </a:solidFill>
                          <a:latin typeface="+mn-lt"/>
                          <a:ea typeface="+mn-ea"/>
                          <a:cs typeface="+mn-cs"/>
                        </a:rPr>
                        <a:t>Senior level relationship</a:t>
                      </a:r>
                    </a:p>
                  </a:txBody>
                  <a:tcPr anchor="ctr">
                    <a:lnL w="12700" cap="flat" cmpd="sng" algn="ctr">
                      <a:noFill/>
                      <a:prstDash val="solid"/>
                      <a:round/>
                      <a:headEnd type="none" w="med" len="med"/>
                      <a:tailEnd type="none" w="med" len="med"/>
                    </a:lnL>
                    <a:lnR w="12700" cmpd="sng">
                      <a:noFill/>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noProof="0">
                          <a:solidFill>
                            <a:schemeClr val="tx2">
                              <a:lumMod val="65000"/>
                              <a:lumOff val="35000"/>
                            </a:schemeClr>
                          </a:solidFill>
                          <a:latin typeface="+mn-lt"/>
                          <a:ea typeface="+mn-ea"/>
                          <a:cs typeface="+mn-cs"/>
                        </a:rPr>
                        <a:t>Strong and collaborative working relationships between senior leaders across MPFT, CCG and councils. These relationships support proactive planning and strong oversight of the delivery of servic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noProof="0">
                          <a:solidFill>
                            <a:schemeClr val="tx2">
                              <a:lumMod val="65000"/>
                              <a:lumOff val="35000"/>
                            </a:schemeClr>
                          </a:solidFill>
                          <a:latin typeface="+mn-lt"/>
                          <a:ea typeface="+mn-ea"/>
                          <a:cs typeface="+mn-cs"/>
                        </a:rPr>
                        <a:t>There is a willingness and ambition at senior levels to make changes and integrate the system as a whol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noProof="0">
                          <a:solidFill>
                            <a:schemeClr val="tx2">
                              <a:lumMod val="65000"/>
                              <a:lumOff val="35000"/>
                            </a:schemeClr>
                          </a:solidFill>
                          <a:latin typeface="+mn-lt"/>
                          <a:ea typeface="+mn-ea"/>
                          <a:cs typeface="+mn-cs"/>
                        </a:rPr>
                        <a:t>Senior leaders are available and proactive at responding to issues, questions and challenges when required. </a:t>
                      </a:r>
                    </a:p>
                  </a:txBody>
                  <a:tcPr anchor="ctr">
                    <a:lnL w="12700" cmpd="sng">
                      <a:noFill/>
                    </a:lnL>
                    <a:lnR w="12700" cmpd="sng">
                      <a:noFill/>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3681782"/>
                  </a:ext>
                </a:extLst>
              </a:tr>
              <a:tr h="10321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kern="1200" noProof="0">
                          <a:solidFill>
                            <a:srgbClr val="50235A"/>
                          </a:solidFill>
                          <a:latin typeface="+mn-lt"/>
                          <a:ea typeface="+mn-ea"/>
                          <a:cs typeface="+mn-cs"/>
                        </a:rPr>
                        <a:t>Hospital avoidance services</a:t>
                      </a:r>
                    </a:p>
                  </a:txBody>
                  <a:tcPr anchor="ctr">
                    <a:lnL w="12700" cap="flat" cmpd="sng" algn="ctr">
                      <a:noFill/>
                      <a:prstDash val="solid"/>
                      <a:round/>
                      <a:headEnd type="none" w="med" len="med"/>
                      <a:tailEnd type="none" w="med" len="med"/>
                    </a:lnL>
                    <a:lnR w="12700" cmpd="sng">
                      <a:noFill/>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noProof="0">
                          <a:solidFill>
                            <a:schemeClr val="tx2">
                              <a:lumMod val="65000"/>
                              <a:lumOff val="35000"/>
                            </a:schemeClr>
                          </a:solidFill>
                          <a:latin typeface="+mn-lt"/>
                          <a:ea typeface="+mn-ea"/>
                          <a:cs typeface="+mn-cs"/>
                        </a:rPr>
                        <a:t>Great success in the Hospital avoidance service aimed at older adults across STW, it has resulted in freeing up an entire inpatient ward for mental health servic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noProof="0">
                          <a:solidFill>
                            <a:schemeClr val="tx2">
                              <a:lumMod val="65000"/>
                              <a:lumOff val="35000"/>
                            </a:schemeClr>
                          </a:solidFill>
                          <a:latin typeface="+mn-lt"/>
                          <a:ea typeface="+mn-ea"/>
                          <a:cs typeface="+mn-cs"/>
                        </a:rPr>
                        <a:t>The Early Intervention in Psychosis service provides huge value to service users and supports patients to avoid further deterior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noProof="0">
                          <a:solidFill>
                            <a:schemeClr val="tx2">
                              <a:lumMod val="65000"/>
                              <a:lumOff val="35000"/>
                            </a:schemeClr>
                          </a:solidFill>
                          <a:latin typeface="+mn-lt"/>
                          <a:ea typeface="+mn-ea"/>
                          <a:cs typeface="+mn-cs"/>
                        </a:rPr>
                        <a:t>A weekend ward service has been developed to support the management of mental health service users in care homes, thereby preventing them coming into hospital which avoids significant operational resources while giving service users timely access to care.  </a:t>
                      </a:r>
                    </a:p>
                  </a:txBody>
                  <a:tcPr anchor="ctr">
                    <a:lnL w="12700" cmpd="sng">
                      <a:noFill/>
                    </a:lnL>
                    <a:lnR w="12700" cmpd="sng">
                      <a:noFill/>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89349565"/>
                  </a:ext>
                </a:extLst>
              </a:tr>
              <a:tr h="10321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kern="1200" noProof="0">
                          <a:solidFill>
                            <a:srgbClr val="50235A"/>
                          </a:solidFill>
                          <a:latin typeface="+mn-lt"/>
                          <a:ea typeface="+mn-ea"/>
                          <a:cs typeface="+mn-cs"/>
                        </a:rPr>
                        <a:t>Standardised care</a:t>
                      </a:r>
                    </a:p>
                  </a:txBody>
                  <a:tcPr anchor="ctr">
                    <a:lnL w="12700" cap="flat" cmpd="sng" algn="ctr">
                      <a:noFill/>
                      <a:prstDash val="solid"/>
                      <a:round/>
                      <a:headEnd type="none" w="med" len="med"/>
                      <a:tailEnd type="none" w="med" len="med"/>
                    </a:lnL>
                    <a:lnR w="12700" cmpd="sng">
                      <a:noFill/>
                    </a:lnR>
                    <a:lnT w="12700" cap="flat" cmpd="sng" algn="ctr">
                      <a:solidFill>
                        <a:srgbClr val="AC9AB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noProof="0">
                          <a:solidFill>
                            <a:schemeClr val="tx2">
                              <a:lumMod val="65000"/>
                              <a:lumOff val="35000"/>
                            </a:schemeClr>
                          </a:solidFill>
                          <a:latin typeface="+mn-lt"/>
                          <a:ea typeface="+mn-ea"/>
                          <a:cs typeface="+mn-cs"/>
                        </a:rPr>
                        <a:t>The use of pathways across Shropshire Telford &amp; Wrekin allows for the standardisation of care for patients across the system, as the same pathway exists for patients with a diagnosis no matter where they liv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noProof="0">
                          <a:solidFill>
                            <a:schemeClr val="tx2">
                              <a:lumMod val="65000"/>
                              <a:lumOff val="35000"/>
                            </a:schemeClr>
                          </a:solidFill>
                          <a:latin typeface="+mn-lt"/>
                          <a:ea typeface="+mn-ea"/>
                          <a:cs typeface="+mn-cs"/>
                        </a:rPr>
                        <a:t>The use of pathways allows for the patient journey to be clear to the health and care staff that support patients. </a:t>
                      </a:r>
                    </a:p>
                  </a:txBody>
                  <a:tcPr anchor="ctr">
                    <a:lnL w="12700" cmpd="sng">
                      <a:noFill/>
                    </a:lnL>
                    <a:lnR w="12700" cmpd="sng">
                      <a:noFill/>
                    </a:lnR>
                    <a:lnT w="12700" cap="flat" cmpd="sng" algn="ctr">
                      <a:solidFill>
                        <a:srgbClr val="AC9AB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90438932"/>
                  </a:ext>
                </a:extLst>
              </a:tr>
            </a:tbl>
          </a:graphicData>
        </a:graphic>
      </p:graphicFrame>
      <p:graphicFrame>
        <p:nvGraphicFramePr>
          <p:cNvPr id="8" name="Table 7">
            <a:extLst>
              <a:ext uri="{FF2B5EF4-FFF2-40B4-BE49-F238E27FC236}">
                <a16:creationId xmlns:a16="http://schemas.microsoft.com/office/drawing/2014/main" id="{B0BB455C-2651-4D4F-AE73-7C1F77D594D2}"/>
              </a:ext>
            </a:extLst>
          </p:cNvPr>
          <p:cNvGraphicFramePr>
            <a:graphicFrameLocks noGrp="1"/>
          </p:cNvGraphicFramePr>
          <p:nvPr>
            <p:extLst>
              <p:ext uri="{D42A27DB-BD31-4B8C-83A1-F6EECF244321}">
                <p14:modId xmlns:p14="http://schemas.microsoft.com/office/powerpoint/2010/main" val="1057866286"/>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A"/>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Tree>
    <p:extLst>
      <p:ext uri="{BB962C8B-B14F-4D97-AF65-F5344CB8AC3E}">
        <p14:creationId xmlns:p14="http://schemas.microsoft.com/office/powerpoint/2010/main" val="5814441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25"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en-IN" sz="2800">
              <a:solidFill>
                <a:srgbClr val="FFFFFF"/>
              </a:solidFill>
              <a:sym typeface="Arial" panose="020B0604020202020204" pitchFamily="34" charset="0"/>
            </a:endParaRPr>
          </a:p>
        </p:txBody>
      </p:sp>
      <p:sp>
        <p:nvSpPr>
          <p:cNvPr id="2" name="Title 1"/>
          <p:cNvSpPr>
            <a:spLocks noGrp="1"/>
          </p:cNvSpPr>
          <p:nvPr>
            <p:ph type="title"/>
          </p:nvPr>
        </p:nvSpPr>
        <p:spPr>
          <a:xfrm>
            <a:off x="545264" y="297277"/>
            <a:ext cx="9366179" cy="434010"/>
          </a:xfrm>
          <a:prstGeom prst="rect">
            <a:avLst/>
          </a:prstGeom>
        </p:spPr>
        <p:txBody>
          <a:bodyPr/>
          <a:lstStyle/>
          <a:p>
            <a:r>
              <a:rPr lang="en-US"/>
              <a:t>Top challenges for mental health service users</a:t>
            </a:r>
            <a:endParaRPr lang="en-IN"/>
          </a:p>
        </p:txBody>
      </p:sp>
      <p:sp>
        <p:nvSpPr>
          <p:cNvPr id="6" name="Footer Placeholder 5">
            <a:extLst>
              <a:ext uri="{FF2B5EF4-FFF2-40B4-BE49-F238E27FC236}">
                <a16:creationId xmlns:a16="http://schemas.microsoft.com/office/drawing/2014/main" id="{62E3292C-AE15-8E46-8E62-F9C713150B0B}"/>
              </a:ext>
            </a:extLst>
          </p:cNvPr>
          <p:cNvSpPr>
            <a:spLocks noGrp="1"/>
          </p:cNvSpPr>
          <p:nvPr>
            <p:ph type="ftr" sz="quarter" idx="14"/>
          </p:nvPr>
        </p:nvSpPr>
        <p:spPr/>
        <p:txBody>
          <a:bodyPr/>
          <a:lstStyle/>
          <a:p>
            <a:r>
              <a:rPr lang="en-GB"/>
              <a:t>© Moorhouse 2021  </a:t>
            </a:r>
          </a:p>
        </p:txBody>
      </p:sp>
      <p:graphicFrame>
        <p:nvGraphicFramePr>
          <p:cNvPr id="26" name="Table 25">
            <a:extLst>
              <a:ext uri="{FF2B5EF4-FFF2-40B4-BE49-F238E27FC236}">
                <a16:creationId xmlns:a16="http://schemas.microsoft.com/office/drawing/2014/main" id="{B868C0AB-3D2C-4647-A123-6629F1806D7E}"/>
              </a:ext>
            </a:extLst>
          </p:cNvPr>
          <p:cNvGraphicFramePr>
            <a:graphicFrameLocks noGrp="1"/>
          </p:cNvGraphicFramePr>
          <p:nvPr>
            <p:extLst>
              <p:ext uri="{D42A27DB-BD31-4B8C-83A1-F6EECF244321}">
                <p14:modId xmlns:p14="http://schemas.microsoft.com/office/powerpoint/2010/main" val="2457452026"/>
              </p:ext>
            </p:extLst>
          </p:nvPr>
        </p:nvGraphicFramePr>
        <p:xfrm>
          <a:off x="545264" y="1456327"/>
          <a:ext cx="11165291" cy="4909920"/>
        </p:xfrm>
        <a:graphic>
          <a:graphicData uri="http://schemas.openxmlformats.org/drawingml/2006/table">
            <a:tbl>
              <a:tblPr firstRow="1" bandRow="1">
                <a:tableStyleId>{5C22544A-7EE6-4342-B048-85BDC9FD1C3A}</a:tableStyleId>
              </a:tblPr>
              <a:tblGrid>
                <a:gridCol w="1511054">
                  <a:extLst>
                    <a:ext uri="{9D8B030D-6E8A-4147-A177-3AD203B41FA5}">
                      <a16:colId xmlns:a16="http://schemas.microsoft.com/office/drawing/2014/main" val="3796819404"/>
                    </a:ext>
                  </a:extLst>
                </a:gridCol>
                <a:gridCol w="9654237">
                  <a:extLst>
                    <a:ext uri="{9D8B030D-6E8A-4147-A177-3AD203B41FA5}">
                      <a16:colId xmlns:a16="http://schemas.microsoft.com/office/drawing/2014/main" val="921540492"/>
                    </a:ext>
                  </a:extLst>
                </a:gridCol>
              </a:tblGrid>
              <a:tr h="0">
                <a:tc>
                  <a:txBody>
                    <a:bodyPr/>
                    <a:lstStyle/>
                    <a:p>
                      <a:pPr algn="ctr"/>
                      <a:r>
                        <a:rPr lang="en-GB" sz="1000" noProof="0">
                          <a:solidFill>
                            <a:srgbClr val="50235C"/>
                          </a:solidFill>
                          <a:latin typeface="Arial"/>
                          <a:cs typeface="Arial"/>
                        </a:rPr>
                        <a:t>Challenge</a:t>
                      </a:r>
                      <a:endParaRPr lang="en-GB" sz="1000" noProof="0">
                        <a:solidFill>
                          <a:srgbClr val="50235C"/>
                        </a:solidFill>
                        <a:latin typeface="Arial" panose="020B0604020202020204" pitchFamily="34" charset="0"/>
                        <a:cs typeface="Arial" panose="020B0604020202020204" pitchFamily="34" charset="0"/>
                      </a:endParaRPr>
                    </a:p>
                  </a:txBody>
                  <a:tcPr marL="108000" marR="108000" marT="108000" marB="108000" anchor="ctr">
                    <a:lnL w="12700" cap="flat" cmpd="sng" algn="ctr">
                      <a:solidFill>
                        <a:srgbClr val="EFECF2"/>
                      </a:solidFill>
                      <a:prstDash val="solid"/>
                      <a:round/>
                      <a:headEnd type="none" w="med" len="med"/>
                      <a:tailEnd type="none" w="med" len="med"/>
                    </a:lnL>
                    <a:lnB w="12700" cap="flat" cmpd="sng" algn="ctr">
                      <a:noFill/>
                      <a:prstDash val="solid"/>
                      <a:round/>
                      <a:headEnd type="none" w="med" len="med"/>
                      <a:tailEnd type="none" w="med" len="med"/>
                    </a:lnB>
                    <a:solidFill>
                      <a:srgbClr val="F1EDF4"/>
                    </a:solidFill>
                  </a:tcPr>
                </a:tc>
                <a:tc>
                  <a:txBody>
                    <a:bodyPr/>
                    <a:lstStyle/>
                    <a:p>
                      <a:pPr algn="ctr"/>
                      <a:r>
                        <a:rPr lang="en-GB" sz="1000" noProof="0">
                          <a:solidFill>
                            <a:srgbClr val="50235C"/>
                          </a:solidFill>
                          <a:latin typeface="Arial"/>
                          <a:cs typeface="Arial"/>
                        </a:rPr>
                        <a:t>Description </a:t>
                      </a:r>
                      <a:endParaRPr lang="en-GB" sz="1000" noProof="0">
                        <a:solidFill>
                          <a:srgbClr val="50235C"/>
                        </a:solidFill>
                        <a:latin typeface="Arial" panose="020B0604020202020204" pitchFamily="34" charset="0"/>
                        <a:cs typeface="Arial" panose="020B0604020202020204" pitchFamily="34" charset="0"/>
                      </a:endParaRPr>
                    </a:p>
                  </a:txBody>
                  <a:tcPr marL="108000" marR="108000" marT="108000" marB="108000" anchor="ctr">
                    <a:lnB w="12700" cap="flat" cmpd="sng" algn="ctr">
                      <a:noFill/>
                      <a:prstDash val="solid"/>
                      <a:round/>
                      <a:headEnd type="none" w="med" len="med"/>
                      <a:tailEnd type="none" w="med" len="med"/>
                    </a:lnB>
                    <a:solidFill>
                      <a:srgbClr val="F1EDF4"/>
                    </a:solidFill>
                  </a:tcPr>
                </a:tc>
                <a:extLst>
                  <a:ext uri="{0D108BD9-81ED-4DB2-BD59-A6C34878D82A}">
                    <a16:rowId xmlns:a16="http://schemas.microsoft.com/office/drawing/2014/main" val="2008318479"/>
                  </a:ext>
                </a:extLst>
              </a:tr>
              <a:tr h="1513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kern="1200" noProof="0">
                          <a:solidFill>
                            <a:srgbClr val="50235A"/>
                          </a:solidFill>
                          <a:latin typeface="+mn-lt"/>
                          <a:ea typeface="+mn-ea"/>
                          <a:cs typeface="+mn-cs"/>
                        </a:rPr>
                        <a:t>People with Autism and mental health</a:t>
                      </a: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rgbClr val="AC9AB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GB" sz="900" b="1" kern="1200">
                          <a:solidFill>
                            <a:srgbClr val="50235C"/>
                          </a:solidFill>
                          <a:latin typeface="+mn-lt"/>
                          <a:ea typeface="+mn-ea"/>
                          <a:cs typeface="+mn-cs"/>
                        </a:rPr>
                        <a:t>Autistic service users were found to be at a disadvantage when accessing services and support</a:t>
                      </a:r>
                      <a:r>
                        <a:rPr lang="en-GB" sz="900" kern="1200">
                          <a:solidFill>
                            <a:schemeClr val="tx2">
                              <a:lumMod val="65000"/>
                              <a:lumOff val="35000"/>
                            </a:schemeClr>
                          </a:solidFill>
                          <a:latin typeface="+mn-lt"/>
                          <a:ea typeface="+mn-ea"/>
                          <a:cs typeface="+mn-cs"/>
                        </a:rPr>
                        <a:t>. </a:t>
                      </a:r>
                      <a:r>
                        <a:rPr lang="en-US" sz="900" b="0" kern="1200">
                          <a:solidFill>
                            <a:schemeClr val="tx2">
                              <a:lumMod val="65000"/>
                              <a:lumOff val="35000"/>
                            </a:schemeClr>
                          </a:solidFill>
                          <a:latin typeface="+mn-lt"/>
                          <a:ea typeface="+mn-ea"/>
                          <a:cs typeface="+mn-cs"/>
                        </a:rPr>
                        <a:t>We heard;</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GB" sz="900" noProof="0">
                          <a:solidFill>
                            <a:schemeClr val="tx2">
                              <a:lumMod val="65000"/>
                              <a:lumOff val="35000"/>
                            </a:schemeClr>
                          </a:solidFill>
                        </a:rPr>
                        <a:t>There is a gap and challenge with service users with an autism only diagnosis who present with complex needs. The </a:t>
                      </a:r>
                      <a:r>
                        <a:rPr lang="en-GB" sz="900" b="1" noProof="0">
                          <a:solidFill>
                            <a:srgbClr val="50235C"/>
                          </a:solidFill>
                        </a:rPr>
                        <a:t>current pathways do not meet the needs of this cohort</a:t>
                      </a:r>
                      <a:r>
                        <a:rPr lang="en-GB" sz="900" noProof="0">
                          <a:solidFill>
                            <a:schemeClr val="tx2">
                              <a:lumMod val="65000"/>
                              <a:lumOff val="35000"/>
                            </a:schemeClr>
                          </a:solidFill>
                        </a:rPr>
                        <a:t> and there has been little to no investment to meet the needs of this particular cohort.</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GB" sz="900" b="1" kern="1200">
                          <a:solidFill>
                            <a:srgbClr val="50235C"/>
                          </a:solidFill>
                          <a:latin typeface="+mn-lt"/>
                          <a:ea typeface="+mn-ea"/>
                          <a:cs typeface="+mn-cs"/>
                        </a:rPr>
                        <a:t>Limited support options and pathways for those with autism </a:t>
                      </a:r>
                      <a:r>
                        <a:rPr lang="en-GB" sz="900" kern="1200">
                          <a:solidFill>
                            <a:schemeClr val="tx2">
                              <a:lumMod val="65000"/>
                              <a:lumOff val="35000"/>
                            </a:schemeClr>
                          </a:solidFill>
                          <a:latin typeface="+mn-lt"/>
                          <a:ea typeface="+mn-ea"/>
                          <a:cs typeface="+mn-cs"/>
                        </a:rPr>
                        <a:t>can result in extended inpatient stays due to lack of safe alternatives.</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GB" sz="900" b="1" noProof="0">
                          <a:solidFill>
                            <a:srgbClr val="50235C"/>
                          </a:solidFill>
                        </a:rPr>
                        <a:t>Hospitals and inpatient units are not Autism friendly environments</a:t>
                      </a:r>
                      <a:r>
                        <a:rPr lang="en-GB" sz="900" noProof="0">
                          <a:solidFill>
                            <a:schemeClr val="tx2">
                              <a:lumMod val="65000"/>
                              <a:lumOff val="35000"/>
                            </a:schemeClr>
                          </a:solidFill>
                        </a:rPr>
                        <a:t>, with harsh lighting, loud noises often being triggers for distress in patients with Autism. </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GB" sz="900" noProof="0">
                          <a:solidFill>
                            <a:schemeClr val="tx2">
                              <a:lumMod val="65000"/>
                              <a:lumOff val="35000"/>
                            </a:schemeClr>
                          </a:solidFill>
                        </a:rPr>
                        <a:t>Across metal health wards there is a </a:t>
                      </a:r>
                      <a:r>
                        <a:rPr lang="en-GB" sz="900" b="1" noProof="0">
                          <a:solidFill>
                            <a:srgbClr val="50235C"/>
                          </a:solidFill>
                        </a:rPr>
                        <a:t>limited understanding of the specific needs of people with Autism </a:t>
                      </a:r>
                      <a:r>
                        <a:rPr lang="en-GB" sz="900" noProof="0">
                          <a:solidFill>
                            <a:schemeClr val="tx2">
                              <a:lumMod val="65000"/>
                              <a:lumOff val="35000"/>
                            </a:schemeClr>
                          </a:solidFill>
                        </a:rPr>
                        <a:t>and the adaptations in approach required. </a:t>
                      </a:r>
                    </a:p>
                  </a:txBody>
                  <a:tcPr anchor="ctr">
                    <a:lnL w="12700" cmpd="sng">
                      <a:noFill/>
                    </a:lnL>
                    <a:lnR w="12700" cmpd="sng">
                      <a:noFill/>
                    </a:lnR>
                    <a:lnT w="12700" cap="flat" cmpd="sng" algn="ctr">
                      <a:noFill/>
                      <a:prstDash val="solid"/>
                      <a:round/>
                      <a:headEnd type="none" w="med" len="med"/>
                      <a:tailEnd type="none" w="med" len="med"/>
                    </a:lnT>
                    <a:lnB w="12700" cap="flat" cmpd="sng" algn="ctr">
                      <a:solidFill>
                        <a:srgbClr val="AC9AB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7837186"/>
                  </a:ext>
                </a:extLst>
              </a:tr>
              <a:tr h="1513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kern="1200" noProof="0">
                          <a:solidFill>
                            <a:srgbClr val="50235A"/>
                          </a:solidFill>
                          <a:latin typeface="+mn-lt"/>
                          <a:ea typeface="+mn-ea"/>
                          <a:cs typeface="+mn-cs"/>
                        </a:rPr>
                        <a:t>People with co-existing mental health and drug &amp; alcohol issues</a:t>
                      </a:r>
                    </a:p>
                  </a:txBody>
                  <a:tcPr anchor="ctr">
                    <a:lnL w="12700" cap="flat" cmpd="sng" algn="ctr">
                      <a:noFill/>
                      <a:prstDash val="solid"/>
                      <a:round/>
                      <a:headEnd type="none" w="med" len="med"/>
                      <a:tailEnd type="none" w="med" len="med"/>
                    </a:lnL>
                    <a:lnR w="12700" cmpd="sng">
                      <a:noFill/>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GB" sz="900" b="1" kern="1200" noProof="0">
                          <a:solidFill>
                            <a:srgbClr val="50235C"/>
                          </a:solidFill>
                          <a:latin typeface="+mn-lt"/>
                          <a:ea typeface="+mn-ea"/>
                          <a:cs typeface="+mn-cs"/>
                        </a:rPr>
                        <a:t>People with mental health issues use drugs and/or alcohol to ‘self-medicate’, </a:t>
                      </a:r>
                      <a:r>
                        <a:rPr lang="en-GB" sz="900" kern="1200" noProof="0">
                          <a:solidFill>
                            <a:schemeClr val="tx2">
                              <a:lumMod val="65000"/>
                              <a:lumOff val="35000"/>
                            </a:schemeClr>
                          </a:solidFill>
                          <a:latin typeface="+mn-lt"/>
                          <a:ea typeface="+mn-ea"/>
                          <a:cs typeface="+mn-cs"/>
                        </a:rPr>
                        <a:t>this however presents more of a challenge to the system in supporting these people, as they often require the support and services of multiple teams / organisations at any given time. Across STW;</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GB" sz="900" kern="1200" noProof="0">
                          <a:solidFill>
                            <a:schemeClr val="tx2">
                              <a:lumMod val="65000"/>
                              <a:lumOff val="35000"/>
                            </a:schemeClr>
                          </a:solidFill>
                          <a:latin typeface="+mn-lt"/>
                          <a:ea typeface="+mn-ea"/>
                          <a:cs typeface="+mn-cs"/>
                        </a:rPr>
                        <a:t>There are challenges in the way mental health services are set up that can often result in </a:t>
                      </a:r>
                      <a:r>
                        <a:rPr lang="en-GB" sz="900" b="1" kern="1200" noProof="0">
                          <a:solidFill>
                            <a:srgbClr val="50235C"/>
                          </a:solidFill>
                          <a:latin typeface="+mn-lt"/>
                          <a:ea typeface="+mn-ea"/>
                          <a:cs typeface="+mn-cs"/>
                        </a:rPr>
                        <a:t>issues for patients with a dual diagnosis</a:t>
                      </a:r>
                      <a:r>
                        <a:rPr lang="en-GB" sz="900" kern="1200" noProof="0">
                          <a:solidFill>
                            <a:schemeClr val="tx2">
                              <a:lumMod val="65000"/>
                              <a:lumOff val="35000"/>
                            </a:schemeClr>
                          </a:solidFill>
                          <a:latin typeface="+mn-lt"/>
                          <a:ea typeface="+mn-ea"/>
                          <a:cs typeface="+mn-cs"/>
                        </a:rPr>
                        <a:t>. Those with mental health and substance abuse issues may/ often require support from numerous services. This brings an added complexity to their pathway and can result in bouncing between services. </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GB" sz="900" kern="1200" noProof="0">
                          <a:solidFill>
                            <a:schemeClr val="tx2">
                              <a:lumMod val="65000"/>
                              <a:lumOff val="35000"/>
                            </a:schemeClr>
                          </a:solidFill>
                          <a:latin typeface="+mn-lt"/>
                          <a:ea typeface="+mn-ea"/>
                          <a:cs typeface="+mn-cs"/>
                        </a:rPr>
                        <a:t>Service users often </a:t>
                      </a:r>
                      <a:r>
                        <a:rPr lang="en-GB" sz="900" b="1" kern="1200" noProof="0">
                          <a:solidFill>
                            <a:srgbClr val="50235C"/>
                          </a:solidFill>
                          <a:latin typeface="+mn-lt"/>
                          <a:ea typeface="+mn-ea"/>
                          <a:cs typeface="+mn-cs"/>
                        </a:rPr>
                        <a:t>fall through the middle of mental health and drug and alcohol services</a:t>
                      </a:r>
                      <a:r>
                        <a:rPr lang="en-GB" sz="900" kern="1200" noProof="0">
                          <a:solidFill>
                            <a:schemeClr val="tx2">
                              <a:lumMod val="65000"/>
                              <a:lumOff val="35000"/>
                            </a:schemeClr>
                          </a:solidFill>
                          <a:latin typeface="+mn-lt"/>
                          <a:ea typeface="+mn-ea"/>
                          <a:cs typeface="+mn-cs"/>
                        </a:rPr>
                        <a:t>, as their needs don’t fit the existing pathways. </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GB" sz="900" kern="1200" noProof="0">
                          <a:solidFill>
                            <a:schemeClr val="tx2">
                              <a:lumMod val="65000"/>
                              <a:lumOff val="35000"/>
                            </a:schemeClr>
                          </a:solidFill>
                          <a:latin typeface="+mn-lt"/>
                          <a:ea typeface="+mn-ea"/>
                          <a:cs typeface="+mn-cs"/>
                        </a:rPr>
                        <a:t>STW are currently seeing indications of a </a:t>
                      </a:r>
                      <a:r>
                        <a:rPr lang="en-GB" sz="900" b="1" kern="1200" noProof="0">
                          <a:solidFill>
                            <a:srgbClr val="50235C"/>
                          </a:solidFill>
                          <a:latin typeface="+mn-lt"/>
                          <a:ea typeface="+mn-ea"/>
                          <a:cs typeface="+mn-cs"/>
                        </a:rPr>
                        <a:t>surge in in alcohol referrals into mental health services</a:t>
                      </a:r>
                      <a:r>
                        <a:rPr lang="en-GB" sz="900" kern="1200" noProof="0">
                          <a:solidFill>
                            <a:schemeClr val="tx2">
                              <a:lumMod val="65000"/>
                              <a:lumOff val="35000"/>
                            </a:schemeClr>
                          </a:solidFill>
                          <a:latin typeface="+mn-lt"/>
                          <a:ea typeface="+mn-ea"/>
                          <a:cs typeface="+mn-cs"/>
                        </a:rPr>
                        <a:t>. </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GB" sz="900" b="1" kern="1200" noProof="0">
                          <a:solidFill>
                            <a:srgbClr val="50235C"/>
                          </a:solidFill>
                          <a:latin typeface="+mn-lt"/>
                          <a:ea typeface="+mn-ea"/>
                          <a:cs typeface="+mn-cs"/>
                        </a:rPr>
                        <a:t>D&amp;A users often have increased complexity of care needs</a:t>
                      </a:r>
                      <a:r>
                        <a:rPr lang="en-GB" sz="900" kern="1200" noProof="0">
                          <a:solidFill>
                            <a:schemeClr val="tx2">
                              <a:lumMod val="65000"/>
                              <a:lumOff val="35000"/>
                            </a:schemeClr>
                          </a:solidFill>
                          <a:latin typeface="+mn-lt"/>
                          <a:ea typeface="+mn-ea"/>
                          <a:cs typeface="+mn-cs"/>
                        </a:rPr>
                        <a:t>, meaning they may need longer and more intense support. </a:t>
                      </a:r>
                    </a:p>
                  </a:txBody>
                  <a:tcPr anchor="ctr">
                    <a:lnL w="12700" cmpd="sng">
                      <a:noFill/>
                    </a:lnL>
                    <a:lnR w="12700" cmpd="sng">
                      <a:noFill/>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3681782"/>
                  </a:ext>
                </a:extLst>
              </a:tr>
              <a:tr h="1513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kern="1200" noProof="0">
                          <a:solidFill>
                            <a:srgbClr val="50235A"/>
                          </a:solidFill>
                          <a:latin typeface="+mn-lt"/>
                          <a:ea typeface="+mn-ea"/>
                          <a:cs typeface="+mn-cs"/>
                        </a:rPr>
                        <a:t>System wide delivery of physical health checks for patients with sever mental illness. </a:t>
                      </a:r>
                    </a:p>
                  </a:txBody>
                  <a:tcPr anchor="ctr">
                    <a:lnL w="12700" cap="flat" cmpd="sng" algn="ctr">
                      <a:noFill/>
                      <a:prstDash val="solid"/>
                      <a:round/>
                      <a:headEnd type="none" w="med" len="med"/>
                      <a:tailEnd type="none" w="med" len="med"/>
                    </a:lnL>
                    <a:lnR w="12700" cmpd="sng">
                      <a:noFill/>
                    </a:lnR>
                    <a:lnT w="12700" cap="flat" cmpd="sng" algn="ctr">
                      <a:solidFill>
                        <a:srgbClr val="AC9AB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GB" sz="900" b="1" kern="1200">
                          <a:solidFill>
                            <a:srgbClr val="50235C"/>
                          </a:solidFill>
                          <a:latin typeface="+mn-lt"/>
                          <a:ea typeface="+mn-ea"/>
                          <a:cs typeface="+mn-cs"/>
                        </a:rPr>
                        <a:t>Patients with Severe Mental Illness (SMI) are 4 times more likely to suffer from physical health problems</a:t>
                      </a:r>
                      <a:r>
                        <a:rPr lang="en-GB" sz="900" kern="1200">
                          <a:solidFill>
                            <a:schemeClr val="tx2">
                              <a:lumMod val="65000"/>
                              <a:lumOff val="35000"/>
                            </a:schemeClr>
                          </a:solidFill>
                          <a:latin typeface="+mn-lt"/>
                          <a:ea typeface="+mn-ea"/>
                          <a:cs typeface="+mn-cs"/>
                        </a:rPr>
                        <a:t>, and have a life expectancy of between 13-30 years less than the general population. NHS England mandates that 60% of SMI patients are required to have 6 physical health checks (PHCs) annually to support early intervention of the physical health problems associated with mental illness. </a:t>
                      </a:r>
                      <a:r>
                        <a:rPr lang="en-GB" sz="900" b="1" kern="1200">
                          <a:solidFill>
                            <a:srgbClr val="50235C"/>
                          </a:solidFill>
                          <a:latin typeface="+mn-lt"/>
                          <a:ea typeface="+mn-ea"/>
                          <a:cs typeface="+mn-cs"/>
                        </a:rPr>
                        <a:t>STW are currently only delivering all 6 PHCs to 28% of SMI patients</a:t>
                      </a:r>
                      <a:r>
                        <a:rPr lang="en-GB" sz="900" kern="1200">
                          <a:solidFill>
                            <a:schemeClr val="tx2">
                              <a:lumMod val="65000"/>
                              <a:lumOff val="35000"/>
                            </a:schemeClr>
                          </a:solidFill>
                          <a:latin typeface="+mn-lt"/>
                          <a:ea typeface="+mn-ea"/>
                          <a:cs typeface="+mn-cs"/>
                        </a:rPr>
                        <a:t>. Through interviews and workshops with stakeholders we heard;</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GB" sz="900" b="1" kern="1200">
                          <a:solidFill>
                            <a:srgbClr val="50235C"/>
                          </a:solidFill>
                          <a:latin typeface="+mn-lt"/>
                          <a:ea typeface="+mn-ea"/>
                          <a:cs typeface="+mn-cs"/>
                        </a:rPr>
                        <a:t>Data connectivity between EMIS and RIO</a:t>
                      </a:r>
                      <a:r>
                        <a:rPr lang="en-GB" sz="900" kern="1200">
                          <a:solidFill>
                            <a:schemeClr val="tx2">
                              <a:lumMod val="65000"/>
                              <a:lumOff val="35000"/>
                            </a:schemeClr>
                          </a:solidFill>
                          <a:latin typeface="+mn-lt"/>
                          <a:ea typeface="+mn-ea"/>
                          <a:cs typeface="+mn-cs"/>
                        </a:rPr>
                        <a:t> cause problems as primary care and secondary care have limited ability to share patient information / patient records.</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GB" sz="900" b="1" kern="1200">
                          <a:solidFill>
                            <a:srgbClr val="50235C"/>
                          </a:solidFill>
                          <a:latin typeface="+mn-lt"/>
                          <a:ea typeface="+mn-ea"/>
                          <a:cs typeface="+mn-cs"/>
                        </a:rPr>
                        <a:t>High ‘Did Not Attend’ rates </a:t>
                      </a:r>
                      <a:r>
                        <a:rPr lang="en-GB" sz="900" kern="1200">
                          <a:solidFill>
                            <a:schemeClr val="tx2">
                              <a:lumMod val="65000"/>
                              <a:lumOff val="35000"/>
                            </a:schemeClr>
                          </a:solidFill>
                          <a:latin typeface="+mn-lt"/>
                          <a:ea typeface="+mn-ea"/>
                          <a:cs typeface="+mn-cs"/>
                        </a:rPr>
                        <a:t>are often seen with PHC clinics due to patients forgetting or not understanding the importance of the PHC. </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GB" sz="900" b="1" kern="1200">
                          <a:solidFill>
                            <a:srgbClr val="50235C"/>
                          </a:solidFill>
                          <a:latin typeface="+mn-lt"/>
                          <a:ea typeface="+mn-ea"/>
                          <a:cs typeface="+mn-cs"/>
                        </a:rPr>
                        <a:t>Staff awareness and training </a:t>
                      </a:r>
                      <a:r>
                        <a:rPr lang="en-GB" sz="900" kern="1200">
                          <a:solidFill>
                            <a:schemeClr val="tx2">
                              <a:lumMod val="65000"/>
                              <a:lumOff val="35000"/>
                            </a:schemeClr>
                          </a:solidFill>
                          <a:latin typeface="+mn-lt"/>
                          <a:ea typeface="+mn-ea"/>
                          <a:cs typeface="+mn-cs"/>
                        </a:rPr>
                        <a:t>of the importance of PHCs is limited across the system meaning PHC are often not seen as a priority. </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GB" sz="900" kern="1200">
                          <a:solidFill>
                            <a:schemeClr val="tx2">
                              <a:lumMod val="65000"/>
                              <a:lumOff val="35000"/>
                            </a:schemeClr>
                          </a:solidFill>
                          <a:latin typeface="+mn-lt"/>
                          <a:ea typeface="+mn-ea"/>
                          <a:cs typeface="+mn-cs"/>
                        </a:rPr>
                        <a:t>Limited resourcing available to support the delivery and administration of PHCs. </a:t>
                      </a:r>
                    </a:p>
                  </a:txBody>
                  <a:tcPr anchor="ctr">
                    <a:lnL w="12700" cmpd="sng">
                      <a:noFill/>
                    </a:lnL>
                    <a:lnR w="12700" cmpd="sng">
                      <a:noFill/>
                    </a:lnR>
                    <a:lnT w="12700" cap="flat" cmpd="sng" algn="ctr">
                      <a:solidFill>
                        <a:srgbClr val="AC9AB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89349565"/>
                  </a:ext>
                </a:extLst>
              </a:tr>
            </a:tbl>
          </a:graphicData>
        </a:graphic>
      </p:graphicFrame>
      <p:graphicFrame>
        <p:nvGraphicFramePr>
          <p:cNvPr id="8" name="Table 7">
            <a:extLst>
              <a:ext uri="{FF2B5EF4-FFF2-40B4-BE49-F238E27FC236}">
                <a16:creationId xmlns:a16="http://schemas.microsoft.com/office/drawing/2014/main" id="{BF2AFAC8-D7E1-684A-96D1-F25370D4B650}"/>
              </a:ext>
            </a:extLst>
          </p:cNvPr>
          <p:cNvGraphicFramePr>
            <a:graphicFrameLocks noGrp="1"/>
          </p:cNvGraphicFramePr>
          <p:nvPr>
            <p:extLst>
              <p:ext uri="{D42A27DB-BD31-4B8C-83A1-F6EECF244321}">
                <p14:modId xmlns:p14="http://schemas.microsoft.com/office/powerpoint/2010/main" val="1057866286"/>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A"/>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
        <p:nvSpPr>
          <p:cNvPr id="9" name="Rectangle 8">
            <a:extLst>
              <a:ext uri="{FF2B5EF4-FFF2-40B4-BE49-F238E27FC236}">
                <a16:creationId xmlns:a16="http://schemas.microsoft.com/office/drawing/2014/main" id="{DE40300B-B14F-0647-8050-49EE30A1951D}"/>
              </a:ext>
            </a:extLst>
          </p:cNvPr>
          <p:cNvSpPr/>
          <p:nvPr/>
        </p:nvSpPr>
        <p:spPr>
          <a:xfrm>
            <a:off x="505239" y="832641"/>
            <a:ext cx="11279177" cy="461665"/>
          </a:xfrm>
          <a:prstGeom prst="rect">
            <a:avLst/>
          </a:prstGeom>
        </p:spPr>
        <p:txBody>
          <a:bodyPr wrap="square">
            <a:spAutoFit/>
          </a:bodyPr>
          <a:lstStyle/>
          <a:p>
            <a:pPr>
              <a:defRPr/>
            </a:pPr>
            <a:r>
              <a:rPr lang="en-GB" sz="1200" b="1">
                <a:solidFill>
                  <a:srgbClr val="50235C"/>
                </a:solidFill>
              </a:rPr>
              <a:t>Through stakeholder engagement and interviews, three key strengths were identified for staff and service users. </a:t>
            </a:r>
          </a:p>
          <a:p>
            <a:pPr lvl="0">
              <a:defRPr/>
            </a:pPr>
            <a:endParaRPr lang="en-GB" sz="1200" b="1">
              <a:solidFill>
                <a:srgbClr val="50235C"/>
              </a:solidFill>
            </a:endParaRPr>
          </a:p>
        </p:txBody>
      </p:sp>
    </p:spTree>
    <p:extLst>
      <p:ext uri="{BB962C8B-B14F-4D97-AF65-F5344CB8AC3E}">
        <p14:creationId xmlns:p14="http://schemas.microsoft.com/office/powerpoint/2010/main" val="29881384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073"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en-IN" sz="2800">
              <a:solidFill>
                <a:srgbClr val="FFFFFF"/>
              </a:solidFill>
              <a:sym typeface="Arial" panose="020B0604020202020204" pitchFamily="34" charset="0"/>
            </a:endParaRPr>
          </a:p>
        </p:txBody>
      </p:sp>
      <p:sp>
        <p:nvSpPr>
          <p:cNvPr id="2" name="Title 1"/>
          <p:cNvSpPr>
            <a:spLocks noGrp="1"/>
          </p:cNvSpPr>
          <p:nvPr>
            <p:ph type="title"/>
          </p:nvPr>
        </p:nvSpPr>
        <p:spPr>
          <a:xfrm>
            <a:off x="545264" y="297277"/>
            <a:ext cx="9366179" cy="434010"/>
          </a:xfrm>
          <a:prstGeom prst="rect">
            <a:avLst/>
          </a:prstGeom>
        </p:spPr>
        <p:txBody>
          <a:bodyPr/>
          <a:lstStyle/>
          <a:p>
            <a:r>
              <a:rPr lang="en-US"/>
              <a:t>Challenges across mental health services</a:t>
            </a:r>
            <a:endParaRPr lang="en-IN"/>
          </a:p>
        </p:txBody>
      </p:sp>
      <p:sp>
        <p:nvSpPr>
          <p:cNvPr id="6" name="Footer Placeholder 5">
            <a:extLst>
              <a:ext uri="{FF2B5EF4-FFF2-40B4-BE49-F238E27FC236}">
                <a16:creationId xmlns:a16="http://schemas.microsoft.com/office/drawing/2014/main" id="{62E3292C-AE15-8E46-8E62-F9C713150B0B}"/>
              </a:ext>
            </a:extLst>
          </p:cNvPr>
          <p:cNvSpPr>
            <a:spLocks noGrp="1"/>
          </p:cNvSpPr>
          <p:nvPr>
            <p:ph type="ftr" sz="quarter" idx="14"/>
          </p:nvPr>
        </p:nvSpPr>
        <p:spPr/>
        <p:txBody>
          <a:bodyPr/>
          <a:lstStyle/>
          <a:p>
            <a:r>
              <a:rPr lang="en-GB"/>
              <a:t>© Moorhouse 2021  </a:t>
            </a:r>
          </a:p>
        </p:txBody>
      </p:sp>
      <p:sp>
        <p:nvSpPr>
          <p:cNvPr id="16" name="Rectangle 15">
            <a:extLst>
              <a:ext uri="{FF2B5EF4-FFF2-40B4-BE49-F238E27FC236}">
                <a16:creationId xmlns:a16="http://schemas.microsoft.com/office/drawing/2014/main" id="{F715D659-0B3D-3441-8784-EDED0A7173C7}"/>
              </a:ext>
            </a:extLst>
          </p:cNvPr>
          <p:cNvSpPr/>
          <p:nvPr/>
        </p:nvSpPr>
        <p:spPr>
          <a:xfrm>
            <a:off x="505239" y="832641"/>
            <a:ext cx="10849649" cy="461665"/>
          </a:xfrm>
          <a:prstGeom prst="rect">
            <a:avLst/>
          </a:prstGeom>
        </p:spPr>
        <p:txBody>
          <a:bodyPr wrap="square">
            <a:spAutoFit/>
          </a:bodyPr>
          <a:lstStyle/>
          <a:p>
            <a:pPr lvl="0">
              <a:defRPr/>
            </a:pPr>
            <a:r>
              <a:rPr lang="en-GB" sz="1200" b="1">
                <a:solidFill>
                  <a:srgbClr val="50235C"/>
                </a:solidFill>
                <a:latin typeface="Arial" panose="020B0604020202020204" pitchFamily="34" charset="0"/>
                <a:cs typeface="Arial" panose="020B0604020202020204" pitchFamily="34" charset="0"/>
              </a:rPr>
              <a:t>Through stakeholder interviews, workshops and detailed desktop review a range of challenges have been identified and grouped into nine themes. </a:t>
            </a:r>
          </a:p>
          <a:p>
            <a:pPr lvl="0">
              <a:defRPr/>
            </a:pPr>
            <a:endParaRPr lang="en-GB" sz="1200" b="1">
              <a:solidFill>
                <a:srgbClr val="50235C"/>
              </a:solidFill>
              <a:latin typeface="Arial" panose="020B0604020202020204" pitchFamily="34" charset="0"/>
              <a:cs typeface="Arial" panose="020B0604020202020204" pitchFamily="34" charset="0"/>
            </a:endParaRPr>
          </a:p>
        </p:txBody>
      </p:sp>
      <p:graphicFrame>
        <p:nvGraphicFramePr>
          <p:cNvPr id="26" name="Table 25">
            <a:extLst>
              <a:ext uri="{FF2B5EF4-FFF2-40B4-BE49-F238E27FC236}">
                <a16:creationId xmlns:a16="http://schemas.microsoft.com/office/drawing/2014/main" id="{B868C0AB-3D2C-4647-A123-6629F1806D7E}"/>
              </a:ext>
            </a:extLst>
          </p:cNvPr>
          <p:cNvGraphicFramePr>
            <a:graphicFrameLocks noGrp="1"/>
          </p:cNvGraphicFramePr>
          <p:nvPr>
            <p:extLst>
              <p:ext uri="{D42A27DB-BD31-4B8C-83A1-F6EECF244321}">
                <p14:modId xmlns:p14="http://schemas.microsoft.com/office/powerpoint/2010/main" val="2151940748"/>
              </p:ext>
            </p:extLst>
          </p:nvPr>
        </p:nvGraphicFramePr>
        <p:xfrm>
          <a:off x="545264" y="1221154"/>
          <a:ext cx="11104192" cy="5020652"/>
        </p:xfrm>
        <a:graphic>
          <a:graphicData uri="http://schemas.openxmlformats.org/drawingml/2006/table">
            <a:tbl>
              <a:tblPr firstRow="1" bandRow="1">
                <a:tableStyleId>{5C22544A-7EE6-4342-B048-85BDC9FD1C3A}</a:tableStyleId>
              </a:tblPr>
              <a:tblGrid>
                <a:gridCol w="1814104">
                  <a:extLst>
                    <a:ext uri="{9D8B030D-6E8A-4147-A177-3AD203B41FA5}">
                      <a16:colId xmlns:a16="http://schemas.microsoft.com/office/drawing/2014/main" val="3796819404"/>
                    </a:ext>
                  </a:extLst>
                </a:gridCol>
                <a:gridCol w="9290088">
                  <a:extLst>
                    <a:ext uri="{9D8B030D-6E8A-4147-A177-3AD203B41FA5}">
                      <a16:colId xmlns:a16="http://schemas.microsoft.com/office/drawing/2014/main" val="921540492"/>
                    </a:ext>
                  </a:extLst>
                </a:gridCol>
              </a:tblGrid>
              <a:tr h="316595">
                <a:tc>
                  <a:txBody>
                    <a:bodyPr/>
                    <a:lstStyle/>
                    <a:p>
                      <a:pPr algn="ctr"/>
                      <a:r>
                        <a:rPr lang="en-GB" sz="900" noProof="0">
                          <a:solidFill>
                            <a:srgbClr val="50235C"/>
                          </a:solidFill>
                          <a:latin typeface="Arial" panose="020B0604020202020204" pitchFamily="34" charset="0"/>
                          <a:cs typeface="Arial" panose="020B0604020202020204" pitchFamily="34" charset="0"/>
                        </a:rPr>
                        <a:t>Challenge</a:t>
                      </a:r>
                    </a:p>
                  </a:txBody>
                  <a:tcPr marL="108000" marR="108000" marT="108000" marB="108000" anchor="ctr">
                    <a:lnL w="12700" cap="flat" cmpd="sng" algn="ctr">
                      <a:solidFill>
                        <a:srgbClr val="EFECF2"/>
                      </a:solidFill>
                      <a:prstDash val="solid"/>
                      <a:round/>
                      <a:headEnd type="none" w="med" len="med"/>
                      <a:tailEnd type="none" w="med" len="med"/>
                    </a:lnL>
                    <a:lnB w="12700" cap="flat" cmpd="sng" algn="ctr">
                      <a:noFill/>
                      <a:prstDash val="solid"/>
                      <a:round/>
                      <a:headEnd type="none" w="med" len="med"/>
                      <a:tailEnd type="none" w="med" len="med"/>
                    </a:lnB>
                    <a:solidFill>
                      <a:srgbClr val="F1EDF4"/>
                    </a:solidFill>
                  </a:tcPr>
                </a:tc>
                <a:tc>
                  <a:txBody>
                    <a:bodyPr/>
                    <a:lstStyle/>
                    <a:p>
                      <a:pPr algn="ctr"/>
                      <a:r>
                        <a:rPr lang="en-GB" sz="900" noProof="0">
                          <a:solidFill>
                            <a:srgbClr val="50235C"/>
                          </a:solidFill>
                          <a:latin typeface="Arial" panose="020B0604020202020204" pitchFamily="34" charset="0"/>
                          <a:cs typeface="Arial" panose="020B0604020202020204" pitchFamily="34" charset="0"/>
                        </a:rPr>
                        <a:t>Description </a:t>
                      </a:r>
                    </a:p>
                  </a:txBody>
                  <a:tcPr marL="108000" marR="108000" marT="108000" marB="108000" anchor="ctr">
                    <a:lnB w="12700" cap="flat" cmpd="sng" algn="ctr">
                      <a:noFill/>
                      <a:prstDash val="solid"/>
                      <a:round/>
                      <a:headEnd type="none" w="med" len="med"/>
                      <a:tailEnd type="none" w="med" len="med"/>
                    </a:lnB>
                    <a:solidFill>
                      <a:srgbClr val="F1EDF4"/>
                    </a:solidFill>
                  </a:tcPr>
                </a:tc>
                <a:extLst>
                  <a:ext uri="{0D108BD9-81ED-4DB2-BD59-A6C34878D82A}">
                    <a16:rowId xmlns:a16="http://schemas.microsoft.com/office/drawing/2014/main" val="2008318479"/>
                  </a:ext>
                </a:extLst>
              </a:tr>
              <a:tr h="5191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1" kern="1200" noProof="0">
                          <a:solidFill>
                            <a:srgbClr val="50235A"/>
                          </a:solidFill>
                          <a:latin typeface="Arial" panose="020B0604020202020204" pitchFamily="34" charset="0"/>
                          <a:ea typeface="+mn-ea"/>
                          <a:cs typeface="Arial" panose="020B0604020202020204" pitchFamily="34" charset="0"/>
                        </a:rPr>
                        <a:t>System funding</a:t>
                      </a: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rgbClr val="AC9AB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noProof="0">
                          <a:solidFill>
                            <a:schemeClr val="tx2">
                              <a:lumMod val="65000"/>
                              <a:lumOff val="35000"/>
                            </a:schemeClr>
                          </a:solidFill>
                          <a:latin typeface="Arial" panose="020B0604020202020204" pitchFamily="34" charset="0"/>
                          <a:cs typeface="Arial" panose="020B0604020202020204" pitchFamily="34" charset="0"/>
                        </a:rPr>
                        <a:t>Shropshire, Telford &amp; Wrekin mental health services receive the second lowest levels of funding by population of any ICS across England, equating to approximately £135 spend per head compared to an average of £173 </a:t>
                      </a:r>
                      <a:r>
                        <a:rPr lang="en-GB" sz="800" u="none" kern="1200" noProof="0">
                          <a:solidFill>
                            <a:schemeClr val="tx2">
                              <a:lumMod val="65000"/>
                              <a:lumOff val="35000"/>
                            </a:schemeClr>
                          </a:solidFill>
                          <a:latin typeface="Arial" panose="020B0604020202020204" pitchFamily="34" charset="0"/>
                          <a:ea typeface="+mn-ea"/>
                          <a:cs typeface="Arial" panose="020B0604020202020204" pitchFamily="34" charset="0"/>
                        </a:rPr>
                        <a:t>nationally (Mind/NHS Digital, 2018-19). </a:t>
                      </a:r>
                      <a:endParaRPr lang="en-GB" sz="800" kern="1200" noProof="0">
                        <a:solidFill>
                          <a:schemeClr val="tx2">
                            <a:lumMod val="65000"/>
                            <a:lumOff val="35000"/>
                          </a:schemeClr>
                        </a:solidFill>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noProof="0">
                          <a:solidFill>
                            <a:schemeClr val="tx2">
                              <a:lumMod val="65000"/>
                              <a:lumOff val="35000"/>
                            </a:schemeClr>
                          </a:solidFill>
                          <a:latin typeface="Arial" panose="020B0604020202020204" pitchFamily="34" charset="0"/>
                          <a:cs typeface="Arial" panose="020B0604020202020204" pitchFamily="34" charset="0"/>
                        </a:rPr>
                        <a:t>This low level of funding results in a number of services only able to provide the statutory levels of service with limited ability to go above this baseline in some areas. </a:t>
                      </a:r>
                    </a:p>
                  </a:txBody>
                  <a:tcPr anchor="ctr">
                    <a:lnL w="12700" cmpd="sng">
                      <a:noFill/>
                    </a:lnL>
                    <a:lnR w="12700" cmpd="sng">
                      <a:noFill/>
                    </a:lnR>
                    <a:lnT w="12700" cap="flat" cmpd="sng" algn="ctr">
                      <a:noFill/>
                      <a:prstDash val="solid"/>
                      <a:round/>
                      <a:headEnd type="none" w="med" len="med"/>
                      <a:tailEnd type="none" w="med" len="med"/>
                    </a:lnT>
                    <a:lnB w="12700" cap="flat" cmpd="sng" algn="ctr">
                      <a:solidFill>
                        <a:srgbClr val="AC9AB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7837186"/>
                  </a:ext>
                </a:extLst>
              </a:tr>
              <a:tr h="4729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1" kern="1200" noProof="0">
                          <a:solidFill>
                            <a:srgbClr val="50235A"/>
                          </a:solidFill>
                          <a:latin typeface="Arial" panose="020B0604020202020204" pitchFamily="34" charset="0"/>
                          <a:ea typeface="+mn-ea"/>
                          <a:cs typeface="Arial" panose="020B0604020202020204" pitchFamily="34" charset="0"/>
                        </a:rPr>
                        <a:t>Joint working across the system</a:t>
                      </a:r>
                      <a:endParaRPr lang="en-GB" sz="800" b="1">
                        <a:solidFill>
                          <a:srgbClr val="50235A"/>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mpd="sng">
                      <a:noFill/>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kern="1200" noProof="0">
                          <a:solidFill>
                            <a:schemeClr val="tx2">
                              <a:lumMod val="65000"/>
                              <a:lumOff val="35000"/>
                            </a:schemeClr>
                          </a:solidFill>
                          <a:latin typeface="Arial" panose="020B0604020202020204" pitchFamily="34" charset="0"/>
                          <a:ea typeface="+mn-ea"/>
                          <a:cs typeface="Arial" panose="020B0604020202020204" pitchFamily="34" charset="0"/>
                        </a:rPr>
                        <a:t>Whilst the senior leaders across mental health services are well connected and work collaboratively, there is a disconnect between teams on the front line, working in silo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kern="1200">
                          <a:solidFill>
                            <a:schemeClr val="tx2">
                              <a:lumMod val="65000"/>
                              <a:lumOff val="35000"/>
                            </a:schemeClr>
                          </a:solidFill>
                          <a:latin typeface="Arial" panose="020B0604020202020204" pitchFamily="34" charset="0"/>
                          <a:ea typeface="+mn-ea"/>
                          <a:cs typeface="Arial" panose="020B0604020202020204" pitchFamily="34" charset="0"/>
                        </a:rPr>
                        <a:t>Front lines teams do not experience the same level of collaboration evidenced within the ICS leadership, this can result in </a:t>
                      </a:r>
                      <a:r>
                        <a:rPr lang="en-GB" sz="800" kern="1200" noProof="0">
                          <a:solidFill>
                            <a:schemeClr val="tx2">
                              <a:lumMod val="65000"/>
                              <a:lumOff val="35000"/>
                            </a:schemeClr>
                          </a:solidFill>
                          <a:latin typeface="Arial" panose="020B0604020202020204" pitchFamily="34" charset="0"/>
                          <a:ea typeface="+mn-ea"/>
                          <a:cs typeface="Arial" panose="020B0604020202020204" pitchFamily="34" charset="0"/>
                        </a:rPr>
                        <a:t>patients bouncing between servic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kern="1200" noProof="0">
                          <a:solidFill>
                            <a:schemeClr val="tx2">
                              <a:lumMod val="65000"/>
                              <a:lumOff val="35000"/>
                            </a:schemeClr>
                          </a:solidFill>
                          <a:latin typeface="Arial" panose="020B0604020202020204" pitchFamily="34" charset="0"/>
                          <a:ea typeface="+mn-ea"/>
                          <a:cs typeface="Arial" panose="020B0604020202020204" pitchFamily="34" charset="0"/>
                        </a:rPr>
                        <a:t>There is limited involvement of Primary Care following patient referrals, meaning opportunities are missed to take a holistic approach to a patients physical and mental health care.</a:t>
                      </a:r>
                    </a:p>
                  </a:txBody>
                  <a:tcPr anchor="ctr">
                    <a:lnL w="12700" cmpd="sng">
                      <a:noFill/>
                    </a:lnL>
                    <a:lnR w="12700" cmpd="sng">
                      <a:noFill/>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3681782"/>
                  </a:ext>
                </a:extLst>
              </a:tr>
              <a:tr h="4729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1" kern="1200" noProof="0">
                          <a:solidFill>
                            <a:srgbClr val="50235A"/>
                          </a:solidFill>
                          <a:latin typeface="Arial" panose="020B0604020202020204" pitchFamily="34" charset="0"/>
                          <a:ea typeface="+mn-ea"/>
                          <a:cs typeface="Arial" panose="020B0604020202020204" pitchFamily="34" charset="0"/>
                        </a:rPr>
                        <a:t>Number of services with significant demand and capacity challenges</a:t>
                      </a:r>
                    </a:p>
                  </a:txBody>
                  <a:tcPr anchor="ctr">
                    <a:lnL w="12700" cap="flat" cmpd="sng" algn="ctr">
                      <a:noFill/>
                      <a:prstDash val="solid"/>
                      <a:round/>
                      <a:headEnd type="none" w="med" len="med"/>
                      <a:tailEnd type="none" w="med" len="med"/>
                    </a:lnL>
                    <a:lnR w="12700" cmpd="sng">
                      <a:noFill/>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kern="1200" noProof="0">
                          <a:solidFill>
                            <a:schemeClr val="tx2">
                              <a:lumMod val="65000"/>
                              <a:lumOff val="35000"/>
                            </a:schemeClr>
                          </a:solidFill>
                          <a:latin typeface="Arial" panose="020B0604020202020204" pitchFamily="34" charset="0"/>
                          <a:ea typeface="+mn-ea"/>
                          <a:cs typeface="Arial" panose="020B0604020202020204" pitchFamily="34" charset="0"/>
                        </a:rPr>
                        <a:t>Mental health services across England are currently seeing unprecedented levels of demand. This increased demand is reflected across STW.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kern="1200" noProof="0">
                          <a:solidFill>
                            <a:schemeClr val="tx2">
                              <a:lumMod val="65000"/>
                              <a:lumOff val="35000"/>
                            </a:schemeClr>
                          </a:solidFill>
                          <a:latin typeface="Arial" panose="020B0604020202020204" pitchFamily="34" charset="0"/>
                          <a:ea typeface="+mn-ea"/>
                          <a:cs typeface="Arial" panose="020B0604020202020204" pitchFamily="34" charset="0"/>
                        </a:rPr>
                        <a:t>Low levels of funding across the system have an impact on the service provision, quality of services and quantity of services available to the popula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kern="1200" noProof="0">
                          <a:solidFill>
                            <a:schemeClr val="tx2">
                              <a:lumMod val="65000"/>
                              <a:lumOff val="35000"/>
                            </a:schemeClr>
                          </a:solidFill>
                          <a:latin typeface="Arial" panose="020B0604020202020204" pitchFamily="34" charset="0"/>
                          <a:ea typeface="+mn-ea"/>
                          <a:cs typeface="Arial" panose="020B0604020202020204" pitchFamily="34" charset="0"/>
                        </a:rPr>
                        <a:t>An example of the impact that this has can be seen in the volume of out of area bed days used, which averages 392 per month across FY 2020/21. </a:t>
                      </a:r>
                    </a:p>
                  </a:txBody>
                  <a:tcPr anchor="ctr">
                    <a:lnL w="12700" cmpd="sng">
                      <a:noFill/>
                    </a:lnL>
                    <a:lnR w="12700" cmpd="sng">
                      <a:noFill/>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89349565"/>
                  </a:ext>
                </a:extLst>
              </a:tr>
              <a:tr h="5191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1" kern="1200" noProof="0">
                          <a:solidFill>
                            <a:srgbClr val="50235A"/>
                          </a:solidFill>
                          <a:latin typeface="Arial" panose="020B0604020202020204" pitchFamily="34" charset="0"/>
                          <a:ea typeface="+mn-ea"/>
                          <a:cs typeface="Arial" panose="020B0604020202020204" pitchFamily="34" charset="0"/>
                        </a:rPr>
                        <a:t>Complex patients are occasionally being treated through IAPT</a:t>
                      </a:r>
                    </a:p>
                  </a:txBody>
                  <a:tcPr anchor="ctr">
                    <a:lnL w="12700" cap="flat" cmpd="sng" algn="ctr">
                      <a:noFill/>
                      <a:prstDash val="solid"/>
                      <a:round/>
                      <a:headEnd type="none" w="med" len="med"/>
                      <a:tailEnd type="none" w="med" len="med"/>
                    </a:lnL>
                    <a:lnR w="12700" cmpd="sng">
                      <a:noFill/>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noProof="0">
                          <a:solidFill>
                            <a:schemeClr val="tx2">
                              <a:lumMod val="65000"/>
                              <a:lumOff val="35000"/>
                            </a:schemeClr>
                          </a:solidFill>
                          <a:latin typeface="Arial" panose="020B0604020202020204" pitchFamily="34" charset="0"/>
                          <a:cs typeface="Arial" panose="020B0604020202020204" pitchFamily="34" charset="0"/>
                        </a:rPr>
                        <a:t>There are examples of patients with complex care needs being treated in settings that do not reflect the level of care required, such as severe PTSD patients being treated through IAP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noProof="0">
                          <a:solidFill>
                            <a:schemeClr val="tx2">
                              <a:lumMod val="65000"/>
                              <a:lumOff val="35000"/>
                            </a:schemeClr>
                          </a:solidFill>
                          <a:latin typeface="Arial" panose="020B0604020202020204" pitchFamily="34" charset="0"/>
                          <a:cs typeface="Arial" panose="020B0604020202020204" pitchFamily="34" charset="0"/>
                        </a:rPr>
                        <a:t>Additionally, the IAPT access rate across STW is at 4.31% which is below average across England likely meaning fewer people are accessing services than need support. </a:t>
                      </a:r>
                    </a:p>
                  </a:txBody>
                  <a:tcPr anchor="ctr">
                    <a:lnL w="12700" cmpd="sng">
                      <a:noFill/>
                    </a:lnL>
                    <a:lnR w="12700" cmpd="sng">
                      <a:noFill/>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0724345"/>
                  </a:ext>
                </a:extLst>
              </a:tr>
              <a:tr h="4729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1" kern="1200" noProof="0">
                          <a:solidFill>
                            <a:srgbClr val="50235A"/>
                          </a:solidFill>
                          <a:latin typeface="Arial" panose="020B0604020202020204" pitchFamily="34" charset="0"/>
                          <a:ea typeface="+mn-ea"/>
                          <a:cs typeface="Arial" panose="020B0604020202020204" pitchFamily="34" charset="0"/>
                        </a:rPr>
                        <a:t>Long term service commissioning</a:t>
                      </a:r>
                    </a:p>
                  </a:txBody>
                  <a:tcPr anchor="ctr">
                    <a:lnL w="12700" cap="flat" cmpd="sng" algn="ctr">
                      <a:noFill/>
                      <a:prstDash val="solid"/>
                      <a:round/>
                      <a:headEnd type="none" w="med" len="med"/>
                      <a:tailEnd type="none" w="med" len="med"/>
                    </a:lnL>
                    <a:lnR w="12700" cmpd="sng">
                      <a:noFill/>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a:solidFill>
                            <a:schemeClr val="tx2">
                              <a:lumMod val="65000"/>
                              <a:lumOff val="35000"/>
                            </a:schemeClr>
                          </a:solidFill>
                          <a:latin typeface="Arial" panose="020B0604020202020204" pitchFamily="34" charset="0"/>
                          <a:cs typeface="Arial" panose="020B0604020202020204" pitchFamily="34" charset="0"/>
                        </a:rPr>
                        <a:t>A number of service providers face challenges recruiting and retaining staff due to the short term nature of existing commissioning contrac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a:solidFill>
                            <a:schemeClr val="tx2">
                              <a:lumMod val="65000"/>
                              <a:lumOff val="35000"/>
                            </a:schemeClr>
                          </a:solidFill>
                          <a:latin typeface="Arial" panose="020B0604020202020204" pitchFamily="34" charset="0"/>
                          <a:cs typeface="Arial" panose="020B0604020202020204" pitchFamily="34" charset="0"/>
                        </a:rPr>
                        <a:t>Short term commissioning and contracting for key services results in challenges on the ground in the delivery of services resulting in inconsistent and disjointed service offering in the community. </a:t>
                      </a:r>
                    </a:p>
                  </a:txBody>
                  <a:tcPr anchor="ctr">
                    <a:lnL w="12700" cmpd="sng">
                      <a:noFill/>
                    </a:lnL>
                    <a:lnR w="12700" cmpd="sng">
                      <a:noFill/>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71104263"/>
                  </a:ext>
                </a:extLst>
              </a:tr>
              <a:tr h="4729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1" kern="1200" noProof="0">
                          <a:solidFill>
                            <a:srgbClr val="50235A"/>
                          </a:solidFill>
                          <a:latin typeface="Arial" panose="020B0604020202020204" pitchFamily="34" charset="0"/>
                          <a:ea typeface="+mn-ea"/>
                          <a:cs typeface="Arial" panose="020B0604020202020204" pitchFamily="34" charset="0"/>
                        </a:rPr>
                        <a:t>Leadership at place can be inconsistent and unclear</a:t>
                      </a:r>
                    </a:p>
                  </a:txBody>
                  <a:tcPr anchor="ctr">
                    <a:lnL w="12700" cap="flat" cmpd="sng" algn="ctr">
                      <a:noFill/>
                      <a:prstDash val="solid"/>
                      <a:round/>
                      <a:headEnd type="none" w="med" len="med"/>
                      <a:tailEnd type="none" w="med" len="med"/>
                    </a:lnL>
                    <a:lnR w="12700" cmpd="sng">
                      <a:noFill/>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kern="1200" noProof="0">
                          <a:solidFill>
                            <a:schemeClr val="tx2">
                              <a:lumMod val="65000"/>
                              <a:lumOff val="35000"/>
                            </a:schemeClr>
                          </a:solidFill>
                          <a:latin typeface="Arial" panose="020B0604020202020204" pitchFamily="34" charset="0"/>
                          <a:ea typeface="+mn-ea"/>
                          <a:cs typeface="Arial" panose="020B0604020202020204" pitchFamily="34" charset="0"/>
                        </a:rPr>
                        <a:t>There is collaborative leadership across the ICS, however the local nuances between Shropshire and Telford &amp; Wrekin result in differing approaches and minimal coordination at an ICS level leading to inconsistencies of service offerings and scop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kern="1200" noProof="0">
                          <a:solidFill>
                            <a:schemeClr val="tx2">
                              <a:lumMod val="65000"/>
                              <a:lumOff val="35000"/>
                            </a:schemeClr>
                          </a:solidFill>
                          <a:latin typeface="Arial" panose="020B0604020202020204" pitchFamily="34" charset="0"/>
                          <a:ea typeface="+mn-ea"/>
                          <a:cs typeface="Arial" panose="020B0604020202020204" pitchFamily="34" charset="0"/>
                        </a:rPr>
                        <a:t>Place level mental health leadership is not always clear to operational staff and service managers, resulting in confusion and limited coordination of service delivery. </a:t>
                      </a:r>
                    </a:p>
                  </a:txBody>
                  <a:tcPr anchor="ctr">
                    <a:lnL w="12700" cmpd="sng">
                      <a:noFill/>
                    </a:lnL>
                    <a:lnR w="12700" cmpd="sng">
                      <a:noFill/>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1494848"/>
                  </a:ext>
                </a:extLst>
              </a:tr>
              <a:tr h="5191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1" kern="1200" noProof="0">
                          <a:solidFill>
                            <a:srgbClr val="50235A"/>
                          </a:solidFill>
                          <a:latin typeface="Arial" panose="020B0604020202020204" pitchFamily="34" charset="0"/>
                          <a:ea typeface="+mn-ea"/>
                          <a:cs typeface="Arial" panose="020B0604020202020204" pitchFamily="34" charset="0"/>
                        </a:rPr>
                        <a:t>Communication at the grassroots level is challenged</a:t>
                      </a:r>
                    </a:p>
                  </a:txBody>
                  <a:tcPr anchor="ctr">
                    <a:lnL w="12700" cap="flat" cmpd="sng" algn="ctr">
                      <a:noFill/>
                      <a:prstDash val="solid"/>
                      <a:round/>
                      <a:headEnd type="none" w="med" len="med"/>
                      <a:tailEnd type="none" w="med" len="med"/>
                    </a:lnL>
                    <a:lnR w="12700" cmpd="sng">
                      <a:noFill/>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noProof="0">
                          <a:solidFill>
                            <a:schemeClr val="tx2">
                              <a:lumMod val="65000"/>
                              <a:lumOff val="35000"/>
                            </a:schemeClr>
                          </a:solidFill>
                          <a:latin typeface="Arial" panose="020B0604020202020204" pitchFamily="34" charset="0"/>
                          <a:cs typeface="Arial" panose="020B0604020202020204" pitchFamily="34" charset="0"/>
                        </a:rPr>
                        <a:t>Communication between operational teams has been highlighted as an issue in many areas, with limited communication particularly between mental health teams and primary care teams resulting in limited coordination in the delivery of patient ca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noProof="0">
                          <a:solidFill>
                            <a:schemeClr val="tx2">
                              <a:lumMod val="65000"/>
                              <a:lumOff val="35000"/>
                            </a:schemeClr>
                          </a:solidFill>
                          <a:latin typeface="Arial" panose="020B0604020202020204" pitchFamily="34" charset="0"/>
                          <a:cs typeface="Arial" panose="020B0604020202020204" pitchFamily="34" charset="0"/>
                        </a:rPr>
                        <a:t>In a recent GP survey of mental health services, communication was highlighted as the most common issue within adult mental health services and crisis services, additionally </a:t>
                      </a:r>
                      <a:r>
                        <a:rPr lang="en-GB" sz="800" kern="1200" noProof="0">
                          <a:solidFill>
                            <a:schemeClr val="tx2">
                              <a:lumMod val="65000"/>
                              <a:lumOff val="35000"/>
                            </a:schemeClr>
                          </a:solidFill>
                          <a:latin typeface="Arial" panose="020B0604020202020204" pitchFamily="34" charset="0"/>
                          <a:ea typeface="+mn-ea"/>
                          <a:cs typeface="Arial" panose="020B0604020202020204" pitchFamily="34" charset="0"/>
                        </a:rPr>
                        <a:t>86% of GPs wanted more information on mental health services and pathways. Better communication would facilitate more joined up and collaborative patient care, supporting improved patient outcomes. </a:t>
                      </a:r>
                      <a:endParaRPr lang="en-GB" sz="800" noProof="0">
                        <a:solidFill>
                          <a:schemeClr val="tx2">
                            <a:lumMod val="65000"/>
                            <a:lumOff val="35000"/>
                          </a:schemeClr>
                        </a:solidFill>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5539"/>
                  </a:ext>
                </a:extLst>
              </a:tr>
              <a:tr h="5191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1" kern="1200" noProof="0">
                          <a:solidFill>
                            <a:srgbClr val="50235A"/>
                          </a:solidFill>
                          <a:latin typeface="Arial" panose="020B0604020202020204" pitchFamily="34" charset="0"/>
                          <a:ea typeface="+mn-ea"/>
                          <a:cs typeface="Arial" panose="020B0604020202020204" pitchFamily="34" charset="0"/>
                        </a:rPr>
                        <a:t>Information and data sharing </a:t>
                      </a:r>
                    </a:p>
                  </a:txBody>
                  <a:tcPr anchor="ctr">
                    <a:lnL w="12700" cap="flat" cmpd="sng" algn="ctr">
                      <a:noFill/>
                      <a:prstDash val="solid"/>
                      <a:round/>
                      <a:headEnd type="none" w="med" len="med"/>
                      <a:tailEnd type="none" w="med" len="med"/>
                    </a:lnL>
                    <a:lnR w="12700" cmpd="sng">
                      <a:noFill/>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kern="1200" noProof="0">
                          <a:solidFill>
                            <a:schemeClr val="tx2">
                              <a:lumMod val="65000"/>
                              <a:lumOff val="35000"/>
                            </a:schemeClr>
                          </a:solidFill>
                          <a:latin typeface="Arial" panose="020B0604020202020204" pitchFamily="34" charset="0"/>
                          <a:ea typeface="+mn-ea"/>
                          <a:cs typeface="Arial" panose="020B0604020202020204" pitchFamily="34" charset="0"/>
                        </a:rPr>
                        <a:t>There are multiple patient record and patient management systems in use across the system, combined with IG challenges prevent information from being quickly and easily shared across organisations resulting in staff not being able to access the full picture when diagnosing and treating patien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kern="1200" noProof="0">
                          <a:solidFill>
                            <a:schemeClr val="tx2">
                              <a:lumMod val="65000"/>
                              <a:lumOff val="35000"/>
                            </a:schemeClr>
                          </a:solidFill>
                          <a:latin typeface="Arial" panose="020B0604020202020204" pitchFamily="34" charset="0"/>
                          <a:ea typeface="+mn-ea"/>
                          <a:cs typeface="Arial" panose="020B0604020202020204" pitchFamily="34" charset="0"/>
                        </a:rPr>
                        <a:t>Patient records and discharge notes are not always shared in a timely manne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kern="1200" noProof="0">
                          <a:solidFill>
                            <a:schemeClr val="tx2">
                              <a:lumMod val="65000"/>
                              <a:lumOff val="35000"/>
                            </a:schemeClr>
                          </a:solidFill>
                          <a:latin typeface="Arial" panose="020B0604020202020204" pitchFamily="34" charset="0"/>
                          <a:ea typeface="+mn-ea"/>
                          <a:cs typeface="Arial" panose="020B0604020202020204" pitchFamily="34" charset="0"/>
                        </a:rPr>
                        <a:t>72% of GPs feel they do not get enough information once a patients has been referred.</a:t>
                      </a:r>
                    </a:p>
                  </a:txBody>
                  <a:tcPr anchor="ctr">
                    <a:lnL w="12700" cmpd="sng">
                      <a:noFill/>
                    </a:lnL>
                    <a:lnR w="12700" cmpd="sng">
                      <a:noFill/>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246144"/>
                  </a:ext>
                </a:extLst>
              </a:tr>
              <a:tr h="5191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1" kern="1200" noProof="0">
                          <a:solidFill>
                            <a:srgbClr val="50235A"/>
                          </a:solidFill>
                          <a:latin typeface="Arial" panose="020B0604020202020204" pitchFamily="34" charset="0"/>
                          <a:ea typeface="+mn-ea"/>
                          <a:cs typeface="Arial" panose="020B0604020202020204" pitchFamily="34" charset="0"/>
                        </a:rPr>
                        <a:t>Resourcing and recruitment challenges</a:t>
                      </a:r>
                    </a:p>
                  </a:txBody>
                  <a:tcPr anchor="ctr">
                    <a:lnL w="12700" cap="flat" cmpd="sng" algn="ctr">
                      <a:noFill/>
                      <a:prstDash val="solid"/>
                      <a:round/>
                      <a:headEnd type="none" w="med" len="med"/>
                      <a:tailEnd type="none" w="med" len="med"/>
                    </a:lnL>
                    <a:lnR w="12700" cmpd="sng">
                      <a:noFill/>
                    </a:lnR>
                    <a:lnT w="12700" cap="flat" cmpd="sng" algn="ctr">
                      <a:solidFill>
                        <a:srgbClr val="AC9AB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kern="1200" noProof="0">
                          <a:solidFill>
                            <a:schemeClr val="tx2">
                              <a:lumMod val="65000"/>
                              <a:lumOff val="35000"/>
                            </a:schemeClr>
                          </a:solidFill>
                          <a:latin typeface="Arial" panose="020B0604020202020204" pitchFamily="34" charset="0"/>
                          <a:ea typeface="+mn-ea"/>
                          <a:cs typeface="Arial" panose="020B0604020202020204" pitchFamily="34" charset="0"/>
                        </a:rPr>
                        <a:t>Mental health services have been under unprecedented demand induced pressure, this is causing challenges across the system, with services often unable to keep up with demand, resulting in longer internal waits for treatment, resulting in increased complexity of user condition. Unfortunately a number of mental health providers across STW are unable to hire adequately trained staff to reach the staffing levels that are required to resolve this issu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kern="1200" noProof="0">
                          <a:solidFill>
                            <a:schemeClr val="tx2">
                              <a:lumMod val="65000"/>
                              <a:lumOff val="35000"/>
                            </a:schemeClr>
                          </a:solidFill>
                          <a:latin typeface="Arial" panose="020B0604020202020204" pitchFamily="34" charset="0"/>
                          <a:ea typeface="+mn-ea"/>
                          <a:cs typeface="Arial" panose="020B0604020202020204" pitchFamily="34" charset="0"/>
                        </a:rPr>
                        <a:t>Currently high staff turnover within mental health services with 20.25% of STW mental health staff leaving within their first year of service, </a:t>
                      </a:r>
                      <a:endParaRPr lang="en-GB" sz="800" kern="1200" noProof="0">
                        <a:solidFill>
                          <a:schemeClr val="tx2">
                            <a:lumMod val="65000"/>
                            <a:lumOff val="35000"/>
                          </a:schemeClr>
                        </a:solidFill>
                        <a:highlight>
                          <a:srgbClr val="FFFF00"/>
                        </a:highlight>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rgbClr val="AC9AB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2922404"/>
                  </a:ext>
                </a:extLst>
              </a:tr>
            </a:tbl>
          </a:graphicData>
        </a:graphic>
      </p:graphicFrame>
      <p:graphicFrame>
        <p:nvGraphicFramePr>
          <p:cNvPr id="8" name="Table 7">
            <a:extLst>
              <a:ext uri="{FF2B5EF4-FFF2-40B4-BE49-F238E27FC236}">
                <a16:creationId xmlns:a16="http://schemas.microsoft.com/office/drawing/2014/main" id="{BF2AFAC8-D7E1-684A-96D1-F25370D4B650}"/>
              </a:ext>
            </a:extLst>
          </p:cNvPr>
          <p:cNvGraphicFramePr>
            <a:graphicFrameLocks noGrp="1"/>
          </p:cNvGraphicFramePr>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A"/>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Tree>
    <p:extLst>
      <p:ext uri="{BB962C8B-B14F-4D97-AF65-F5344CB8AC3E}">
        <p14:creationId xmlns:p14="http://schemas.microsoft.com/office/powerpoint/2010/main" val="25120545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7DF49F5-76E4-D045-9AE5-C5DFB0E4B946}"/>
              </a:ext>
            </a:extLst>
          </p:cNvPr>
          <p:cNvSpPr>
            <a:spLocks noGrp="1"/>
          </p:cNvSpPr>
          <p:nvPr>
            <p:ph sz="quarter" idx="10"/>
          </p:nvPr>
        </p:nvSpPr>
        <p:spPr/>
        <p:txBody>
          <a:bodyPr/>
          <a:lstStyle/>
          <a:p>
            <a:r>
              <a:rPr lang="en-GB"/>
              <a:t>Patient journeys</a:t>
            </a:r>
          </a:p>
        </p:txBody>
      </p:sp>
      <p:graphicFrame>
        <p:nvGraphicFramePr>
          <p:cNvPr id="7" name="Table 6">
            <a:extLst>
              <a:ext uri="{FF2B5EF4-FFF2-40B4-BE49-F238E27FC236}">
                <a16:creationId xmlns:a16="http://schemas.microsoft.com/office/drawing/2014/main" id="{55491300-71DD-9D4D-9A39-2ECB09F71D19}"/>
              </a:ext>
            </a:extLst>
          </p:cNvPr>
          <p:cNvGraphicFramePr>
            <a:graphicFrameLocks noGrp="1"/>
          </p:cNvGraphicFramePr>
          <p:nvPr>
            <p:extLst>
              <p:ext uri="{D42A27DB-BD31-4B8C-83A1-F6EECF244321}">
                <p14:modId xmlns:p14="http://schemas.microsoft.com/office/powerpoint/2010/main" val="3560460315"/>
              </p:ext>
            </p:extLst>
          </p:nvPr>
        </p:nvGraphicFramePr>
        <p:xfrm>
          <a:off x="1" y="6560723"/>
          <a:ext cx="12191998" cy="297277"/>
        </p:xfrm>
        <a:graphic>
          <a:graphicData uri="http://schemas.openxmlformats.org/drawingml/2006/table">
            <a:tbl>
              <a:tblPr>
                <a:tableStyleId>{5C22544A-7EE6-4342-B048-85BDC9FD1C3A}</a:tableStyleId>
              </a:tblPr>
              <a:tblGrid>
                <a:gridCol w="1741714">
                  <a:extLst>
                    <a:ext uri="{9D8B030D-6E8A-4147-A177-3AD203B41FA5}">
                      <a16:colId xmlns:a16="http://schemas.microsoft.com/office/drawing/2014/main" val="3508502722"/>
                    </a:ext>
                  </a:extLst>
                </a:gridCol>
                <a:gridCol w="1741714">
                  <a:extLst>
                    <a:ext uri="{9D8B030D-6E8A-4147-A177-3AD203B41FA5}">
                      <a16:colId xmlns:a16="http://schemas.microsoft.com/office/drawing/2014/main" val="1894411863"/>
                    </a:ext>
                  </a:extLst>
                </a:gridCol>
                <a:gridCol w="1741714">
                  <a:extLst>
                    <a:ext uri="{9D8B030D-6E8A-4147-A177-3AD203B41FA5}">
                      <a16:colId xmlns:a16="http://schemas.microsoft.com/office/drawing/2014/main" val="1998335409"/>
                    </a:ext>
                  </a:extLst>
                </a:gridCol>
                <a:gridCol w="1741714">
                  <a:extLst>
                    <a:ext uri="{9D8B030D-6E8A-4147-A177-3AD203B41FA5}">
                      <a16:colId xmlns:a16="http://schemas.microsoft.com/office/drawing/2014/main" val="202640554"/>
                    </a:ext>
                  </a:extLst>
                </a:gridCol>
                <a:gridCol w="1741714">
                  <a:extLst>
                    <a:ext uri="{9D8B030D-6E8A-4147-A177-3AD203B41FA5}">
                      <a16:colId xmlns:a16="http://schemas.microsoft.com/office/drawing/2014/main" val="3019704548"/>
                    </a:ext>
                  </a:extLst>
                </a:gridCol>
                <a:gridCol w="1741714">
                  <a:extLst>
                    <a:ext uri="{9D8B030D-6E8A-4147-A177-3AD203B41FA5}">
                      <a16:colId xmlns:a16="http://schemas.microsoft.com/office/drawing/2014/main" val="1364401804"/>
                    </a:ext>
                  </a:extLst>
                </a:gridCol>
                <a:gridCol w="1741714">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A"/>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Tree>
    <p:extLst>
      <p:ext uri="{BB962C8B-B14F-4D97-AF65-F5344CB8AC3E}">
        <p14:creationId xmlns:p14="http://schemas.microsoft.com/office/powerpoint/2010/main" val="16257542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1DEC92A-C88D-F946-A1A9-8B38E6C4179D}"/>
              </a:ext>
            </a:extLst>
          </p:cNvPr>
          <p:cNvSpPr/>
          <p:nvPr/>
        </p:nvSpPr>
        <p:spPr>
          <a:xfrm>
            <a:off x="517131" y="1623206"/>
            <a:ext cx="3162458" cy="260222"/>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lish-GB" sz="1200" b="1">
                <a:solidFill>
                  <a:srgbClr val="50235C"/>
                </a:solidFill>
              </a:rPr>
              <a:t>Approach &amp; </a:t>
            </a:r>
            <a:r>
              <a:rPr lang="en-GB" sz="1200" b="1">
                <a:solidFill>
                  <a:srgbClr val="50235C"/>
                </a:solidFill>
              </a:rPr>
              <a:t>o</a:t>
            </a:r>
            <a:r>
              <a:rPr lang="english-GB" sz="1200" b="1">
                <a:solidFill>
                  <a:srgbClr val="50235C"/>
                </a:solidFill>
              </a:rPr>
              <a:t>utput</a:t>
            </a:r>
          </a:p>
        </p:txBody>
      </p:sp>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45"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800" b="0" i="0" u="none" strike="noStrike" kern="1200" cap="none" spc="0" normalizeH="0" baseline="0" noProof="0">
              <a:ln>
                <a:noFill/>
              </a:ln>
              <a:solidFill>
                <a:srgbClr val="FFFFFF"/>
              </a:solidFill>
              <a:effectLst/>
              <a:uLnTx/>
              <a:uFillTx/>
              <a:latin typeface="Arial" panose="020B0604020202020204"/>
              <a:ea typeface="+mn-ea"/>
              <a:cs typeface="+mn-cs"/>
              <a:sym typeface="Arial" panose="020B0604020202020204" pitchFamily="34" charset="0"/>
            </a:endParaRPr>
          </a:p>
        </p:txBody>
      </p:sp>
      <p:sp>
        <p:nvSpPr>
          <p:cNvPr id="2" name="Title 1"/>
          <p:cNvSpPr>
            <a:spLocks noGrp="1"/>
          </p:cNvSpPr>
          <p:nvPr>
            <p:ph type="title"/>
          </p:nvPr>
        </p:nvSpPr>
        <p:spPr>
          <a:xfrm>
            <a:off x="510638" y="297277"/>
            <a:ext cx="9321425" cy="434010"/>
          </a:xfrm>
          <a:prstGeom prst="rect">
            <a:avLst/>
          </a:prstGeom>
        </p:spPr>
        <p:txBody>
          <a:bodyPr/>
          <a:lstStyle/>
          <a:p>
            <a:r>
              <a:rPr lang="en-GB"/>
              <a:t>Executive summary: patient journey mapping</a:t>
            </a:r>
          </a:p>
        </p:txBody>
      </p:sp>
      <p:sp>
        <p:nvSpPr>
          <p:cNvPr id="5" name="Footer Placeholder 4">
            <a:extLst>
              <a:ext uri="{FF2B5EF4-FFF2-40B4-BE49-F238E27FC236}">
                <a16:creationId xmlns:a16="http://schemas.microsoft.com/office/drawing/2014/main" id="{8378A888-C2F3-1F46-BFE9-6AED0C113342}"/>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50235C"/>
                </a:solidFill>
                <a:effectLst/>
                <a:uLnTx/>
                <a:uFillTx/>
                <a:latin typeface="Arial" panose="020B0604020202020204"/>
                <a:ea typeface="+mn-ea"/>
                <a:cs typeface="+mn-cs"/>
              </a:rPr>
              <a:t>© Moorhouse 2021 [Restricted]</a:t>
            </a:r>
          </a:p>
        </p:txBody>
      </p:sp>
      <p:sp>
        <p:nvSpPr>
          <p:cNvPr id="27" name="Rectangle 26">
            <a:extLst>
              <a:ext uri="{FF2B5EF4-FFF2-40B4-BE49-F238E27FC236}">
                <a16:creationId xmlns:a16="http://schemas.microsoft.com/office/drawing/2014/main" id="{4EFAD1A4-9034-8448-A693-CCB4220B8B5E}"/>
              </a:ext>
            </a:extLst>
          </p:cNvPr>
          <p:cNvSpPr/>
          <p:nvPr/>
        </p:nvSpPr>
        <p:spPr>
          <a:xfrm>
            <a:off x="510638" y="871696"/>
            <a:ext cx="11272233" cy="461665"/>
          </a:xfrm>
          <a:prstGeom prst="rect">
            <a:avLst/>
          </a:prstGeom>
        </p:spPr>
        <p:txBody>
          <a:bodyPr wrap="square" lIns="0">
            <a:spAutoFit/>
          </a:bodyPr>
          <a:lstStyle/>
          <a:p>
            <a:r>
              <a:rPr lang="en-GB" sz="1200" b="1">
                <a:solidFill>
                  <a:srgbClr val="51235C"/>
                </a:solidFill>
                <a:latin typeface="Arial" panose="020B0604020202020204" pitchFamily="34" charset="0"/>
                <a:cs typeface="Arial" panose="020B0604020202020204" pitchFamily="34" charset="0"/>
              </a:rPr>
              <a:t>To support and validate the findings of the gap analysis a detailed assessment of three areas of challenge raised by staff and service users were assessed in detail. </a:t>
            </a:r>
          </a:p>
        </p:txBody>
      </p:sp>
      <p:cxnSp>
        <p:nvCxnSpPr>
          <p:cNvPr id="29" name="Straight Connector 28">
            <a:extLst>
              <a:ext uri="{FF2B5EF4-FFF2-40B4-BE49-F238E27FC236}">
                <a16:creationId xmlns:a16="http://schemas.microsoft.com/office/drawing/2014/main" id="{614F206B-05A2-7C4C-95E4-28B2D9B67F64}"/>
              </a:ext>
            </a:extLst>
          </p:cNvPr>
          <p:cNvCxnSpPr>
            <a:cxnSpLocks/>
          </p:cNvCxnSpPr>
          <p:nvPr/>
        </p:nvCxnSpPr>
        <p:spPr>
          <a:xfrm>
            <a:off x="4114360" y="1999792"/>
            <a:ext cx="0" cy="4207845"/>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762DF57-84A7-E447-9663-FFF81F2335B2}"/>
              </a:ext>
            </a:extLst>
          </p:cNvPr>
          <p:cNvCxnSpPr>
            <a:cxnSpLocks/>
          </p:cNvCxnSpPr>
          <p:nvPr/>
        </p:nvCxnSpPr>
        <p:spPr>
          <a:xfrm>
            <a:off x="8071378" y="1999792"/>
            <a:ext cx="0" cy="4207845"/>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5831CEDB-D38E-1343-BE9C-83F0EFBBD13F}"/>
              </a:ext>
            </a:extLst>
          </p:cNvPr>
          <p:cNvSpPr txBox="1"/>
          <p:nvPr/>
        </p:nvSpPr>
        <p:spPr>
          <a:xfrm>
            <a:off x="4491059" y="1623206"/>
            <a:ext cx="3162467" cy="276999"/>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2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b="1">
                <a:solidFill>
                  <a:srgbClr val="50235C"/>
                </a:solidFill>
              </a:rPr>
              <a:t>Findings</a:t>
            </a:r>
          </a:p>
        </p:txBody>
      </p:sp>
      <p:sp>
        <p:nvSpPr>
          <p:cNvPr id="40" name="TextBox 39">
            <a:extLst>
              <a:ext uri="{FF2B5EF4-FFF2-40B4-BE49-F238E27FC236}">
                <a16:creationId xmlns:a16="http://schemas.microsoft.com/office/drawing/2014/main" id="{E1C0E2C8-7B47-E548-A07D-68D7A4F22BA7}"/>
              </a:ext>
            </a:extLst>
          </p:cNvPr>
          <p:cNvSpPr txBox="1"/>
          <p:nvPr/>
        </p:nvSpPr>
        <p:spPr>
          <a:xfrm>
            <a:off x="8464995" y="1623206"/>
            <a:ext cx="3162467" cy="276999"/>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2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b="1">
                <a:solidFill>
                  <a:srgbClr val="50235C"/>
                </a:solidFill>
              </a:rPr>
              <a:t>Recommendations &amp; next steps</a:t>
            </a:r>
          </a:p>
        </p:txBody>
      </p:sp>
      <p:sp>
        <p:nvSpPr>
          <p:cNvPr id="43" name="Rectangle 42">
            <a:extLst>
              <a:ext uri="{FF2B5EF4-FFF2-40B4-BE49-F238E27FC236}">
                <a16:creationId xmlns:a16="http://schemas.microsoft.com/office/drawing/2014/main" id="{6722C459-EA4B-9046-BFE4-5ADCCCE9822B}"/>
              </a:ext>
            </a:extLst>
          </p:cNvPr>
          <p:cNvSpPr/>
          <p:nvPr/>
        </p:nvSpPr>
        <p:spPr>
          <a:xfrm rot="16200000">
            <a:off x="-523929" y="5587903"/>
            <a:ext cx="1668641" cy="276999"/>
          </a:xfrm>
          <a:prstGeom prst="rect">
            <a:avLst/>
          </a:prstGeom>
        </p:spPr>
        <p:txBody>
          <a:bodyPr wrap="square" lIns="0">
            <a:spAutoFit/>
          </a:bodyPr>
          <a:lstStyle/>
          <a:p>
            <a:pPr algn="ctr"/>
            <a:r>
              <a:rPr lang="en-GB" sz="1200" b="1">
                <a:solidFill>
                  <a:srgbClr val="51235C"/>
                </a:solidFill>
                <a:latin typeface="Arial" panose="020B0604020202020204" pitchFamily="34" charset="0"/>
                <a:cs typeface="Arial" panose="020B0604020202020204" pitchFamily="34" charset="0"/>
              </a:rPr>
              <a:t>Output</a:t>
            </a:r>
          </a:p>
        </p:txBody>
      </p:sp>
      <p:sp>
        <p:nvSpPr>
          <p:cNvPr id="44" name="Rectangle 43">
            <a:extLst>
              <a:ext uri="{FF2B5EF4-FFF2-40B4-BE49-F238E27FC236}">
                <a16:creationId xmlns:a16="http://schemas.microsoft.com/office/drawing/2014/main" id="{94F77078-9FB8-334E-9C10-E9F04E16BBA7}"/>
              </a:ext>
            </a:extLst>
          </p:cNvPr>
          <p:cNvSpPr/>
          <p:nvPr/>
        </p:nvSpPr>
        <p:spPr>
          <a:xfrm>
            <a:off x="510639" y="4974572"/>
            <a:ext cx="3168950" cy="1472805"/>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8" name="TextBox 47">
            <a:extLst>
              <a:ext uri="{FF2B5EF4-FFF2-40B4-BE49-F238E27FC236}">
                <a16:creationId xmlns:a16="http://schemas.microsoft.com/office/drawing/2014/main" id="{A64AE93D-4341-5940-88E2-777BF375B524}"/>
              </a:ext>
            </a:extLst>
          </p:cNvPr>
          <p:cNvSpPr txBox="1"/>
          <p:nvPr/>
        </p:nvSpPr>
        <p:spPr>
          <a:xfrm>
            <a:off x="1483418" y="5875752"/>
            <a:ext cx="1191280" cy="400110"/>
          </a:xfrm>
          <a:prstGeom prst="rect">
            <a:avLst/>
          </a:prstGeom>
          <a:noFill/>
        </p:spPr>
        <p:txBody>
          <a:bodyPr wrap="square" lIns="91440" tIns="45720" rIns="91440" bIns="45720" rtlCol="0" anchor="t">
            <a:spAutoFit/>
          </a:bodyPr>
          <a:lstStyle/>
          <a:p>
            <a:pPr marR="0" lvl="0" algn="ctr" defTabSz="914400" rtl="0" eaLnBrk="1" fontAlgn="auto" latinLnBrk="0" hangingPunct="1">
              <a:lnSpc>
                <a:spcPct val="100000"/>
              </a:lnSpc>
              <a:spcBef>
                <a:spcPts val="0"/>
              </a:spcBef>
              <a:spcAft>
                <a:spcPts val="600"/>
              </a:spcAft>
              <a:buClr>
                <a:srgbClr val="50235C"/>
              </a:buClr>
              <a:buSzTx/>
              <a:tabLst/>
              <a:defRPr/>
            </a:pPr>
            <a:r>
              <a:rPr lang="en-GB" sz="1000" spc="-5">
                <a:solidFill>
                  <a:schemeClr val="tx1">
                    <a:lumMod val="50000"/>
                    <a:lumOff val="50000"/>
                  </a:schemeClr>
                </a:solidFill>
                <a:latin typeface="Arial" panose="020B0604020202020204"/>
                <a:cs typeface="Arial"/>
              </a:rPr>
              <a:t>Pathway specific recommendations</a:t>
            </a:r>
            <a:endParaRPr kumimoji="0" lang="en-GB" sz="10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endParaRPr>
          </a:p>
        </p:txBody>
      </p:sp>
      <p:sp>
        <p:nvSpPr>
          <p:cNvPr id="49" name="TextBox 48">
            <a:extLst>
              <a:ext uri="{FF2B5EF4-FFF2-40B4-BE49-F238E27FC236}">
                <a16:creationId xmlns:a16="http://schemas.microsoft.com/office/drawing/2014/main" id="{EB12C5EA-D5E9-6642-B105-31F682D36F5D}"/>
              </a:ext>
            </a:extLst>
          </p:cNvPr>
          <p:cNvSpPr txBox="1"/>
          <p:nvPr/>
        </p:nvSpPr>
        <p:spPr>
          <a:xfrm>
            <a:off x="484636" y="5875714"/>
            <a:ext cx="1079645" cy="400110"/>
          </a:xfrm>
          <a:prstGeom prst="rect">
            <a:avLst/>
          </a:prstGeom>
          <a:noFill/>
        </p:spPr>
        <p:txBody>
          <a:bodyPr wrap="square" lIns="91440" tIns="45720" rIns="91440" bIns="45720" rtlCol="0" anchor="t">
            <a:spAutoFit/>
          </a:bodyPr>
          <a:lstStyle/>
          <a:p>
            <a:pPr marR="0" lvl="0" algn="ctr" defTabSz="914400" rtl="0" eaLnBrk="1" fontAlgn="auto" latinLnBrk="0" hangingPunct="1">
              <a:lnSpc>
                <a:spcPct val="100000"/>
              </a:lnSpc>
              <a:spcBef>
                <a:spcPts val="0"/>
              </a:spcBef>
              <a:spcAft>
                <a:spcPts val="600"/>
              </a:spcAft>
              <a:buClr>
                <a:srgbClr val="50235C"/>
              </a:buClr>
              <a:buSzTx/>
              <a:tabLst/>
              <a:defRPr/>
            </a:pPr>
            <a:r>
              <a:rPr kumimoji="0" lang="en-GB" sz="10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rPr>
              <a:t>3x patient journey maps</a:t>
            </a:r>
          </a:p>
        </p:txBody>
      </p:sp>
      <p:sp>
        <p:nvSpPr>
          <p:cNvPr id="51" name="TextBox 50">
            <a:extLst>
              <a:ext uri="{FF2B5EF4-FFF2-40B4-BE49-F238E27FC236}">
                <a16:creationId xmlns:a16="http://schemas.microsoft.com/office/drawing/2014/main" id="{390FA1DD-16DF-2E48-8A6B-AA33E10B0B14}"/>
              </a:ext>
            </a:extLst>
          </p:cNvPr>
          <p:cNvSpPr txBox="1"/>
          <p:nvPr/>
        </p:nvSpPr>
        <p:spPr>
          <a:xfrm>
            <a:off x="510638" y="2093538"/>
            <a:ext cx="3162457" cy="2631490"/>
          </a:xfrm>
          <a:prstGeom prst="rect">
            <a:avLst/>
          </a:prstGeom>
          <a:noFill/>
        </p:spPr>
        <p:txBody>
          <a:bodyPr wrap="square" rtlCol="0">
            <a:spAutoFit/>
          </a:bodyPr>
          <a:lstStyle/>
          <a:p>
            <a:pPr marL="171450" lvl="0" indent="-171450" defTabSz="685800">
              <a:spcBef>
                <a:spcPts val="300"/>
              </a:spcBef>
              <a:spcAft>
                <a:spcPts val="300"/>
              </a:spcAft>
              <a:buFont typeface="Arial" panose="020B0604020202020204" pitchFamily="34" charset="0"/>
              <a:buChar char="•"/>
              <a:defRPr/>
            </a:pPr>
            <a:r>
              <a:rPr lang="en-GB" sz="1000">
                <a:solidFill>
                  <a:schemeClr val="tx1">
                    <a:lumMod val="65000"/>
                    <a:lumOff val="35000"/>
                  </a:schemeClr>
                </a:solidFill>
                <a:latin typeface="Arial" panose="020B0604020202020204" pitchFamily="34" charset="0"/>
                <a:cs typeface="Arial" panose="020B0604020202020204" pitchFamily="34" charset="0"/>
              </a:rPr>
              <a:t>Interviews and workshops were held with staff and teams representing each focus area as well a number of service users with lived experience of each pathway. </a:t>
            </a:r>
          </a:p>
          <a:p>
            <a:pPr marL="171450" lvl="0" indent="-171450" defTabSz="685800">
              <a:spcBef>
                <a:spcPts val="300"/>
              </a:spcBef>
              <a:spcAft>
                <a:spcPts val="300"/>
              </a:spcAft>
              <a:buFont typeface="Arial" panose="020B0604020202020204" pitchFamily="34" charset="0"/>
              <a:buChar char="•"/>
              <a:defRPr/>
            </a:pPr>
            <a:r>
              <a:rPr lang="en-GB" sz="1000">
                <a:solidFill>
                  <a:schemeClr val="tx1">
                    <a:lumMod val="65000"/>
                    <a:lumOff val="35000"/>
                  </a:schemeClr>
                </a:solidFill>
                <a:latin typeface="Arial" panose="020B0604020202020204" pitchFamily="34" charset="0"/>
                <a:cs typeface="Arial" panose="020B0604020202020204" pitchFamily="34" charset="0"/>
              </a:rPr>
              <a:t>Data analysis was undertaken using data from NHS England and PHE to support the case for change in each focus area.</a:t>
            </a:r>
          </a:p>
          <a:p>
            <a:pPr marL="171450" lvl="0" indent="-171450" defTabSz="685800">
              <a:spcBef>
                <a:spcPts val="300"/>
              </a:spcBef>
              <a:spcAft>
                <a:spcPts val="300"/>
              </a:spcAft>
              <a:buFont typeface="Arial" panose="020B0604020202020204" pitchFamily="34" charset="0"/>
              <a:buChar char="•"/>
              <a:defRPr/>
            </a:pPr>
            <a:r>
              <a:rPr lang="en-GB" sz="1000">
                <a:solidFill>
                  <a:schemeClr val="tx1">
                    <a:lumMod val="65000"/>
                    <a:lumOff val="35000"/>
                  </a:schemeClr>
                </a:solidFill>
                <a:latin typeface="Arial" panose="020B0604020202020204" pitchFamily="34" charset="0"/>
                <a:cs typeface="Arial" panose="020B0604020202020204" pitchFamily="34" charset="0"/>
              </a:rPr>
              <a:t>Best practice was gathered from other regions and systems across England to support the development of recommendations. </a:t>
            </a:r>
          </a:p>
          <a:p>
            <a:pPr marL="171450" lvl="0" indent="-171450" defTabSz="685800">
              <a:spcBef>
                <a:spcPts val="300"/>
              </a:spcBef>
              <a:spcAft>
                <a:spcPts val="300"/>
              </a:spcAft>
              <a:buFont typeface="Arial" panose="020B0604020202020204" pitchFamily="34" charset="0"/>
              <a:buChar char="•"/>
              <a:defRPr/>
            </a:pPr>
            <a:r>
              <a:rPr lang="en-GB" sz="1000">
                <a:solidFill>
                  <a:schemeClr val="tx1">
                    <a:lumMod val="65000"/>
                    <a:lumOff val="35000"/>
                  </a:schemeClr>
                </a:solidFill>
                <a:latin typeface="Arial" panose="020B0604020202020204" pitchFamily="34" charset="0"/>
                <a:cs typeface="Arial" panose="020B0604020202020204" pitchFamily="34" charset="0"/>
              </a:rPr>
              <a:t>For each focus area a journey map was produced in collaboration with front line teams to highlight the challenges and support the development of recommendations presented throughout this document. </a:t>
            </a:r>
            <a:endParaRPr lang="en-GB" sz="1000">
              <a:solidFill>
                <a:srgbClr val="50235B"/>
              </a:solidFill>
              <a:highlight>
                <a:srgbClr val="FFFF00"/>
              </a:highlight>
              <a:latin typeface="Arial" panose="020B0604020202020204" pitchFamily="34" charset="0"/>
              <a:cs typeface="Arial" panose="020B0604020202020204" pitchFamily="34" charset="0"/>
            </a:endParaRPr>
          </a:p>
        </p:txBody>
      </p:sp>
      <p:graphicFrame>
        <p:nvGraphicFramePr>
          <p:cNvPr id="23" name="Table 22">
            <a:extLst>
              <a:ext uri="{FF2B5EF4-FFF2-40B4-BE49-F238E27FC236}">
                <a16:creationId xmlns:a16="http://schemas.microsoft.com/office/drawing/2014/main" id="{BF01113C-4355-AA41-ACC8-FB5FB953F491}"/>
              </a:ext>
            </a:extLst>
          </p:cNvPr>
          <p:cNvGraphicFramePr>
            <a:graphicFrameLocks noGrp="1"/>
          </p:cNvGraphicFramePr>
          <p:nvPr>
            <p:extLst>
              <p:ext uri="{D42A27DB-BD31-4B8C-83A1-F6EECF244321}">
                <p14:modId xmlns:p14="http://schemas.microsoft.com/office/powerpoint/2010/main" val="2263941588"/>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C"/>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
        <p:nvSpPr>
          <p:cNvPr id="21" name="TextBox 20">
            <a:extLst>
              <a:ext uri="{FF2B5EF4-FFF2-40B4-BE49-F238E27FC236}">
                <a16:creationId xmlns:a16="http://schemas.microsoft.com/office/drawing/2014/main" id="{A304E711-3C9F-5048-87C2-367B868CA4C9}"/>
              </a:ext>
            </a:extLst>
          </p:cNvPr>
          <p:cNvSpPr txBox="1"/>
          <p:nvPr/>
        </p:nvSpPr>
        <p:spPr>
          <a:xfrm>
            <a:off x="4491069" y="2093538"/>
            <a:ext cx="3162457" cy="4339650"/>
          </a:xfrm>
          <a:prstGeom prst="rect">
            <a:avLst/>
          </a:prstGeom>
          <a:noFill/>
        </p:spPr>
        <p:txBody>
          <a:bodyPr wrap="square" rtlCol="0">
            <a:spAutoFit/>
          </a:bodyPr>
          <a:lstStyle/>
          <a:p>
            <a:pPr marL="171450" lvl="0" indent="-171450" defTabSz="685800">
              <a:spcBef>
                <a:spcPts val="300"/>
              </a:spcBef>
              <a:spcAft>
                <a:spcPts val="300"/>
              </a:spcAft>
              <a:buFont typeface="Arial" panose="020B0604020202020204" pitchFamily="34" charset="0"/>
              <a:buChar char="•"/>
              <a:defRPr/>
            </a:pPr>
            <a:r>
              <a:rPr lang="en-GB" sz="1000" b="1">
                <a:solidFill>
                  <a:schemeClr val="tx1">
                    <a:lumMod val="65000"/>
                    <a:lumOff val="35000"/>
                  </a:schemeClr>
                </a:solidFill>
                <a:latin typeface="Arial" panose="020B0604020202020204" pitchFamily="34" charset="0"/>
                <a:cs typeface="Arial" panose="020B0604020202020204" pitchFamily="34" charset="0"/>
              </a:rPr>
              <a:t>Mental health and Autism:</a:t>
            </a:r>
          </a:p>
          <a:p>
            <a:pPr marL="355600" lvl="1" indent="-169863" defTabSz="685800">
              <a:spcBef>
                <a:spcPts val="300"/>
              </a:spcBef>
              <a:spcAft>
                <a:spcPts val="300"/>
              </a:spcAft>
              <a:buFont typeface="Arial" panose="020B0604020202020204" pitchFamily="34" charset="0"/>
              <a:buChar char="•"/>
              <a:defRPr/>
            </a:pPr>
            <a:r>
              <a:rPr lang="en-GB" sz="1000">
                <a:solidFill>
                  <a:schemeClr val="tx1">
                    <a:lumMod val="75000"/>
                    <a:lumOff val="25000"/>
                  </a:schemeClr>
                </a:solidFill>
                <a:latin typeface="Arial" panose="020B0604020202020204" pitchFamily="34" charset="0"/>
                <a:cs typeface="Arial" panose="020B0604020202020204" pitchFamily="34" charset="0"/>
              </a:rPr>
              <a:t>13 key challenges were identified. </a:t>
            </a:r>
          </a:p>
          <a:p>
            <a:pPr marL="355600" lvl="1" indent="-169863" defTabSz="685800">
              <a:spcBef>
                <a:spcPts val="300"/>
              </a:spcBef>
              <a:spcAft>
                <a:spcPts val="300"/>
              </a:spcAft>
              <a:buFont typeface="Arial" panose="020B0604020202020204" pitchFamily="34" charset="0"/>
              <a:buChar char="•"/>
              <a:defRPr/>
            </a:pPr>
            <a:r>
              <a:rPr lang="en-GB" sz="1000">
                <a:solidFill>
                  <a:schemeClr val="tx1">
                    <a:lumMod val="75000"/>
                    <a:lumOff val="25000"/>
                  </a:schemeClr>
                </a:solidFill>
                <a:latin typeface="Arial" panose="020B0604020202020204" pitchFamily="34" charset="0"/>
                <a:cs typeface="Arial" panose="020B0604020202020204" pitchFamily="34" charset="0"/>
              </a:rPr>
              <a:t>The limited reasonable adjustments currently in place for people with Autism was identified as a key challenge.</a:t>
            </a:r>
          </a:p>
          <a:p>
            <a:pPr marL="355600" lvl="1" indent="-169863" defTabSz="685800">
              <a:spcBef>
                <a:spcPts val="300"/>
              </a:spcBef>
              <a:spcAft>
                <a:spcPts val="300"/>
              </a:spcAft>
              <a:buFont typeface="Arial" panose="020B0604020202020204" pitchFamily="34" charset="0"/>
              <a:buChar char="•"/>
              <a:defRPr/>
            </a:pPr>
            <a:r>
              <a:rPr lang="en-GB" sz="1000">
                <a:solidFill>
                  <a:schemeClr val="tx1">
                    <a:lumMod val="75000"/>
                    <a:lumOff val="25000"/>
                  </a:schemeClr>
                </a:solidFill>
                <a:latin typeface="Arial" panose="020B0604020202020204" pitchFamily="34" charset="0"/>
                <a:cs typeface="Arial" panose="020B0604020202020204" pitchFamily="34" charset="0"/>
              </a:rPr>
              <a:t>7 areas identified for targeted improvement.</a:t>
            </a:r>
          </a:p>
          <a:p>
            <a:pPr marL="355600" lvl="1" indent="-169863" defTabSz="685800">
              <a:spcBef>
                <a:spcPts val="300"/>
              </a:spcBef>
              <a:spcAft>
                <a:spcPts val="300"/>
              </a:spcAft>
              <a:buFont typeface="Arial" panose="020B0604020202020204" pitchFamily="34" charset="0"/>
              <a:buChar char="•"/>
              <a:defRPr/>
            </a:pPr>
            <a:endParaRPr lang="en-GB" sz="800">
              <a:solidFill>
                <a:schemeClr val="tx1">
                  <a:lumMod val="65000"/>
                  <a:lumOff val="35000"/>
                </a:schemeClr>
              </a:solidFill>
              <a:latin typeface="Arial" panose="020B0604020202020204" pitchFamily="34" charset="0"/>
              <a:cs typeface="Arial" panose="020B0604020202020204" pitchFamily="34" charset="0"/>
            </a:endParaRPr>
          </a:p>
          <a:p>
            <a:pPr marL="171450" lvl="0" indent="-171450" defTabSz="685800">
              <a:spcBef>
                <a:spcPts val="300"/>
              </a:spcBef>
              <a:spcAft>
                <a:spcPts val="300"/>
              </a:spcAft>
              <a:buFont typeface="Arial" panose="020B0604020202020204" pitchFamily="34" charset="0"/>
              <a:buChar char="•"/>
              <a:defRPr/>
            </a:pPr>
            <a:r>
              <a:rPr lang="en-GB" sz="1000" b="1">
                <a:solidFill>
                  <a:schemeClr val="tx1">
                    <a:lumMod val="65000"/>
                    <a:lumOff val="35000"/>
                  </a:schemeClr>
                </a:solidFill>
                <a:latin typeface="Arial" panose="020B0604020202020204" pitchFamily="34" charset="0"/>
                <a:cs typeface="Arial" panose="020B0604020202020204" pitchFamily="34" charset="0"/>
              </a:rPr>
              <a:t>Mental health and drug and alcohol:</a:t>
            </a:r>
          </a:p>
          <a:p>
            <a:pPr marL="355600" lvl="1" indent="-169863" defTabSz="685800">
              <a:spcBef>
                <a:spcPts val="300"/>
              </a:spcBef>
              <a:spcAft>
                <a:spcPts val="300"/>
              </a:spcAft>
              <a:buFont typeface="Arial" panose="020B0604020202020204" pitchFamily="34" charset="0"/>
              <a:buChar char="•"/>
              <a:defRPr/>
            </a:pPr>
            <a:r>
              <a:rPr lang="en-GB" sz="1000">
                <a:solidFill>
                  <a:schemeClr val="tx1">
                    <a:lumMod val="75000"/>
                    <a:lumOff val="25000"/>
                  </a:schemeClr>
                </a:solidFill>
                <a:latin typeface="Arial" panose="020B0604020202020204" pitchFamily="34" charset="0"/>
                <a:cs typeface="Arial" panose="020B0604020202020204" pitchFamily="34" charset="0"/>
              </a:rPr>
              <a:t>8 key challenges were identified. </a:t>
            </a:r>
          </a:p>
          <a:p>
            <a:pPr marL="355600" lvl="1" indent="-169863" defTabSz="685800">
              <a:spcBef>
                <a:spcPts val="300"/>
              </a:spcBef>
              <a:spcAft>
                <a:spcPts val="300"/>
              </a:spcAft>
              <a:buFont typeface="Arial" panose="020B0604020202020204" pitchFamily="34" charset="0"/>
              <a:buChar char="•"/>
              <a:defRPr/>
            </a:pPr>
            <a:r>
              <a:rPr lang="en-GB" sz="1000">
                <a:solidFill>
                  <a:schemeClr val="tx1">
                    <a:lumMod val="75000"/>
                    <a:lumOff val="25000"/>
                  </a:schemeClr>
                </a:solidFill>
                <a:latin typeface="Arial" panose="020B0604020202020204" pitchFamily="34" charset="0"/>
                <a:cs typeface="Arial" panose="020B0604020202020204" pitchFamily="34" charset="0"/>
              </a:rPr>
              <a:t>Staff and service users raised the issue of a ‘revolving door’ between mental health services and drug and alcohol services. </a:t>
            </a:r>
          </a:p>
          <a:p>
            <a:pPr marL="355600" lvl="1" indent="-169863" defTabSz="685800">
              <a:spcBef>
                <a:spcPts val="300"/>
              </a:spcBef>
              <a:spcAft>
                <a:spcPts val="300"/>
              </a:spcAft>
              <a:buFont typeface="Arial" panose="020B0604020202020204" pitchFamily="34" charset="0"/>
              <a:buChar char="•"/>
              <a:defRPr/>
            </a:pPr>
            <a:r>
              <a:rPr lang="en-GB" sz="1000">
                <a:solidFill>
                  <a:schemeClr val="tx1">
                    <a:lumMod val="75000"/>
                    <a:lumOff val="25000"/>
                  </a:schemeClr>
                </a:solidFill>
                <a:latin typeface="Arial" panose="020B0604020202020204" pitchFamily="34" charset="0"/>
                <a:cs typeface="Arial" panose="020B0604020202020204" pitchFamily="34" charset="0"/>
              </a:rPr>
              <a:t>5 areas identified for targeted improvement.</a:t>
            </a:r>
          </a:p>
          <a:p>
            <a:pPr marL="355600" lvl="1" indent="-169863" defTabSz="685800">
              <a:spcBef>
                <a:spcPts val="300"/>
              </a:spcBef>
              <a:spcAft>
                <a:spcPts val="300"/>
              </a:spcAft>
              <a:buFont typeface="Arial" panose="020B0604020202020204" pitchFamily="34" charset="0"/>
              <a:buChar char="•"/>
              <a:defRPr/>
            </a:pPr>
            <a:endParaRPr lang="en-GB" sz="800">
              <a:solidFill>
                <a:schemeClr val="tx1">
                  <a:lumMod val="65000"/>
                  <a:lumOff val="35000"/>
                </a:schemeClr>
              </a:solidFill>
              <a:latin typeface="Arial" panose="020B0604020202020204" pitchFamily="34" charset="0"/>
              <a:cs typeface="Arial" panose="020B0604020202020204" pitchFamily="34" charset="0"/>
            </a:endParaRPr>
          </a:p>
          <a:p>
            <a:pPr marL="171450" lvl="0" indent="-171450" defTabSz="685800">
              <a:spcBef>
                <a:spcPts val="300"/>
              </a:spcBef>
              <a:spcAft>
                <a:spcPts val="300"/>
              </a:spcAft>
              <a:buFont typeface="Arial" panose="020B0604020202020204" pitchFamily="34" charset="0"/>
              <a:buChar char="•"/>
              <a:defRPr/>
            </a:pPr>
            <a:r>
              <a:rPr lang="en-GB" sz="1000" b="1">
                <a:solidFill>
                  <a:schemeClr val="tx1">
                    <a:lumMod val="65000"/>
                    <a:lumOff val="35000"/>
                  </a:schemeClr>
                </a:solidFill>
                <a:latin typeface="Arial" panose="020B0604020202020204" pitchFamily="34" charset="0"/>
                <a:cs typeface="Arial" panose="020B0604020202020204" pitchFamily="34" charset="0"/>
              </a:rPr>
              <a:t>Severe mental illness physical health checks:</a:t>
            </a:r>
            <a:endParaRPr lang="en-GB" sz="1000" b="1">
              <a:solidFill>
                <a:srgbClr val="50235B"/>
              </a:solidFill>
              <a:latin typeface="Arial" panose="020B0604020202020204" pitchFamily="34" charset="0"/>
              <a:cs typeface="Arial" panose="020B0604020202020204" pitchFamily="34" charset="0"/>
            </a:endParaRPr>
          </a:p>
          <a:p>
            <a:pPr marL="355600" lvl="1" indent="-169863" defTabSz="685800">
              <a:spcBef>
                <a:spcPts val="300"/>
              </a:spcBef>
              <a:spcAft>
                <a:spcPts val="300"/>
              </a:spcAft>
              <a:buFont typeface="Arial" panose="020B0604020202020204" pitchFamily="34" charset="0"/>
              <a:buChar char="•"/>
              <a:defRPr/>
            </a:pPr>
            <a:r>
              <a:rPr lang="en-GB" sz="1000">
                <a:solidFill>
                  <a:schemeClr val="tx1">
                    <a:lumMod val="75000"/>
                    <a:lumOff val="25000"/>
                  </a:schemeClr>
                </a:solidFill>
                <a:latin typeface="Arial" panose="020B0604020202020204" pitchFamily="34" charset="0"/>
                <a:cs typeface="Arial" panose="020B0604020202020204" pitchFamily="34" charset="0"/>
              </a:rPr>
              <a:t>8 key challenges identified.</a:t>
            </a:r>
          </a:p>
          <a:p>
            <a:pPr marL="355600" lvl="1" indent="-169863" defTabSz="685800">
              <a:spcBef>
                <a:spcPts val="300"/>
              </a:spcBef>
              <a:spcAft>
                <a:spcPts val="300"/>
              </a:spcAft>
              <a:buFont typeface="Arial" panose="020B0604020202020204" pitchFamily="34" charset="0"/>
              <a:buChar char="•"/>
              <a:defRPr/>
            </a:pPr>
            <a:r>
              <a:rPr lang="en-GB" sz="1000">
                <a:solidFill>
                  <a:schemeClr val="tx1">
                    <a:lumMod val="75000"/>
                    <a:lumOff val="25000"/>
                  </a:schemeClr>
                </a:solidFill>
                <a:latin typeface="Arial" panose="020B0604020202020204" pitchFamily="34" charset="0"/>
                <a:cs typeface="Arial" panose="020B0604020202020204" pitchFamily="34" charset="0"/>
              </a:rPr>
              <a:t>A lack of resources available to support the  delivery of PHCs was identified as a key challenge. </a:t>
            </a:r>
          </a:p>
          <a:p>
            <a:pPr marL="355600" lvl="1" indent="-169863" defTabSz="685800">
              <a:spcBef>
                <a:spcPts val="300"/>
              </a:spcBef>
              <a:spcAft>
                <a:spcPts val="300"/>
              </a:spcAft>
              <a:buFont typeface="Arial" panose="020B0604020202020204" pitchFamily="34" charset="0"/>
              <a:buChar char="•"/>
              <a:defRPr/>
            </a:pPr>
            <a:r>
              <a:rPr lang="en-GB" sz="1000">
                <a:solidFill>
                  <a:schemeClr val="tx1">
                    <a:lumMod val="75000"/>
                    <a:lumOff val="25000"/>
                  </a:schemeClr>
                </a:solidFill>
                <a:latin typeface="Arial" panose="020B0604020202020204" pitchFamily="34" charset="0"/>
                <a:cs typeface="Arial" panose="020B0604020202020204" pitchFamily="34" charset="0"/>
              </a:rPr>
              <a:t>6 areas identified for targeted improvement.</a:t>
            </a:r>
          </a:p>
          <a:p>
            <a:pPr marL="171450" lvl="0" indent="-171450" defTabSz="685800">
              <a:spcBef>
                <a:spcPts val="300"/>
              </a:spcBef>
              <a:spcAft>
                <a:spcPts val="300"/>
              </a:spcAft>
              <a:buFont typeface="Arial" panose="020B0604020202020204" pitchFamily="34" charset="0"/>
              <a:buChar char="•"/>
              <a:defRPr/>
            </a:pPr>
            <a:endParaRPr lang="en-GB" sz="1000">
              <a:solidFill>
                <a:schemeClr val="tx1">
                  <a:lumMod val="65000"/>
                  <a:lumOff val="35000"/>
                </a:schemeClr>
              </a:solidFill>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6B47840B-56F0-5440-A0A4-30994039B249}"/>
              </a:ext>
            </a:extLst>
          </p:cNvPr>
          <p:cNvSpPr txBox="1"/>
          <p:nvPr/>
        </p:nvSpPr>
        <p:spPr>
          <a:xfrm>
            <a:off x="8448086" y="2093537"/>
            <a:ext cx="3162457" cy="4508927"/>
          </a:xfrm>
          <a:prstGeom prst="rect">
            <a:avLst/>
          </a:prstGeom>
          <a:noFill/>
        </p:spPr>
        <p:txBody>
          <a:bodyPr wrap="square" rtlCol="0">
            <a:spAutoFit/>
          </a:bodyPr>
          <a:lstStyle/>
          <a:p>
            <a:pPr lvl="0" defTabSz="685800">
              <a:spcBef>
                <a:spcPts val="300"/>
              </a:spcBef>
              <a:spcAft>
                <a:spcPts val="300"/>
              </a:spcAft>
              <a:defRPr/>
            </a:pPr>
            <a:r>
              <a:rPr lang="en-GB" sz="1000">
                <a:solidFill>
                  <a:schemeClr val="tx1">
                    <a:lumMod val="65000"/>
                    <a:lumOff val="35000"/>
                  </a:schemeClr>
                </a:solidFill>
                <a:latin typeface="Arial" panose="020B0604020202020204" pitchFamily="34" charset="0"/>
                <a:cs typeface="Arial" panose="020B0604020202020204" pitchFamily="34" charset="0"/>
              </a:rPr>
              <a:t>Top recommendations to implement for each pathway include:</a:t>
            </a:r>
          </a:p>
          <a:p>
            <a:pPr marL="171450" lvl="0" indent="-171450" defTabSz="685800">
              <a:spcBef>
                <a:spcPts val="300"/>
              </a:spcBef>
              <a:spcAft>
                <a:spcPts val="300"/>
              </a:spcAft>
              <a:buFont typeface="Arial" panose="020B0604020202020204" pitchFamily="34" charset="0"/>
              <a:buChar char="•"/>
              <a:defRPr/>
            </a:pPr>
            <a:r>
              <a:rPr lang="en-GB" sz="1000" b="1">
                <a:solidFill>
                  <a:schemeClr val="tx1">
                    <a:lumMod val="65000"/>
                    <a:lumOff val="35000"/>
                  </a:schemeClr>
                </a:solidFill>
                <a:latin typeface="Arial" panose="020B0604020202020204" pitchFamily="34" charset="0"/>
                <a:cs typeface="Arial" panose="020B0604020202020204" pitchFamily="34" charset="0"/>
              </a:rPr>
              <a:t>Mental health and Autism:</a:t>
            </a:r>
          </a:p>
          <a:p>
            <a:pPr marL="355600" lvl="1" indent="-169863" defTabSz="685800">
              <a:spcBef>
                <a:spcPts val="300"/>
              </a:spcBef>
              <a:spcAft>
                <a:spcPts val="300"/>
              </a:spcAft>
              <a:buFont typeface="Arial" panose="020B0604020202020204" pitchFamily="34" charset="0"/>
              <a:buChar char="•"/>
              <a:defRPr/>
            </a:pPr>
            <a:r>
              <a:rPr lang="en-GB" sz="1000">
                <a:solidFill>
                  <a:schemeClr val="tx1">
                    <a:lumMod val="75000"/>
                    <a:lumOff val="25000"/>
                  </a:schemeClr>
                </a:solidFill>
                <a:latin typeface="Arial" panose="020B0604020202020204" pitchFamily="34" charset="0"/>
                <a:cs typeface="Arial" panose="020B0604020202020204" pitchFamily="34" charset="0"/>
              </a:rPr>
              <a:t>Wide rollout of standardised Autism passports.</a:t>
            </a:r>
          </a:p>
          <a:p>
            <a:pPr marL="355600" lvl="1" indent="-169863" defTabSz="685800">
              <a:spcBef>
                <a:spcPts val="300"/>
              </a:spcBef>
              <a:spcAft>
                <a:spcPts val="300"/>
              </a:spcAft>
              <a:buFont typeface="Arial" panose="020B0604020202020204" pitchFamily="34" charset="0"/>
              <a:buChar char="•"/>
              <a:defRPr/>
            </a:pPr>
            <a:r>
              <a:rPr lang="en-GB" sz="1000">
                <a:solidFill>
                  <a:schemeClr val="tx1">
                    <a:lumMod val="75000"/>
                    <a:lumOff val="25000"/>
                  </a:schemeClr>
                </a:solidFill>
                <a:latin typeface="Arial" panose="020B0604020202020204" pitchFamily="34" charset="0"/>
                <a:cs typeface="Arial" panose="020B0604020202020204" pitchFamily="34" charset="0"/>
              </a:rPr>
              <a:t>Rollout of staff training and awareness campaign to support understanding of Autism. </a:t>
            </a:r>
          </a:p>
          <a:p>
            <a:pPr marL="355600" lvl="1" indent="-169863" defTabSz="685800">
              <a:spcBef>
                <a:spcPts val="300"/>
              </a:spcBef>
              <a:spcAft>
                <a:spcPts val="300"/>
              </a:spcAft>
              <a:buFont typeface="Arial" panose="020B0604020202020204" pitchFamily="34" charset="0"/>
              <a:buChar char="•"/>
              <a:defRPr/>
            </a:pPr>
            <a:r>
              <a:rPr lang="en-GB" sz="1000">
                <a:solidFill>
                  <a:schemeClr val="tx1">
                    <a:lumMod val="75000"/>
                    <a:lumOff val="25000"/>
                  </a:schemeClr>
                </a:solidFill>
                <a:latin typeface="Arial" panose="020B0604020202020204" pitchFamily="34" charset="0"/>
                <a:cs typeface="Arial" panose="020B0604020202020204" pitchFamily="34" charset="0"/>
              </a:rPr>
              <a:t>Implement minor adjustments to physical care settings. </a:t>
            </a:r>
          </a:p>
          <a:p>
            <a:pPr marL="355600" lvl="1" indent="-169863" defTabSz="685800">
              <a:spcBef>
                <a:spcPts val="300"/>
              </a:spcBef>
              <a:spcAft>
                <a:spcPts val="300"/>
              </a:spcAft>
              <a:buFont typeface="Arial" panose="020B0604020202020204" pitchFamily="34" charset="0"/>
              <a:buChar char="•"/>
              <a:defRPr/>
            </a:pPr>
            <a:endParaRPr lang="en-GB" sz="200">
              <a:solidFill>
                <a:schemeClr val="tx1">
                  <a:lumMod val="65000"/>
                  <a:lumOff val="35000"/>
                </a:schemeClr>
              </a:solidFill>
              <a:latin typeface="Arial" panose="020B0604020202020204" pitchFamily="34" charset="0"/>
              <a:cs typeface="Arial" panose="020B0604020202020204" pitchFamily="34" charset="0"/>
            </a:endParaRPr>
          </a:p>
          <a:p>
            <a:pPr marL="171450" indent="-171450" defTabSz="685800">
              <a:spcBef>
                <a:spcPts val="300"/>
              </a:spcBef>
              <a:spcAft>
                <a:spcPts val="300"/>
              </a:spcAft>
              <a:buFont typeface="Arial" panose="020B0604020202020204" pitchFamily="34" charset="0"/>
              <a:buChar char="•"/>
              <a:defRPr/>
            </a:pPr>
            <a:r>
              <a:rPr lang="en-GB" sz="1000" b="1">
                <a:solidFill>
                  <a:schemeClr val="tx1">
                    <a:lumMod val="65000"/>
                    <a:lumOff val="35000"/>
                  </a:schemeClr>
                </a:solidFill>
                <a:latin typeface="Arial" panose="020B0604020202020204" pitchFamily="34" charset="0"/>
                <a:cs typeface="Arial" panose="020B0604020202020204" pitchFamily="34" charset="0"/>
              </a:rPr>
              <a:t>Mental health and drug and alcohol:</a:t>
            </a:r>
          </a:p>
          <a:p>
            <a:pPr marL="355600" lvl="1" indent="-169863" defTabSz="685800">
              <a:spcBef>
                <a:spcPts val="300"/>
              </a:spcBef>
              <a:spcAft>
                <a:spcPts val="300"/>
              </a:spcAft>
              <a:buFont typeface="Arial" panose="020B0604020202020204" pitchFamily="34" charset="0"/>
              <a:buChar char="•"/>
              <a:defRPr/>
            </a:pPr>
            <a:r>
              <a:rPr lang="en-GB" sz="1000">
                <a:solidFill>
                  <a:schemeClr val="tx1">
                    <a:lumMod val="75000"/>
                    <a:lumOff val="25000"/>
                  </a:schemeClr>
                </a:solidFill>
                <a:latin typeface="Arial" panose="020B0604020202020204" pitchFamily="34" charset="0"/>
                <a:cs typeface="Arial" panose="020B0604020202020204" pitchFamily="34" charset="0"/>
              </a:rPr>
              <a:t>Improve lines of communication and joint working between mental health and drug and alcohol teams. </a:t>
            </a:r>
          </a:p>
          <a:p>
            <a:pPr marL="355600" lvl="1" indent="-169863" defTabSz="685800">
              <a:spcBef>
                <a:spcPts val="300"/>
              </a:spcBef>
              <a:spcAft>
                <a:spcPts val="300"/>
              </a:spcAft>
              <a:buFont typeface="Arial" panose="020B0604020202020204" pitchFamily="34" charset="0"/>
              <a:buChar char="•"/>
              <a:defRPr/>
            </a:pPr>
            <a:r>
              <a:rPr lang="en-GB" sz="1000">
                <a:solidFill>
                  <a:schemeClr val="tx1">
                    <a:lumMod val="75000"/>
                    <a:lumOff val="25000"/>
                  </a:schemeClr>
                </a:solidFill>
                <a:latin typeface="Arial" panose="020B0604020202020204" pitchFamily="34" charset="0"/>
                <a:cs typeface="Arial" panose="020B0604020202020204" pitchFamily="34" charset="0"/>
              </a:rPr>
              <a:t>Increase the community outreach for this cohort of service users. </a:t>
            </a:r>
          </a:p>
          <a:p>
            <a:pPr marL="355600" lvl="1" indent="-169863" defTabSz="685800">
              <a:spcBef>
                <a:spcPts val="300"/>
              </a:spcBef>
              <a:spcAft>
                <a:spcPts val="300"/>
              </a:spcAft>
              <a:buFont typeface="Arial" panose="020B0604020202020204" pitchFamily="34" charset="0"/>
              <a:buChar char="•"/>
              <a:defRPr/>
            </a:pPr>
            <a:endParaRPr lang="en-GB" sz="500">
              <a:solidFill>
                <a:schemeClr val="tx1">
                  <a:lumMod val="65000"/>
                  <a:lumOff val="35000"/>
                </a:schemeClr>
              </a:solidFill>
              <a:latin typeface="Arial" panose="020B0604020202020204" pitchFamily="34" charset="0"/>
              <a:cs typeface="Arial" panose="020B0604020202020204" pitchFamily="34" charset="0"/>
            </a:endParaRPr>
          </a:p>
          <a:p>
            <a:pPr marL="171450" lvl="0" indent="-171450" defTabSz="685800">
              <a:spcBef>
                <a:spcPts val="300"/>
              </a:spcBef>
              <a:spcAft>
                <a:spcPts val="300"/>
              </a:spcAft>
              <a:buFont typeface="Arial" panose="020B0604020202020204" pitchFamily="34" charset="0"/>
              <a:buChar char="•"/>
              <a:defRPr/>
            </a:pPr>
            <a:r>
              <a:rPr lang="en-GB" sz="1000" b="1">
                <a:solidFill>
                  <a:schemeClr val="tx1">
                    <a:lumMod val="65000"/>
                    <a:lumOff val="35000"/>
                  </a:schemeClr>
                </a:solidFill>
                <a:latin typeface="Arial" panose="020B0604020202020204" pitchFamily="34" charset="0"/>
                <a:cs typeface="Arial" panose="020B0604020202020204" pitchFamily="34" charset="0"/>
              </a:rPr>
              <a:t>Severe mental illness physical health checks:</a:t>
            </a:r>
            <a:endParaRPr lang="en-GB" sz="1000" b="1">
              <a:solidFill>
                <a:srgbClr val="50235B"/>
              </a:solidFill>
              <a:latin typeface="Arial" panose="020B0604020202020204" pitchFamily="34" charset="0"/>
              <a:cs typeface="Arial" panose="020B0604020202020204" pitchFamily="34" charset="0"/>
            </a:endParaRPr>
          </a:p>
          <a:p>
            <a:pPr marL="355600" lvl="1" indent="-169863" defTabSz="685800">
              <a:spcBef>
                <a:spcPts val="300"/>
              </a:spcBef>
              <a:spcAft>
                <a:spcPts val="300"/>
              </a:spcAft>
              <a:buFont typeface="Arial" panose="020B0604020202020204" pitchFamily="34" charset="0"/>
              <a:buChar char="•"/>
              <a:defRPr/>
            </a:pPr>
            <a:r>
              <a:rPr lang="en-GB" sz="1000">
                <a:solidFill>
                  <a:schemeClr val="tx1">
                    <a:lumMod val="75000"/>
                    <a:lumOff val="25000"/>
                  </a:schemeClr>
                </a:solidFill>
                <a:latin typeface="Arial" panose="020B0604020202020204" pitchFamily="34" charset="0"/>
                <a:cs typeface="Arial" panose="020B0604020202020204" pitchFamily="34" charset="0"/>
              </a:rPr>
              <a:t>Deployment of additional admin staff.</a:t>
            </a:r>
          </a:p>
          <a:p>
            <a:pPr marL="355600" lvl="1" indent="-169863" defTabSz="685800">
              <a:spcBef>
                <a:spcPts val="300"/>
              </a:spcBef>
              <a:spcAft>
                <a:spcPts val="300"/>
              </a:spcAft>
              <a:buFont typeface="Arial" panose="020B0604020202020204" pitchFamily="34" charset="0"/>
              <a:buChar char="•"/>
              <a:defRPr/>
            </a:pPr>
            <a:r>
              <a:rPr lang="en-GB" sz="1000">
                <a:solidFill>
                  <a:schemeClr val="tx1">
                    <a:lumMod val="75000"/>
                    <a:lumOff val="25000"/>
                  </a:schemeClr>
                </a:solidFill>
                <a:latin typeface="Arial" panose="020B0604020202020204" pitchFamily="34" charset="0"/>
                <a:cs typeface="Arial" panose="020B0604020202020204" pitchFamily="34" charset="0"/>
              </a:rPr>
              <a:t>Improve staff and user education on SMI PHCs.</a:t>
            </a:r>
          </a:p>
          <a:p>
            <a:pPr marL="355600" lvl="1" indent="-169863" defTabSz="685800">
              <a:spcBef>
                <a:spcPts val="300"/>
              </a:spcBef>
              <a:spcAft>
                <a:spcPts val="300"/>
              </a:spcAft>
              <a:buFont typeface="Arial" panose="020B0604020202020204" pitchFamily="34" charset="0"/>
              <a:buChar char="•"/>
              <a:defRPr/>
            </a:pPr>
            <a:r>
              <a:rPr lang="en-GB" sz="1000">
                <a:solidFill>
                  <a:schemeClr val="tx1">
                    <a:lumMod val="75000"/>
                    <a:lumOff val="25000"/>
                  </a:schemeClr>
                </a:solidFill>
                <a:latin typeface="Arial" panose="020B0604020202020204" pitchFamily="34" charset="0"/>
                <a:cs typeface="Arial" panose="020B0604020202020204" pitchFamily="34" charset="0"/>
              </a:rPr>
              <a:t>Facilitate better joint working facilitated by improved data sharing across the system.</a:t>
            </a:r>
          </a:p>
          <a:p>
            <a:pPr marL="171450" lvl="0" indent="-171450" defTabSz="685800">
              <a:spcBef>
                <a:spcPts val="300"/>
              </a:spcBef>
              <a:spcAft>
                <a:spcPts val="300"/>
              </a:spcAft>
              <a:buFont typeface="Arial" panose="020B0604020202020204" pitchFamily="34" charset="0"/>
              <a:buChar char="•"/>
              <a:defRPr/>
            </a:pPr>
            <a:endParaRPr lang="en-GB" sz="1000">
              <a:solidFill>
                <a:schemeClr val="tx1">
                  <a:lumMod val="65000"/>
                  <a:lumOff val="35000"/>
                </a:schemeClr>
              </a:solidFill>
              <a:latin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36411416-0443-D740-85C2-8523B88D0425}"/>
              </a:ext>
            </a:extLst>
          </p:cNvPr>
          <p:cNvPicPr>
            <a:picLocks noChangeAspect="1"/>
          </p:cNvPicPr>
          <p:nvPr/>
        </p:nvPicPr>
        <p:blipFill>
          <a:blip r:embed="rId8"/>
          <a:stretch>
            <a:fillRect/>
          </a:stretch>
        </p:blipFill>
        <p:spPr>
          <a:xfrm>
            <a:off x="590507" y="5197733"/>
            <a:ext cx="867905" cy="488197"/>
          </a:xfrm>
          <a:prstGeom prst="rect">
            <a:avLst/>
          </a:prstGeom>
          <a:ln>
            <a:solidFill>
              <a:srgbClr val="50235C"/>
            </a:solidFill>
          </a:ln>
          <a:effectLst>
            <a:outerShdw blurRad="50800" dist="38100" dir="8100000" algn="tr" rotWithShape="0">
              <a:prstClr val="black">
                <a:alpha val="40000"/>
              </a:prstClr>
            </a:outerShdw>
          </a:effectLst>
        </p:spPr>
      </p:pic>
      <p:pic>
        <p:nvPicPr>
          <p:cNvPr id="8" name="Picture 7">
            <a:extLst>
              <a:ext uri="{FF2B5EF4-FFF2-40B4-BE49-F238E27FC236}">
                <a16:creationId xmlns:a16="http://schemas.microsoft.com/office/drawing/2014/main" id="{E435291F-1767-9C46-A749-B3CE734B9698}"/>
              </a:ext>
            </a:extLst>
          </p:cNvPr>
          <p:cNvPicPr>
            <a:picLocks noChangeAspect="1"/>
          </p:cNvPicPr>
          <p:nvPr/>
        </p:nvPicPr>
        <p:blipFill>
          <a:blip r:embed="rId9"/>
          <a:stretch>
            <a:fillRect/>
          </a:stretch>
        </p:blipFill>
        <p:spPr>
          <a:xfrm>
            <a:off x="1672944" y="5212036"/>
            <a:ext cx="867905" cy="488197"/>
          </a:xfrm>
          <a:prstGeom prst="rect">
            <a:avLst/>
          </a:prstGeom>
          <a:ln>
            <a:solidFill>
              <a:srgbClr val="50235C"/>
            </a:solidFill>
          </a:ln>
          <a:effectLst>
            <a:outerShdw blurRad="50800" dist="38100" dir="8100000" algn="tr" rotWithShape="0">
              <a:prstClr val="black">
                <a:alpha val="40000"/>
              </a:prstClr>
            </a:outerShdw>
          </a:effectLst>
        </p:spPr>
      </p:pic>
      <p:pic>
        <p:nvPicPr>
          <p:cNvPr id="9" name="Picture 8">
            <a:extLst>
              <a:ext uri="{FF2B5EF4-FFF2-40B4-BE49-F238E27FC236}">
                <a16:creationId xmlns:a16="http://schemas.microsoft.com/office/drawing/2014/main" id="{400C6BE4-A822-6E44-9B24-F756FDE9E77D}"/>
              </a:ext>
            </a:extLst>
          </p:cNvPr>
          <p:cNvPicPr>
            <a:picLocks noChangeAspect="1"/>
          </p:cNvPicPr>
          <p:nvPr/>
        </p:nvPicPr>
        <p:blipFill>
          <a:blip r:embed="rId10"/>
          <a:stretch>
            <a:fillRect/>
          </a:stretch>
        </p:blipFill>
        <p:spPr>
          <a:xfrm>
            <a:off x="2753164" y="5208367"/>
            <a:ext cx="867905" cy="488197"/>
          </a:xfrm>
          <a:prstGeom prst="rect">
            <a:avLst/>
          </a:prstGeom>
          <a:ln>
            <a:solidFill>
              <a:srgbClr val="50235C"/>
            </a:solidFill>
          </a:ln>
          <a:effectLst>
            <a:outerShdw blurRad="50800" dist="38100" dir="8100000" algn="tr" rotWithShape="0">
              <a:prstClr val="black">
                <a:alpha val="40000"/>
              </a:prstClr>
            </a:outerShdw>
          </a:effectLst>
        </p:spPr>
      </p:pic>
      <p:sp>
        <p:nvSpPr>
          <p:cNvPr id="26" name="TextBox 25">
            <a:extLst>
              <a:ext uri="{FF2B5EF4-FFF2-40B4-BE49-F238E27FC236}">
                <a16:creationId xmlns:a16="http://schemas.microsoft.com/office/drawing/2014/main" id="{27A44249-673A-9A48-BCCB-06257C40F871}"/>
              </a:ext>
            </a:extLst>
          </p:cNvPr>
          <p:cNvSpPr txBox="1"/>
          <p:nvPr/>
        </p:nvSpPr>
        <p:spPr>
          <a:xfrm>
            <a:off x="2583087" y="5871545"/>
            <a:ext cx="1191280" cy="400110"/>
          </a:xfrm>
          <a:prstGeom prst="rect">
            <a:avLst/>
          </a:prstGeom>
          <a:noFill/>
        </p:spPr>
        <p:txBody>
          <a:bodyPr wrap="square" lIns="91440" tIns="45720" rIns="91440" bIns="45720" rtlCol="0" anchor="t">
            <a:spAutoFit/>
          </a:bodyPr>
          <a:lstStyle/>
          <a:p>
            <a:pPr marR="0" lvl="0" algn="ctr" defTabSz="914400" rtl="0" eaLnBrk="1" fontAlgn="auto" latinLnBrk="0" hangingPunct="1">
              <a:lnSpc>
                <a:spcPct val="100000"/>
              </a:lnSpc>
              <a:spcBef>
                <a:spcPts val="0"/>
              </a:spcBef>
              <a:spcAft>
                <a:spcPts val="600"/>
              </a:spcAft>
              <a:buClr>
                <a:srgbClr val="50235C"/>
              </a:buClr>
              <a:buSzTx/>
              <a:tabLst/>
              <a:defRPr/>
            </a:pPr>
            <a:r>
              <a:rPr lang="en-GB" sz="1000" spc="-5">
                <a:solidFill>
                  <a:schemeClr val="tx1">
                    <a:lumMod val="50000"/>
                    <a:lumOff val="50000"/>
                  </a:schemeClr>
                </a:solidFill>
                <a:latin typeface="Arial" panose="020B0604020202020204"/>
                <a:cs typeface="Arial"/>
              </a:rPr>
              <a:t>Prioritised recommendations</a:t>
            </a:r>
            <a:endParaRPr kumimoji="0" lang="en-GB" sz="10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endParaRPr>
          </a:p>
        </p:txBody>
      </p:sp>
    </p:spTree>
    <p:extLst>
      <p:ext uri="{BB962C8B-B14F-4D97-AF65-F5344CB8AC3E}">
        <p14:creationId xmlns:p14="http://schemas.microsoft.com/office/powerpoint/2010/main" val="25635857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2797C6-274A-4146-AECE-7E42A31DA87A}"/>
              </a:ext>
            </a:extLst>
          </p:cNvPr>
          <p:cNvSpPr>
            <a:spLocks noGrp="1"/>
          </p:cNvSpPr>
          <p:nvPr>
            <p:ph type="title"/>
          </p:nvPr>
        </p:nvSpPr>
        <p:spPr/>
        <p:txBody>
          <a:bodyPr/>
          <a:lstStyle/>
          <a:p>
            <a:r>
              <a:rPr lang="en-US"/>
              <a:t>Introduction and overview</a:t>
            </a:r>
          </a:p>
        </p:txBody>
      </p:sp>
      <p:sp>
        <p:nvSpPr>
          <p:cNvPr id="5" name="Rectangle 4">
            <a:extLst>
              <a:ext uri="{FF2B5EF4-FFF2-40B4-BE49-F238E27FC236}">
                <a16:creationId xmlns:a16="http://schemas.microsoft.com/office/drawing/2014/main" id="{C652324F-E015-1B4F-97EF-2AED3E338AC0}"/>
              </a:ext>
            </a:extLst>
          </p:cNvPr>
          <p:cNvSpPr/>
          <p:nvPr/>
        </p:nvSpPr>
        <p:spPr>
          <a:xfrm>
            <a:off x="647407" y="1095781"/>
            <a:ext cx="2355654" cy="434010"/>
          </a:xfrm>
          <a:prstGeom prst="rect">
            <a:avLst/>
          </a:prstGeom>
          <a:no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a:ln>
                <a:noFill/>
              </a:ln>
              <a:solidFill>
                <a:srgbClr val="50235B"/>
              </a:solidFill>
              <a:effectLst/>
              <a:uLnTx/>
              <a:uFillTx/>
              <a:latin typeface="Arial" panose="020B0604020202020204" pitchFamily="34" charset="0"/>
              <a:ea typeface="+mn-ea"/>
              <a:cs typeface="Arial" panose="020B0604020202020204" pitchFamily="34" charset="0"/>
            </a:endParaRPr>
          </a:p>
        </p:txBody>
      </p:sp>
      <p:sp>
        <p:nvSpPr>
          <p:cNvPr id="6" name="Rectangle 5">
            <a:extLst>
              <a:ext uri="{FF2B5EF4-FFF2-40B4-BE49-F238E27FC236}">
                <a16:creationId xmlns:a16="http://schemas.microsoft.com/office/drawing/2014/main" id="{F4C46C5A-EFC4-EF4D-B867-BBA768987650}"/>
              </a:ext>
            </a:extLst>
          </p:cNvPr>
          <p:cNvSpPr/>
          <p:nvPr/>
        </p:nvSpPr>
        <p:spPr>
          <a:xfrm>
            <a:off x="598601" y="2149361"/>
            <a:ext cx="5961225" cy="4143793"/>
          </a:xfrm>
          <a:prstGeom prst="rect">
            <a:avLst/>
          </a:prstGeom>
          <a:noFill/>
          <a:ln w="12700" cap="flat" cmpd="sng" algn="ctr">
            <a:noFill/>
            <a:prstDash val="solid"/>
            <a:miter lim="800000"/>
          </a:ln>
          <a:effectLst/>
        </p:spPr>
        <p:txBody>
          <a:bodyPr rtlCol="0" anchor="t"/>
          <a:lstStyle/>
          <a:p>
            <a:pPr marL="0" marR="0" lvl="0" indent="0" algn="l" defTabSz="685800" rtl="0" eaLnBrk="1" fontAlgn="auto" latinLnBrk="0" hangingPunct="1">
              <a:lnSpc>
                <a:spcPct val="100000"/>
              </a:lnSpc>
              <a:spcBef>
                <a:spcPts val="300"/>
              </a:spcBef>
              <a:spcAft>
                <a:spcPts val="300"/>
              </a:spcAft>
              <a:buClrTx/>
              <a:buSzTx/>
              <a:buFontTx/>
              <a:buNone/>
              <a:tabLst/>
              <a:defRPr/>
            </a:pPr>
            <a:r>
              <a:rPr kumimoji="0" lang="en-GB" sz="1100" b="1" i="0" u="none" strike="noStrike" kern="1200" cap="none" spc="0" normalizeH="0" baseline="0" noProof="0">
                <a:ln>
                  <a:noFill/>
                </a:ln>
                <a:solidFill>
                  <a:srgbClr val="50235B"/>
                </a:solidFill>
                <a:effectLst/>
                <a:uLnTx/>
                <a:uFillTx/>
                <a:latin typeface="Arial" panose="020B0604020202020204" pitchFamily="34" charset="0"/>
                <a:ea typeface="+mn-ea"/>
                <a:cs typeface="Arial" panose="020B0604020202020204" pitchFamily="34" charset="0"/>
              </a:rPr>
              <a:t>Mental health and Autism</a:t>
            </a:r>
          </a:p>
          <a:p>
            <a:pPr marL="171450" lvl="0" indent="-171450" defTabSz="685800">
              <a:spcBef>
                <a:spcPts val="300"/>
              </a:spcBef>
              <a:spcAft>
                <a:spcPts val="300"/>
              </a:spcAft>
              <a:buFont typeface="Arial" panose="020B0604020202020204" pitchFamily="34" charset="0"/>
              <a:buChar char="•"/>
              <a:defRPr/>
            </a:pPr>
            <a:r>
              <a:rPr lang="en-GB" sz="1100">
                <a:solidFill>
                  <a:schemeClr val="tx1">
                    <a:lumMod val="65000"/>
                    <a:lumOff val="35000"/>
                  </a:schemeClr>
                </a:solidFill>
                <a:latin typeface="Arial" panose="020B0604020202020204" pitchFamily="34" charset="0"/>
                <a:cs typeface="Arial" panose="020B0604020202020204" pitchFamily="34" charset="0"/>
              </a:rPr>
              <a:t>Over 40% of all people with Autism self report as suffering with a mental health condition; however the pathways on offer do not often fit to the needs of this cohort of patients. </a:t>
            </a:r>
          </a:p>
          <a:p>
            <a:pPr marL="171450" lvl="0" indent="-171450" defTabSz="685800">
              <a:spcAft>
                <a:spcPts val="300"/>
              </a:spcAft>
              <a:buFont typeface="Arial" panose="020B0604020202020204" pitchFamily="34" charset="0"/>
              <a:buChar char="•"/>
              <a:defRPr/>
            </a:pPr>
            <a:r>
              <a:rPr lang="en-GB" sz="1100">
                <a:solidFill>
                  <a:schemeClr val="tx1">
                    <a:lumMod val="65000"/>
                    <a:lumOff val="35000"/>
                  </a:schemeClr>
                </a:solidFill>
                <a:latin typeface="Arial" panose="020B0604020202020204" pitchFamily="34" charset="0"/>
                <a:cs typeface="Arial" panose="020B0604020202020204" pitchFamily="34" charset="0"/>
              </a:rPr>
              <a:t>Across the ICS, staff from all organisations recognise the challenges being faced by people with Autism, therefore there is a strong appetite for change in order to support the reasonable adjustments that need to be made to deliver effective mental health support to this specific cohort of service users. </a:t>
            </a:r>
          </a:p>
          <a:p>
            <a:pPr marR="0" lvl="0" algn="l" defTabSz="914400" rtl="0" eaLnBrk="1" fontAlgn="auto" latinLnBrk="0" hangingPunct="1">
              <a:lnSpc>
                <a:spcPct val="100000"/>
              </a:lnSpc>
              <a:spcBef>
                <a:spcPts val="300"/>
              </a:spcBef>
              <a:spcAft>
                <a:spcPts val="300"/>
              </a:spcAft>
              <a:buClrTx/>
              <a:buSzTx/>
              <a:tabLst/>
              <a:defRPr/>
            </a:pPr>
            <a:r>
              <a:rPr kumimoji="0" lang="en-GB" sz="1100" b="1" i="0" u="none" strike="noStrike" kern="1200" cap="none" spc="0" normalizeH="0" baseline="0" noProof="0">
                <a:ln>
                  <a:noFill/>
                </a:ln>
                <a:solidFill>
                  <a:srgbClr val="50235B"/>
                </a:solidFill>
                <a:effectLst/>
                <a:uLnTx/>
                <a:uFillTx/>
                <a:latin typeface="Arial" panose="020B0604020202020204" pitchFamily="34" charset="0"/>
                <a:ea typeface="+mn-ea"/>
                <a:cs typeface="Arial" panose="020B0604020202020204" pitchFamily="34" charset="0"/>
              </a:rPr>
              <a:t>Mental health </a:t>
            </a:r>
            <a:r>
              <a:rPr lang="en-GB" sz="1100" b="1">
                <a:solidFill>
                  <a:srgbClr val="50235B"/>
                </a:solidFill>
                <a:latin typeface="Arial" panose="020B0604020202020204" pitchFamily="34" charset="0"/>
                <a:cs typeface="Arial" panose="020B0604020202020204" pitchFamily="34" charset="0"/>
              </a:rPr>
              <a:t>and drug &amp; alcohol</a:t>
            </a:r>
          </a:p>
          <a:p>
            <a:pPr marL="171450" lvl="0" indent="-171450">
              <a:spcBef>
                <a:spcPts val="300"/>
              </a:spcBef>
              <a:spcAft>
                <a:spcPts val="300"/>
              </a:spcAft>
              <a:buFont typeface="Arial" panose="020B0604020202020204" pitchFamily="34" charset="0"/>
              <a:buChar char="•"/>
            </a:pPr>
            <a:r>
              <a:rPr lang="en-GB" sz="1100">
                <a:solidFill>
                  <a:schemeClr val="tx1">
                    <a:lumMod val="65000"/>
                    <a:lumOff val="35000"/>
                  </a:schemeClr>
                </a:solidFill>
                <a:latin typeface="Arial" panose="020B0604020202020204" pitchFamily="34" charset="0"/>
                <a:cs typeface="Arial" panose="020B0604020202020204" pitchFamily="34" charset="0"/>
              </a:rPr>
              <a:t>Drug and alcohol (D&amp;A) problems often go hand in hand with mental health issues, with 86% of people with alcohol misuse disorders in treatment reporting mental health problems. It is widely recognised that many people with mental health problems use drugs and or alcohol to ‘self medicate’ and relieve the symptoms of their mental health issues. </a:t>
            </a:r>
          </a:p>
          <a:p>
            <a:pPr marL="171450" lvl="0" indent="-171450">
              <a:spcAft>
                <a:spcPts val="300"/>
              </a:spcAft>
              <a:buFont typeface="Arial" panose="020B0604020202020204" pitchFamily="34" charset="0"/>
              <a:buChar char="•"/>
            </a:pPr>
            <a:r>
              <a:rPr lang="en-GB" sz="1100">
                <a:solidFill>
                  <a:schemeClr val="tx1">
                    <a:lumMod val="65000"/>
                    <a:lumOff val="35000"/>
                  </a:schemeClr>
                </a:solidFill>
                <a:latin typeface="Arial" panose="020B0604020202020204" pitchFamily="34" charset="0"/>
                <a:cs typeface="Arial" panose="020B0604020202020204" pitchFamily="34" charset="0"/>
              </a:rPr>
              <a:t>The challenges facing patients with this dual diagnosis are well recognised across the ICS, with patients regularly bouncing between services. This process provides an opportunity to change the status quo.  </a:t>
            </a:r>
          </a:p>
          <a:p>
            <a:pPr marR="0" lvl="0" algn="l" defTabSz="914400" rtl="0" eaLnBrk="1" fontAlgn="auto" latinLnBrk="0" hangingPunct="1">
              <a:lnSpc>
                <a:spcPct val="100000"/>
              </a:lnSpc>
              <a:spcBef>
                <a:spcPts val="300"/>
              </a:spcBef>
              <a:spcAft>
                <a:spcPts val="300"/>
              </a:spcAft>
              <a:buClrTx/>
              <a:buSzTx/>
              <a:tabLst/>
              <a:defRPr/>
            </a:pPr>
            <a:r>
              <a:rPr kumimoji="0" lang="en-GB" sz="1100" b="1" i="0" u="none" strike="noStrike" kern="1200" cap="none" spc="0" normalizeH="0" baseline="0" noProof="0">
                <a:ln>
                  <a:noFill/>
                </a:ln>
                <a:solidFill>
                  <a:srgbClr val="50235B"/>
                </a:solidFill>
                <a:effectLst/>
                <a:uLnTx/>
                <a:uFillTx/>
                <a:latin typeface="Arial" panose="020B0604020202020204" pitchFamily="34" charset="0"/>
                <a:ea typeface="+mn-ea"/>
                <a:cs typeface="Arial" panose="020B0604020202020204" pitchFamily="34" charset="0"/>
              </a:rPr>
              <a:t>Severe mental illness physical health checks</a:t>
            </a:r>
            <a:endParaRPr kumimoji="0" lang="en-GB" sz="1100" b="0" i="0" u="none" strike="noStrike" kern="1200" cap="none" spc="0" normalizeH="0" baseline="0" noProof="0">
              <a:ln>
                <a:noFill/>
              </a:ln>
              <a:solidFill>
                <a:srgbClr val="50235B"/>
              </a:solidFill>
              <a:effectLst/>
              <a:uLnTx/>
              <a:uFillTx/>
              <a:latin typeface="Arial" panose="020B0604020202020204" pitchFamily="34" charset="0"/>
              <a:ea typeface="+mn-ea"/>
              <a:cs typeface="Arial" panose="020B0604020202020204" pitchFamily="34" charset="0"/>
            </a:endParaRPr>
          </a:p>
          <a:p>
            <a:pPr marL="171450" lvl="0" indent="-171450">
              <a:spcBef>
                <a:spcPts val="300"/>
              </a:spcBef>
              <a:spcAft>
                <a:spcPts val="300"/>
              </a:spcAft>
              <a:buFont typeface="Arial" panose="020B0604020202020204" pitchFamily="34" charset="0"/>
              <a:buChar char="•"/>
            </a:pPr>
            <a:r>
              <a:rPr lang="en-GB" sz="1100">
                <a:solidFill>
                  <a:schemeClr val="tx1">
                    <a:lumMod val="65000"/>
                    <a:lumOff val="35000"/>
                  </a:schemeClr>
                </a:solidFill>
                <a:latin typeface="Arial" panose="020B0604020202020204" pitchFamily="34" charset="0"/>
                <a:cs typeface="Arial" panose="020B0604020202020204" pitchFamily="34" charset="0"/>
              </a:rPr>
              <a:t>People with Severe Mental Illness experience higher excess morbidity and mortality rates than the general population, with a ‘mortality gap’ of between 13-30 years when compared to the general population.</a:t>
            </a:r>
          </a:p>
          <a:p>
            <a:pPr marL="171450" lvl="0" indent="-171450">
              <a:spcBef>
                <a:spcPts val="300"/>
              </a:spcBef>
              <a:spcAft>
                <a:spcPts val="300"/>
              </a:spcAft>
              <a:buFont typeface="Arial" panose="020B0604020202020204" pitchFamily="34" charset="0"/>
              <a:buChar char="•"/>
            </a:pPr>
            <a:r>
              <a:rPr lang="en-GB" sz="1100">
                <a:solidFill>
                  <a:schemeClr val="tx1">
                    <a:lumMod val="65000"/>
                    <a:lumOff val="35000"/>
                  </a:schemeClr>
                </a:solidFill>
                <a:latin typeface="Arial" panose="020B0604020202020204" pitchFamily="34" charset="0"/>
                <a:cs typeface="Arial" panose="020B0604020202020204" pitchFamily="34" charset="0"/>
              </a:rPr>
              <a:t>This work represents an opportunity to improve the delivery of physical health checks, supporting the prevention and early detection of physical health issues as well as supporting the ICS in the delivery of the nationally set 60% target.</a:t>
            </a:r>
          </a:p>
        </p:txBody>
      </p:sp>
      <p:sp>
        <p:nvSpPr>
          <p:cNvPr id="7" name="Rectangle 6">
            <a:extLst>
              <a:ext uri="{FF2B5EF4-FFF2-40B4-BE49-F238E27FC236}">
                <a16:creationId xmlns:a16="http://schemas.microsoft.com/office/drawing/2014/main" id="{7B12EFA4-539C-A649-8CC2-21A23EDEE5AE}"/>
              </a:ext>
            </a:extLst>
          </p:cNvPr>
          <p:cNvSpPr/>
          <p:nvPr/>
        </p:nvSpPr>
        <p:spPr>
          <a:xfrm>
            <a:off x="6927585" y="2149361"/>
            <a:ext cx="5008004" cy="1680199"/>
          </a:xfrm>
          <a:prstGeom prst="rect">
            <a:avLst/>
          </a:prstGeom>
          <a:noFill/>
          <a:ln w="12700" cap="flat" cmpd="sng" algn="ctr">
            <a:noFill/>
            <a:prstDash val="solid"/>
            <a:miter lim="800000"/>
          </a:ln>
          <a:effectLst/>
        </p:spPr>
        <p:txBody>
          <a:bodyPr rtlCol="0" anchor="t"/>
          <a:lstStyle/>
          <a:p>
            <a:pPr marL="171450" marR="0" lvl="0" indent="-171450" algn="l" defTabSz="6858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GB" sz="1100" b="0" i="0" u="none" strike="noStrike" kern="1200" cap="none" spc="0" normalizeH="0" baseline="0" noProof="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Interviews and workshops were held with staff and teams representing each focus area as well a number of service users with lived experience of each pathway. </a:t>
            </a:r>
          </a:p>
          <a:p>
            <a:pPr marL="171450" marR="0" lvl="0" indent="-171450" algn="l" defTabSz="6858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GB" sz="1100">
                <a:solidFill>
                  <a:schemeClr val="tx1">
                    <a:lumMod val="65000"/>
                    <a:lumOff val="35000"/>
                  </a:schemeClr>
                </a:solidFill>
                <a:latin typeface="Arial" panose="020B0604020202020204" pitchFamily="34" charset="0"/>
                <a:cs typeface="Arial" panose="020B0604020202020204" pitchFamily="34" charset="0"/>
              </a:rPr>
              <a:t>Data analysis was undertaken using data from NHS England and PHE to support the case for change for each focus area.</a:t>
            </a:r>
          </a:p>
          <a:p>
            <a:pPr marL="171450" marR="0" lvl="0" indent="-171450" algn="l" defTabSz="6858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GB" sz="1100" b="0" i="0" u="none" strike="noStrike" kern="1200" cap="none" spc="0" normalizeH="0" baseline="0" noProof="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Best practice was gathered from other regions and systems across England to support the development of recommendations </a:t>
            </a:r>
          </a:p>
          <a:p>
            <a:pPr marL="171450" marR="0" lvl="0" indent="-171450" algn="l" defTabSz="6858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GB" sz="1100">
                <a:solidFill>
                  <a:schemeClr val="tx1">
                    <a:lumMod val="65000"/>
                    <a:lumOff val="35000"/>
                  </a:schemeClr>
                </a:solidFill>
                <a:latin typeface="Arial" panose="020B0604020202020204" pitchFamily="34" charset="0"/>
                <a:cs typeface="Arial" panose="020B0604020202020204" pitchFamily="34" charset="0"/>
              </a:rPr>
              <a:t>For each focus area a journey map was produced in collaboration with front line teams to highlight the challenges and support the development of recommendations presented throughout this document. </a:t>
            </a:r>
            <a:endParaRPr kumimoji="0" lang="en-GB" sz="1100" b="0" i="0" u="none" strike="noStrike" kern="1200" cap="none" spc="0" normalizeH="0" baseline="0" noProof="0">
              <a:ln>
                <a:noFill/>
              </a:ln>
              <a:solidFill>
                <a:srgbClr val="50235B"/>
              </a:solidFill>
              <a:effectLst/>
              <a:highlight>
                <a:srgbClr val="FFFF00"/>
              </a:highlight>
              <a:uLnTx/>
              <a:uFillTx/>
              <a:latin typeface="Arial" panose="020B0604020202020204" pitchFamily="34" charset="0"/>
              <a:ea typeface="+mn-ea"/>
              <a:cs typeface="Arial" panose="020B0604020202020204" pitchFamily="34" charset="0"/>
            </a:endParaRPr>
          </a:p>
        </p:txBody>
      </p:sp>
      <p:sp>
        <p:nvSpPr>
          <p:cNvPr id="8" name="TextBox 7">
            <a:extLst>
              <a:ext uri="{FF2B5EF4-FFF2-40B4-BE49-F238E27FC236}">
                <a16:creationId xmlns:a16="http://schemas.microsoft.com/office/drawing/2014/main" id="{C3137F1F-9B50-584F-A40C-ACCBF208C18C}"/>
              </a:ext>
            </a:extLst>
          </p:cNvPr>
          <p:cNvSpPr txBox="1"/>
          <p:nvPr/>
        </p:nvSpPr>
        <p:spPr>
          <a:xfrm>
            <a:off x="510638" y="1809367"/>
            <a:ext cx="1521570"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50235C"/>
                </a:solidFill>
                <a:effectLst/>
                <a:uLnTx/>
                <a:uFillTx/>
                <a:latin typeface="Arial" panose="020B0604020202020204"/>
                <a:ea typeface="+mn-ea"/>
                <a:cs typeface="+mn-cs"/>
              </a:rPr>
              <a:t>Areas of focus</a:t>
            </a:r>
          </a:p>
        </p:txBody>
      </p:sp>
      <p:cxnSp>
        <p:nvCxnSpPr>
          <p:cNvPr id="9" name="Straight Connector 8">
            <a:extLst>
              <a:ext uri="{FF2B5EF4-FFF2-40B4-BE49-F238E27FC236}">
                <a16:creationId xmlns:a16="http://schemas.microsoft.com/office/drawing/2014/main" id="{5269B4ED-8E38-1C4E-9F75-4144E1B0762C}"/>
              </a:ext>
            </a:extLst>
          </p:cNvPr>
          <p:cNvCxnSpPr>
            <a:cxnSpLocks/>
          </p:cNvCxnSpPr>
          <p:nvPr/>
        </p:nvCxnSpPr>
        <p:spPr>
          <a:xfrm>
            <a:off x="6785121" y="1809367"/>
            <a:ext cx="0" cy="466407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FE146FC4-7C85-EF47-A4EA-84E7649629C8}"/>
              </a:ext>
            </a:extLst>
          </p:cNvPr>
          <p:cNvSpPr txBox="1"/>
          <p:nvPr/>
        </p:nvSpPr>
        <p:spPr>
          <a:xfrm>
            <a:off x="6927584" y="1809367"/>
            <a:ext cx="3041995"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50235C"/>
                </a:solidFill>
                <a:effectLst/>
                <a:uLnTx/>
                <a:uFillTx/>
                <a:latin typeface="Arial" panose="020B0604020202020204"/>
                <a:ea typeface="+mn-ea"/>
                <a:cs typeface="+mn-cs"/>
              </a:rPr>
              <a:t>Approach</a:t>
            </a:r>
          </a:p>
        </p:txBody>
      </p:sp>
      <p:cxnSp>
        <p:nvCxnSpPr>
          <p:cNvPr id="11" name="Straight Connector 10">
            <a:extLst>
              <a:ext uri="{FF2B5EF4-FFF2-40B4-BE49-F238E27FC236}">
                <a16:creationId xmlns:a16="http://schemas.microsoft.com/office/drawing/2014/main" id="{C65F76F7-A7DD-294C-9518-28F5F88E5C7B}"/>
              </a:ext>
            </a:extLst>
          </p:cNvPr>
          <p:cNvCxnSpPr>
            <a:cxnSpLocks/>
          </p:cNvCxnSpPr>
          <p:nvPr/>
        </p:nvCxnSpPr>
        <p:spPr>
          <a:xfrm>
            <a:off x="6785121" y="4178854"/>
            <a:ext cx="487499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62F4D48E-42B5-E748-8742-A8DFC797FE55}"/>
              </a:ext>
            </a:extLst>
          </p:cNvPr>
          <p:cNvSpPr txBox="1"/>
          <p:nvPr/>
        </p:nvSpPr>
        <p:spPr>
          <a:xfrm>
            <a:off x="6927584" y="4173006"/>
            <a:ext cx="3041995"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50235C"/>
                </a:solidFill>
                <a:effectLst/>
                <a:uLnTx/>
                <a:uFillTx/>
                <a:latin typeface="Arial" panose="020B0604020202020204"/>
                <a:ea typeface="+mn-ea"/>
                <a:cs typeface="+mn-cs"/>
              </a:rPr>
              <a:t>Next steps</a:t>
            </a:r>
          </a:p>
        </p:txBody>
      </p:sp>
      <p:sp>
        <p:nvSpPr>
          <p:cNvPr id="15" name="Rectangle 14">
            <a:extLst>
              <a:ext uri="{FF2B5EF4-FFF2-40B4-BE49-F238E27FC236}">
                <a16:creationId xmlns:a16="http://schemas.microsoft.com/office/drawing/2014/main" id="{74792645-8042-C146-B44E-9EDC74F71A87}"/>
              </a:ext>
            </a:extLst>
          </p:cNvPr>
          <p:cNvSpPr/>
          <p:nvPr/>
        </p:nvSpPr>
        <p:spPr>
          <a:xfrm>
            <a:off x="6927585" y="4478141"/>
            <a:ext cx="4931314" cy="1852878"/>
          </a:xfrm>
          <a:prstGeom prst="rect">
            <a:avLst/>
          </a:prstGeom>
          <a:noFill/>
          <a:ln w="12700" cap="flat" cmpd="sng" algn="ctr">
            <a:noFill/>
            <a:prstDash val="solid"/>
            <a:miter lim="800000"/>
          </a:ln>
          <a:effectLst/>
        </p:spPr>
        <p:txBody>
          <a:bodyPr rtlCol="0" anchor="t"/>
          <a:lstStyle/>
          <a:p>
            <a:pPr marL="0" marR="0" lvl="0" indent="0" algn="l" defTabSz="685800" rtl="0" eaLnBrk="1" fontAlgn="auto" latinLnBrk="0" hangingPunct="1">
              <a:lnSpc>
                <a:spcPct val="100000"/>
              </a:lnSpc>
              <a:spcBef>
                <a:spcPts val="600"/>
              </a:spcBef>
              <a:spcAft>
                <a:spcPts val="600"/>
              </a:spcAft>
              <a:buClrTx/>
              <a:buSzTx/>
              <a:buFontTx/>
              <a:buNone/>
              <a:tabLst/>
              <a:defRPr/>
            </a:pPr>
            <a:r>
              <a:rPr kumimoji="0" lang="en-GB" sz="1100" b="0" i="0" u="none" strike="noStrike" kern="1200" cap="none" spc="0" normalizeH="0" baseline="0" noProof="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The outputs of this patient journey mapping exercise serve two purposes:</a:t>
            </a:r>
          </a:p>
          <a:p>
            <a:pPr marL="228600" marR="0" lvl="0" indent="-228600" algn="l" defTabSz="685800" rtl="0" eaLnBrk="1" fontAlgn="auto" latinLnBrk="0" hangingPunct="1">
              <a:lnSpc>
                <a:spcPct val="100000"/>
              </a:lnSpc>
              <a:spcBef>
                <a:spcPts val="600"/>
              </a:spcBef>
              <a:spcAft>
                <a:spcPts val="600"/>
              </a:spcAft>
              <a:buClrTx/>
              <a:buSzTx/>
              <a:buFont typeface="+mj-lt"/>
              <a:buAutoNum type="arabicPeriod"/>
              <a:tabLst/>
              <a:defRPr/>
            </a:pPr>
            <a:r>
              <a:rPr lang="en-GB" sz="1100">
                <a:solidFill>
                  <a:schemeClr val="tx1">
                    <a:lumMod val="65000"/>
                    <a:lumOff val="35000"/>
                  </a:schemeClr>
                </a:solidFill>
                <a:latin typeface="Arial" panose="020B0604020202020204" pitchFamily="34" charset="0"/>
                <a:cs typeface="Arial" panose="020B0604020202020204" pitchFamily="34" charset="0"/>
              </a:rPr>
              <a:t>The key recommendations produced through this report will be included in the wider roadmap that is being developed to support the implementation of a vision for mental health services, with recommendations being prioritised by STW senior leadership. </a:t>
            </a:r>
          </a:p>
          <a:p>
            <a:pPr marL="228600" marR="0" lvl="0" indent="-228600" algn="l" defTabSz="685800" rtl="0" eaLnBrk="1" fontAlgn="auto" latinLnBrk="0" hangingPunct="1">
              <a:lnSpc>
                <a:spcPct val="100000"/>
              </a:lnSpc>
              <a:spcBef>
                <a:spcPts val="600"/>
              </a:spcBef>
              <a:spcAft>
                <a:spcPts val="600"/>
              </a:spcAft>
              <a:buClrTx/>
              <a:buSzTx/>
              <a:buFont typeface="+mj-lt"/>
              <a:buAutoNum type="arabicPeriod"/>
              <a:tabLst/>
              <a:defRPr/>
            </a:pPr>
            <a:r>
              <a:rPr kumimoji="0" lang="en-GB" sz="1100" b="0" i="0" u="none" strike="noStrike" kern="1200" cap="none" spc="0" normalizeH="0" baseline="0" noProof="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The journey maps, key issues and recommendations will be passed back to the specialist teams focusing on each area to support the case for change and allow for the implementation of tactical recommendations in the short to medium term. </a:t>
            </a:r>
          </a:p>
        </p:txBody>
      </p:sp>
      <p:sp>
        <p:nvSpPr>
          <p:cNvPr id="18" name="Rectangle 17">
            <a:extLst>
              <a:ext uri="{FF2B5EF4-FFF2-40B4-BE49-F238E27FC236}">
                <a16:creationId xmlns:a16="http://schemas.microsoft.com/office/drawing/2014/main" id="{87A0D5BE-92F8-324D-9365-1E344D7A55E4}"/>
              </a:ext>
            </a:extLst>
          </p:cNvPr>
          <p:cNvSpPr/>
          <p:nvPr/>
        </p:nvSpPr>
        <p:spPr>
          <a:xfrm>
            <a:off x="510638" y="855284"/>
            <a:ext cx="11348270" cy="8700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0235C"/>
                </a:solidFill>
                <a:effectLst/>
                <a:uLnTx/>
                <a:uFillTx/>
                <a:latin typeface="Arial" panose="020B0604020202020204" pitchFamily="34" charset="0"/>
                <a:ea typeface="+mn-ea"/>
                <a:cs typeface="Arial" panose="020B0604020202020204" pitchFamily="34" charset="0"/>
              </a:rPr>
              <a:t>Between September and November 2021, over 60 interviews were conducted with stakeholders from across Shropshire, Telford &amp; Wrekin ICS. These interviews highlighted areas of strength and good practice as some of the challenges across mental health services, however there were three specific focus areas that were called out by both staff and service users from across the ICS that are leading to </a:t>
            </a:r>
            <a:r>
              <a:rPr lang="en-GB" sz="1200" b="1">
                <a:solidFill>
                  <a:srgbClr val="50235C"/>
                </a:solidFill>
                <a:latin typeface="Arial" panose="020B0604020202020204" pitchFamily="34" charset="0"/>
                <a:cs typeface="Arial" panose="020B0604020202020204" pitchFamily="34" charset="0"/>
              </a:rPr>
              <a:t>significant challenges. These challenges have been explored in detail to support the development of recommendations aimed at improving the delivery of mental health services across STW. </a:t>
            </a:r>
            <a:endParaRPr kumimoji="0" lang="en-GB" sz="1200" b="1" i="0" u="none" strike="noStrike" kern="1200" cap="none" spc="0" normalizeH="0" baseline="0" noProof="0">
              <a:ln>
                <a:noFill/>
              </a:ln>
              <a:solidFill>
                <a:srgbClr val="50235C"/>
              </a:solidFill>
              <a:effectLst/>
              <a:uLnTx/>
              <a:uFillTx/>
              <a:latin typeface="Arial" panose="020B0604020202020204" pitchFamily="34" charset="0"/>
              <a:ea typeface="+mn-ea"/>
              <a:cs typeface="Arial" panose="020B0604020202020204" pitchFamily="34" charset="0"/>
            </a:endParaRPr>
          </a:p>
        </p:txBody>
      </p:sp>
      <p:graphicFrame>
        <p:nvGraphicFramePr>
          <p:cNvPr id="13" name="Table 12">
            <a:extLst>
              <a:ext uri="{FF2B5EF4-FFF2-40B4-BE49-F238E27FC236}">
                <a16:creationId xmlns:a16="http://schemas.microsoft.com/office/drawing/2014/main" id="{4936780D-46D6-DC48-A92F-00CD772C34F6}"/>
              </a:ext>
            </a:extLst>
          </p:cNvPr>
          <p:cNvGraphicFramePr>
            <a:graphicFrameLocks noGrp="1"/>
          </p:cNvGraphicFramePr>
          <p:nvPr>
            <p:extLst>
              <p:ext uri="{D42A27DB-BD31-4B8C-83A1-F6EECF244321}">
                <p14:modId xmlns:p14="http://schemas.microsoft.com/office/powerpoint/2010/main" val="813753581"/>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A"/>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Tree>
    <p:extLst>
      <p:ext uri="{BB962C8B-B14F-4D97-AF65-F5344CB8AC3E}">
        <p14:creationId xmlns:p14="http://schemas.microsoft.com/office/powerpoint/2010/main" val="37065028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2797C6-274A-4146-AECE-7E42A31DA87A}"/>
              </a:ext>
            </a:extLst>
          </p:cNvPr>
          <p:cNvSpPr>
            <a:spLocks noGrp="1"/>
          </p:cNvSpPr>
          <p:nvPr>
            <p:ph type="title"/>
          </p:nvPr>
        </p:nvSpPr>
        <p:spPr/>
        <p:txBody>
          <a:bodyPr/>
          <a:lstStyle/>
          <a:p>
            <a:r>
              <a:rPr lang="en-US"/>
              <a:t>Contents</a:t>
            </a:r>
          </a:p>
        </p:txBody>
      </p:sp>
      <p:sp>
        <p:nvSpPr>
          <p:cNvPr id="3" name="Footer Placeholder 2">
            <a:extLst>
              <a:ext uri="{FF2B5EF4-FFF2-40B4-BE49-F238E27FC236}">
                <a16:creationId xmlns:a16="http://schemas.microsoft.com/office/drawing/2014/main" id="{68D56A75-B0D1-BC48-AD81-66DB185E684D}"/>
              </a:ext>
            </a:extLst>
          </p:cNvPr>
          <p:cNvSpPr>
            <a:spLocks noGrp="1"/>
          </p:cNvSpPr>
          <p:nvPr>
            <p:ph type="ftr" sz="quarter" idx="14"/>
          </p:nvPr>
        </p:nvSpPr>
        <p:spPr/>
        <p:txBody>
          <a:bodyPr/>
          <a:lstStyle/>
          <a:p>
            <a:r>
              <a:rPr lang="en-GB"/>
              <a:t>© Moorhouse 2021 [Restricted]</a:t>
            </a:r>
          </a:p>
        </p:txBody>
      </p:sp>
      <p:graphicFrame>
        <p:nvGraphicFramePr>
          <p:cNvPr id="7" name="Table 5">
            <a:extLst>
              <a:ext uri="{FF2B5EF4-FFF2-40B4-BE49-F238E27FC236}">
                <a16:creationId xmlns:a16="http://schemas.microsoft.com/office/drawing/2014/main" id="{E8B55483-B852-8D4D-8F15-95D0C251E583}"/>
              </a:ext>
            </a:extLst>
          </p:cNvPr>
          <p:cNvGraphicFramePr>
            <a:graphicFrameLocks noGrp="1"/>
          </p:cNvGraphicFramePr>
          <p:nvPr>
            <p:extLst>
              <p:ext uri="{D42A27DB-BD31-4B8C-83A1-F6EECF244321}">
                <p14:modId xmlns:p14="http://schemas.microsoft.com/office/powerpoint/2010/main" val="3345927795"/>
              </p:ext>
            </p:extLst>
          </p:nvPr>
        </p:nvGraphicFramePr>
        <p:xfrm>
          <a:off x="510638" y="999404"/>
          <a:ext cx="8499798" cy="4522255"/>
        </p:xfrm>
        <a:graphic>
          <a:graphicData uri="http://schemas.openxmlformats.org/drawingml/2006/table">
            <a:tbl>
              <a:tblPr firstRow="1" bandRow="1">
                <a:tableStyleId>{5C22544A-7EE6-4342-B048-85BDC9FD1C3A}</a:tableStyleId>
              </a:tblPr>
              <a:tblGrid>
                <a:gridCol w="7251740">
                  <a:extLst>
                    <a:ext uri="{9D8B030D-6E8A-4147-A177-3AD203B41FA5}">
                      <a16:colId xmlns:a16="http://schemas.microsoft.com/office/drawing/2014/main" val="3900770941"/>
                    </a:ext>
                  </a:extLst>
                </a:gridCol>
                <a:gridCol w="1248058">
                  <a:extLst>
                    <a:ext uri="{9D8B030D-6E8A-4147-A177-3AD203B41FA5}">
                      <a16:colId xmlns:a16="http://schemas.microsoft.com/office/drawing/2014/main" val="3205292701"/>
                    </a:ext>
                  </a:extLst>
                </a:gridCol>
              </a:tblGrid>
              <a:tr h="307354">
                <a:tc>
                  <a:txBody>
                    <a:bodyPr/>
                    <a:lstStyle/>
                    <a:p>
                      <a:r>
                        <a:rPr lang="en-GB">
                          <a:solidFill>
                            <a:srgbClr val="50235C"/>
                          </a:solidFill>
                        </a:rPr>
                        <a:t>Item</a:t>
                      </a:r>
                    </a:p>
                  </a:txBody>
                  <a:tcPr anchor="ctr">
                    <a:lnB w="38100" cmpd="sng">
                      <a:noFill/>
                    </a:lnB>
                    <a:solidFill>
                      <a:srgbClr val="F1EDF4"/>
                    </a:solidFill>
                  </a:tcPr>
                </a:tc>
                <a:tc>
                  <a:txBody>
                    <a:bodyPr/>
                    <a:lstStyle/>
                    <a:p>
                      <a:pPr algn="ctr"/>
                      <a:r>
                        <a:rPr lang="en-GB">
                          <a:solidFill>
                            <a:srgbClr val="50235C"/>
                          </a:solidFill>
                        </a:rPr>
                        <a:t>Pages</a:t>
                      </a:r>
                    </a:p>
                  </a:txBody>
                  <a:tcPr anchor="ctr">
                    <a:lnB w="38100" cmpd="sng">
                      <a:noFill/>
                    </a:lnB>
                    <a:solidFill>
                      <a:srgbClr val="F1EDF4"/>
                    </a:solidFill>
                  </a:tcPr>
                </a:tc>
                <a:extLst>
                  <a:ext uri="{0D108BD9-81ED-4DB2-BD59-A6C34878D82A}">
                    <a16:rowId xmlns:a16="http://schemas.microsoft.com/office/drawing/2014/main" val="4103678134"/>
                  </a:ext>
                </a:extLst>
              </a:tr>
              <a:tr h="593785">
                <a:tc>
                  <a:txBody>
                    <a:bodyPr/>
                    <a:lstStyle/>
                    <a:p>
                      <a:r>
                        <a:rPr lang="en-GB" sz="1600" b="0">
                          <a:solidFill>
                            <a:srgbClr val="50235B"/>
                          </a:solidFill>
                        </a:rPr>
                        <a:t>1. Executive summary</a:t>
                      </a:r>
                    </a:p>
                  </a:txBody>
                  <a:tcPr anchor="ctr">
                    <a:lnL w="12700" cmpd="sng">
                      <a:noFill/>
                    </a:lnL>
                    <a:lnR w="12700" cmpd="sng">
                      <a:noFill/>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a:solidFill>
                            <a:srgbClr val="50235B"/>
                          </a:solidFill>
                        </a:rPr>
                        <a:t>3 - 4</a:t>
                      </a:r>
                    </a:p>
                  </a:txBody>
                  <a:tcPr anchor="ctr">
                    <a:lnL w="12700" cmpd="sng">
                      <a:noFill/>
                    </a:lnL>
                    <a:lnR w="12700" cmpd="sng">
                      <a:noFill/>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4765584"/>
                  </a:ext>
                </a:extLst>
              </a:tr>
              <a:tr h="593785">
                <a:tc>
                  <a:txBody>
                    <a:bodyPr/>
                    <a:lstStyle/>
                    <a:p>
                      <a:r>
                        <a:rPr lang="en-GB" sz="1600" b="0">
                          <a:solidFill>
                            <a:srgbClr val="50235B"/>
                          </a:solidFill>
                        </a:rPr>
                        <a:t>2. Overview</a:t>
                      </a:r>
                    </a:p>
                  </a:txBody>
                  <a:tcPr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a:solidFill>
                            <a:srgbClr val="50235B"/>
                          </a:solidFill>
                        </a:rPr>
                        <a:t>5 - 8</a:t>
                      </a:r>
                    </a:p>
                  </a:txBody>
                  <a:tcPr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41066316"/>
                  </a:ext>
                </a:extLst>
              </a:tr>
              <a:tr h="593785">
                <a:tc>
                  <a:txBody>
                    <a:bodyPr/>
                    <a:lstStyle/>
                    <a:p>
                      <a:r>
                        <a:rPr lang="en-GB" sz="1600" b="0">
                          <a:solidFill>
                            <a:srgbClr val="50235B"/>
                          </a:solidFill>
                        </a:rPr>
                        <a:t>3. Gap analysis</a:t>
                      </a:r>
                    </a:p>
                  </a:txBody>
                  <a:tcPr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a:solidFill>
                            <a:srgbClr val="50235B"/>
                          </a:solidFill>
                        </a:rPr>
                        <a:t>9 - 16</a:t>
                      </a:r>
                    </a:p>
                  </a:txBody>
                  <a:tcPr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8790372"/>
                  </a:ext>
                </a:extLst>
              </a:tr>
              <a:tr h="593785">
                <a:tc>
                  <a:txBody>
                    <a:bodyPr/>
                    <a:lstStyle/>
                    <a:p>
                      <a:r>
                        <a:rPr lang="en-GB" sz="1600" b="0">
                          <a:solidFill>
                            <a:srgbClr val="50235B"/>
                          </a:solidFill>
                        </a:rPr>
                        <a:t>4. Patient journeys</a:t>
                      </a:r>
                    </a:p>
                  </a:txBody>
                  <a:tcPr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a:solidFill>
                            <a:srgbClr val="50235B"/>
                          </a:solidFill>
                        </a:rPr>
                        <a:t>17 - 40</a:t>
                      </a:r>
                    </a:p>
                  </a:txBody>
                  <a:tcPr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5372464"/>
                  </a:ext>
                </a:extLst>
              </a:tr>
              <a:tr h="593785">
                <a:tc>
                  <a:txBody>
                    <a:bodyPr/>
                    <a:lstStyle/>
                    <a:p>
                      <a:r>
                        <a:rPr lang="en-GB" sz="1600" b="0">
                          <a:solidFill>
                            <a:srgbClr val="50235B"/>
                          </a:solidFill>
                        </a:rPr>
                        <a:t>5. Vision &amp; strategy</a:t>
                      </a:r>
                    </a:p>
                  </a:txBody>
                  <a:tcPr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a:solidFill>
                            <a:srgbClr val="50235B"/>
                          </a:solidFill>
                        </a:rPr>
                        <a:t>41 - 44</a:t>
                      </a:r>
                    </a:p>
                  </a:txBody>
                  <a:tcPr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6936535"/>
                  </a:ext>
                </a:extLst>
              </a:tr>
              <a:tr h="593785">
                <a:tc>
                  <a:txBody>
                    <a:bodyPr/>
                    <a:lstStyle/>
                    <a:p>
                      <a:r>
                        <a:rPr lang="en-GB" sz="1600" b="0">
                          <a:solidFill>
                            <a:srgbClr val="50235B"/>
                          </a:solidFill>
                        </a:rPr>
                        <a:t>6. Roadmap</a:t>
                      </a:r>
                    </a:p>
                  </a:txBody>
                  <a:tcPr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a:solidFill>
                            <a:srgbClr val="50235B"/>
                          </a:solidFill>
                        </a:rPr>
                        <a:t>45 - 69</a:t>
                      </a:r>
                    </a:p>
                  </a:txBody>
                  <a:tcPr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354030"/>
                  </a:ext>
                </a:extLst>
              </a:tr>
              <a:tr h="593785">
                <a:tc>
                  <a:txBody>
                    <a:bodyPr/>
                    <a:lstStyle/>
                    <a:p>
                      <a:r>
                        <a:rPr lang="en-GB" sz="1600" b="0">
                          <a:solidFill>
                            <a:srgbClr val="50235B"/>
                          </a:solidFill>
                        </a:rPr>
                        <a:t>7. Next steps</a:t>
                      </a:r>
                    </a:p>
                  </a:txBody>
                  <a:tcPr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1600">
                          <a:solidFill>
                            <a:srgbClr val="50235B"/>
                          </a:solidFill>
                        </a:rPr>
                        <a:t>70 - 71</a:t>
                      </a:r>
                    </a:p>
                  </a:txBody>
                  <a:tcPr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03522031"/>
                  </a:ext>
                </a:extLst>
              </a:tr>
            </a:tbl>
          </a:graphicData>
        </a:graphic>
      </p:graphicFrame>
      <p:graphicFrame>
        <p:nvGraphicFramePr>
          <p:cNvPr id="6" name="Table 5">
            <a:extLst>
              <a:ext uri="{FF2B5EF4-FFF2-40B4-BE49-F238E27FC236}">
                <a16:creationId xmlns:a16="http://schemas.microsoft.com/office/drawing/2014/main" id="{5453C6F3-A2F7-B44B-A8C4-12340A8D0579}"/>
              </a:ext>
            </a:extLst>
          </p:cNvPr>
          <p:cNvGraphicFramePr>
            <a:graphicFrameLocks noGrp="1"/>
          </p:cNvGraphicFramePr>
          <p:nvPr>
            <p:extLst>
              <p:ext uri="{D42A27DB-BD31-4B8C-83A1-F6EECF244321}">
                <p14:modId xmlns:p14="http://schemas.microsoft.com/office/powerpoint/2010/main" val="3536217449"/>
              </p:ext>
            </p:extLst>
          </p:nvPr>
        </p:nvGraphicFramePr>
        <p:xfrm>
          <a:off x="1" y="6560723"/>
          <a:ext cx="11848963" cy="297277"/>
        </p:xfrm>
        <a:graphic>
          <a:graphicData uri="http://schemas.openxmlformats.org/drawingml/2006/table">
            <a:tbl>
              <a:tblPr>
                <a:tableStyleId>{5C22544A-7EE6-4342-B048-85BDC9FD1C3A}</a:tableStyleId>
              </a:tblPr>
              <a:tblGrid>
                <a:gridCol w="1692709">
                  <a:extLst>
                    <a:ext uri="{9D8B030D-6E8A-4147-A177-3AD203B41FA5}">
                      <a16:colId xmlns:a16="http://schemas.microsoft.com/office/drawing/2014/main" val="3508502722"/>
                    </a:ext>
                  </a:extLst>
                </a:gridCol>
                <a:gridCol w="1692709">
                  <a:extLst>
                    <a:ext uri="{9D8B030D-6E8A-4147-A177-3AD203B41FA5}">
                      <a16:colId xmlns:a16="http://schemas.microsoft.com/office/drawing/2014/main" val="1894411863"/>
                    </a:ext>
                  </a:extLst>
                </a:gridCol>
                <a:gridCol w="1692709">
                  <a:extLst>
                    <a:ext uri="{9D8B030D-6E8A-4147-A177-3AD203B41FA5}">
                      <a16:colId xmlns:a16="http://schemas.microsoft.com/office/drawing/2014/main" val="1998335409"/>
                    </a:ext>
                  </a:extLst>
                </a:gridCol>
                <a:gridCol w="1692709">
                  <a:extLst>
                    <a:ext uri="{9D8B030D-6E8A-4147-A177-3AD203B41FA5}">
                      <a16:colId xmlns:a16="http://schemas.microsoft.com/office/drawing/2014/main" val="202640554"/>
                    </a:ext>
                  </a:extLst>
                </a:gridCol>
                <a:gridCol w="1692709">
                  <a:extLst>
                    <a:ext uri="{9D8B030D-6E8A-4147-A177-3AD203B41FA5}">
                      <a16:colId xmlns:a16="http://schemas.microsoft.com/office/drawing/2014/main" val="3019704548"/>
                    </a:ext>
                  </a:extLst>
                </a:gridCol>
                <a:gridCol w="1692709">
                  <a:extLst>
                    <a:ext uri="{9D8B030D-6E8A-4147-A177-3AD203B41FA5}">
                      <a16:colId xmlns:a16="http://schemas.microsoft.com/office/drawing/2014/main" val="1364401804"/>
                    </a:ext>
                  </a:extLst>
                </a:gridCol>
                <a:gridCol w="1692709">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Tree>
    <p:extLst>
      <p:ext uri="{BB962C8B-B14F-4D97-AF65-F5344CB8AC3E}">
        <p14:creationId xmlns:p14="http://schemas.microsoft.com/office/powerpoint/2010/main" val="9934478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3FE2F85-5478-7B4D-A181-E85728796F24}"/>
              </a:ext>
            </a:extLst>
          </p:cNvPr>
          <p:cNvSpPr>
            <a:spLocks noGrp="1"/>
          </p:cNvSpPr>
          <p:nvPr>
            <p:ph sz="quarter" idx="10"/>
          </p:nvPr>
        </p:nvSpPr>
        <p:spPr/>
        <p:txBody>
          <a:bodyPr/>
          <a:lstStyle/>
          <a:p>
            <a:r>
              <a:rPr lang="en-GB" sz="6600"/>
              <a:t>Mental health &amp; Autism</a:t>
            </a:r>
          </a:p>
        </p:txBody>
      </p:sp>
      <p:graphicFrame>
        <p:nvGraphicFramePr>
          <p:cNvPr id="3" name="Table 2">
            <a:extLst>
              <a:ext uri="{FF2B5EF4-FFF2-40B4-BE49-F238E27FC236}">
                <a16:creationId xmlns:a16="http://schemas.microsoft.com/office/drawing/2014/main" id="{A5C5145E-D4D0-4F41-A35E-C01975B6ED25}"/>
              </a:ext>
            </a:extLst>
          </p:cNvPr>
          <p:cNvGraphicFramePr>
            <a:graphicFrameLocks noGrp="1"/>
          </p:cNvGraphicFramePr>
          <p:nvPr>
            <p:extLst>
              <p:ext uri="{D42A27DB-BD31-4B8C-83A1-F6EECF244321}">
                <p14:modId xmlns:p14="http://schemas.microsoft.com/office/powerpoint/2010/main" val="2622048801"/>
              </p:ext>
            </p:extLst>
          </p:nvPr>
        </p:nvGraphicFramePr>
        <p:xfrm>
          <a:off x="1" y="6560723"/>
          <a:ext cx="12191998" cy="297277"/>
        </p:xfrm>
        <a:graphic>
          <a:graphicData uri="http://schemas.openxmlformats.org/drawingml/2006/table">
            <a:tbl>
              <a:tblPr>
                <a:tableStyleId>{5C22544A-7EE6-4342-B048-85BDC9FD1C3A}</a:tableStyleId>
              </a:tblPr>
              <a:tblGrid>
                <a:gridCol w="1741714">
                  <a:extLst>
                    <a:ext uri="{9D8B030D-6E8A-4147-A177-3AD203B41FA5}">
                      <a16:colId xmlns:a16="http://schemas.microsoft.com/office/drawing/2014/main" val="3508502722"/>
                    </a:ext>
                  </a:extLst>
                </a:gridCol>
                <a:gridCol w="1741714">
                  <a:extLst>
                    <a:ext uri="{9D8B030D-6E8A-4147-A177-3AD203B41FA5}">
                      <a16:colId xmlns:a16="http://schemas.microsoft.com/office/drawing/2014/main" val="1894411863"/>
                    </a:ext>
                  </a:extLst>
                </a:gridCol>
                <a:gridCol w="1741714">
                  <a:extLst>
                    <a:ext uri="{9D8B030D-6E8A-4147-A177-3AD203B41FA5}">
                      <a16:colId xmlns:a16="http://schemas.microsoft.com/office/drawing/2014/main" val="1998335409"/>
                    </a:ext>
                  </a:extLst>
                </a:gridCol>
                <a:gridCol w="1741714">
                  <a:extLst>
                    <a:ext uri="{9D8B030D-6E8A-4147-A177-3AD203B41FA5}">
                      <a16:colId xmlns:a16="http://schemas.microsoft.com/office/drawing/2014/main" val="202640554"/>
                    </a:ext>
                  </a:extLst>
                </a:gridCol>
                <a:gridCol w="1741714">
                  <a:extLst>
                    <a:ext uri="{9D8B030D-6E8A-4147-A177-3AD203B41FA5}">
                      <a16:colId xmlns:a16="http://schemas.microsoft.com/office/drawing/2014/main" val="3019704548"/>
                    </a:ext>
                  </a:extLst>
                </a:gridCol>
                <a:gridCol w="1741714">
                  <a:extLst>
                    <a:ext uri="{9D8B030D-6E8A-4147-A177-3AD203B41FA5}">
                      <a16:colId xmlns:a16="http://schemas.microsoft.com/office/drawing/2014/main" val="1364401804"/>
                    </a:ext>
                  </a:extLst>
                </a:gridCol>
                <a:gridCol w="1741714">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A"/>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Tree>
    <p:extLst>
      <p:ext uri="{BB962C8B-B14F-4D97-AF65-F5344CB8AC3E}">
        <p14:creationId xmlns:p14="http://schemas.microsoft.com/office/powerpoint/2010/main" val="10285714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22AF2B-CD1C-8742-ABF2-F47A44879B64}"/>
              </a:ext>
            </a:extLst>
          </p:cNvPr>
          <p:cNvSpPr>
            <a:spLocks noGrp="1"/>
          </p:cNvSpPr>
          <p:nvPr>
            <p:ph type="title"/>
          </p:nvPr>
        </p:nvSpPr>
        <p:spPr/>
        <p:txBody>
          <a:bodyPr/>
          <a:lstStyle/>
          <a:p>
            <a:r>
              <a:rPr lang="en-GB"/>
              <a:t>Mental health &amp; Autism – Summary</a:t>
            </a:r>
          </a:p>
        </p:txBody>
      </p:sp>
      <p:sp>
        <p:nvSpPr>
          <p:cNvPr id="27" name="Rectangle 26">
            <a:extLst>
              <a:ext uri="{FF2B5EF4-FFF2-40B4-BE49-F238E27FC236}">
                <a16:creationId xmlns:a16="http://schemas.microsoft.com/office/drawing/2014/main" id="{AEC743DF-4B96-6346-B9FD-81197DD42890}"/>
              </a:ext>
            </a:extLst>
          </p:cNvPr>
          <p:cNvSpPr/>
          <p:nvPr/>
        </p:nvSpPr>
        <p:spPr>
          <a:xfrm>
            <a:off x="7240993" y="2140631"/>
            <a:ext cx="4530455" cy="2162079"/>
          </a:xfrm>
          <a:prstGeom prst="rect">
            <a:avLst/>
          </a:prstGeom>
          <a:noFill/>
          <a:ln w="12700" cap="flat" cmpd="sng" algn="ctr">
            <a:noFill/>
            <a:prstDash val="solid"/>
            <a:miter lim="800000"/>
          </a:ln>
          <a:effectLst/>
        </p:spPr>
        <p:txBody>
          <a:bodyPr rtlCol="0" anchor="t"/>
          <a:lstStyle/>
          <a:p>
            <a:pPr lvl="0" defTabSz="685800">
              <a:spcBef>
                <a:spcPts val="300"/>
              </a:spcBef>
              <a:spcAft>
                <a:spcPts val="300"/>
              </a:spcAft>
              <a:defRPr/>
            </a:pPr>
            <a:r>
              <a:rPr lang="en-GB" sz="1200">
                <a:solidFill>
                  <a:schemeClr val="tx1">
                    <a:lumMod val="75000"/>
                    <a:lumOff val="25000"/>
                  </a:schemeClr>
                </a:solidFill>
                <a:latin typeface="Arial" panose="020B0604020202020204" pitchFamily="34" charset="0"/>
                <a:cs typeface="Arial" panose="020B0604020202020204" pitchFamily="34" charset="0"/>
              </a:rPr>
              <a:t>A journey map representing the common experiences for people with Autism accessing mental health services was produced and assessed:</a:t>
            </a:r>
          </a:p>
          <a:p>
            <a:pPr marL="171450" lvl="0" indent="-171450" defTabSz="685800">
              <a:spcBef>
                <a:spcPts val="300"/>
              </a:spcBef>
              <a:spcAft>
                <a:spcPts val="300"/>
              </a:spcAft>
              <a:buFont typeface="Arial" panose="020B0604020202020204" pitchFamily="34" charset="0"/>
              <a:buChar char="•"/>
              <a:defRPr/>
            </a:pPr>
            <a:r>
              <a:rPr lang="en-GB" sz="1200" b="1">
                <a:solidFill>
                  <a:schemeClr val="tx1">
                    <a:lumMod val="75000"/>
                    <a:lumOff val="25000"/>
                  </a:schemeClr>
                </a:solidFill>
                <a:latin typeface="Arial" panose="020B0604020202020204" pitchFamily="34" charset="0"/>
                <a:cs typeface="Arial" panose="020B0604020202020204" pitchFamily="34" charset="0"/>
              </a:rPr>
              <a:t>13 key challenges </a:t>
            </a:r>
            <a:r>
              <a:rPr lang="en-GB" sz="1200">
                <a:solidFill>
                  <a:schemeClr val="tx1">
                    <a:lumMod val="75000"/>
                    <a:lumOff val="25000"/>
                  </a:schemeClr>
                </a:solidFill>
                <a:latin typeface="Arial" panose="020B0604020202020204" pitchFamily="34" charset="0"/>
                <a:cs typeface="Arial" panose="020B0604020202020204" pitchFamily="34" charset="0"/>
              </a:rPr>
              <a:t>were identified, covering multiple aspects of the service user’s journey. </a:t>
            </a:r>
          </a:p>
          <a:p>
            <a:pPr marL="171450" lvl="0" indent="-171450" defTabSz="685800">
              <a:spcBef>
                <a:spcPts val="300"/>
              </a:spcBef>
              <a:spcAft>
                <a:spcPts val="300"/>
              </a:spcAft>
              <a:buFont typeface="Arial" panose="020B0604020202020204" pitchFamily="34" charset="0"/>
              <a:buChar char="•"/>
              <a:defRPr/>
            </a:pPr>
            <a:r>
              <a:rPr lang="en-GB" sz="1200">
                <a:solidFill>
                  <a:schemeClr val="tx1">
                    <a:lumMod val="75000"/>
                    <a:lumOff val="25000"/>
                  </a:schemeClr>
                </a:solidFill>
                <a:latin typeface="Arial" panose="020B0604020202020204" pitchFamily="34" charset="0"/>
                <a:cs typeface="Arial" panose="020B0604020202020204" pitchFamily="34" charset="0"/>
              </a:rPr>
              <a:t>The most common area of concern for staff in this area is the </a:t>
            </a:r>
            <a:r>
              <a:rPr lang="en-GB" sz="1200" b="1">
                <a:solidFill>
                  <a:schemeClr val="tx1">
                    <a:lumMod val="75000"/>
                    <a:lumOff val="25000"/>
                  </a:schemeClr>
                </a:solidFill>
                <a:latin typeface="Arial" panose="020B0604020202020204" pitchFamily="34" charset="0"/>
                <a:cs typeface="Arial" panose="020B0604020202020204" pitchFamily="34" charset="0"/>
              </a:rPr>
              <a:t>limited reasonable adjustments </a:t>
            </a:r>
            <a:r>
              <a:rPr lang="en-GB" sz="1200">
                <a:solidFill>
                  <a:schemeClr val="tx1">
                    <a:lumMod val="75000"/>
                    <a:lumOff val="25000"/>
                  </a:schemeClr>
                </a:solidFill>
                <a:latin typeface="Arial" panose="020B0604020202020204" pitchFamily="34" charset="0"/>
                <a:cs typeface="Arial" panose="020B0604020202020204" pitchFamily="34" charset="0"/>
              </a:rPr>
              <a:t>currently in place for people with Autism, however work has now begun aimed at improving this in some areas. </a:t>
            </a:r>
          </a:p>
          <a:p>
            <a:pPr marL="171450" lvl="0" indent="-171450" defTabSz="685800">
              <a:spcBef>
                <a:spcPts val="300"/>
              </a:spcBef>
              <a:spcAft>
                <a:spcPts val="300"/>
              </a:spcAft>
              <a:buFont typeface="Arial" panose="020B0604020202020204" pitchFamily="34" charset="0"/>
              <a:buChar char="•"/>
              <a:defRPr/>
            </a:pPr>
            <a:r>
              <a:rPr lang="en-GB" sz="1200" b="1">
                <a:solidFill>
                  <a:schemeClr val="tx1">
                    <a:lumMod val="75000"/>
                    <a:lumOff val="25000"/>
                  </a:schemeClr>
                </a:solidFill>
                <a:latin typeface="Arial" panose="020B0604020202020204" pitchFamily="34" charset="0"/>
                <a:cs typeface="Arial" panose="020B0604020202020204" pitchFamily="34" charset="0"/>
              </a:rPr>
              <a:t>7 areas have been identified </a:t>
            </a:r>
            <a:r>
              <a:rPr lang="en-GB" sz="1200">
                <a:solidFill>
                  <a:schemeClr val="tx1">
                    <a:lumMod val="75000"/>
                    <a:lumOff val="25000"/>
                  </a:schemeClr>
                </a:solidFill>
                <a:latin typeface="Arial" panose="020B0604020202020204" pitchFamily="34" charset="0"/>
                <a:cs typeface="Arial" panose="020B0604020202020204" pitchFamily="34" charset="0"/>
              </a:rPr>
              <a:t>that require targeted improvement.</a:t>
            </a:r>
          </a:p>
        </p:txBody>
      </p:sp>
      <p:sp>
        <p:nvSpPr>
          <p:cNvPr id="28" name="TextBox 27">
            <a:extLst>
              <a:ext uri="{FF2B5EF4-FFF2-40B4-BE49-F238E27FC236}">
                <a16:creationId xmlns:a16="http://schemas.microsoft.com/office/drawing/2014/main" id="{34D14069-3A78-CB4B-9516-37759BDAF618}"/>
              </a:ext>
            </a:extLst>
          </p:cNvPr>
          <p:cNvSpPr txBox="1"/>
          <p:nvPr/>
        </p:nvSpPr>
        <p:spPr>
          <a:xfrm>
            <a:off x="510638" y="1800638"/>
            <a:ext cx="2249334"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50235C"/>
                </a:solidFill>
                <a:effectLst/>
                <a:uLnTx/>
                <a:uFillTx/>
                <a:latin typeface="Arial" panose="020B0604020202020204"/>
                <a:ea typeface="+mn-ea"/>
                <a:cs typeface="+mn-cs"/>
              </a:rPr>
              <a:t>Key recommendations</a:t>
            </a:r>
          </a:p>
        </p:txBody>
      </p:sp>
      <p:cxnSp>
        <p:nvCxnSpPr>
          <p:cNvPr id="29" name="Straight Connector 28">
            <a:extLst>
              <a:ext uri="{FF2B5EF4-FFF2-40B4-BE49-F238E27FC236}">
                <a16:creationId xmlns:a16="http://schemas.microsoft.com/office/drawing/2014/main" id="{FCCBC7B1-B5F3-A247-9019-A56410AE2B78}"/>
              </a:ext>
            </a:extLst>
          </p:cNvPr>
          <p:cNvCxnSpPr>
            <a:cxnSpLocks/>
          </p:cNvCxnSpPr>
          <p:nvPr/>
        </p:nvCxnSpPr>
        <p:spPr>
          <a:xfrm>
            <a:off x="6991850" y="1800638"/>
            <a:ext cx="0" cy="448378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4A18B954-0400-4E4E-99BF-05F46DD1A3CB}"/>
              </a:ext>
            </a:extLst>
          </p:cNvPr>
          <p:cNvSpPr txBox="1"/>
          <p:nvPr/>
        </p:nvSpPr>
        <p:spPr>
          <a:xfrm>
            <a:off x="7240993" y="1800638"/>
            <a:ext cx="2839905"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50235C"/>
                </a:solidFill>
                <a:effectLst/>
                <a:uLnTx/>
                <a:uFillTx/>
                <a:latin typeface="Arial" panose="020B0604020202020204"/>
                <a:ea typeface="+mn-ea"/>
                <a:cs typeface="+mn-cs"/>
              </a:rPr>
              <a:t>Summary of findings</a:t>
            </a:r>
          </a:p>
        </p:txBody>
      </p:sp>
      <p:cxnSp>
        <p:nvCxnSpPr>
          <p:cNvPr id="31" name="Straight Connector 30">
            <a:extLst>
              <a:ext uri="{FF2B5EF4-FFF2-40B4-BE49-F238E27FC236}">
                <a16:creationId xmlns:a16="http://schemas.microsoft.com/office/drawing/2014/main" id="{BF547E83-A69F-5345-9BBB-0CE7DFB371D6}"/>
              </a:ext>
            </a:extLst>
          </p:cNvPr>
          <p:cNvCxnSpPr>
            <a:cxnSpLocks/>
          </p:cNvCxnSpPr>
          <p:nvPr/>
        </p:nvCxnSpPr>
        <p:spPr>
          <a:xfrm>
            <a:off x="6991850" y="4508290"/>
            <a:ext cx="475467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98612D07-FAB3-B448-A1BB-D7273939CFD2}"/>
              </a:ext>
            </a:extLst>
          </p:cNvPr>
          <p:cNvSpPr txBox="1"/>
          <p:nvPr/>
        </p:nvSpPr>
        <p:spPr>
          <a:xfrm>
            <a:off x="7240993" y="4529310"/>
            <a:ext cx="2839905"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50235C"/>
                </a:solidFill>
                <a:effectLst/>
                <a:uLnTx/>
                <a:uFillTx/>
                <a:latin typeface="Arial" panose="020B0604020202020204"/>
                <a:ea typeface="+mn-ea"/>
                <a:cs typeface="+mn-cs"/>
              </a:rPr>
              <a:t>Next steps</a:t>
            </a:r>
          </a:p>
        </p:txBody>
      </p:sp>
      <p:sp>
        <p:nvSpPr>
          <p:cNvPr id="35" name="Rectangle 34">
            <a:extLst>
              <a:ext uri="{FF2B5EF4-FFF2-40B4-BE49-F238E27FC236}">
                <a16:creationId xmlns:a16="http://schemas.microsoft.com/office/drawing/2014/main" id="{4B0F4721-6F4A-1F46-B88A-61F2587D6521}"/>
              </a:ext>
            </a:extLst>
          </p:cNvPr>
          <p:cNvSpPr/>
          <p:nvPr/>
        </p:nvSpPr>
        <p:spPr>
          <a:xfrm>
            <a:off x="7240992" y="4914132"/>
            <a:ext cx="4530449" cy="1573161"/>
          </a:xfrm>
          <a:prstGeom prst="rect">
            <a:avLst/>
          </a:prstGeom>
          <a:noFill/>
          <a:ln w="12700" cap="flat" cmpd="sng" algn="ctr">
            <a:noFill/>
            <a:prstDash val="solid"/>
            <a:miter lim="800000"/>
          </a:ln>
          <a:effectLst/>
        </p:spPr>
        <p:txBody>
          <a:bodyPr rtlCol="0" anchor="t"/>
          <a:lstStyle/>
          <a:p>
            <a:pPr marL="171450" marR="0" lvl="0" indent="-1714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GB" sz="1200" b="0" i="0" u="none" strike="noStrike" kern="1200" cap="none" spc="0" normalizeH="0" baseline="0" noProof="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The recommendations from this patient journey map will be integrated into the mental health roadmap that has been developed to support the ICS. </a:t>
            </a:r>
          </a:p>
          <a:p>
            <a:pPr marL="171450" marR="0" lvl="0" indent="-1714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GB" sz="1200" b="0" i="0" u="none" strike="noStrike" kern="1200" cap="none" spc="0" normalizeH="0" baseline="0" noProof="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The Autism journey map, recommendations and challenges is to be shared with the Autism hub to support the push for further Autism related services and support from the wider system. </a:t>
            </a:r>
          </a:p>
        </p:txBody>
      </p:sp>
      <p:graphicFrame>
        <p:nvGraphicFramePr>
          <p:cNvPr id="9" name="Table 16">
            <a:extLst>
              <a:ext uri="{FF2B5EF4-FFF2-40B4-BE49-F238E27FC236}">
                <a16:creationId xmlns:a16="http://schemas.microsoft.com/office/drawing/2014/main" id="{56AE45C0-A74C-4241-9E52-59B245426453}"/>
              </a:ext>
            </a:extLst>
          </p:cNvPr>
          <p:cNvGraphicFramePr>
            <a:graphicFrameLocks noGrp="1"/>
          </p:cNvGraphicFramePr>
          <p:nvPr/>
        </p:nvGraphicFramePr>
        <p:xfrm>
          <a:off x="510638" y="2274190"/>
          <a:ext cx="6181107" cy="3832755"/>
        </p:xfrm>
        <a:graphic>
          <a:graphicData uri="http://schemas.openxmlformats.org/drawingml/2006/table">
            <a:tbl>
              <a:tblPr firstRow="1" bandRow="1">
                <a:tableStyleId>{5C22544A-7EE6-4342-B048-85BDC9FD1C3A}</a:tableStyleId>
              </a:tblPr>
              <a:tblGrid>
                <a:gridCol w="818100">
                  <a:extLst>
                    <a:ext uri="{9D8B030D-6E8A-4147-A177-3AD203B41FA5}">
                      <a16:colId xmlns:a16="http://schemas.microsoft.com/office/drawing/2014/main" val="3218774346"/>
                    </a:ext>
                  </a:extLst>
                </a:gridCol>
                <a:gridCol w="1543050">
                  <a:extLst>
                    <a:ext uri="{9D8B030D-6E8A-4147-A177-3AD203B41FA5}">
                      <a16:colId xmlns:a16="http://schemas.microsoft.com/office/drawing/2014/main" val="1877035167"/>
                    </a:ext>
                  </a:extLst>
                </a:gridCol>
                <a:gridCol w="3819957">
                  <a:extLst>
                    <a:ext uri="{9D8B030D-6E8A-4147-A177-3AD203B41FA5}">
                      <a16:colId xmlns:a16="http://schemas.microsoft.com/office/drawing/2014/main" val="1879412206"/>
                    </a:ext>
                  </a:extLst>
                </a:gridCol>
              </a:tblGrid>
              <a:tr h="1277585">
                <a:tc>
                  <a:txBody>
                    <a:bodyPr/>
                    <a:lstStyle/>
                    <a:p>
                      <a:pPr algn="l"/>
                      <a:endParaRPr lang="en-GB" sz="1200" b="1">
                        <a:solidFill>
                          <a:srgbClr val="50235B"/>
                        </a:solidFill>
                        <a:latin typeface="Arial" panose="020B0604020202020204" pitchFamily="34" charset="0"/>
                        <a:cs typeface="Arial" panose="020B0604020202020204" pitchFamily="34" charset="0"/>
                      </a:endParaRPr>
                    </a:p>
                  </a:txBody>
                  <a:tcPr anchor="ctr">
                    <a:lnB w="12700" cap="flat" cmpd="sng" algn="ctr">
                      <a:solidFill>
                        <a:srgbClr val="DFD9E3"/>
                      </a:solidFill>
                      <a:prstDash val="solid"/>
                      <a:round/>
                      <a:headEnd type="none" w="med" len="med"/>
                      <a:tailEnd type="none" w="med" len="med"/>
                    </a:lnB>
                    <a:noFill/>
                  </a:tcPr>
                </a:tc>
                <a:tc>
                  <a:txBody>
                    <a:bodyPr/>
                    <a:lstStyle/>
                    <a:p>
                      <a:pPr algn="l"/>
                      <a:r>
                        <a:rPr lang="en-GB" sz="1200" b="1">
                          <a:solidFill>
                            <a:srgbClr val="50235B"/>
                          </a:solidFill>
                          <a:latin typeface="Arial" panose="020B0604020202020204" pitchFamily="34" charset="0"/>
                          <a:cs typeface="Arial" panose="020B0604020202020204" pitchFamily="34" charset="0"/>
                        </a:rPr>
                        <a:t>Autism Passport</a:t>
                      </a:r>
                    </a:p>
                  </a:txBody>
                  <a:tcPr anchor="ctr">
                    <a:lnB w="12700" cap="flat" cmpd="sng" algn="ctr">
                      <a:solidFill>
                        <a:srgbClr val="DFD9E3"/>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a:solidFill>
                            <a:schemeClr val="tx1">
                              <a:lumMod val="75000"/>
                              <a:lumOff val="25000"/>
                            </a:schemeClr>
                          </a:solidFill>
                          <a:effectLst/>
                          <a:latin typeface="Arial" panose="020B0604020202020204" pitchFamily="34" charset="0"/>
                        </a:rPr>
                        <a:t>Use learnings from other systems to develop and roll out Autism passports to all health and care settings across the ICS. </a:t>
                      </a:r>
                    </a:p>
                  </a:txBody>
                  <a:tcPr anchor="ctr">
                    <a:lnB w="12700" cap="flat" cmpd="sng" algn="ctr">
                      <a:solidFill>
                        <a:srgbClr val="DFD9E3"/>
                      </a:solidFill>
                      <a:prstDash val="solid"/>
                      <a:round/>
                      <a:headEnd type="none" w="med" len="med"/>
                      <a:tailEnd type="none" w="med" len="med"/>
                    </a:lnB>
                    <a:noFill/>
                  </a:tcPr>
                </a:tc>
                <a:extLst>
                  <a:ext uri="{0D108BD9-81ED-4DB2-BD59-A6C34878D82A}">
                    <a16:rowId xmlns:a16="http://schemas.microsoft.com/office/drawing/2014/main" val="1528731931"/>
                  </a:ext>
                </a:extLst>
              </a:tr>
              <a:tr h="1277585">
                <a:tc>
                  <a:txBody>
                    <a:bodyPr/>
                    <a:lstStyle/>
                    <a:p>
                      <a:pPr algn="l"/>
                      <a:endParaRPr lang="en-GB" sz="1200" b="1">
                        <a:solidFill>
                          <a:srgbClr val="50235B"/>
                        </a:solidFill>
                        <a:latin typeface="Arial" panose="020B0604020202020204" pitchFamily="34" charset="0"/>
                        <a:cs typeface="Arial" panose="020B0604020202020204" pitchFamily="34" charset="0"/>
                      </a:endParaRPr>
                    </a:p>
                  </a:txBody>
                  <a:tcPr anchor="ct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l"/>
                      <a:r>
                        <a:rPr lang="en-GB" sz="1200" b="1">
                          <a:solidFill>
                            <a:srgbClr val="50235B"/>
                          </a:solidFill>
                          <a:latin typeface="Arial" panose="020B0604020202020204" pitchFamily="34" charset="0"/>
                          <a:cs typeface="Arial" panose="020B0604020202020204" pitchFamily="34" charset="0"/>
                        </a:rPr>
                        <a:t>Training</a:t>
                      </a:r>
                    </a:p>
                  </a:txBody>
                  <a:tcPr anchor="ct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a:solidFill>
                            <a:schemeClr val="tx1">
                              <a:lumMod val="75000"/>
                              <a:lumOff val="25000"/>
                            </a:schemeClr>
                          </a:solidFill>
                          <a:effectLst/>
                          <a:latin typeface="Arial" panose="020B0604020202020204" pitchFamily="34" charset="0"/>
                        </a:rPr>
                        <a:t>Commission a new staff training programme to make all front line staff aware of the reasonable adjustments needed to support people with Autism and upskill staff on the common signs, symptoms and presentations for people with Autism.  </a:t>
                      </a:r>
                    </a:p>
                  </a:txBody>
                  <a:tcPr anchor="ct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extLst>
                  <a:ext uri="{0D108BD9-81ED-4DB2-BD59-A6C34878D82A}">
                    <a16:rowId xmlns:a16="http://schemas.microsoft.com/office/drawing/2014/main" val="2134926600"/>
                  </a:ext>
                </a:extLst>
              </a:tr>
              <a:tr h="1277585">
                <a:tc>
                  <a:txBody>
                    <a:bodyPr/>
                    <a:lstStyle/>
                    <a:p>
                      <a:pPr algn="l" rtl="0" fontAlgn="ctr"/>
                      <a:endParaRPr lang="en-GB" sz="1200" b="1" i="0" u="none" strike="noStrike">
                        <a:solidFill>
                          <a:srgbClr val="50235B"/>
                        </a:solidFill>
                        <a:effectLst/>
                        <a:latin typeface="Arial" panose="020B0604020202020204" pitchFamily="34" charset="0"/>
                        <a:cs typeface="Arial" panose="020B0604020202020204" pitchFamily="34" charset="0"/>
                      </a:endParaRPr>
                    </a:p>
                  </a:txBody>
                  <a:tcPr anchor="ctr">
                    <a:lnT w="12700" cap="flat" cmpd="sng" algn="ctr">
                      <a:solidFill>
                        <a:srgbClr val="DFD9E3"/>
                      </a:solidFill>
                      <a:prstDash val="solid"/>
                      <a:round/>
                      <a:headEnd type="none" w="med" len="med"/>
                      <a:tailEnd type="none" w="med" len="med"/>
                    </a:lnT>
                    <a:noFill/>
                  </a:tcPr>
                </a:tc>
                <a:tc>
                  <a:txBody>
                    <a:bodyPr/>
                    <a:lstStyle/>
                    <a:p>
                      <a:pPr algn="l" rtl="0" fontAlgn="ctr"/>
                      <a:r>
                        <a:rPr lang="en-GB" sz="1200" b="1" i="0" u="none" strike="noStrike">
                          <a:solidFill>
                            <a:srgbClr val="50235B"/>
                          </a:solidFill>
                          <a:effectLst/>
                          <a:latin typeface="Arial" panose="020B0604020202020204" pitchFamily="34" charset="0"/>
                          <a:cs typeface="Arial" panose="020B0604020202020204" pitchFamily="34" charset="0"/>
                        </a:rPr>
                        <a:t>Physical care adjustments</a:t>
                      </a:r>
                    </a:p>
                  </a:txBody>
                  <a:tcPr anchor="ctr">
                    <a:lnT w="12700" cap="flat" cmpd="sng" algn="ctr">
                      <a:solidFill>
                        <a:srgbClr val="DFD9E3"/>
                      </a:solidFill>
                      <a:prstDash val="solid"/>
                      <a:round/>
                      <a:headEnd type="none" w="med" len="med"/>
                      <a:tailEnd type="none" w="med" len="med"/>
                    </a:lnT>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a:solidFill>
                            <a:schemeClr val="tx1">
                              <a:lumMod val="75000"/>
                              <a:lumOff val="25000"/>
                            </a:schemeClr>
                          </a:solidFill>
                          <a:effectLst/>
                          <a:latin typeface="Arial" panose="020B0604020202020204" pitchFamily="34" charset="0"/>
                        </a:rPr>
                        <a:t>Invest in the instillation of light dimmers, weighted blankets, noise cancelling headphones and other measures to support Autism patients to have an improved experience in physical care settings.</a:t>
                      </a:r>
                    </a:p>
                  </a:txBody>
                  <a:tcPr anchor="ctr">
                    <a:lnT w="12700" cap="flat" cmpd="sng" algn="ctr">
                      <a:solidFill>
                        <a:srgbClr val="DFD9E3"/>
                      </a:solidFill>
                      <a:prstDash val="solid"/>
                      <a:round/>
                      <a:headEnd type="none" w="med" len="med"/>
                      <a:tailEnd type="none" w="med" len="med"/>
                    </a:lnT>
                    <a:noFill/>
                  </a:tcPr>
                </a:tc>
                <a:extLst>
                  <a:ext uri="{0D108BD9-81ED-4DB2-BD59-A6C34878D82A}">
                    <a16:rowId xmlns:a16="http://schemas.microsoft.com/office/drawing/2014/main" val="3152551171"/>
                  </a:ext>
                </a:extLst>
              </a:tr>
            </a:tbl>
          </a:graphicData>
        </a:graphic>
      </p:graphicFrame>
      <p:sp>
        <p:nvSpPr>
          <p:cNvPr id="36" name="Rectangle 35">
            <a:extLst>
              <a:ext uri="{FF2B5EF4-FFF2-40B4-BE49-F238E27FC236}">
                <a16:creationId xmlns:a16="http://schemas.microsoft.com/office/drawing/2014/main" id="{F0613AF4-B5CC-A042-A76D-31B970DEDD1C}"/>
              </a:ext>
            </a:extLst>
          </p:cNvPr>
          <p:cNvSpPr/>
          <p:nvPr/>
        </p:nvSpPr>
        <p:spPr>
          <a:xfrm>
            <a:off x="510638" y="855283"/>
            <a:ext cx="11348270" cy="7004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a:solidFill>
                  <a:srgbClr val="50235B"/>
                </a:solidFill>
              </a:rPr>
              <a:t>Across Shropshire, Telford &amp; Wrekin, there is an estimated 2000 people living with Autism and suffering from a recognised mental illness, however existing pathways across the ICS do not meet the needs of this cohort of service users. Staff from across the ICS recognise this challenge and there is a strong appetite to make changes to services to deliver effective mental health support to this cohort. </a:t>
            </a:r>
          </a:p>
        </p:txBody>
      </p:sp>
      <p:pic>
        <p:nvPicPr>
          <p:cNvPr id="38" name="Graphic 37" descr="Employee badge with solid fill">
            <a:extLst>
              <a:ext uri="{FF2B5EF4-FFF2-40B4-BE49-F238E27FC236}">
                <a16:creationId xmlns:a16="http://schemas.microsoft.com/office/drawing/2014/main" id="{784828CC-9366-B144-ACDE-1999EF2F647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84557" y="2678649"/>
            <a:ext cx="432000" cy="432000"/>
          </a:xfrm>
          <a:prstGeom prst="rect">
            <a:avLst/>
          </a:prstGeom>
        </p:spPr>
      </p:pic>
      <p:pic>
        <p:nvPicPr>
          <p:cNvPr id="21" name="Graphic 20" descr="Classroom with solid fill">
            <a:extLst>
              <a:ext uri="{FF2B5EF4-FFF2-40B4-BE49-F238E27FC236}">
                <a16:creationId xmlns:a16="http://schemas.microsoft.com/office/drawing/2014/main" id="{C09BD9CF-88BE-CC42-BD68-0E6300F8365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84557" y="3995203"/>
            <a:ext cx="432000" cy="432000"/>
          </a:xfrm>
          <a:prstGeom prst="rect">
            <a:avLst/>
          </a:prstGeom>
        </p:spPr>
      </p:pic>
      <p:pic>
        <p:nvPicPr>
          <p:cNvPr id="40" name="Graphic 39" descr="Hospital with solid fill">
            <a:extLst>
              <a:ext uri="{FF2B5EF4-FFF2-40B4-BE49-F238E27FC236}">
                <a16:creationId xmlns:a16="http://schemas.microsoft.com/office/drawing/2014/main" id="{44A7F3A4-9862-2642-925F-C58432F32AC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84557" y="5254605"/>
            <a:ext cx="432000" cy="432000"/>
          </a:xfrm>
          <a:prstGeom prst="rect">
            <a:avLst/>
          </a:prstGeom>
        </p:spPr>
      </p:pic>
      <p:graphicFrame>
        <p:nvGraphicFramePr>
          <p:cNvPr id="15" name="Table 14">
            <a:extLst>
              <a:ext uri="{FF2B5EF4-FFF2-40B4-BE49-F238E27FC236}">
                <a16:creationId xmlns:a16="http://schemas.microsoft.com/office/drawing/2014/main" id="{882DCB19-7416-6743-9BDD-AD458F5E7912}"/>
              </a:ext>
            </a:extLst>
          </p:cNvPr>
          <p:cNvGraphicFramePr>
            <a:graphicFrameLocks noGrp="1"/>
          </p:cNvGraphicFramePr>
          <p:nvPr>
            <p:extLst>
              <p:ext uri="{D42A27DB-BD31-4B8C-83A1-F6EECF244321}">
                <p14:modId xmlns:p14="http://schemas.microsoft.com/office/powerpoint/2010/main" val="3184630733"/>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A"/>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Tree>
    <p:extLst>
      <p:ext uri="{BB962C8B-B14F-4D97-AF65-F5344CB8AC3E}">
        <p14:creationId xmlns:p14="http://schemas.microsoft.com/office/powerpoint/2010/main" val="5589022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22AF2B-CD1C-8742-ABF2-F47A44879B64}"/>
              </a:ext>
            </a:extLst>
          </p:cNvPr>
          <p:cNvSpPr>
            <a:spLocks noGrp="1"/>
          </p:cNvSpPr>
          <p:nvPr>
            <p:ph type="title"/>
          </p:nvPr>
        </p:nvSpPr>
        <p:spPr/>
        <p:txBody>
          <a:bodyPr/>
          <a:lstStyle/>
          <a:p>
            <a:r>
              <a:rPr lang="en-GB"/>
              <a:t>Mental health &amp; Autism - Overview</a:t>
            </a:r>
          </a:p>
        </p:txBody>
      </p:sp>
      <p:sp>
        <p:nvSpPr>
          <p:cNvPr id="7" name="TextBox 6">
            <a:extLst>
              <a:ext uri="{FF2B5EF4-FFF2-40B4-BE49-F238E27FC236}">
                <a16:creationId xmlns:a16="http://schemas.microsoft.com/office/drawing/2014/main" id="{892E9E0C-01FC-1740-9B08-C381AC69FDD1}"/>
              </a:ext>
            </a:extLst>
          </p:cNvPr>
          <p:cNvSpPr txBox="1"/>
          <p:nvPr/>
        </p:nvSpPr>
        <p:spPr>
          <a:xfrm>
            <a:off x="510636" y="829020"/>
            <a:ext cx="11237916" cy="1154162"/>
          </a:xfrm>
          <a:prstGeom prst="rect">
            <a:avLst/>
          </a:prstGeom>
          <a:noFill/>
        </p:spPr>
        <p:txBody>
          <a:bodyPr wrap="square" rtlCol="0">
            <a:spAutoFit/>
          </a:bodyPr>
          <a:lstStyle>
            <a:defPPr>
              <a:defRPr lang="en-US"/>
            </a:defPPr>
            <a:lvl1pPr marL="285750" indent="-285750">
              <a:buFont typeface="Arial" panose="020B0604020202020204" pitchFamily="34" charset="0"/>
              <a:buChar char="•"/>
              <a:defRPr sz="1050"/>
            </a:lvl1pPr>
          </a:lstStyle>
          <a:p>
            <a:pPr marL="0" indent="0">
              <a:buNone/>
            </a:pPr>
            <a:r>
              <a:rPr lang="en-GB" sz="1150" b="1">
                <a:solidFill>
                  <a:srgbClr val="50235C"/>
                </a:solidFill>
              </a:rPr>
              <a:t>Over 40% of all people with Autism self report as suffering with a mental health condition; navigating the complexities of the mental health system can be extremely challenging and often distressing for people. Despite this, the services and adjustments made to the mental health service offering to support service users with Autism are rarely in place to allow for a successful journey through the mental health system, with care in inpatient facilities being widely recognised as often damaging for people with Autism. In addition to this, Autism service provision is extremely limited across Shropshire, Telford &amp; Wrekin, leaving Autism patients with mental health needs struggling to access the care and support they need. There is now an opportunity to make small changes to service delivery that will significantly improve service user experiences and outcomes. </a:t>
            </a:r>
          </a:p>
        </p:txBody>
      </p:sp>
      <p:grpSp>
        <p:nvGrpSpPr>
          <p:cNvPr id="14" name="Group 13">
            <a:extLst>
              <a:ext uri="{FF2B5EF4-FFF2-40B4-BE49-F238E27FC236}">
                <a16:creationId xmlns:a16="http://schemas.microsoft.com/office/drawing/2014/main" id="{7E0C9EB7-7642-F546-A346-6CCC7A35A777}"/>
              </a:ext>
            </a:extLst>
          </p:cNvPr>
          <p:cNvGrpSpPr/>
          <p:nvPr/>
        </p:nvGrpSpPr>
        <p:grpSpPr>
          <a:xfrm>
            <a:off x="510636" y="1967318"/>
            <a:ext cx="8568965" cy="2095951"/>
            <a:chOff x="4782787" y="1094608"/>
            <a:chExt cx="4065938" cy="1571961"/>
          </a:xfrm>
        </p:grpSpPr>
        <p:sp>
          <p:nvSpPr>
            <p:cNvPr id="19" name="Rectangle 18">
              <a:extLst>
                <a:ext uri="{FF2B5EF4-FFF2-40B4-BE49-F238E27FC236}">
                  <a16:creationId xmlns:a16="http://schemas.microsoft.com/office/drawing/2014/main" id="{1487E005-8D68-734A-B5E9-05BC79427B74}"/>
                </a:ext>
              </a:extLst>
            </p:cNvPr>
            <p:cNvSpPr/>
            <p:nvPr/>
          </p:nvSpPr>
          <p:spPr>
            <a:xfrm>
              <a:off x="4782787" y="1094608"/>
              <a:ext cx="4065938" cy="199823"/>
            </a:xfrm>
            <a:prstGeom prst="rect">
              <a:avLst/>
            </a:prstGeom>
            <a:solidFill>
              <a:srgbClr val="F0ECF3"/>
            </a:solidFill>
            <a:ln w="9525" cap="flat" cmpd="sng" algn="ctr">
              <a:solidFill>
                <a:srgbClr val="F0ECF3"/>
              </a:solidFill>
              <a:prstDash val="solid"/>
              <a:miter lim="800000"/>
            </a:ln>
            <a:effectLst/>
          </p:spPr>
          <p:txBody>
            <a:bodyPr rtlCol="0" anchor="ctr"/>
            <a:lstStyle/>
            <a:p>
              <a:pPr defTabSz="914377">
                <a:defRPr/>
              </a:pPr>
              <a:r>
                <a:rPr lang="en-GB" sz="1067" b="1">
                  <a:solidFill>
                    <a:srgbClr val="50235B"/>
                  </a:solidFill>
                  <a:latin typeface="Arial" panose="020B0604020202020204"/>
                </a:rPr>
                <a:t>Facts and Figures</a:t>
              </a:r>
            </a:p>
          </p:txBody>
        </p:sp>
        <p:sp>
          <p:nvSpPr>
            <p:cNvPr id="20" name="Rectangle 19">
              <a:extLst>
                <a:ext uri="{FF2B5EF4-FFF2-40B4-BE49-F238E27FC236}">
                  <a16:creationId xmlns:a16="http://schemas.microsoft.com/office/drawing/2014/main" id="{F250A382-7342-3346-864D-36D4AD8152D1}"/>
                </a:ext>
              </a:extLst>
            </p:cNvPr>
            <p:cNvSpPr/>
            <p:nvPr/>
          </p:nvSpPr>
          <p:spPr>
            <a:xfrm>
              <a:off x="4782787" y="1294431"/>
              <a:ext cx="4065938" cy="1372138"/>
            </a:xfrm>
            <a:prstGeom prst="rect">
              <a:avLst/>
            </a:prstGeom>
            <a:noFill/>
            <a:ln w="3175">
              <a:solidFill>
                <a:srgbClr val="F0ECF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4150" lvl="0" indent="-184150">
                <a:spcBef>
                  <a:spcPts val="400"/>
                </a:spcBef>
                <a:spcAft>
                  <a:spcPts val="400"/>
                </a:spcAft>
                <a:buFont typeface="Arial" panose="020B0604020202020204" pitchFamily="34" charset="0"/>
                <a:buChar char="•"/>
              </a:pPr>
              <a:r>
                <a:rPr lang="en-US" sz="1000">
                  <a:solidFill>
                    <a:srgbClr val="000000">
                      <a:lumMod val="75000"/>
                      <a:lumOff val="25000"/>
                    </a:srgbClr>
                  </a:solidFill>
                </a:rPr>
                <a:t>Across England, the </a:t>
              </a:r>
              <a:r>
                <a:rPr lang="en-US" sz="1000" b="1">
                  <a:solidFill>
                    <a:srgbClr val="000000">
                      <a:lumMod val="75000"/>
                      <a:lumOff val="25000"/>
                    </a:srgbClr>
                  </a:solidFill>
                </a:rPr>
                <a:t>average wait time </a:t>
              </a:r>
              <a:r>
                <a:rPr lang="en-US" sz="1000">
                  <a:solidFill>
                    <a:srgbClr val="000000">
                      <a:lumMod val="75000"/>
                      <a:lumOff val="25000"/>
                    </a:srgbClr>
                  </a:solidFill>
                </a:rPr>
                <a:t>for patients with suspected autism to reach services is </a:t>
              </a:r>
              <a:r>
                <a:rPr lang="en-US" sz="1000" b="1">
                  <a:solidFill>
                    <a:srgbClr val="000000">
                      <a:lumMod val="75000"/>
                      <a:lumOff val="25000"/>
                    </a:srgbClr>
                  </a:solidFill>
                </a:rPr>
                <a:t>138 days</a:t>
              </a:r>
              <a:r>
                <a:rPr lang="en-US" sz="1000">
                  <a:solidFill>
                    <a:srgbClr val="000000">
                      <a:lumMod val="75000"/>
                      <a:lumOff val="25000"/>
                    </a:srgbClr>
                  </a:solidFill>
                </a:rPr>
                <a:t>, with 19% of patients given an appointment over 13 weeks after the first contact , with 72% of patients not given a referral date.</a:t>
              </a:r>
            </a:p>
            <a:p>
              <a:pPr marL="184150" lvl="0" indent="-184150">
                <a:spcBef>
                  <a:spcPts val="400"/>
                </a:spcBef>
                <a:spcAft>
                  <a:spcPts val="400"/>
                </a:spcAft>
                <a:buFont typeface="Arial" panose="020B0604020202020204" pitchFamily="34" charset="0"/>
                <a:buChar char="•"/>
              </a:pPr>
              <a:r>
                <a:rPr lang="en-US" sz="1000">
                  <a:solidFill>
                    <a:srgbClr val="000000">
                      <a:lumMod val="75000"/>
                      <a:lumOff val="25000"/>
                    </a:srgbClr>
                  </a:solidFill>
                </a:rPr>
                <a:t>A GP survey from July 21 shows </a:t>
              </a:r>
              <a:r>
                <a:rPr lang="en-US" sz="1000" b="1">
                  <a:solidFill>
                    <a:srgbClr val="000000">
                      <a:lumMod val="75000"/>
                      <a:lumOff val="25000"/>
                    </a:srgbClr>
                  </a:solidFill>
                </a:rPr>
                <a:t>1% of STW respondents said they had autism</a:t>
              </a:r>
              <a:r>
                <a:rPr lang="en-US" sz="1000">
                  <a:solidFill>
                    <a:srgbClr val="000000">
                      <a:lumMod val="75000"/>
                      <a:lumOff val="25000"/>
                    </a:srgbClr>
                  </a:solidFill>
                </a:rPr>
                <a:t>, of those </a:t>
              </a:r>
              <a:r>
                <a:rPr lang="en-US" sz="1000" b="1">
                  <a:solidFill>
                    <a:srgbClr val="000000">
                      <a:lumMod val="75000"/>
                      <a:lumOff val="25000"/>
                    </a:srgbClr>
                  </a:solidFill>
                </a:rPr>
                <a:t>40.5%</a:t>
              </a:r>
              <a:r>
                <a:rPr lang="en-US" sz="1000">
                  <a:solidFill>
                    <a:srgbClr val="000000">
                      <a:lumMod val="75000"/>
                      <a:lumOff val="25000"/>
                    </a:srgbClr>
                  </a:solidFill>
                </a:rPr>
                <a:t> of respondents also said they </a:t>
              </a:r>
              <a:r>
                <a:rPr lang="en-US" sz="1000" b="1">
                  <a:solidFill>
                    <a:srgbClr val="000000">
                      <a:lumMod val="75000"/>
                      <a:lumOff val="25000"/>
                    </a:srgbClr>
                  </a:solidFill>
                </a:rPr>
                <a:t>have a mental health condition </a:t>
              </a:r>
              <a:r>
                <a:rPr lang="en-US" sz="1000">
                  <a:solidFill>
                    <a:srgbClr val="000000">
                      <a:lumMod val="75000"/>
                      <a:lumOff val="25000"/>
                    </a:srgbClr>
                  </a:solidFill>
                </a:rPr>
                <a:t>(this equates to an estimated 2000 autism patients with a mental health condition across STW).</a:t>
              </a:r>
            </a:p>
            <a:p>
              <a:pPr marL="184150" lvl="0" indent="-184150">
                <a:spcBef>
                  <a:spcPts val="400"/>
                </a:spcBef>
                <a:spcAft>
                  <a:spcPts val="400"/>
                </a:spcAft>
                <a:buFont typeface="Arial" panose="020B0604020202020204" pitchFamily="34" charset="0"/>
                <a:buChar char="•"/>
              </a:pPr>
              <a:r>
                <a:rPr lang="en-US" sz="1000" b="1">
                  <a:solidFill>
                    <a:srgbClr val="000000">
                      <a:lumMod val="75000"/>
                      <a:lumOff val="25000"/>
                    </a:srgbClr>
                  </a:solidFill>
                </a:rPr>
                <a:t>41% of Autism patients </a:t>
              </a:r>
              <a:r>
                <a:rPr lang="en-US" sz="1000">
                  <a:solidFill>
                    <a:srgbClr val="000000">
                      <a:lumMod val="75000"/>
                      <a:lumOff val="25000"/>
                    </a:srgbClr>
                  </a:solidFill>
                </a:rPr>
                <a:t>nationally </a:t>
              </a:r>
              <a:r>
                <a:rPr lang="en-US" sz="1000" b="1">
                  <a:solidFill>
                    <a:srgbClr val="000000">
                      <a:lumMod val="75000"/>
                      <a:lumOff val="25000"/>
                    </a:srgbClr>
                  </a:solidFill>
                </a:rPr>
                <a:t>do not feel </a:t>
              </a:r>
              <a:r>
                <a:rPr lang="en-US" sz="1000">
                  <a:solidFill>
                    <a:srgbClr val="000000">
                      <a:lumMod val="75000"/>
                      <a:lumOff val="25000"/>
                    </a:srgbClr>
                  </a:solidFill>
                </a:rPr>
                <a:t>‘very or fairly </a:t>
              </a:r>
              <a:r>
                <a:rPr lang="en-US" sz="1000" b="1">
                  <a:solidFill>
                    <a:srgbClr val="000000">
                      <a:lumMod val="75000"/>
                      <a:lumOff val="25000"/>
                    </a:srgbClr>
                  </a:solidFill>
                </a:rPr>
                <a:t>confident’</a:t>
              </a:r>
              <a:r>
                <a:rPr lang="en-US" sz="1000">
                  <a:solidFill>
                    <a:srgbClr val="000000">
                      <a:lumMod val="75000"/>
                      <a:lumOff val="25000"/>
                    </a:srgbClr>
                  </a:solidFill>
                </a:rPr>
                <a:t> in managing any issues that arise as a result of their condition. </a:t>
              </a:r>
            </a:p>
            <a:p>
              <a:pPr marL="184150" lvl="0" indent="-184150">
                <a:spcBef>
                  <a:spcPts val="400"/>
                </a:spcBef>
                <a:spcAft>
                  <a:spcPts val="400"/>
                </a:spcAft>
                <a:buFont typeface="Arial" panose="020B0604020202020204" pitchFamily="34" charset="0"/>
                <a:buChar char="•"/>
              </a:pPr>
              <a:r>
                <a:rPr lang="en-US" sz="1000" b="1">
                  <a:solidFill>
                    <a:srgbClr val="000000">
                      <a:lumMod val="75000"/>
                      <a:lumOff val="25000"/>
                    </a:srgbClr>
                  </a:solidFill>
                </a:rPr>
                <a:t>39% of Autism patients </a:t>
              </a:r>
              <a:r>
                <a:rPr lang="en-US" sz="1000">
                  <a:solidFill>
                    <a:srgbClr val="000000">
                      <a:lumMod val="75000"/>
                      <a:lumOff val="25000"/>
                    </a:srgbClr>
                  </a:solidFill>
                </a:rPr>
                <a:t>nationally </a:t>
              </a:r>
              <a:r>
                <a:rPr lang="en-US" sz="1000" b="1">
                  <a:solidFill>
                    <a:srgbClr val="000000">
                      <a:lumMod val="75000"/>
                      <a:lumOff val="25000"/>
                    </a:srgbClr>
                  </a:solidFill>
                </a:rPr>
                <a:t>do not feel supported </a:t>
              </a:r>
              <a:r>
                <a:rPr lang="en-US" sz="1000">
                  <a:solidFill>
                    <a:srgbClr val="000000">
                      <a:lumMod val="75000"/>
                      <a:lumOff val="25000"/>
                    </a:srgbClr>
                  </a:solidFill>
                </a:rPr>
                <a:t>by their local services. </a:t>
              </a:r>
            </a:p>
            <a:p>
              <a:pPr marL="184150" lvl="0" indent="-184150">
                <a:spcBef>
                  <a:spcPts val="400"/>
                </a:spcBef>
                <a:spcAft>
                  <a:spcPts val="400"/>
                </a:spcAft>
                <a:buFont typeface="Arial" panose="020B0604020202020204" pitchFamily="34" charset="0"/>
                <a:buChar char="•"/>
              </a:pPr>
              <a:r>
                <a:rPr lang="en-US" sz="1000" b="1">
                  <a:solidFill>
                    <a:srgbClr val="000000">
                      <a:lumMod val="75000"/>
                      <a:lumOff val="25000"/>
                    </a:srgbClr>
                  </a:solidFill>
                </a:rPr>
                <a:t>Only 26% </a:t>
              </a:r>
              <a:r>
                <a:rPr lang="en-US" sz="1000">
                  <a:solidFill>
                    <a:srgbClr val="000000">
                      <a:lumMod val="75000"/>
                      <a:lumOff val="25000"/>
                    </a:srgbClr>
                  </a:solidFill>
                </a:rPr>
                <a:t>of NHS trusts in the Midlands </a:t>
              </a:r>
              <a:r>
                <a:rPr lang="en-US" sz="1000" b="1">
                  <a:solidFill>
                    <a:srgbClr val="000000">
                      <a:lumMod val="75000"/>
                      <a:lumOff val="25000"/>
                    </a:srgbClr>
                  </a:solidFill>
                </a:rPr>
                <a:t>have a policy </a:t>
              </a:r>
              <a:r>
                <a:rPr lang="en-US" sz="1000">
                  <a:solidFill>
                    <a:srgbClr val="000000">
                      <a:lumMod val="75000"/>
                      <a:lumOff val="25000"/>
                    </a:srgbClr>
                  </a:solidFill>
                </a:rPr>
                <a:t>that makes it clear </a:t>
              </a:r>
              <a:r>
                <a:rPr lang="en-US" sz="1000" b="1">
                  <a:solidFill>
                    <a:srgbClr val="000000">
                      <a:lumMod val="75000"/>
                      <a:lumOff val="25000"/>
                    </a:srgbClr>
                  </a:solidFill>
                </a:rPr>
                <a:t>that reasonable adjustments should be made </a:t>
              </a:r>
              <a:r>
                <a:rPr lang="en-US" sz="1000">
                  <a:solidFill>
                    <a:srgbClr val="000000">
                      <a:lumMod val="75000"/>
                      <a:lumOff val="25000"/>
                    </a:srgbClr>
                  </a:solidFill>
                </a:rPr>
                <a:t>for people with Autism.</a:t>
              </a:r>
            </a:p>
            <a:p>
              <a:pPr marL="184150" lvl="0" indent="-184150">
                <a:spcBef>
                  <a:spcPts val="400"/>
                </a:spcBef>
                <a:spcAft>
                  <a:spcPts val="400"/>
                </a:spcAft>
                <a:buFont typeface="Arial" panose="020B0604020202020204" pitchFamily="34" charset="0"/>
                <a:buChar char="•"/>
              </a:pPr>
              <a:r>
                <a:rPr lang="en-US" sz="1000" b="1">
                  <a:solidFill>
                    <a:srgbClr val="000000">
                      <a:lumMod val="75000"/>
                      <a:lumOff val="25000"/>
                    </a:srgbClr>
                  </a:solidFill>
                </a:rPr>
                <a:t>Patients with Autism stay in inpatient units longer </a:t>
              </a:r>
              <a:r>
                <a:rPr lang="en-US" sz="1000">
                  <a:solidFill>
                    <a:srgbClr val="000000">
                      <a:lumMod val="75000"/>
                      <a:lumOff val="25000"/>
                    </a:srgbClr>
                  </a:solidFill>
                </a:rPr>
                <a:t>than those with solely mental health challenges. </a:t>
              </a:r>
            </a:p>
          </p:txBody>
        </p:sp>
      </p:grpSp>
      <p:grpSp>
        <p:nvGrpSpPr>
          <p:cNvPr id="22" name="Group 21">
            <a:extLst>
              <a:ext uri="{FF2B5EF4-FFF2-40B4-BE49-F238E27FC236}">
                <a16:creationId xmlns:a16="http://schemas.microsoft.com/office/drawing/2014/main" id="{FDED7D77-F4ED-FD4A-8B1A-B87096F5A636}"/>
              </a:ext>
            </a:extLst>
          </p:cNvPr>
          <p:cNvGrpSpPr/>
          <p:nvPr/>
        </p:nvGrpSpPr>
        <p:grpSpPr>
          <a:xfrm>
            <a:off x="510636" y="4159017"/>
            <a:ext cx="8568965" cy="2294248"/>
            <a:chOff x="4782787" y="1094608"/>
            <a:chExt cx="4065938" cy="1720684"/>
          </a:xfrm>
        </p:grpSpPr>
        <p:sp>
          <p:nvSpPr>
            <p:cNvPr id="23" name="Rectangle 22">
              <a:extLst>
                <a:ext uri="{FF2B5EF4-FFF2-40B4-BE49-F238E27FC236}">
                  <a16:creationId xmlns:a16="http://schemas.microsoft.com/office/drawing/2014/main" id="{8BFA237E-7528-0642-B2F3-2659AE43B0BC}"/>
                </a:ext>
              </a:extLst>
            </p:cNvPr>
            <p:cNvSpPr/>
            <p:nvPr/>
          </p:nvSpPr>
          <p:spPr>
            <a:xfrm>
              <a:off x="4782787" y="1094608"/>
              <a:ext cx="4065938" cy="199823"/>
            </a:xfrm>
            <a:prstGeom prst="rect">
              <a:avLst/>
            </a:prstGeom>
            <a:solidFill>
              <a:srgbClr val="F0ECF3"/>
            </a:solidFill>
            <a:ln w="9525" cap="flat" cmpd="sng" algn="ctr">
              <a:solidFill>
                <a:srgbClr val="F0ECF3"/>
              </a:solidFill>
              <a:prstDash val="solid"/>
              <a:miter lim="800000"/>
            </a:ln>
            <a:effectLst/>
          </p:spPr>
          <p:txBody>
            <a:bodyPr rtlCol="0" anchor="ctr"/>
            <a:lstStyle/>
            <a:p>
              <a:pPr defTabSz="914377">
                <a:defRPr/>
              </a:pPr>
              <a:r>
                <a:rPr lang="en-GB" sz="1067" b="1">
                  <a:solidFill>
                    <a:srgbClr val="50235B"/>
                  </a:solidFill>
                  <a:latin typeface="Arial" panose="020B0604020202020204"/>
                </a:rPr>
                <a:t>Stakeholder Insights</a:t>
              </a:r>
            </a:p>
          </p:txBody>
        </p:sp>
        <p:sp>
          <p:nvSpPr>
            <p:cNvPr id="24" name="Rectangle 23">
              <a:extLst>
                <a:ext uri="{FF2B5EF4-FFF2-40B4-BE49-F238E27FC236}">
                  <a16:creationId xmlns:a16="http://schemas.microsoft.com/office/drawing/2014/main" id="{71660C57-FF23-C648-B333-F05E77884992}"/>
                </a:ext>
              </a:extLst>
            </p:cNvPr>
            <p:cNvSpPr/>
            <p:nvPr/>
          </p:nvSpPr>
          <p:spPr>
            <a:xfrm>
              <a:off x="4782787" y="1294431"/>
              <a:ext cx="4065938" cy="1520861"/>
            </a:xfrm>
            <a:prstGeom prst="rect">
              <a:avLst/>
            </a:prstGeom>
            <a:noFill/>
            <a:ln w="3175">
              <a:solidFill>
                <a:srgbClr val="F0ECF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4150" lvl="0" indent="-184150">
                <a:spcBef>
                  <a:spcPts val="400"/>
                </a:spcBef>
                <a:spcAft>
                  <a:spcPts val="400"/>
                </a:spcAft>
                <a:buFont typeface="Arial" panose="020B0604020202020204" pitchFamily="34" charset="0"/>
                <a:buChar char="•"/>
              </a:pPr>
              <a:r>
                <a:rPr lang="en-GB" sz="1000">
                  <a:solidFill>
                    <a:srgbClr val="000000">
                      <a:lumMod val="75000"/>
                      <a:lumOff val="25000"/>
                    </a:srgbClr>
                  </a:solidFill>
                </a:rPr>
                <a:t>There is a gap and challenge with service users with an autism only diagnosis who present with complex needs. The </a:t>
              </a:r>
              <a:r>
                <a:rPr lang="en-GB" sz="1000" b="1">
                  <a:solidFill>
                    <a:srgbClr val="000000">
                      <a:lumMod val="75000"/>
                      <a:lumOff val="25000"/>
                    </a:srgbClr>
                  </a:solidFill>
                </a:rPr>
                <a:t>current pathways do not meet the needs of this cohort </a:t>
              </a:r>
              <a:r>
                <a:rPr lang="en-GB" sz="1000">
                  <a:solidFill>
                    <a:srgbClr val="000000">
                      <a:lumMod val="75000"/>
                      <a:lumOff val="25000"/>
                    </a:srgbClr>
                  </a:solidFill>
                </a:rPr>
                <a:t>and there has been little to no investment to meet the needs of this particular cohort.</a:t>
              </a:r>
            </a:p>
            <a:p>
              <a:pPr marL="184150" lvl="0" indent="-184150">
                <a:spcBef>
                  <a:spcPts val="400"/>
                </a:spcBef>
                <a:spcAft>
                  <a:spcPts val="400"/>
                </a:spcAft>
                <a:buFont typeface="Arial" panose="020B0604020202020204" pitchFamily="34" charset="0"/>
                <a:buChar char="•"/>
              </a:pPr>
              <a:r>
                <a:rPr lang="en-GB" sz="1000">
                  <a:solidFill>
                    <a:srgbClr val="000000">
                      <a:lumMod val="75000"/>
                      <a:lumOff val="25000"/>
                    </a:srgbClr>
                  </a:solidFill>
                </a:rPr>
                <a:t>Autism </a:t>
              </a:r>
              <a:r>
                <a:rPr lang="en-GB" sz="1000" b="1">
                  <a:solidFill>
                    <a:srgbClr val="000000">
                      <a:lumMod val="75000"/>
                      <a:lumOff val="25000"/>
                    </a:srgbClr>
                  </a:solidFill>
                </a:rPr>
                <a:t>patients end up in hospital for longer </a:t>
              </a:r>
              <a:r>
                <a:rPr lang="en-GB" sz="1000">
                  <a:solidFill>
                    <a:srgbClr val="000000">
                      <a:lumMod val="75000"/>
                      <a:lumOff val="25000"/>
                    </a:srgbClr>
                  </a:solidFill>
                </a:rPr>
                <a:t>because they have nowhere to go, due to limited onward funded specialist community support routes.  </a:t>
              </a:r>
            </a:p>
            <a:p>
              <a:pPr marL="184150" lvl="0" indent="-184150">
                <a:spcBef>
                  <a:spcPts val="400"/>
                </a:spcBef>
                <a:spcAft>
                  <a:spcPts val="400"/>
                </a:spcAft>
                <a:buFont typeface="Arial" panose="020B0604020202020204" pitchFamily="34" charset="0"/>
                <a:buChar char="•"/>
              </a:pPr>
              <a:r>
                <a:rPr lang="en-GB" sz="1000" b="1">
                  <a:solidFill>
                    <a:srgbClr val="000000">
                      <a:lumMod val="75000"/>
                      <a:lumOff val="25000"/>
                    </a:srgbClr>
                  </a:solidFill>
                </a:rPr>
                <a:t>Hospitals and inpatient units are not Autism friendly environments</a:t>
              </a:r>
              <a:r>
                <a:rPr lang="en-GB" sz="1000">
                  <a:solidFill>
                    <a:srgbClr val="000000">
                      <a:lumMod val="75000"/>
                      <a:lumOff val="25000"/>
                    </a:srgbClr>
                  </a:solidFill>
                </a:rPr>
                <a:t>, with harsh lighting, loud noises often being triggers for distress in patients with Autism. </a:t>
              </a:r>
            </a:p>
            <a:p>
              <a:pPr marL="184150" lvl="0" indent="-184150">
                <a:spcBef>
                  <a:spcPts val="400"/>
                </a:spcBef>
                <a:spcAft>
                  <a:spcPts val="400"/>
                </a:spcAft>
                <a:buFont typeface="Arial" panose="020B0604020202020204" pitchFamily="34" charset="0"/>
                <a:buChar char="•"/>
              </a:pPr>
              <a:r>
                <a:rPr lang="en-GB" sz="1000">
                  <a:solidFill>
                    <a:srgbClr val="000000">
                      <a:lumMod val="75000"/>
                      <a:lumOff val="25000"/>
                    </a:srgbClr>
                  </a:solidFill>
                </a:rPr>
                <a:t>Across metal health wards there is a </a:t>
              </a:r>
              <a:r>
                <a:rPr lang="en-GB" sz="1000" b="1">
                  <a:solidFill>
                    <a:srgbClr val="000000">
                      <a:lumMod val="75000"/>
                      <a:lumOff val="25000"/>
                    </a:srgbClr>
                  </a:solidFill>
                </a:rPr>
                <a:t>limited understanding of the specific needs of people with Autism </a:t>
              </a:r>
              <a:r>
                <a:rPr lang="en-GB" sz="1000">
                  <a:solidFill>
                    <a:srgbClr val="000000">
                      <a:lumMod val="75000"/>
                      <a:lumOff val="25000"/>
                    </a:srgbClr>
                  </a:solidFill>
                </a:rPr>
                <a:t>and the adaptations in approach required. </a:t>
              </a:r>
            </a:p>
            <a:p>
              <a:pPr marL="184150" lvl="0" indent="-184150">
                <a:spcBef>
                  <a:spcPts val="400"/>
                </a:spcBef>
                <a:spcAft>
                  <a:spcPts val="400"/>
                </a:spcAft>
                <a:buFont typeface="Arial" panose="020B0604020202020204" pitchFamily="34" charset="0"/>
                <a:buChar char="•"/>
              </a:pPr>
              <a:r>
                <a:rPr lang="en-GB" sz="1000">
                  <a:solidFill>
                    <a:srgbClr val="000000">
                      <a:lumMod val="75000"/>
                      <a:lumOff val="25000"/>
                    </a:srgbClr>
                  </a:solidFill>
                </a:rPr>
                <a:t>Due to the limited knowledge and understanding of Autism, </a:t>
              </a:r>
              <a:r>
                <a:rPr lang="en-GB" sz="1000" b="1">
                  <a:solidFill>
                    <a:srgbClr val="000000">
                      <a:lumMod val="75000"/>
                      <a:lumOff val="25000"/>
                    </a:srgbClr>
                  </a:solidFill>
                </a:rPr>
                <a:t>carers are often excluded from care decisions </a:t>
              </a:r>
              <a:r>
                <a:rPr lang="en-GB" sz="1000">
                  <a:solidFill>
                    <a:srgbClr val="000000">
                      <a:lumMod val="75000"/>
                      <a:lumOff val="25000"/>
                    </a:srgbClr>
                  </a:solidFill>
                </a:rPr>
                <a:t>which can mean patients struggle to get care adapted to their needs. </a:t>
              </a:r>
            </a:p>
          </p:txBody>
        </p:sp>
      </p:grpSp>
      <p:sp>
        <p:nvSpPr>
          <p:cNvPr id="18" name="Rectangle 17">
            <a:extLst>
              <a:ext uri="{FF2B5EF4-FFF2-40B4-BE49-F238E27FC236}">
                <a16:creationId xmlns:a16="http://schemas.microsoft.com/office/drawing/2014/main" id="{3F58E5E0-13AA-204C-93CA-231D6A3FE11E}"/>
              </a:ext>
            </a:extLst>
          </p:cNvPr>
          <p:cNvSpPr/>
          <p:nvPr/>
        </p:nvSpPr>
        <p:spPr>
          <a:xfrm>
            <a:off x="9389950" y="1967314"/>
            <a:ext cx="2358602" cy="4485943"/>
          </a:xfrm>
          <a:prstGeom prst="rect">
            <a:avLst/>
          </a:prstGeom>
          <a:solidFill>
            <a:srgbClr val="F0ECF3"/>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100"/>
              </a:spcBef>
              <a:spcAft>
                <a:spcPts val="100"/>
              </a:spcAft>
            </a:pPr>
            <a:r>
              <a:rPr lang="en-GB" sz="1070" b="1">
                <a:solidFill>
                  <a:srgbClr val="50235B"/>
                </a:solidFill>
              </a:rPr>
              <a:t>What are other areas doing?</a:t>
            </a:r>
          </a:p>
        </p:txBody>
      </p:sp>
      <p:sp>
        <p:nvSpPr>
          <p:cNvPr id="2" name="TextBox 1">
            <a:extLst>
              <a:ext uri="{FF2B5EF4-FFF2-40B4-BE49-F238E27FC236}">
                <a16:creationId xmlns:a16="http://schemas.microsoft.com/office/drawing/2014/main" id="{6E1954EE-44FB-904B-BCCF-A823E5E905B8}"/>
              </a:ext>
            </a:extLst>
          </p:cNvPr>
          <p:cNvSpPr txBox="1"/>
          <p:nvPr/>
        </p:nvSpPr>
        <p:spPr>
          <a:xfrm>
            <a:off x="9389951" y="2272210"/>
            <a:ext cx="2358602" cy="4247317"/>
          </a:xfrm>
          <a:prstGeom prst="rect">
            <a:avLst/>
          </a:prstGeom>
          <a:noFill/>
        </p:spPr>
        <p:txBody>
          <a:bodyPr wrap="square" rtlCol="0">
            <a:spAutoFit/>
          </a:bodyPr>
          <a:lstStyle/>
          <a:p>
            <a:r>
              <a:rPr lang="en-GB" sz="1000">
                <a:solidFill>
                  <a:schemeClr val="tx1">
                    <a:lumMod val="75000"/>
                    <a:lumOff val="25000"/>
                  </a:schemeClr>
                </a:solidFill>
              </a:rPr>
              <a:t>	Morecambe Bay 	University Hospitals 	developed a simple but comprehensive Autism passport scheme for all people with Autism accessing trust services. The Autism passport can be completed digitally or by hand, it has a clear overview of Autism to support staff interacting with a patient, it also has simple to read and easy to answer questions for the patient to complete on how they respond to different common challenge areas such as lighting, noise and sound as well as requests on how best to communicate with the patient. </a:t>
            </a:r>
          </a:p>
          <a:p>
            <a:endParaRPr lang="en-GB" sz="1000">
              <a:solidFill>
                <a:schemeClr val="tx1">
                  <a:lumMod val="75000"/>
                  <a:lumOff val="25000"/>
                </a:schemeClr>
              </a:solidFill>
            </a:endParaRPr>
          </a:p>
          <a:p>
            <a:r>
              <a:rPr lang="en-GB" sz="1000">
                <a:solidFill>
                  <a:schemeClr val="tx1">
                    <a:lumMod val="75000"/>
                    <a:lumOff val="25000"/>
                  </a:schemeClr>
                </a:solidFill>
              </a:rPr>
              <a:t>This is completed by all people with Autism prior to entering into services, it is then sent to a single named point of contact who is responsible for uploading it onto the patient record and providing any additional advice or support to staff in its use. It has been extremely successful in improving the experiences of people with Autism across the trust.</a:t>
            </a:r>
          </a:p>
        </p:txBody>
      </p:sp>
      <p:pic>
        <p:nvPicPr>
          <p:cNvPr id="40962" name="Picture 2" descr="University Hospitals of Morecambe Bay NHS Foundation Trust - Home | Facebook">
            <a:extLst>
              <a:ext uri="{FF2B5EF4-FFF2-40B4-BE49-F238E27FC236}">
                <a16:creationId xmlns:a16="http://schemas.microsoft.com/office/drawing/2014/main" id="{94F59199-1AB3-3748-BF6F-72E7CD2A7EE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438" t="29507" r="5048" b="29702"/>
          <a:stretch/>
        </p:blipFill>
        <p:spPr bwMode="auto">
          <a:xfrm>
            <a:off x="9539152" y="2352115"/>
            <a:ext cx="770708" cy="34733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3" name="Table 12">
            <a:extLst>
              <a:ext uri="{FF2B5EF4-FFF2-40B4-BE49-F238E27FC236}">
                <a16:creationId xmlns:a16="http://schemas.microsoft.com/office/drawing/2014/main" id="{7DAE8A8C-598D-FE47-9ACE-A538CF886030}"/>
              </a:ext>
            </a:extLst>
          </p:cNvPr>
          <p:cNvGraphicFramePr>
            <a:graphicFrameLocks noGrp="1"/>
          </p:cNvGraphicFramePr>
          <p:nvPr>
            <p:extLst>
              <p:ext uri="{D42A27DB-BD31-4B8C-83A1-F6EECF244321}">
                <p14:modId xmlns:p14="http://schemas.microsoft.com/office/powerpoint/2010/main" val="3184630733"/>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A"/>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Tree>
    <p:extLst>
      <p:ext uri="{BB962C8B-B14F-4D97-AF65-F5344CB8AC3E}">
        <p14:creationId xmlns:p14="http://schemas.microsoft.com/office/powerpoint/2010/main" val="12912179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22AF2B-CD1C-8742-ABF2-F47A44879B64}"/>
              </a:ext>
            </a:extLst>
          </p:cNvPr>
          <p:cNvSpPr>
            <a:spLocks noGrp="1"/>
          </p:cNvSpPr>
          <p:nvPr>
            <p:ph type="title"/>
          </p:nvPr>
        </p:nvSpPr>
        <p:spPr>
          <a:xfrm>
            <a:off x="510638" y="297277"/>
            <a:ext cx="6255357" cy="434010"/>
          </a:xfrm>
        </p:spPr>
        <p:txBody>
          <a:bodyPr/>
          <a:lstStyle/>
          <a:p>
            <a:r>
              <a:rPr lang="en-GB"/>
              <a:t>Mental health &amp; Autism – Journey map</a:t>
            </a:r>
          </a:p>
        </p:txBody>
      </p:sp>
      <p:graphicFrame>
        <p:nvGraphicFramePr>
          <p:cNvPr id="108" name="Table 24">
            <a:extLst>
              <a:ext uri="{FF2B5EF4-FFF2-40B4-BE49-F238E27FC236}">
                <a16:creationId xmlns:a16="http://schemas.microsoft.com/office/drawing/2014/main" id="{9F8761E9-CE1E-FF42-A82E-1D3212585600}"/>
              </a:ext>
            </a:extLst>
          </p:cNvPr>
          <p:cNvGraphicFramePr>
            <a:graphicFrameLocks noGrp="1"/>
          </p:cNvGraphicFramePr>
          <p:nvPr>
            <p:extLst>
              <p:ext uri="{D42A27DB-BD31-4B8C-83A1-F6EECF244321}">
                <p14:modId xmlns:p14="http://schemas.microsoft.com/office/powerpoint/2010/main" val="1832538156"/>
              </p:ext>
            </p:extLst>
          </p:nvPr>
        </p:nvGraphicFramePr>
        <p:xfrm>
          <a:off x="181573" y="946181"/>
          <a:ext cx="11515195" cy="5454619"/>
        </p:xfrm>
        <a:graphic>
          <a:graphicData uri="http://schemas.openxmlformats.org/drawingml/2006/table">
            <a:tbl>
              <a:tblPr/>
              <a:tblGrid>
                <a:gridCol w="967964">
                  <a:extLst>
                    <a:ext uri="{9D8B030D-6E8A-4147-A177-3AD203B41FA5}">
                      <a16:colId xmlns:a16="http://schemas.microsoft.com/office/drawing/2014/main" val="2927554375"/>
                    </a:ext>
                  </a:extLst>
                </a:gridCol>
                <a:gridCol w="10547231">
                  <a:extLst>
                    <a:ext uri="{9D8B030D-6E8A-4147-A177-3AD203B41FA5}">
                      <a16:colId xmlns:a16="http://schemas.microsoft.com/office/drawing/2014/main" val="1597772214"/>
                    </a:ext>
                  </a:extLst>
                </a:gridCol>
              </a:tblGrid>
              <a:tr h="390235">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r>
                        <a:rPr lang="en-GB" sz="1100" b="1">
                          <a:solidFill>
                            <a:srgbClr val="50235B"/>
                          </a:solidFill>
                          <a:latin typeface="Calibri" panose="020F0502020204030204" pitchFamily="34" charset="0"/>
                          <a:cs typeface="Calibri" panose="020F0502020204030204" pitchFamily="34" charset="0"/>
                        </a:rPr>
                        <a:t>Stages</a:t>
                      </a:r>
                    </a:p>
                  </a:txBody>
                  <a:tcPr marL="121920" marR="121920" marT="60960" marB="60960" anchor="ctr">
                    <a:lnL w="12700" cap="flat" cmpd="sng" algn="ctr">
                      <a:solidFill>
                        <a:srgbClr val="FFFFFF">
                          <a:lumMod val="85000"/>
                        </a:srgbClr>
                      </a:solidFill>
                      <a:prstDash val="solid"/>
                      <a:round/>
                      <a:headEnd type="none" w="med" len="med"/>
                      <a:tailEnd type="none" w="med" len="med"/>
                    </a:lnL>
                    <a:lnR w="12700" cap="flat" cmpd="sng" algn="ctr">
                      <a:solidFill>
                        <a:srgbClr val="FFFFFF">
                          <a:lumMod val="85000"/>
                        </a:srgbClr>
                      </a:solidFill>
                      <a:prstDash val="solid"/>
                      <a:round/>
                      <a:headEnd type="none" w="med" len="med"/>
                      <a:tailEnd type="none" w="med" len="med"/>
                    </a:lnR>
                    <a:lnT w="12700" cap="flat" cmpd="sng" algn="ctr">
                      <a:solidFill>
                        <a:srgbClr val="DADADA"/>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endParaRPr lang="en-GB" sz="1200" b="1">
                        <a:solidFill>
                          <a:schemeClr val="bg2"/>
                        </a:solidFill>
                        <a:latin typeface="Calibri" panose="020F0502020204030204" pitchFamily="34" charset="0"/>
                        <a:cs typeface="Calibri" panose="020F0502020204030204" pitchFamily="34" charset="0"/>
                      </a:endParaRPr>
                    </a:p>
                  </a:txBody>
                  <a:tcPr marL="121920" marR="121920" marT="60960" marB="60960">
                    <a:lnL w="12700" cap="flat" cmpd="sng" algn="ctr">
                      <a:solidFill>
                        <a:srgbClr val="FFFFFF">
                          <a:lumMod val="85000"/>
                        </a:srgbClr>
                      </a:solidFill>
                      <a:prstDash val="solid"/>
                      <a:round/>
                      <a:headEnd type="none" w="med" len="med"/>
                      <a:tailEnd type="none" w="med" len="med"/>
                    </a:lnL>
                    <a:lnR w="12700" cap="flat" cmpd="sng" algn="ctr">
                      <a:solidFill>
                        <a:srgbClr val="FFFFFF">
                          <a:lumMod val="85000"/>
                        </a:srgbClr>
                      </a:solidFill>
                      <a:prstDash val="solid"/>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423482"/>
                  </a:ext>
                </a:extLst>
              </a:tr>
              <a:tr h="519514">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r>
                        <a:rPr lang="en-GB" sz="1100" b="1">
                          <a:solidFill>
                            <a:srgbClr val="50235B"/>
                          </a:solidFill>
                          <a:latin typeface="Calibri" panose="020F0502020204030204" pitchFamily="34" charset="0"/>
                          <a:cs typeface="Calibri" panose="020F0502020204030204" pitchFamily="34" charset="0"/>
                        </a:rPr>
                        <a:t>Information sharing</a:t>
                      </a:r>
                    </a:p>
                  </a:txBody>
                  <a:tcPr marL="121920" marR="121920" marT="60960" marB="60960" anchor="ctr">
                    <a:lnL w="12700" cap="flat" cmpd="sng" algn="ctr">
                      <a:solidFill>
                        <a:srgbClr val="FFFFFF">
                          <a:lumMod val="85000"/>
                        </a:srgbClr>
                      </a:solidFill>
                      <a:prstDash val="solid"/>
                      <a:round/>
                      <a:headEnd type="none" w="med" len="med"/>
                      <a:tailEnd type="none" w="med" len="med"/>
                    </a:lnL>
                    <a:lnR w="12700" cap="flat" cmpd="sng" algn="ctr">
                      <a:solidFill>
                        <a:srgbClr val="FFFFFF">
                          <a:lumMod val="8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endParaRPr lang="en-GB" sz="1200" b="1">
                        <a:solidFill>
                          <a:schemeClr val="bg2"/>
                        </a:solidFill>
                        <a:latin typeface="Calibri" panose="020F0502020204030204" pitchFamily="34" charset="0"/>
                        <a:cs typeface="Calibri" panose="020F0502020204030204" pitchFamily="34" charset="0"/>
                      </a:endParaRPr>
                    </a:p>
                  </a:txBody>
                  <a:tcPr marL="121920" marR="121920" marT="60960" marB="60960">
                    <a:lnL w="12700" cap="flat" cmpd="sng" algn="ctr">
                      <a:solidFill>
                        <a:srgbClr val="FFFFFF">
                          <a:lumMod val="85000"/>
                        </a:srgbClr>
                      </a:solidFill>
                      <a:prstDash val="solid"/>
                      <a:round/>
                      <a:headEnd type="none" w="med" len="med"/>
                      <a:tailEnd type="none" w="med" len="med"/>
                    </a:lnL>
                    <a:lnR w="12700" cap="flat" cmpd="sng" algn="ctr">
                      <a:solidFill>
                        <a:srgbClr val="FFFFFF">
                          <a:lumMod val="85000"/>
                        </a:srgbClr>
                      </a:solidFill>
                      <a:prstDash val="solid"/>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7430533"/>
                  </a:ext>
                </a:extLst>
              </a:tr>
              <a:tr h="4544870">
                <a:tc>
                  <a:txBody>
                    <a:bodyPr/>
                    <a:lstStyle>
                      <a:lvl1pPr marL="0"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1pPr>
                      <a:lvl2pPr marL="457051"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2pPr>
                      <a:lvl3pPr marL="914103"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3pPr>
                      <a:lvl4pPr marL="1371154"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4pPr>
                      <a:lvl5pPr marL="1828206"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5pPr>
                      <a:lvl6pPr marL="2285257"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6pPr>
                      <a:lvl7pPr marL="2742308"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7pPr>
                      <a:lvl8pPr marL="3199360"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8pPr>
                      <a:lvl9pPr marL="3656411"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9pPr>
                    </a:lstStyle>
                    <a:p>
                      <a:r>
                        <a:rPr lang="en-GB" sz="1100" b="1">
                          <a:solidFill>
                            <a:srgbClr val="50235B"/>
                          </a:solidFill>
                          <a:latin typeface="Calibri" panose="020F0502020204030204" pitchFamily="34" charset="0"/>
                          <a:cs typeface="Calibri" panose="020F0502020204030204" pitchFamily="34" charset="0"/>
                        </a:rPr>
                        <a:t>Patient journey</a:t>
                      </a:r>
                      <a:endParaRPr lang="en-GB" sz="600" b="0">
                        <a:solidFill>
                          <a:srgbClr val="50235B"/>
                        </a:solidFill>
                        <a:latin typeface="Calibri" panose="020F0502020204030204" pitchFamily="34" charset="0"/>
                        <a:cs typeface="Calibri" panose="020F0502020204030204" pitchFamily="34" charset="0"/>
                      </a:endParaRPr>
                    </a:p>
                  </a:txBody>
                  <a:tcPr marL="121920" marR="121920" marT="60960" marB="60960" anchor="ctr">
                    <a:lnL w="12700" cap="flat" cmpd="sng" algn="ctr">
                      <a:solidFill>
                        <a:srgbClr val="FFFFFF">
                          <a:lumMod val="85000"/>
                        </a:srgbClr>
                      </a:solidFill>
                      <a:prstDash val="solid"/>
                      <a:round/>
                      <a:headEnd type="none" w="med" len="med"/>
                      <a:tailEnd type="none" w="med" len="med"/>
                    </a:lnL>
                    <a:lnR w="12700" cap="flat" cmpd="sng" algn="ctr">
                      <a:solidFill>
                        <a:srgbClr val="FFFFFF">
                          <a:lumMod val="8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1pPr>
                      <a:lvl2pPr marL="457051"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2pPr>
                      <a:lvl3pPr marL="914103"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3pPr>
                      <a:lvl4pPr marL="1371154"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4pPr>
                      <a:lvl5pPr marL="1828206"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5pPr>
                      <a:lvl6pPr marL="2285257"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6pPr>
                      <a:lvl7pPr marL="2742308"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7pPr>
                      <a:lvl8pPr marL="3199360"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8pPr>
                      <a:lvl9pPr marL="3656411"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9pPr>
                    </a:lstStyle>
                    <a:p>
                      <a:endParaRPr lang="en-GB" sz="1200" b="1">
                        <a:solidFill>
                          <a:schemeClr val="bg2"/>
                        </a:solidFill>
                        <a:latin typeface="Calibri" panose="020F0502020204030204" pitchFamily="34" charset="0"/>
                        <a:cs typeface="Calibri" panose="020F0502020204030204" pitchFamily="34" charset="0"/>
                      </a:endParaRPr>
                    </a:p>
                  </a:txBody>
                  <a:tcPr marL="121920" marR="121920" marT="60960" marB="60960">
                    <a:lnL w="12700" cap="flat" cmpd="sng" algn="ctr">
                      <a:solidFill>
                        <a:srgbClr val="FFFFFF">
                          <a:lumMod val="85000"/>
                        </a:srgbClr>
                      </a:solidFill>
                      <a:prstDash val="solid"/>
                      <a:round/>
                      <a:headEnd type="none" w="med" len="med"/>
                      <a:tailEnd type="none" w="med" len="med"/>
                    </a:lnL>
                    <a:lnR w="12700" cap="flat" cmpd="sng" algn="ctr">
                      <a:solidFill>
                        <a:srgbClr val="FFFFFF">
                          <a:lumMod val="85000"/>
                        </a:srgbClr>
                      </a:solidFill>
                      <a:prstDash val="solid"/>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85016580"/>
                  </a:ext>
                </a:extLst>
              </a:tr>
            </a:tbl>
          </a:graphicData>
        </a:graphic>
      </p:graphicFrame>
      <p:sp>
        <p:nvSpPr>
          <p:cNvPr id="112" name="Pentagon 111">
            <a:extLst>
              <a:ext uri="{FF2B5EF4-FFF2-40B4-BE49-F238E27FC236}">
                <a16:creationId xmlns:a16="http://schemas.microsoft.com/office/drawing/2014/main" id="{D43C51F4-8170-FC48-8329-D0B64EBAB929}"/>
              </a:ext>
            </a:extLst>
          </p:cNvPr>
          <p:cNvSpPr/>
          <p:nvPr/>
        </p:nvSpPr>
        <p:spPr>
          <a:xfrm>
            <a:off x="8375559" y="952027"/>
            <a:ext cx="3321210" cy="360000"/>
          </a:xfrm>
          <a:prstGeom prst="homePlate">
            <a:avLst/>
          </a:prstGeom>
          <a:solidFill>
            <a:srgbClr val="5B9BD5">
              <a:lumMod val="60000"/>
              <a:lumOff val="40000"/>
            </a:srgbClr>
          </a:solidFill>
          <a:ln w="12700" cap="flat" cmpd="sng" algn="ctr">
            <a:noFill/>
            <a:prstDash val="solid"/>
            <a:miter lim="800000"/>
          </a:ln>
          <a:effectLst/>
        </p:spPr>
        <p:txBody>
          <a:bodyPr rtlCol="0" anchor="ctr"/>
          <a:lstStyle/>
          <a:p>
            <a:pPr algn="ctr" defTabSz="1219140">
              <a:defRPr/>
            </a:pPr>
            <a:r>
              <a:rPr lang="en-GB" sz="1067" b="1" kern="0">
                <a:solidFill>
                  <a:srgbClr val="FFFFFF"/>
                </a:solidFill>
                <a:latin typeface="Calibri" panose="020F0502020204030204" pitchFamily="34" charset="0"/>
                <a:cs typeface="Calibri" panose="020F0502020204030204" pitchFamily="34" charset="0"/>
              </a:rPr>
              <a:t>Discharge</a:t>
            </a:r>
          </a:p>
        </p:txBody>
      </p:sp>
      <p:sp>
        <p:nvSpPr>
          <p:cNvPr id="113" name="Pentagon 112">
            <a:extLst>
              <a:ext uri="{FF2B5EF4-FFF2-40B4-BE49-F238E27FC236}">
                <a16:creationId xmlns:a16="http://schemas.microsoft.com/office/drawing/2014/main" id="{58131F6E-5B8D-964E-92D6-43BC1995C8AA}"/>
              </a:ext>
            </a:extLst>
          </p:cNvPr>
          <p:cNvSpPr/>
          <p:nvPr/>
        </p:nvSpPr>
        <p:spPr>
          <a:xfrm>
            <a:off x="5094514" y="952027"/>
            <a:ext cx="3542315" cy="360000"/>
          </a:xfrm>
          <a:prstGeom prst="homePlate">
            <a:avLst/>
          </a:prstGeom>
          <a:solidFill>
            <a:srgbClr val="5B9BD5">
              <a:lumMod val="75000"/>
            </a:srgbClr>
          </a:solidFill>
          <a:ln w="12700" cap="flat" cmpd="sng" algn="ctr">
            <a:noFill/>
            <a:prstDash val="solid"/>
            <a:miter lim="800000"/>
          </a:ln>
          <a:effectLst/>
        </p:spPr>
        <p:txBody>
          <a:bodyPr rtlCol="0" anchor="ctr"/>
          <a:lstStyle/>
          <a:p>
            <a:pPr algn="ctr" defTabSz="1219140">
              <a:defRPr/>
            </a:pPr>
            <a:r>
              <a:rPr lang="en-GB" sz="1067" b="1" kern="0">
                <a:solidFill>
                  <a:srgbClr val="FFFFFF"/>
                </a:solidFill>
                <a:latin typeface="Calibri" panose="020F0502020204030204" pitchFamily="34" charset="0"/>
                <a:cs typeface="Calibri" panose="020F0502020204030204" pitchFamily="34" charset="0"/>
              </a:rPr>
              <a:t>Treatment</a:t>
            </a:r>
          </a:p>
        </p:txBody>
      </p:sp>
      <p:sp>
        <p:nvSpPr>
          <p:cNvPr id="114" name="Pentagon 113">
            <a:extLst>
              <a:ext uri="{FF2B5EF4-FFF2-40B4-BE49-F238E27FC236}">
                <a16:creationId xmlns:a16="http://schemas.microsoft.com/office/drawing/2014/main" id="{F784E44E-1BF3-C646-918B-43C4D64E7BDB}"/>
              </a:ext>
            </a:extLst>
          </p:cNvPr>
          <p:cNvSpPr/>
          <p:nvPr/>
        </p:nvSpPr>
        <p:spPr>
          <a:xfrm>
            <a:off x="3357155" y="952027"/>
            <a:ext cx="1920240" cy="360000"/>
          </a:xfrm>
          <a:prstGeom prst="homePlate">
            <a:avLst/>
          </a:prstGeom>
          <a:solidFill>
            <a:srgbClr val="5B9BD5">
              <a:lumMod val="50000"/>
            </a:srgbClr>
          </a:solidFill>
          <a:ln w="12700" cap="flat" cmpd="sng" algn="ctr">
            <a:noFill/>
            <a:prstDash val="solid"/>
            <a:miter lim="800000"/>
          </a:ln>
          <a:effectLst/>
        </p:spPr>
        <p:txBody>
          <a:bodyPr rtlCol="0" anchor="ctr"/>
          <a:lstStyle/>
          <a:p>
            <a:pPr algn="ctr" defTabSz="1219140">
              <a:defRPr/>
            </a:pPr>
            <a:r>
              <a:rPr lang="en-GB" sz="1067" b="1" kern="0">
                <a:solidFill>
                  <a:srgbClr val="FFFFFF"/>
                </a:solidFill>
                <a:latin typeface="Calibri" panose="020F0502020204030204" pitchFamily="34" charset="0"/>
                <a:cs typeface="Calibri" panose="020F0502020204030204" pitchFamily="34" charset="0"/>
              </a:rPr>
              <a:t>Diagnostics</a:t>
            </a:r>
          </a:p>
        </p:txBody>
      </p:sp>
      <p:sp>
        <p:nvSpPr>
          <p:cNvPr id="115" name="Pentagon 114">
            <a:extLst>
              <a:ext uri="{FF2B5EF4-FFF2-40B4-BE49-F238E27FC236}">
                <a16:creationId xmlns:a16="http://schemas.microsoft.com/office/drawing/2014/main" id="{0A0C8264-0F07-034A-955C-2EC0B7E08601}"/>
              </a:ext>
            </a:extLst>
          </p:cNvPr>
          <p:cNvSpPr/>
          <p:nvPr/>
        </p:nvSpPr>
        <p:spPr>
          <a:xfrm>
            <a:off x="1158462" y="952027"/>
            <a:ext cx="2396711" cy="360000"/>
          </a:xfrm>
          <a:prstGeom prst="homePlate">
            <a:avLst/>
          </a:prstGeom>
          <a:solidFill>
            <a:srgbClr val="002060"/>
          </a:solidFill>
          <a:ln w="12700" cap="flat" cmpd="sng" algn="ctr">
            <a:noFill/>
            <a:prstDash val="solid"/>
            <a:miter lim="800000"/>
          </a:ln>
          <a:effectLst/>
        </p:spPr>
        <p:txBody>
          <a:bodyPr rtlCol="0" anchor="ctr"/>
          <a:lstStyle/>
          <a:p>
            <a:pPr algn="ctr" defTabSz="1219140">
              <a:defRPr/>
            </a:pPr>
            <a:r>
              <a:rPr lang="en-GB" sz="1067" b="1" kern="0">
                <a:solidFill>
                  <a:srgbClr val="FFFFFF"/>
                </a:solidFill>
                <a:latin typeface="Calibri" panose="020F0502020204030204" pitchFamily="34" charset="0"/>
                <a:cs typeface="Calibri" panose="020F0502020204030204" pitchFamily="34" charset="0"/>
              </a:rPr>
              <a:t>Recognition</a:t>
            </a:r>
          </a:p>
        </p:txBody>
      </p:sp>
      <p:cxnSp>
        <p:nvCxnSpPr>
          <p:cNvPr id="208" name="Curved Connector 207">
            <a:extLst>
              <a:ext uri="{FF2B5EF4-FFF2-40B4-BE49-F238E27FC236}">
                <a16:creationId xmlns:a16="http://schemas.microsoft.com/office/drawing/2014/main" id="{D1B346B2-8C04-1E41-923E-716D25688D08}"/>
              </a:ext>
            </a:extLst>
          </p:cNvPr>
          <p:cNvCxnSpPr>
            <a:cxnSpLocks/>
            <a:stCxn id="29" idx="1"/>
          </p:cNvCxnSpPr>
          <p:nvPr/>
        </p:nvCxnSpPr>
        <p:spPr>
          <a:xfrm rot="10800000">
            <a:off x="3264074" y="3250388"/>
            <a:ext cx="990974" cy="781383"/>
          </a:xfrm>
          <a:prstGeom prst="curvedConnector3">
            <a:avLst>
              <a:gd name="adj1" fmla="val 50000"/>
            </a:avLst>
          </a:prstGeom>
          <a:noFill/>
          <a:ln w="57150" cap="flat" cmpd="sng" algn="ctr">
            <a:gradFill>
              <a:gsLst>
                <a:gs pos="100000">
                  <a:srgbClr val="FF0000">
                    <a:alpha val="40555"/>
                  </a:srgbClr>
                </a:gs>
                <a:gs pos="0">
                  <a:srgbClr val="ED7D31">
                    <a:lumMod val="40000"/>
                    <a:lumOff val="60000"/>
                  </a:srgbClr>
                </a:gs>
                <a:gs pos="100000">
                  <a:srgbClr val="ED7D31">
                    <a:lumMod val="60000"/>
                    <a:lumOff val="40000"/>
                  </a:srgbClr>
                </a:gs>
              </a:gsLst>
              <a:lin ang="10800000" scaled="0"/>
            </a:gradFill>
            <a:prstDash val="solid"/>
          </a:ln>
          <a:effectLst/>
        </p:spPr>
      </p:cxnSp>
      <p:cxnSp>
        <p:nvCxnSpPr>
          <p:cNvPr id="209" name="Curved Connector 208">
            <a:extLst>
              <a:ext uri="{FF2B5EF4-FFF2-40B4-BE49-F238E27FC236}">
                <a16:creationId xmlns:a16="http://schemas.microsoft.com/office/drawing/2014/main" id="{96008573-8672-9D47-92D3-1BC3A30FC5CC}"/>
              </a:ext>
            </a:extLst>
          </p:cNvPr>
          <p:cNvCxnSpPr>
            <a:cxnSpLocks/>
            <a:stCxn id="8" idx="1"/>
            <a:endCxn id="12" idx="3"/>
          </p:cNvCxnSpPr>
          <p:nvPr/>
        </p:nvCxnSpPr>
        <p:spPr>
          <a:xfrm rot="10800000" flipV="1">
            <a:off x="1920989" y="3205406"/>
            <a:ext cx="1094687" cy="827410"/>
          </a:xfrm>
          <a:prstGeom prst="curvedConnector3">
            <a:avLst>
              <a:gd name="adj1" fmla="val 50000"/>
            </a:avLst>
          </a:prstGeom>
          <a:noFill/>
          <a:ln w="57150" cap="flat" cmpd="sng" algn="ctr">
            <a:gradFill>
              <a:gsLst>
                <a:gs pos="0">
                  <a:srgbClr val="ED7D31">
                    <a:lumMod val="40000"/>
                    <a:lumOff val="60000"/>
                  </a:srgbClr>
                </a:gs>
                <a:gs pos="100000">
                  <a:srgbClr val="ED7D31">
                    <a:lumMod val="60000"/>
                    <a:lumOff val="40000"/>
                  </a:srgbClr>
                </a:gs>
              </a:gsLst>
              <a:lin ang="10800000" scaled="0"/>
            </a:gradFill>
            <a:prstDash val="solid"/>
          </a:ln>
          <a:effectLst/>
        </p:spPr>
      </p:cxnSp>
      <p:pic>
        <p:nvPicPr>
          <p:cNvPr id="12" name="Graphic 11" descr="Run outline">
            <a:extLst>
              <a:ext uri="{FF2B5EF4-FFF2-40B4-BE49-F238E27FC236}">
                <a16:creationId xmlns:a16="http://schemas.microsoft.com/office/drawing/2014/main" id="{0EF390D8-24E4-ED4C-A4DB-1BF18B52C3CB}"/>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l="1922" r="1922"/>
          <a:stretch/>
        </p:blipFill>
        <p:spPr>
          <a:xfrm>
            <a:off x="1680129" y="3907570"/>
            <a:ext cx="240859" cy="250491"/>
          </a:xfrm>
          <a:prstGeom prst="rect">
            <a:avLst/>
          </a:prstGeom>
        </p:spPr>
      </p:pic>
      <p:sp>
        <p:nvSpPr>
          <p:cNvPr id="13" name="TextBox 12">
            <a:extLst>
              <a:ext uri="{FF2B5EF4-FFF2-40B4-BE49-F238E27FC236}">
                <a16:creationId xmlns:a16="http://schemas.microsoft.com/office/drawing/2014/main" id="{2EE0AC73-5859-424E-856C-A82C68C1F474}"/>
              </a:ext>
            </a:extLst>
          </p:cNvPr>
          <p:cNvSpPr txBox="1"/>
          <p:nvPr/>
        </p:nvSpPr>
        <p:spPr>
          <a:xfrm>
            <a:off x="1343094" y="4195149"/>
            <a:ext cx="914927" cy="415498"/>
          </a:xfrm>
          <a:prstGeom prst="rect">
            <a:avLst/>
          </a:prstGeom>
          <a:noFill/>
          <a:ln>
            <a:noFill/>
          </a:ln>
        </p:spPr>
        <p:txBody>
          <a:bodyPr wrap="square" rtlCol="0">
            <a:spAutoFit/>
          </a:bodyPr>
          <a:lstStyle/>
          <a:p>
            <a:pPr defTabSz="914377"/>
            <a:r>
              <a:rPr lang="en-US" sz="700" b="1">
                <a:solidFill>
                  <a:schemeClr val="tx1">
                    <a:lumMod val="65000"/>
                    <a:lumOff val="35000"/>
                  </a:schemeClr>
                </a:solidFill>
                <a:latin typeface="Calibri" panose="020F0502020204030204" pitchFamily="34" charset="0"/>
                <a:cs typeface="Calibri" panose="020F0502020204030204" pitchFamily="34" charset="0"/>
              </a:rPr>
              <a:t>Service user has a deterioration of their mental health</a:t>
            </a:r>
            <a:endParaRPr lang="en-GB" sz="700" b="1">
              <a:solidFill>
                <a:schemeClr val="tx1">
                  <a:lumMod val="65000"/>
                  <a:lumOff val="35000"/>
                </a:schemeClr>
              </a:solidFill>
              <a:latin typeface="Calibri" panose="020F0502020204030204" pitchFamily="34" charset="0"/>
              <a:cs typeface="Calibri" panose="020F0502020204030204" pitchFamily="34" charset="0"/>
            </a:endParaRPr>
          </a:p>
        </p:txBody>
      </p:sp>
      <p:pic>
        <p:nvPicPr>
          <p:cNvPr id="8" name="Graphic 7" descr="Receiver outline">
            <a:extLst>
              <a:ext uri="{FF2B5EF4-FFF2-40B4-BE49-F238E27FC236}">
                <a16:creationId xmlns:a16="http://schemas.microsoft.com/office/drawing/2014/main" id="{EFD8EADA-D652-4C44-A475-6C8BFC830CF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015675" y="3081206"/>
            <a:ext cx="248400" cy="248400"/>
          </a:xfrm>
          <a:prstGeom prst="rect">
            <a:avLst/>
          </a:prstGeom>
        </p:spPr>
      </p:pic>
      <p:sp>
        <p:nvSpPr>
          <p:cNvPr id="21" name="TextBox 20">
            <a:extLst>
              <a:ext uri="{FF2B5EF4-FFF2-40B4-BE49-F238E27FC236}">
                <a16:creationId xmlns:a16="http://schemas.microsoft.com/office/drawing/2014/main" id="{ED95BD22-56CE-B042-9207-0743ADEA275E}"/>
              </a:ext>
            </a:extLst>
          </p:cNvPr>
          <p:cNvSpPr txBox="1"/>
          <p:nvPr/>
        </p:nvSpPr>
        <p:spPr>
          <a:xfrm>
            <a:off x="2806611" y="3299358"/>
            <a:ext cx="914927" cy="415498"/>
          </a:xfrm>
          <a:prstGeom prst="rect">
            <a:avLst/>
          </a:prstGeom>
          <a:noFill/>
          <a:ln>
            <a:noFill/>
          </a:ln>
        </p:spPr>
        <p:txBody>
          <a:bodyPr wrap="square" rtlCol="0">
            <a:spAutoFit/>
          </a:bodyPr>
          <a:lstStyle/>
          <a:p>
            <a:pPr defTabSz="914377"/>
            <a:r>
              <a:rPr lang="en-US" sz="700" b="1">
                <a:solidFill>
                  <a:schemeClr val="tx1">
                    <a:lumMod val="65000"/>
                    <a:lumOff val="35000"/>
                  </a:schemeClr>
                </a:solidFill>
                <a:latin typeface="Calibri" panose="020F0502020204030204" pitchFamily="34" charset="0"/>
                <a:cs typeface="Calibri" panose="020F0502020204030204" pitchFamily="34" charset="0"/>
              </a:rPr>
              <a:t>Service user calls the crisis or access teams</a:t>
            </a:r>
            <a:endParaRPr lang="en-GB" sz="700" b="1">
              <a:solidFill>
                <a:schemeClr val="tx1">
                  <a:lumMod val="65000"/>
                  <a:lumOff val="35000"/>
                </a:schemeClr>
              </a:solidFill>
              <a:latin typeface="Calibri" panose="020F0502020204030204" pitchFamily="34" charset="0"/>
              <a:cs typeface="Calibri" panose="020F0502020204030204" pitchFamily="34" charset="0"/>
            </a:endParaRPr>
          </a:p>
        </p:txBody>
      </p:sp>
      <p:cxnSp>
        <p:nvCxnSpPr>
          <p:cNvPr id="25" name="Curved Connector 24">
            <a:extLst>
              <a:ext uri="{FF2B5EF4-FFF2-40B4-BE49-F238E27FC236}">
                <a16:creationId xmlns:a16="http://schemas.microsoft.com/office/drawing/2014/main" id="{9CF83A9C-2453-904E-9C38-A9BB5A125CFE}"/>
              </a:ext>
            </a:extLst>
          </p:cNvPr>
          <p:cNvCxnSpPr>
            <a:cxnSpLocks/>
            <a:stCxn id="22" idx="1"/>
            <a:endCxn id="12" idx="3"/>
          </p:cNvCxnSpPr>
          <p:nvPr/>
        </p:nvCxnSpPr>
        <p:spPr>
          <a:xfrm rot="10800000">
            <a:off x="1920989" y="4032817"/>
            <a:ext cx="1094687" cy="945765"/>
          </a:xfrm>
          <a:prstGeom prst="curvedConnector3">
            <a:avLst>
              <a:gd name="adj1" fmla="val 50000"/>
            </a:avLst>
          </a:prstGeom>
          <a:noFill/>
          <a:ln w="57150" cap="flat" cmpd="sng" algn="ctr">
            <a:gradFill>
              <a:gsLst>
                <a:gs pos="0">
                  <a:srgbClr val="ED7D31">
                    <a:lumMod val="40000"/>
                    <a:lumOff val="60000"/>
                  </a:srgbClr>
                </a:gs>
                <a:gs pos="100000">
                  <a:srgbClr val="ED7D31">
                    <a:lumMod val="60000"/>
                    <a:lumOff val="40000"/>
                  </a:srgbClr>
                </a:gs>
              </a:gsLst>
              <a:lin ang="10800000" scaled="0"/>
            </a:gradFill>
            <a:prstDash val="solid"/>
          </a:ln>
          <a:effectLst/>
        </p:spPr>
      </p:cxnSp>
      <p:pic>
        <p:nvPicPr>
          <p:cNvPr id="18" name="Graphic 17" descr="Doctor female with solid fill">
            <a:extLst>
              <a:ext uri="{FF2B5EF4-FFF2-40B4-BE49-F238E27FC236}">
                <a16:creationId xmlns:a16="http://schemas.microsoft.com/office/drawing/2014/main" id="{49970E7C-23B2-F94B-94D3-323A614002A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015675" y="3907570"/>
            <a:ext cx="248400" cy="248400"/>
          </a:xfrm>
          <a:prstGeom prst="rect">
            <a:avLst/>
          </a:prstGeom>
        </p:spPr>
      </p:pic>
      <p:sp>
        <p:nvSpPr>
          <p:cNvPr id="31" name="TextBox 30">
            <a:extLst>
              <a:ext uri="{FF2B5EF4-FFF2-40B4-BE49-F238E27FC236}">
                <a16:creationId xmlns:a16="http://schemas.microsoft.com/office/drawing/2014/main" id="{6342C0E0-0D90-0840-8C2D-DFEE3F9B9CE5}"/>
              </a:ext>
            </a:extLst>
          </p:cNvPr>
          <p:cNvSpPr txBox="1"/>
          <p:nvPr/>
        </p:nvSpPr>
        <p:spPr>
          <a:xfrm>
            <a:off x="2783549" y="5137565"/>
            <a:ext cx="914927" cy="523220"/>
          </a:xfrm>
          <a:prstGeom prst="rect">
            <a:avLst/>
          </a:prstGeom>
          <a:noFill/>
          <a:ln>
            <a:noFill/>
          </a:ln>
        </p:spPr>
        <p:txBody>
          <a:bodyPr wrap="square" rtlCol="0">
            <a:spAutoFit/>
          </a:bodyPr>
          <a:lstStyle/>
          <a:p>
            <a:pPr defTabSz="914377"/>
            <a:r>
              <a:rPr lang="en-US" sz="700" b="1">
                <a:solidFill>
                  <a:schemeClr val="tx1">
                    <a:lumMod val="65000"/>
                    <a:lumOff val="35000"/>
                  </a:schemeClr>
                </a:solidFill>
                <a:latin typeface="Calibri" panose="020F0502020204030204" pitchFamily="34" charset="0"/>
                <a:cs typeface="Calibri" panose="020F0502020204030204" pitchFamily="34" charset="0"/>
              </a:rPr>
              <a:t>If patient known to MH services, they will call their care coordinator</a:t>
            </a:r>
            <a:endParaRPr lang="en-GB" sz="700" b="1">
              <a:solidFill>
                <a:schemeClr val="tx1">
                  <a:lumMod val="65000"/>
                  <a:lumOff val="35000"/>
                </a:schemeClr>
              </a:solidFill>
              <a:latin typeface="Calibri" panose="020F0502020204030204" pitchFamily="34" charset="0"/>
              <a:cs typeface="Calibri" panose="020F0502020204030204" pitchFamily="34" charset="0"/>
            </a:endParaRPr>
          </a:p>
        </p:txBody>
      </p:sp>
      <p:pic>
        <p:nvPicPr>
          <p:cNvPr id="22" name="Graphic 21" descr="Call centre with solid fill">
            <a:extLst>
              <a:ext uri="{FF2B5EF4-FFF2-40B4-BE49-F238E27FC236}">
                <a16:creationId xmlns:a16="http://schemas.microsoft.com/office/drawing/2014/main" id="{29A351C1-5FA8-2B45-BCA8-A56BFA9FCC9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015675" y="4854381"/>
            <a:ext cx="248400" cy="248400"/>
          </a:xfrm>
          <a:prstGeom prst="rect">
            <a:avLst/>
          </a:prstGeom>
        </p:spPr>
      </p:pic>
      <p:sp>
        <p:nvSpPr>
          <p:cNvPr id="36" name="TextBox 35">
            <a:extLst>
              <a:ext uri="{FF2B5EF4-FFF2-40B4-BE49-F238E27FC236}">
                <a16:creationId xmlns:a16="http://schemas.microsoft.com/office/drawing/2014/main" id="{318D171B-7AA0-8549-88FE-899EC8F7697F}"/>
              </a:ext>
            </a:extLst>
          </p:cNvPr>
          <p:cNvSpPr txBox="1"/>
          <p:nvPr/>
        </p:nvSpPr>
        <p:spPr>
          <a:xfrm>
            <a:off x="2799071" y="4144665"/>
            <a:ext cx="914927" cy="307777"/>
          </a:xfrm>
          <a:prstGeom prst="rect">
            <a:avLst/>
          </a:prstGeom>
          <a:noFill/>
          <a:ln>
            <a:noFill/>
          </a:ln>
        </p:spPr>
        <p:txBody>
          <a:bodyPr wrap="square" rtlCol="0">
            <a:spAutoFit/>
          </a:bodyPr>
          <a:lstStyle/>
          <a:p>
            <a:pPr defTabSz="914377"/>
            <a:r>
              <a:rPr lang="en-US" sz="700" b="1">
                <a:solidFill>
                  <a:schemeClr val="tx1">
                    <a:lumMod val="65000"/>
                    <a:lumOff val="35000"/>
                  </a:schemeClr>
                </a:solidFill>
                <a:latin typeface="Calibri" panose="020F0502020204030204" pitchFamily="34" charset="0"/>
                <a:cs typeface="Calibri" panose="020F0502020204030204" pitchFamily="34" charset="0"/>
              </a:rPr>
              <a:t>Service user visits GP practice </a:t>
            </a:r>
            <a:endParaRPr lang="en-GB" sz="700" b="1">
              <a:solidFill>
                <a:schemeClr val="tx1">
                  <a:lumMod val="65000"/>
                  <a:lumOff val="35000"/>
                </a:schemeClr>
              </a:solidFill>
              <a:latin typeface="Calibri" panose="020F0502020204030204" pitchFamily="34" charset="0"/>
              <a:cs typeface="Calibri" panose="020F0502020204030204" pitchFamily="34" charset="0"/>
            </a:endParaRPr>
          </a:p>
        </p:txBody>
      </p:sp>
      <p:cxnSp>
        <p:nvCxnSpPr>
          <p:cNvPr id="37" name="Curved Connector 58">
            <a:extLst>
              <a:ext uri="{FF2B5EF4-FFF2-40B4-BE49-F238E27FC236}">
                <a16:creationId xmlns:a16="http://schemas.microsoft.com/office/drawing/2014/main" id="{7B5C8EA9-06AF-294D-B823-38C6596F5654}"/>
              </a:ext>
            </a:extLst>
          </p:cNvPr>
          <p:cNvCxnSpPr>
            <a:cxnSpLocks/>
            <a:stCxn id="12" idx="3"/>
            <a:endCxn id="18" idx="1"/>
          </p:cNvCxnSpPr>
          <p:nvPr/>
        </p:nvCxnSpPr>
        <p:spPr>
          <a:xfrm flipV="1">
            <a:off x="1920988" y="4031770"/>
            <a:ext cx="1094687" cy="1046"/>
          </a:xfrm>
          <a:prstGeom prst="curvedConnector3">
            <a:avLst>
              <a:gd name="adj1" fmla="val 50000"/>
            </a:avLst>
          </a:prstGeom>
          <a:noFill/>
          <a:ln w="57150" cap="flat" cmpd="sng" algn="ctr">
            <a:gradFill>
              <a:gsLst>
                <a:gs pos="0">
                  <a:srgbClr val="FF0000">
                    <a:alpha val="25000"/>
                  </a:srgbClr>
                </a:gs>
                <a:gs pos="100000">
                  <a:srgbClr val="00B050">
                    <a:alpha val="25000"/>
                  </a:srgbClr>
                </a:gs>
              </a:gsLst>
              <a:lin ang="10800000" scaled="0"/>
            </a:gradFill>
            <a:prstDash val="solid"/>
          </a:ln>
          <a:effectLst/>
        </p:spPr>
      </p:cxnSp>
      <p:pic>
        <p:nvPicPr>
          <p:cNvPr id="29" name="Graphic 28" descr="Clipboard Ticked with solid fill">
            <a:extLst>
              <a:ext uri="{FF2B5EF4-FFF2-40B4-BE49-F238E27FC236}">
                <a16:creationId xmlns:a16="http://schemas.microsoft.com/office/drawing/2014/main" id="{4CD365E9-91B1-4246-B524-D00CA2A7912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255048" y="3907570"/>
            <a:ext cx="248400" cy="248400"/>
          </a:xfrm>
          <a:prstGeom prst="rect">
            <a:avLst/>
          </a:prstGeom>
        </p:spPr>
      </p:pic>
      <p:sp>
        <p:nvSpPr>
          <p:cNvPr id="44" name="TextBox 43">
            <a:extLst>
              <a:ext uri="{FF2B5EF4-FFF2-40B4-BE49-F238E27FC236}">
                <a16:creationId xmlns:a16="http://schemas.microsoft.com/office/drawing/2014/main" id="{E08367D2-1172-794D-8458-3E1B5024D75D}"/>
              </a:ext>
            </a:extLst>
          </p:cNvPr>
          <p:cNvSpPr txBox="1"/>
          <p:nvPr/>
        </p:nvSpPr>
        <p:spPr>
          <a:xfrm>
            <a:off x="4018341" y="4176411"/>
            <a:ext cx="751877" cy="307777"/>
          </a:xfrm>
          <a:prstGeom prst="rect">
            <a:avLst/>
          </a:prstGeom>
          <a:noFill/>
          <a:ln>
            <a:noFill/>
          </a:ln>
        </p:spPr>
        <p:txBody>
          <a:bodyPr wrap="square" rtlCol="0">
            <a:spAutoFit/>
          </a:bodyPr>
          <a:lstStyle/>
          <a:p>
            <a:pPr defTabSz="914377"/>
            <a:r>
              <a:rPr lang="en-US" sz="700" b="1">
                <a:solidFill>
                  <a:schemeClr val="tx1">
                    <a:lumMod val="65000"/>
                    <a:lumOff val="35000"/>
                  </a:schemeClr>
                </a:solidFill>
                <a:latin typeface="Calibri" panose="020F0502020204030204" pitchFamily="34" charset="0"/>
                <a:cs typeface="Calibri" panose="020F0502020204030204" pitchFamily="34" charset="0"/>
              </a:rPr>
              <a:t>Patient triage and evaluation</a:t>
            </a:r>
            <a:endParaRPr lang="en-GB" sz="700" b="1">
              <a:solidFill>
                <a:schemeClr val="tx1">
                  <a:lumMod val="65000"/>
                  <a:lumOff val="35000"/>
                </a:schemeClr>
              </a:solidFill>
              <a:latin typeface="Calibri" panose="020F0502020204030204" pitchFamily="34" charset="0"/>
              <a:cs typeface="Calibri" panose="020F0502020204030204" pitchFamily="34" charset="0"/>
            </a:endParaRPr>
          </a:p>
        </p:txBody>
      </p:sp>
      <p:cxnSp>
        <p:nvCxnSpPr>
          <p:cNvPr id="47" name="Curved Connector 46">
            <a:extLst>
              <a:ext uri="{FF2B5EF4-FFF2-40B4-BE49-F238E27FC236}">
                <a16:creationId xmlns:a16="http://schemas.microsoft.com/office/drawing/2014/main" id="{FF600DAD-54B0-5D47-99A5-5D7D5EA74112}"/>
              </a:ext>
            </a:extLst>
          </p:cNvPr>
          <p:cNvCxnSpPr>
            <a:cxnSpLocks/>
            <a:stCxn id="29" idx="1"/>
            <a:endCxn id="18" idx="3"/>
          </p:cNvCxnSpPr>
          <p:nvPr/>
        </p:nvCxnSpPr>
        <p:spPr>
          <a:xfrm rot="10800000">
            <a:off x="3264076" y="4031770"/>
            <a:ext cx="990973" cy="12700"/>
          </a:xfrm>
          <a:prstGeom prst="curvedConnector3">
            <a:avLst>
              <a:gd name="adj1" fmla="val 50000"/>
            </a:avLst>
          </a:prstGeom>
          <a:noFill/>
          <a:ln w="57150" cap="flat" cmpd="sng" algn="ctr">
            <a:gradFill>
              <a:gsLst>
                <a:gs pos="100000">
                  <a:srgbClr val="FF0000">
                    <a:alpha val="40555"/>
                  </a:srgbClr>
                </a:gs>
                <a:gs pos="0">
                  <a:srgbClr val="ED7D31">
                    <a:lumMod val="40000"/>
                    <a:lumOff val="60000"/>
                  </a:srgbClr>
                </a:gs>
                <a:gs pos="100000">
                  <a:srgbClr val="ED7D31">
                    <a:lumMod val="60000"/>
                    <a:lumOff val="40000"/>
                  </a:srgbClr>
                </a:gs>
              </a:gsLst>
              <a:lin ang="10800000" scaled="0"/>
            </a:gradFill>
            <a:prstDash val="solid"/>
          </a:ln>
          <a:effectLst/>
        </p:spPr>
      </p:cxnSp>
      <p:cxnSp>
        <p:nvCxnSpPr>
          <p:cNvPr id="50" name="Curved Connector 49">
            <a:extLst>
              <a:ext uri="{FF2B5EF4-FFF2-40B4-BE49-F238E27FC236}">
                <a16:creationId xmlns:a16="http://schemas.microsoft.com/office/drawing/2014/main" id="{1F4D803E-8BE6-764A-899C-E0BA90B60F81}"/>
              </a:ext>
            </a:extLst>
          </p:cNvPr>
          <p:cNvCxnSpPr>
            <a:cxnSpLocks/>
            <a:stCxn id="29" idx="1"/>
            <a:endCxn id="22" idx="3"/>
          </p:cNvCxnSpPr>
          <p:nvPr/>
        </p:nvCxnSpPr>
        <p:spPr>
          <a:xfrm rot="10800000" flipV="1">
            <a:off x="3264076" y="4031769"/>
            <a:ext cx="990973" cy="946811"/>
          </a:xfrm>
          <a:prstGeom prst="curvedConnector3">
            <a:avLst>
              <a:gd name="adj1" fmla="val 50000"/>
            </a:avLst>
          </a:prstGeom>
          <a:noFill/>
          <a:ln w="57150" cap="flat" cmpd="sng" algn="ctr">
            <a:gradFill>
              <a:gsLst>
                <a:gs pos="100000">
                  <a:srgbClr val="FF0000">
                    <a:alpha val="40555"/>
                  </a:srgbClr>
                </a:gs>
                <a:gs pos="0">
                  <a:srgbClr val="ED7D31">
                    <a:lumMod val="40000"/>
                    <a:lumOff val="60000"/>
                  </a:srgbClr>
                </a:gs>
                <a:gs pos="100000">
                  <a:srgbClr val="ED7D31">
                    <a:lumMod val="60000"/>
                    <a:lumOff val="40000"/>
                  </a:srgbClr>
                </a:gs>
              </a:gsLst>
              <a:lin ang="10800000" scaled="0"/>
            </a:gradFill>
            <a:prstDash val="solid"/>
          </a:ln>
          <a:effectLst/>
        </p:spPr>
      </p:cxnSp>
      <p:pic>
        <p:nvPicPr>
          <p:cNvPr id="54" name="Graphic 53" descr="Warning with solid fill">
            <a:extLst>
              <a:ext uri="{FF2B5EF4-FFF2-40B4-BE49-F238E27FC236}">
                <a16:creationId xmlns:a16="http://schemas.microsoft.com/office/drawing/2014/main" id="{FA208203-6E4C-B34D-9A19-4B1EA9FB433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518386" y="3180600"/>
            <a:ext cx="248400" cy="248400"/>
          </a:xfrm>
          <a:prstGeom prst="rect">
            <a:avLst/>
          </a:prstGeom>
        </p:spPr>
      </p:pic>
      <p:pic>
        <p:nvPicPr>
          <p:cNvPr id="55" name="Graphic 54" descr="Warning with solid fill">
            <a:extLst>
              <a:ext uri="{FF2B5EF4-FFF2-40B4-BE49-F238E27FC236}">
                <a16:creationId xmlns:a16="http://schemas.microsoft.com/office/drawing/2014/main" id="{7D30355E-3C80-CF49-874B-FA06CC0631E7}"/>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264127" y="3599772"/>
            <a:ext cx="248400" cy="248400"/>
          </a:xfrm>
          <a:prstGeom prst="rect">
            <a:avLst/>
          </a:prstGeom>
        </p:spPr>
      </p:pic>
      <p:sp>
        <p:nvSpPr>
          <p:cNvPr id="56" name="TextBox 55">
            <a:extLst>
              <a:ext uri="{FF2B5EF4-FFF2-40B4-BE49-F238E27FC236}">
                <a16:creationId xmlns:a16="http://schemas.microsoft.com/office/drawing/2014/main" id="{2FDEABA9-F7F4-C54D-BB4E-4874DBEEAC0E}"/>
              </a:ext>
            </a:extLst>
          </p:cNvPr>
          <p:cNvSpPr txBox="1"/>
          <p:nvPr/>
        </p:nvSpPr>
        <p:spPr>
          <a:xfrm>
            <a:off x="1556401" y="2973194"/>
            <a:ext cx="970672" cy="630942"/>
          </a:xfrm>
          <a:prstGeom prst="rect">
            <a:avLst/>
          </a:prstGeom>
          <a:noFill/>
          <a:ln>
            <a:noFill/>
          </a:ln>
        </p:spPr>
        <p:txBody>
          <a:bodyPr wrap="square" rtlCol="0">
            <a:spAutoFit/>
          </a:bodyPr>
          <a:lstStyle/>
          <a:p>
            <a:pPr defTabSz="914377"/>
            <a:r>
              <a:rPr lang="en-US" sz="700" b="1">
                <a:solidFill>
                  <a:srgbClr val="FF0000"/>
                </a:solidFill>
                <a:latin typeface="Calibri" panose="020F0502020204030204" pitchFamily="34" charset="0"/>
                <a:cs typeface="Calibri" panose="020F0502020204030204" pitchFamily="34" charset="0"/>
              </a:rPr>
              <a:t>1. Autism service users may experience anxiety in having to make a phone call</a:t>
            </a:r>
            <a:endParaRPr lang="en-GB" sz="700" b="1">
              <a:solidFill>
                <a:srgbClr val="FF0000"/>
              </a:solidFill>
              <a:latin typeface="Calibri" panose="020F0502020204030204" pitchFamily="34" charset="0"/>
              <a:cs typeface="Calibri" panose="020F0502020204030204" pitchFamily="34" charset="0"/>
            </a:endParaRPr>
          </a:p>
        </p:txBody>
      </p:sp>
      <p:sp>
        <p:nvSpPr>
          <p:cNvPr id="57" name="TextBox 56">
            <a:extLst>
              <a:ext uri="{FF2B5EF4-FFF2-40B4-BE49-F238E27FC236}">
                <a16:creationId xmlns:a16="http://schemas.microsoft.com/office/drawing/2014/main" id="{D04D14BE-8B5B-E845-9F6F-CDBEA52A9E5B}"/>
              </a:ext>
            </a:extLst>
          </p:cNvPr>
          <p:cNvSpPr txBox="1"/>
          <p:nvPr/>
        </p:nvSpPr>
        <p:spPr>
          <a:xfrm>
            <a:off x="3869128" y="3093041"/>
            <a:ext cx="1034006" cy="523220"/>
          </a:xfrm>
          <a:prstGeom prst="rect">
            <a:avLst/>
          </a:prstGeom>
          <a:noFill/>
          <a:ln>
            <a:noFill/>
          </a:ln>
        </p:spPr>
        <p:txBody>
          <a:bodyPr wrap="square" rtlCol="0">
            <a:spAutoFit/>
          </a:bodyPr>
          <a:lstStyle/>
          <a:p>
            <a:pPr defTabSz="914377"/>
            <a:r>
              <a:rPr lang="en-US" sz="700" b="1">
                <a:solidFill>
                  <a:srgbClr val="FF0000"/>
                </a:solidFill>
                <a:latin typeface="Calibri" panose="020F0502020204030204" pitchFamily="34" charset="0"/>
                <a:cs typeface="Calibri" panose="020F0502020204030204" pitchFamily="34" charset="0"/>
              </a:rPr>
              <a:t>2. Autism service users often  struggle to communicate their symptoms to clinicians</a:t>
            </a:r>
            <a:endParaRPr lang="en-GB" sz="700" b="1">
              <a:solidFill>
                <a:srgbClr val="FF0000"/>
              </a:solidFill>
              <a:latin typeface="Calibri" panose="020F0502020204030204" pitchFamily="34" charset="0"/>
              <a:cs typeface="Calibri" panose="020F0502020204030204" pitchFamily="34" charset="0"/>
            </a:endParaRPr>
          </a:p>
        </p:txBody>
      </p:sp>
      <p:pic>
        <p:nvPicPr>
          <p:cNvPr id="43" name="Graphic 42" descr="Inpatient with solid fill">
            <a:extLst>
              <a:ext uri="{FF2B5EF4-FFF2-40B4-BE49-F238E27FC236}">
                <a16:creationId xmlns:a16="http://schemas.microsoft.com/office/drawing/2014/main" id="{7EBC7FAA-0224-CD44-A8B6-F94B6F0B839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820373" y="4705746"/>
            <a:ext cx="248400" cy="248400"/>
          </a:xfrm>
          <a:prstGeom prst="rect">
            <a:avLst/>
          </a:prstGeom>
        </p:spPr>
      </p:pic>
      <p:cxnSp>
        <p:nvCxnSpPr>
          <p:cNvPr id="60" name="Curved Connector 59">
            <a:extLst>
              <a:ext uri="{FF2B5EF4-FFF2-40B4-BE49-F238E27FC236}">
                <a16:creationId xmlns:a16="http://schemas.microsoft.com/office/drawing/2014/main" id="{4B71EE6A-EFE2-9849-8355-F4F94F8933DC}"/>
              </a:ext>
            </a:extLst>
          </p:cNvPr>
          <p:cNvCxnSpPr>
            <a:cxnSpLocks/>
            <a:stCxn id="43" idx="1"/>
            <a:endCxn id="29" idx="3"/>
          </p:cNvCxnSpPr>
          <p:nvPr/>
        </p:nvCxnSpPr>
        <p:spPr>
          <a:xfrm rot="10800000">
            <a:off x="4503449" y="4031770"/>
            <a:ext cx="1316925" cy="798176"/>
          </a:xfrm>
          <a:prstGeom prst="curvedConnector3">
            <a:avLst>
              <a:gd name="adj1" fmla="val 50000"/>
            </a:avLst>
          </a:prstGeom>
          <a:noFill/>
          <a:ln w="57150" cap="flat" cmpd="sng" algn="ctr">
            <a:gradFill>
              <a:gsLst>
                <a:gs pos="100000">
                  <a:srgbClr val="FF0000">
                    <a:alpha val="40555"/>
                  </a:srgbClr>
                </a:gs>
                <a:gs pos="0">
                  <a:srgbClr val="ED7D31">
                    <a:lumMod val="40000"/>
                    <a:lumOff val="60000"/>
                  </a:srgbClr>
                </a:gs>
                <a:gs pos="100000">
                  <a:srgbClr val="ED7D31">
                    <a:lumMod val="60000"/>
                    <a:lumOff val="40000"/>
                  </a:srgbClr>
                </a:gs>
              </a:gsLst>
              <a:lin ang="10800000" scaled="0"/>
            </a:gradFill>
            <a:prstDash val="solid"/>
          </a:ln>
          <a:effectLst/>
        </p:spPr>
      </p:cxnSp>
      <p:sp>
        <p:nvSpPr>
          <p:cNvPr id="63" name="TextBox 62">
            <a:extLst>
              <a:ext uri="{FF2B5EF4-FFF2-40B4-BE49-F238E27FC236}">
                <a16:creationId xmlns:a16="http://schemas.microsoft.com/office/drawing/2014/main" id="{49C72D57-CC92-4041-BA4D-F2CCD8333279}"/>
              </a:ext>
            </a:extLst>
          </p:cNvPr>
          <p:cNvSpPr txBox="1"/>
          <p:nvPr/>
        </p:nvSpPr>
        <p:spPr>
          <a:xfrm>
            <a:off x="5470791" y="4961291"/>
            <a:ext cx="990974" cy="415498"/>
          </a:xfrm>
          <a:prstGeom prst="rect">
            <a:avLst/>
          </a:prstGeom>
          <a:noFill/>
          <a:ln>
            <a:noFill/>
          </a:ln>
        </p:spPr>
        <p:txBody>
          <a:bodyPr wrap="square" rtlCol="0">
            <a:spAutoFit/>
          </a:bodyPr>
          <a:lstStyle/>
          <a:p>
            <a:pPr defTabSz="914377"/>
            <a:r>
              <a:rPr lang="en-US" sz="700" b="1">
                <a:solidFill>
                  <a:schemeClr val="tx1">
                    <a:lumMod val="65000"/>
                    <a:lumOff val="35000"/>
                  </a:schemeClr>
                </a:solidFill>
                <a:latin typeface="Calibri" panose="020F0502020204030204" pitchFamily="34" charset="0"/>
                <a:cs typeface="Calibri" panose="020F0502020204030204" pitchFamily="34" charset="0"/>
              </a:rPr>
              <a:t>Service user is admitted to inpatient ward at redwoods</a:t>
            </a:r>
            <a:endParaRPr lang="en-GB" sz="700" b="1">
              <a:solidFill>
                <a:schemeClr val="tx1">
                  <a:lumMod val="65000"/>
                  <a:lumOff val="35000"/>
                </a:schemeClr>
              </a:solidFill>
              <a:latin typeface="Calibri" panose="020F0502020204030204" pitchFamily="34" charset="0"/>
              <a:cs typeface="Calibri" panose="020F0502020204030204" pitchFamily="34" charset="0"/>
            </a:endParaRPr>
          </a:p>
        </p:txBody>
      </p:sp>
      <p:pic>
        <p:nvPicPr>
          <p:cNvPr id="49" name="Graphic 48" descr="Hospital with solid fill">
            <a:extLst>
              <a:ext uri="{FF2B5EF4-FFF2-40B4-BE49-F238E27FC236}">
                <a16:creationId xmlns:a16="http://schemas.microsoft.com/office/drawing/2014/main" id="{4B9C7DB1-BD40-464D-BF96-1491C3DB951F}"/>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820373" y="2968606"/>
            <a:ext cx="248400" cy="248400"/>
          </a:xfrm>
          <a:prstGeom prst="rect">
            <a:avLst/>
          </a:prstGeom>
        </p:spPr>
      </p:pic>
      <p:cxnSp>
        <p:nvCxnSpPr>
          <p:cNvPr id="66" name="Curved Connector 65">
            <a:extLst>
              <a:ext uri="{FF2B5EF4-FFF2-40B4-BE49-F238E27FC236}">
                <a16:creationId xmlns:a16="http://schemas.microsoft.com/office/drawing/2014/main" id="{C14EB04F-CF87-694B-87D5-8A6BC7C15826}"/>
              </a:ext>
            </a:extLst>
          </p:cNvPr>
          <p:cNvCxnSpPr>
            <a:cxnSpLocks/>
            <a:stCxn id="49" idx="1"/>
            <a:endCxn id="29" idx="3"/>
          </p:cNvCxnSpPr>
          <p:nvPr/>
        </p:nvCxnSpPr>
        <p:spPr>
          <a:xfrm rot="10800000" flipV="1">
            <a:off x="4503449" y="3092806"/>
            <a:ext cx="1316925" cy="938964"/>
          </a:xfrm>
          <a:prstGeom prst="curvedConnector3">
            <a:avLst>
              <a:gd name="adj1" fmla="val 50000"/>
            </a:avLst>
          </a:prstGeom>
          <a:noFill/>
          <a:ln w="57150" cap="flat" cmpd="sng" algn="ctr">
            <a:gradFill>
              <a:gsLst>
                <a:gs pos="100000">
                  <a:srgbClr val="FF0000">
                    <a:alpha val="40555"/>
                  </a:srgbClr>
                </a:gs>
                <a:gs pos="0">
                  <a:srgbClr val="ED7D31">
                    <a:lumMod val="40000"/>
                    <a:lumOff val="60000"/>
                  </a:srgbClr>
                </a:gs>
                <a:gs pos="100000">
                  <a:srgbClr val="ED7D31">
                    <a:lumMod val="60000"/>
                    <a:lumOff val="40000"/>
                  </a:srgbClr>
                </a:gs>
              </a:gsLst>
              <a:lin ang="10800000" scaled="0"/>
            </a:gradFill>
            <a:prstDash val="solid"/>
          </a:ln>
          <a:effectLst/>
        </p:spPr>
      </p:cxnSp>
      <p:sp>
        <p:nvSpPr>
          <p:cNvPr id="69" name="TextBox 68">
            <a:extLst>
              <a:ext uri="{FF2B5EF4-FFF2-40B4-BE49-F238E27FC236}">
                <a16:creationId xmlns:a16="http://schemas.microsoft.com/office/drawing/2014/main" id="{F9C6CBFB-C1AB-4E45-9FB8-0EAB88CC28D6}"/>
              </a:ext>
            </a:extLst>
          </p:cNvPr>
          <p:cNvSpPr txBox="1"/>
          <p:nvPr/>
        </p:nvSpPr>
        <p:spPr>
          <a:xfrm>
            <a:off x="5577426" y="3211109"/>
            <a:ext cx="990974" cy="415498"/>
          </a:xfrm>
          <a:prstGeom prst="rect">
            <a:avLst/>
          </a:prstGeom>
          <a:noFill/>
          <a:ln>
            <a:noFill/>
          </a:ln>
        </p:spPr>
        <p:txBody>
          <a:bodyPr wrap="square" rtlCol="0">
            <a:spAutoFit/>
          </a:bodyPr>
          <a:lstStyle/>
          <a:p>
            <a:pPr defTabSz="914377"/>
            <a:r>
              <a:rPr lang="en-US" sz="700" b="1">
                <a:solidFill>
                  <a:schemeClr val="tx1">
                    <a:lumMod val="65000"/>
                    <a:lumOff val="35000"/>
                  </a:schemeClr>
                </a:solidFill>
                <a:latin typeface="Calibri" panose="020F0502020204030204" pitchFamily="34" charset="0"/>
                <a:cs typeface="Calibri" panose="020F0502020204030204" pitchFamily="34" charset="0"/>
              </a:rPr>
              <a:t>Service user is referred to IAPT service for support</a:t>
            </a:r>
            <a:endParaRPr lang="en-GB" sz="700" b="1">
              <a:solidFill>
                <a:schemeClr val="tx1">
                  <a:lumMod val="65000"/>
                  <a:lumOff val="35000"/>
                </a:schemeClr>
              </a:solidFill>
              <a:latin typeface="Calibri" panose="020F0502020204030204" pitchFamily="34" charset="0"/>
              <a:cs typeface="Calibri" panose="020F0502020204030204" pitchFamily="34" charset="0"/>
            </a:endParaRPr>
          </a:p>
        </p:txBody>
      </p:sp>
      <p:cxnSp>
        <p:nvCxnSpPr>
          <p:cNvPr id="72" name="Curved Connector 71">
            <a:extLst>
              <a:ext uri="{FF2B5EF4-FFF2-40B4-BE49-F238E27FC236}">
                <a16:creationId xmlns:a16="http://schemas.microsoft.com/office/drawing/2014/main" id="{4C7EBEBB-A000-B343-9D38-AF052A9CD7A7}"/>
              </a:ext>
            </a:extLst>
          </p:cNvPr>
          <p:cNvCxnSpPr>
            <a:cxnSpLocks/>
            <a:stCxn id="64" idx="1"/>
            <a:endCxn id="43" idx="3"/>
          </p:cNvCxnSpPr>
          <p:nvPr/>
        </p:nvCxnSpPr>
        <p:spPr>
          <a:xfrm rot="10800000">
            <a:off x="6068774" y="4829946"/>
            <a:ext cx="1647913" cy="12700"/>
          </a:xfrm>
          <a:prstGeom prst="curvedConnector3">
            <a:avLst>
              <a:gd name="adj1" fmla="val 50000"/>
            </a:avLst>
          </a:prstGeom>
          <a:noFill/>
          <a:ln w="57150" cap="flat" cmpd="sng" algn="ctr">
            <a:gradFill>
              <a:gsLst>
                <a:gs pos="100000">
                  <a:srgbClr val="FF0000">
                    <a:alpha val="40555"/>
                  </a:srgbClr>
                </a:gs>
                <a:gs pos="0">
                  <a:srgbClr val="ED7D31">
                    <a:lumMod val="40000"/>
                    <a:lumOff val="60000"/>
                  </a:srgbClr>
                </a:gs>
                <a:gs pos="100000">
                  <a:srgbClr val="ED7D31">
                    <a:lumMod val="60000"/>
                    <a:lumOff val="40000"/>
                  </a:srgbClr>
                </a:gs>
              </a:gsLst>
              <a:lin ang="10800000" scaled="0"/>
            </a:gradFill>
            <a:prstDash val="solid"/>
          </a:ln>
          <a:effectLst/>
        </p:spPr>
      </p:cxnSp>
      <p:pic>
        <p:nvPicPr>
          <p:cNvPr id="64" name="Graphic 63" descr="First aid kit with solid fill">
            <a:extLst>
              <a:ext uri="{FF2B5EF4-FFF2-40B4-BE49-F238E27FC236}">
                <a16:creationId xmlns:a16="http://schemas.microsoft.com/office/drawing/2014/main" id="{2BACBAB2-8868-9345-86E0-D42814C0E3E0}"/>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7716686" y="4705746"/>
            <a:ext cx="248400" cy="248400"/>
          </a:xfrm>
          <a:prstGeom prst="rect">
            <a:avLst/>
          </a:prstGeom>
        </p:spPr>
      </p:pic>
      <p:sp>
        <p:nvSpPr>
          <p:cNvPr id="78" name="TextBox 77">
            <a:extLst>
              <a:ext uri="{FF2B5EF4-FFF2-40B4-BE49-F238E27FC236}">
                <a16:creationId xmlns:a16="http://schemas.microsoft.com/office/drawing/2014/main" id="{B555712D-0ADA-0E4E-ABF6-AD675C4BD33D}"/>
              </a:ext>
            </a:extLst>
          </p:cNvPr>
          <p:cNvSpPr txBox="1"/>
          <p:nvPr/>
        </p:nvSpPr>
        <p:spPr>
          <a:xfrm>
            <a:off x="7439059" y="4978580"/>
            <a:ext cx="990974" cy="415498"/>
          </a:xfrm>
          <a:prstGeom prst="rect">
            <a:avLst/>
          </a:prstGeom>
          <a:noFill/>
          <a:ln>
            <a:noFill/>
          </a:ln>
        </p:spPr>
        <p:txBody>
          <a:bodyPr wrap="square" rtlCol="0">
            <a:spAutoFit/>
          </a:bodyPr>
          <a:lstStyle/>
          <a:p>
            <a:pPr defTabSz="914377"/>
            <a:r>
              <a:rPr lang="en-US" sz="700" b="1">
                <a:solidFill>
                  <a:schemeClr val="tx1">
                    <a:lumMod val="65000"/>
                    <a:lumOff val="35000"/>
                  </a:schemeClr>
                </a:solidFill>
                <a:latin typeface="Calibri" panose="020F0502020204030204" pitchFamily="34" charset="0"/>
                <a:cs typeface="Calibri" panose="020F0502020204030204" pitchFamily="34" charset="0"/>
              </a:rPr>
              <a:t>Service user given appropriate care and support</a:t>
            </a:r>
            <a:endParaRPr lang="en-GB" sz="700" b="1">
              <a:solidFill>
                <a:schemeClr val="tx1">
                  <a:lumMod val="65000"/>
                  <a:lumOff val="35000"/>
                </a:schemeClr>
              </a:solidFill>
              <a:latin typeface="Calibri" panose="020F0502020204030204" pitchFamily="34" charset="0"/>
              <a:cs typeface="Calibri" panose="020F0502020204030204" pitchFamily="34" charset="0"/>
            </a:endParaRPr>
          </a:p>
        </p:txBody>
      </p:sp>
      <p:pic>
        <p:nvPicPr>
          <p:cNvPr id="79" name="Graphic 78" descr="Warning with solid fill">
            <a:extLst>
              <a:ext uri="{FF2B5EF4-FFF2-40B4-BE49-F238E27FC236}">
                <a16:creationId xmlns:a16="http://schemas.microsoft.com/office/drawing/2014/main" id="{465137BA-5E14-E149-A374-17DEF2825D2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765995" y="4680470"/>
            <a:ext cx="248400" cy="248400"/>
          </a:xfrm>
          <a:prstGeom prst="rect">
            <a:avLst/>
          </a:prstGeom>
        </p:spPr>
      </p:pic>
      <p:sp>
        <p:nvSpPr>
          <p:cNvPr id="81" name="TextBox 80">
            <a:extLst>
              <a:ext uri="{FF2B5EF4-FFF2-40B4-BE49-F238E27FC236}">
                <a16:creationId xmlns:a16="http://schemas.microsoft.com/office/drawing/2014/main" id="{7C97466C-F88E-954D-84D6-D86A22B23332}"/>
              </a:ext>
            </a:extLst>
          </p:cNvPr>
          <p:cNvSpPr txBox="1"/>
          <p:nvPr/>
        </p:nvSpPr>
        <p:spPr>
          <a:xfrm>
            <a:off x="6393257" y="4912156"/>
            <a:ext cx="1099633" cy="523220"/>
          </a:xfrm>
          <a:prstGeom prst="rect">
            <a:avLst/>
          </a:prstGeom>
          <a:noFill/>
          <a:ln>
            <a:noFill/>
          </a:ln>
        </p:spPr>
        <p:txBody>
          <a:bodyPr wrap="square" rtlCol="0">
            <a:spAutoFit/>
          </a:bodyPr>
          <a:lstStyle/>
          <a:p>
            <a:pPr defTabSz="914377"/>
            <a:r>
              <a:rPr lang="en-US" sz="700" b="1">
                <a:solidFill>
                  <a:srgbClr val="FF0000"/>
                </a:solidFill>
                <a:latin typeface="Calibri" panose="020F0502020204030204" pitchFamily="34" charset="0"/>
                <a:cs typeface="Calibri" panose="020F0502020204030204" pitchFamily="34" charset="0"/>
              </a:rPr>
              <a:t>3. Reasonable adjustments not made to ward to support the service user with Autism</a:t>
            </a:r>
            <a:endParaRPr lang="en-GB" sz="700" b="1">
              <a:solidFill>
                <a:srgbClr val="FF0000"/>
              </a:solidFill>
              <a:latin typeface="Calibri" panose="020F0502020204030204" pitchFamily="34" charset="0"/>
              <a:cs typeface="Calibri" panose="020F0502020204030204" pitchFamily="34" charset="0"/>
            </a:endParaRPr>
          </a:p>
        </p:txBody>
      </p:sp>
      <p:pic>
        <p:nvPicPr>
          <p:cNvPr id="68" name="Graphic 67" descr="Boardroom with solid fill">
            <a:extLst>
              <a:ext uri="{FF2B5EF4-FFF2-40B4-BE49-F238E27FC236}">
                <a16:creationId xmlns:a16="http://schemas.microsoft.com/office/drawing/2014/main" id="{6C9808B7-16F4-CA42-B75C-D7D0521844BA}"/>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7716686" y="2968606"/>
            <a:ext cx="248400" cy="248400"/>
          </a:xfrm>
          <a:prstGeom prst="rect">
            <a:avLst/>
          </a:prstGeom>
        </p:spPr>
      </p:pic>
      <p:cxnSp>
        <p:nvCxnSpPr>
          <p:cNvPr id="84" name="Curved Connector 83">
            <a:extLst>
              <a:ext uri="{FF2B5EF4-FFF2-40B4-BE49-F238E27FC236}">
                <a16:creationId xmlns:a16="http://schemas.microsoft.com/office/drawing/2014/main" id="{F0E6C62E-4B0B-DB40-91D2-687A38011500}"/>
              </a:ext>
            </a:extLst>
          </p:cNvPr>
          <p:cNvCxnSpPr>
            <a:cxnSpLocks/>
            <a:stCxn id="68" idx="1"/>
            <a:endCxn id="49" idx="3"/>
          </p:cNvCxnSpPr>
          <p:nvPr/>
        </p:nvCxnSpPr>
        <p:spPr>
          <a:xfrm rot="10800000">
            <a:off x="6068774" y="3092806"/>
            <a:ext cx="1647913" cy="12700"/>
          </a:xfrm>
          <a:prstGeom prst="curvedConnector3">
            <a:avLst>
              <a:gd name="adj1" fmla="val 50000"/>
            </a:avLst>
          </a:prstGeom>
          <a:noFill/>
          <a:ln w="57150" cap="flat" cmpd="sng" algn="ctr">
            <a:gradFill>
              <a:gsLst>
                <a:gs pos="100000">
                  <a:srgbClr val="FF0000">
                    <a:alpha val="40555"/>
                  </a:srgbClr>
                </a:gs>
                <a:gs pos="0">
                  <a:srgbClr val="ED7D31">
                    <a:lumMod val="40000"/>
                    <a:lumOff val="60000"/>
                  </a:srgbClr>
                </a:gs>
                <a:gs pos="100000">
                  <a:srgbClr val="ED7D31">
                    <a:lumMod val="60000"/>
                    <a:lumOff val="40000"/>
                  </a:srgbClr>
                </a:gs>
              </a:gsLst>
              <a:lin ang="10800000" scaled="0"/>
            </a:gradFill>
            <a:prstDash val="solid"/>
          </a:ln>
          <a:effectLst/>
        </p:spPr>
      </p:cxnSp>
      <p:sp>
        <p:nvSpPr>
          <p:cNvPr id="87" name="TextBox 86">
            <a:extLst>
              <a:ext uri="{FF2B5EF4-FFF2-40B4-BE49-F238E27FC236}">
                <a16:creationId xmlns:a16="http://schemas.microsoft.com/office/drawing/2014/main" id="{52A3FB98-EF9E-884D-8093-9381055667CE}"/>
              </a:ext>
            </a:extLst>
          </p:cNvPr>
          <p:cNvSpPr txBox="1"/>
          <p:nvPr/>
        </p:nvSpPr>
        <p:spPr>
          <a:xfrm>
            <a:off x="7461757" y="3236620"/>
            <a:ext cx="990974" cy="307777"/>
          </a:xfrm>
          <a:prstGeom prst="rect">
            <a:avLst/>
          </a:prstGeom>
          <a:noFill/>
          <a:ln>
            <a:noFill/>
          </a:ln>
        </p:spPr>
        <p:txBody>
          <a:bodyPr wrap="square" rtlCol="0">
            <a:spAutoFit/>
          </a:bodyPr>
          <a:lstStyle/>
          <a:p>
            <a:pPr defTabSz="914377"/>
            <a:r>
              <a:rPr lang="en-US" sz="700" b="1">
                <a:solidFill>
                  <a:schemeClr val="tx1">
                    <a:lumMod val="65000"/>
                    <a:lumOff val="35000"/>
                  </a:schemeClr>
                </a:solidFill>
                <a:latin typeface="Calibri" panose="020F0502020204030204" pitchFamily="34" charset="0"/>
                <a:cs typeface="Calibri" panose="020F0502020204030204" pitchFamily="34" charset="0"/>
              </a:rPr>
              <a:t>Service user receives five CBT sessions </a:t>
            </a:r>
            <a:endParaRPr lang="en-GB" sz="700" b="1">
              <a:solidFill>
                <a:schemeClr val="tx1">
                  <a:lumMod val="65000"/>
                  <a:lumOff val="35000"/>
                </a:schemeClr>
              </a:solidFill>
              <a:latin typeface="Calibri" panose="020F0502020204030204" pitchFamily="34" charset="0"/>
              <a:cs typeface="Calibri" panose="020F0502020204030204" pitchFamily="34" charset="0"/>
            </a:endParaRPr>
          </a:p>
        </p:txBody>
      </p:sp>
      <p:pic>
        <p:nvPicPr>
          <p:cNvPr id="88" name="Graphic 87" descr="Warning with solid fill">
            <a:extLst>
              <a:ext uri="{FF2B5EF4-FFF2-40B4-BE49-F238E27FC236}">
                <a16:creationId xmlns:a16="http://schemas.microsoft.com/office/drawing/2014/main" id="{06DBE851-A6A5-C745-81DF-3B424ED2880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716686" y="2677573"/>
            <a:ext cx="248400" cy="248400"/>
          </a:xfrm>
          <a:prstGeom prst="rect">
            <a:avLst/>
          </a:prstGeom>
        </p:spPr>
      </p:pic>
      <p:sp>
        <p:nvSpPr>
          <p:cNvPr id="89" name="TextBox 88">
            <a:extLst>
              <a:ext uri="{FF2B5EF4-FFF2-40B4-BE49-F238E27FC236}">
                <a16:creationId xmlns:a16="http://schemas.microsoft.com/office/drawing/2014/main" id="{1DE6D906-DFB5-AA43-8F60-682F3EB21CE1}"/>
              </a:ext>
            </a:extLst>
          </p:cNvPr>
          <p:cNvSpPr txBox="1"/>
          <p:nvPr/>
        </p:nvSpPr>
        <p:spPr>
          <a:xfrm>
            <a:off x="7896699" y="2583449"/>
            <a:ext cx="1112064" cy="415498"/>
          </a:xfrm>
          <a:prstGeom prst="rect">
            <a:avLst/>
          </a:prstGeom>
          <a:noFill/>
          <a:ln>
            <a:noFill/>
          </a:ln>
        </p:spPr>
        <p:txBody>
          <a:bodyPr wrap="square" rtlCol="0">
            <a:spAutoFit/>
          </a:bodyPr>
          <a:lstStyle/>
          <a:p>
            <a:pPr defTabSz="914377"/>
            <a:r>
              <a:rPr lang="en-US" sz="700" b="1">
                <a:solidFill>
                  <a:srgbClr val="FF0000"/>
                </a:solidFill>
                <a:latin typeface="Calibri" panose="020F0502020204030204" pitchFamily="34" charset="0"/>
                <a:cs typeface="Calibri" panose="020F0502020204030204" pitchFamily="34" charset="0"/>
              </a:rPr>
              <a:t>4. The CBT offering may not be appropriate for a service user with Autism</a:t>
            </a:r>
            <a:endParaRPr lang="en-GB" sz="700" b="1">
              <a:solidFill>
                <a:srgbClr val="FF0000"/>
              </a:solidFill>
              <a:latin typeface="Calibri" panose="020F0502020204030204" pitchFamily="34" charset="0"/>
              <a:cs typeface="Calibri" panose="020F0502020204030204" pitchFamily="34" charset="0"/>
            </a:endParaRPr>
          </a:p>
        </p:txBody>
      </p:sp>
      <p:pic>
        <p:nvPicPr>
          <p:cNvPr id="74" name="Graphic 73" descr="Home with solid fill">
            <a:extLst>
              <a:ext uri="{FF2B5EF4-FFF2-40B4-BE49-F238E27FC236}">
                <a16:creationId xmlns:a16="http://schemas.microsoft.com/office/drawing/2014/main" id="{4C7CAD98-C5B1-D342-AD26-84BD1A66C7FA}"/>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9174138" y="3946749"/>
            <a:ext cx="248400" cy="248400"/>
          </a:xfrm>
          <a:prstGeom prst="rect">
            <a:avLst/>
          </a:prstGeom>
        </p:spPr>
      </p:pic>
      <p:cxnSp>
        <p:nvCxnSpPr>
          <p:cNvPr id="92" name="Curved Connector 91">
            <a:extLst>
              <a:ext uri="{FF2B5EF4-FFF2-40B4-BE49-F238E27FC236}">
                <a16:creationId xmlns:a16="http://schemas.microsoft.com/office/drawing/2014/main" id="{AEEFEF93-A6C2-9A47-AF17-87BF26EA436F}"/>
              </a:ext>
            </a:extLst>
          </p:cNvPr>
          <p:cNvCxnSpPr>
            <a:cxnSpLocks/>
            <a:stCxn id="74" idx="1"/>
            <a:endCxn id="68" idx="3"/>
          </p:cNvCxnSpPr>
          <p:nvPr/>
        </p:nvCxnSpPr>
        <p:spPr>
          <a:xfrm rot="10800000">
            <a:off x="7965086" y="3092807"/>
            <a:ext cx="1209052" cy="978143"/>
          </a:xfrm>
          <a:prstGeom prst="curvedConnector3">
            <a:avLst>
              <a:gd name="adj1" fmla="val 50000"/>
            </a:avLst>
          </a:prstGeom>
          <a:noFill/>
          <a:ln w="57150" cap="flat" cmpd="sng" algn="ctr">
            <a:gradFill>
              <a:gsLst>
                <a:gs pos="100000">
                  <a:srgbClr val="FF0000">
                    <a:alpha val="40555"/>
                  </a:srgbClr>
                </a:gs>
                <a:gs pos="0">
                  <a:srgbClr val="ED7D31">
                    <a:lumMod val="40000"/>
                    <a:lumOff val="60000"/>
                  </a:srgbClr>
                </a:gs>
                <a:gs pos="100000">
                  <a:srgbClr val="ED7D31">
                    <a:lumMod val="60000"/>
                    <a:lumOff val="40000"/>
                  </a:srgbClr>
                </a:gs>
              </a:gsLst>
              <a:lin ang="10800000" scaled="0"/>
            </a:gradFill>
            <a:prstDash val="solid"/>
          </a:ln>
          <a:effectLst/>
        </p:spPr>
      </p:cxnSp>
      <p:cxnSp>
        <p:nvCxnSpPr>
          <p:cNvPr id="95" name="Curved Connector 94">
            <a:extLst>
              <a:ext uri="{FF2B5EF4-FFF2-40B4-BE49-F238E27FC236}">
                <a16:creationId xmlns:a16="http://schemas.microsoft.com/office/drawing/2014/main" id="{EF894439-8719-BD4C-85E3-604BAD3F9557}"/>
              </a:ext>
            </a:extLst>
          </p:cNvPr>
          <p:cNvCxnSpPr>
            <a:cxnSpLocks/>
            <a:stCxn id="74" idx="1"/>
            <a:endCxn id="64" idx="3"/>
          </p:cNvCxnSpPr>
          <p:nvPr/>
        </p:nvCxnSpPr>
        <p:spPr>
          <a:xfrm rot="10800000" flipV="1">
            <a:off x="7965086" y="4070948"/>
            <a:ext cx="1209052" cy="758997"/>
          </a:xfrm>
          <a:prstGeom prst="curvedConnector3">
            <a:avLst>
              <a:gd name="adj1" fmla="val 50000"/>
            </a:avLst>
          </a:prstGeom>
          <a:noFill/>
          <a:ln w="57150" cap="flat" cmpd="sng" algn="ctr">
            <a:gradFill>
              <a:gsLst>
                <a:gs pos="100000">
                  <a:srgbClr val="FF0000">
                    <a:alpha val="40555"/>
                  </a:srgbClr>
                </a:gs>
                <a:gs pos="0">
                  <a:srgbClr val="ED7D31">
                    <a:lumMod val="40000"/>
                    <a:lumOff val="60000"/>
                  </a:srgbClr>
                </a:gs>
                <a:gs pos="100000">
                  <a:srgbClr val="ED7D31">
                    <a:lumMod val="60000"/>
                    <a:lumOff val="40000"/>
                  </a:srgbClr>
                </a:gs>
              </a:gsLst>
              <a:lin ang="10800000" scaled="0"/>
            </a:gradFill>
            <a:prstDash val="solid"/>
          </a:ln>
          <a:effectLst/>
        </p:spPr>
      </p:cxnSp>
      <p:sp>
        <p:nvSpPr>
          <p:cNvPr id="98" name="TextBox 97">
            <a:extLst>
              <a:ext uri="{FF2B5EF4-FFF2-40B4-BE49-F238E27FC236}">
                <a16:creationId xmlns:a16="http://schemas.microsoft.com/office/drawing/2014/main" id="{63C6D09A-81D5-1844-9C4A-86161FADFD90}"/>
              </a:ext>
            </a:extLst>
          </p:cNvPr>
          <p:cNvSpPr txBox="1"/>
          <p:nvPr/>
        </p:nvSpPr>
        <p:spPr>
          <a:xfrm>
            <a:off x="8788225" y="4217223"/>
            <a:ext cx="1020227" cy="307777"/>
          </a:xfrm>
          <a:prstGeom prst="rect">
            <a:avLst/>
          </a:prstGeom>
          <a:noFill/>
          <a:ln>
            <a:noFill/>
          </a:ln>
        </p:spPr>
        <p:txBody>
          <a:bodyPr wrap="square" rtlCol="0">
            <a:spAutoFit/>
          </a:bodyPr>
          <a:lstStyle/>
          <a:p>
            <a:pPr defTabSz="914377"/>
            <a:r>
              <a:rPr lang="en-US" sz="700" b="1">
                <a:solidFill>
                  <a:schemeClr val="tx1">
                    <a:lumMod val="65000"/>
                    <a:lumOff val="35000"/>
                  </a:schemeClr>
                </a:solidFill>
                <a:latin typeface="Calibri" panose="020F0502020204030204" pitchFamily="34" charset="0"/>
                <a:cs typeface="Calibri" panose="020F0502020204030204" pitchFamily="34" charset="0"/>
              </a:rPr>
              <a:t>Patient discharged home / back into care</a:t>
            </a:r>
            <a:endParaRPr lang="en-GB" sz="700" b="1">
              <a:solidFill>
                <a:schemeClr val="tx1">
                  <a:lumMod val="65000"/>
                  <a:lumOff val="35000"/>
                </a:schemeClr>
              </a:solidFill>
              <a:latin typeface="Calibri" panose="020F0502020204030204" pitchFamily="34" charset="0"/>
              <a:cs typeface="Calibri" panose="020F0502020204030204" pitchFamily="34" charset="0"/>
            </a:endParaRPr>
          </a:p>
        </p:txBody>
      </p:sp>
      <p:sp>
        <p:nvSpPr>
          <p:cNvPr id="101" name="TextBox 100">
            <a:extLst>
              <a:ext uri="{FF2B5EF4-FFF2-40B4-BE49-F238E27FC236}">
                <a16:creationId xmlns:a16="http://schemas.microsoft.com/office/drawing/2014/main" id="{0EB3C9D0-3E57-9C41-BA21-54360918F82B}"/>
              </a:ext>
            </a:extLst>
          </p:cNvPr>
          <p:cNvSpPr txBox="1"/>
          <p:nvPr/>
        </p:nvSpPr>
        <p:spPr>
          <a:xfrm>
            <a:off x="10583480" y="4629463"/>
            <a:ext cx="1098251" cy="415498"/>
          </a:xfrm>
          <a:prstGeom prst="rect">
            <a:avLst/>
          </a:prstGeom>
          <a:noFill/>
          <a:ln>
            <a:noFill/>
          </a:ln>
        </p:spPr>
        <p:txBody>
          <a:bodyPr wrap="square" rtlCol="0">
            <a:spAutoFit/>
          </a:bodyPr>
          <a:lstStyle/>
          <a:p>
            <a:pPr defTabSz="914377"/>
            <a:r>
              <a:rPr lang="en-US" sz="700" b="1">
                <a:solidFill>
                  <a:schemeClr val="tx1">
                    <a:lumMod val="65000"/>
                    <a:lumOff val="35000"/>
                  </a:schemeClr>
                </a:solidFill>
                <a:latin typeface="Calibri" panose="020F0502020204030204" pitchFamily="34" charset="0"/>
                <a:cs typeface="Calibri" panose="020F0502020204030204" pitchFamily="34" charset="0"/>
              </a:rPr>
              <a:t>User provided with regular follow up check-ins by care coordinator</a:t>
            </a:r>
            <a:endParaRPr lang="en-GB" sz="700" b="1">
              <a:solidFill>
                <a:schemeClr val="tx1">
                  <a:lumMod val="65000"/>
                  <a:lumOff val="35000"/>
                </a:schemeClr>
              </a:solidFill>
              <a:latin typeface="Calibri" panose="020F0502020204030204" pitchFamily="34" charset="0"/>
              <a:cs typeface="Calibri" panose="020F0502020204030204" pitchFamily="34" charset="0"/>
            </a:endParaRPr>
          </a:p>
        </p:txBody>
      </p:sp>
      <p:cxnSp>
        <p:nvCxnSpPr>
          <p:cNvPr id="102" name="Curved Connector 101">
            <a:extLst>
              <a:ext uri="{FF2B5EF4-FFF2-40B4-BE49-F238E27FC236}">
                <a16:creationId xmlns:a16="http://schemas.microsoft.com/office/drawing/2014/main" id="{58D05F9F-41B4-BA42-A168-419C045B0B8B}"/>
              </a:ext>
            </a:extLst>
          </p:cNvPr>
          <p:cNvCxnSpPr>
            <a:cxnSpLocks/>
            <a:stCxn id="74" idx="3"/>
            <a:endCxn id="99" idx="1"/>
          </p:cNvCxnSpPr>
          <p:nvPr/>
        </p:nvCxnSpPr>
        <p:spPr>
          <a:xfrm>
            <a:off x="9422538" y="4070949"/>
            <a:ext cx="926506" cy="733721"/>
          </a:xfrm>
          <a:prstGeom prst="curvedConnector3">
            <a:avLst>
              <a:gd name="adj1" fmla="val 50000"/>
            </a:avLst>
          </a:prstGeom>
          <a:noFill/>
          <a:ln w="57150" cap="flat" cmpd="sng" algn="ctr">
            <a:gradFill>
              <a:gsLst>
                <a:gs pos="100000">
                  <a:srgbClr val="FF0000">
                    <a:alpha val="40555"/>
                  </a:srgbClr>
                </a:gs>
                <a:gs pos="0">
                  <a:srgbClr val="ED7D31">
                    <a:lumMod val="40000"/>
                    <a:lumOff val="60000"/>
                  </a:srgbClr>
                </a:gs>
                <a:gs pos="100000">
                  <a:srgbClr val="ED7D31">
                    <a:lumMod val="60000"/>
                    <a:lumOff val="40000"/>
                  </a:srgbClr>
                </a:gs>
              </a:gsLst>
              <a:lin ang="10800000" scaled="0"/>
            </a:gradFill>
            <a:prstDash val="solid"/>
          </a:ln>
          <a:effectLst/>
        </p:spPr>
      </p:cxnSp>
      <p:cxnSp>
        <p:nvCxnSpPr>
          <p:cNvPr id="105" name="Curved Connector 104">
            <a:extLst>
              <a:ext uri="{FF2B5EF4-FFF2-40B4-BE49-F238E27FC236}">
                <a16:creationId xmlns:a16="http://schemas.microsoft.com/office/drawing/2014/main" id="{A000E41B-691F-C74F-AE03-19699EC8C88A}"/>
              </a:ext>
            </a:extLst>
          </p:cNvPr>
          <p:cNvCxnSpPr>
            <a:cxnSpLocks/>
            <a:stCxn id="74" idx="3"/>
            <a:endCxn id="107" idx="1"/>
          </p:cNvCxnSpPr>
          <p:nvPr/>
        </p:nvCxnSpPr>
        <p:spPr>
          <a:xfrm flipV="1">
            <a:off x="9422538" y="3386524"/>
            <a:ext cx="926506" cy="684425"/>
          </a:xfrm>
          <a:prstGeom prst="curvedConnector3">
            <a:avLst>
              <a:gd name="adj1" fmla="val 50000"/>
            </a:avLst>
          </a:prstGeom>
          <a:noFill/>
          <a:ln w="57150" cap="flat" cmpd="sng" algn="ctr">
            <a:gradFill>
              <a:gsLst>
                <a:gs pos="100000">
                  <a:srgbClr val="FF0000">
                    <a:alpha val="40555"/>
                  </a:srgbClr>
                </a:gs>
                <a:gs pos="0">
                  <a:srgbClr val="ED7D31">
                    <a:lumMod val="40000"/>
                    <a:lumOff val="60000"/>
                  </a:srgbClr>
                </a:gs>
                <a:gs pos="100000">
                  <a:srgbClr val="ED7D31">
                    <a:lumMod val="60000"/>
                    <a:lumOff val="40000"/>
                  </a:srgbClr>
                </a:gs>
              </a:gsLst>
              <a:lin ang="10800000" scaled="0"/>
            </a:gradFill>
            <a:prstDash val="solid"/>
          </a:ln>
          <a:effectLst/>
        </p:spPr>
      </p:cxnSp>
      <p:pic>
        <p:nvPicPr>
          <p:cNvPr id="107" name="Graphic 106" descr="Warning with solid fill">
            <a:extLst>
              <a:ext uri="{FF2B5EF4-FFF2-40B4-BE49-F238E27FC236}">
                <a16:creationId xmlns:a16="http://schemas.microsoft.com/office/drawing/2014/main" id="{5EB85602-25A9-9E47-83A3-DAD04C6C6A7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349044" y="3262324"/>
            <a:ext cx="248400" cy="248400"/>
          </a:xfrm>
          <a:prstGeom prst="rect">
            <a:avLst/>
          </a:prstGeom>
        </p:spPr>
      </p:pic>
      <p:sp>
        <p:nvSpPr>
          <p:cNvPr id="109" name="TextBox 108">
            <a:extLst>
              <a:ext uri="{FF2B5EF4-FFF2-40B4-BE49-F238E27FC236}">
                <a16:creationId xmlns:a16="http://schemas.microsoft.com/office/drawing/2014/main" id="{C1143327-9E94-AE4A-A94C-DDCEAF834498}"/>
              </a:ext>
            </a:extLst>
          </p:cNvPr>
          <p:cNvSpPr txBox="1"/>
          <p:nvPr/>
        </p:nvSpPr>
        <p:spPr>
          <a:xfrm>
            <a:off x="10058945" y="3492072"/>
            <a:ext cx="1159390" cy="523220"/>
          </a:xfrm>
          <a:prstGeom prst="rect">
            <a:avLst/>
          </a:prstGeom>
          <a:noFill/>
          <a:ln>
            <a:noFill/>
          </a:ln>
        </p:spPr>
        <p:txBody>
          <a:bodyPr wrap="square" rtlCol="0">
            <a:spAutoFit/>
          </a:bodyPr>
          <a:lstStyle/>
          <a:p>
            <a:pPr defTabSz="914377"/>
            <a:r>
              <a:rPr lang="en-US" sz="700" b="1">
                <a:solidFill>
                  <a:srgbClr val="FF0000"/>
                </a:solidFill>
                <a:latin typeface="Calibri" panose="020F0502020204030204" pitchFamily="34" charset="0"/>
                <a:cs typeface="Calibri" panose="020F0502020204030204" pitchFamily="34" charset="0"/>
              </a:rPr>
              <a:t>6. Not all service users given robust support package following discharge</a:t>
            </a:r>
            <a:endParaRPr lang="en-GB" sz="700" b="1">
              <a:solidFill>
                <a:srgbClr val="FF0000"/>
              </a:solidFill>
              <a:latin typeface="Calibri" panose="020F0502020204030204" pitchFamily="34" charset="0"/>
              <a:cs typeface="Calibri" panose="020F0502020204030204" pitchFamily="34" charset="0"/>
            </a:endParaRPr>
          </a:p>
        </p:txBody>
      </p:sp>
      <p:sp>
        <p:nvSpPr>
          <p:cNvPr id="111" name="Rectangle 110">
            <a:extLst>
              <a:ext uri="{FF2B5EF4-FFF2-40B4-BE49-F238E27FC236}">
                <a16:creationId xmlns:a16="http://schemas.microsoft.com/office/drawing/2014/main" id="{4414C0F8-5D79-DA40-B78C-87C8B4D3B498}"/>
              </a:ext>
            </a:extLst>
          </p:cNvPr>
          <p:cNvSpPr/>
          <p:nvPr/>
        </p:nvSpPr>
        <p:spPr>
          <a:xfrm>
            <a:off x="2872174" y="1356728"/>
            <a:ext cx="1476973" cy="436737"/>
          </a:xfrm>
          <a:prstGeom prst="rect">
            <a:avLst/>
          </a:prstGeom>
          <a:ln>
            <a:solidFill>
              <a:srgbClr val="7030A0"/>
            </a:solidFill>
          </a:ln>
        </p:spPr>
        <p:txBody>
          <a:bodyPr wrap="square" anchor="ctr">
            <a:noAutofit/>
          </a:bodyPr>
          <a:lstStyle/>
          <a:p>
            <a:pPr defTabSz="1219110"/>
            <a:r>
              <a:rPr lang="en-GB" sz="800">
                <a:solidFill>
                  <a:srgbClr val="595959"/>
                </a:solidFill>
                <a:latin typeface="Calibri" panose="020F0502020204030204"/>
                <a:cs typeface="Calibri" panose="020F0502020204030204" pitchFamily="34" charset="0"/>
              </a:rPr>
              <a:t>Patient identified on shared care record and identified as having an autism diagnosis</a:t>
            </a:r>
          </a:p>
        </p:txBody>
      </p:sp>
      <p:sp>
        <p:nvSpPr>
          <p:cNvPr id="116" name="Rectangle 115">
            <a:extLst>
              <a:ext uri="{FF2B5EF4-FFF2-40B4-BE49-F238E27FC236}">
                <a16:creationId xmlns:a16="http://schemas.microsoft.com/office/drawing/2014/main" id="{40A0ADF2-2EAD-3A43-9969-67476C39E503}"/>
              </a:ext>
            </a:extLst>
          </p:cNvPr>
          <p:cNvSpPr/>
          <p:nvPr/>
        </p:nvSpPr>
        <p:spPr>
          <a:xfrm>
            <a:off x="5759067" y="1341501"/>
            <a:ext cx="1196143" cy="436737"/>
          </a:xfrm>
          <a:prstGeom prst="rect">
            <a:avLst/>
          </a:prstGeom>
          <a:ln>
            <a:solidFill>
              <a:srgbClr val="7030A0"/>
            </a:solidFill>
          </a:ln>
        </p:spPr>
        <p:txBody>
          <a:bodyPr wrap="square" anchor="ctr">
            <a:noAutofit/>
          </a:bodyPr>
          <a:lstStyle/>
          <a:p>
            <a:pPr defTabSz="1219110"/>
            <a:r>
              <a:rPr lang="en-GB" sz="800">
                <a:solidFill>
                  <a:srgbClr val="595959"/>
                </a:solidFill>
                <a:latin typeface="Calibri" panose="020F0502020204030204"/>
                <a:cs typeface="Calibri" panose="020F0502020204030204" pitchFamily="34" charset="0"/>
              </a:rPr>
              <a:t>Secondary care record accessed including care preferences</a:t>
            </a:r>
          </a:p>
        </p:txBody>
      </p:sp>
      <p:pic>
        <p:nvPicPr>
          <p:cNvPr id="117" name="Graphic 116" descr="Warning with solid fill">
            <a:extLst>
              <a:ext uri="{FF2B5EF4-FFF2-40B4-BE49-F238E27FC236}">
                <a16:creationId xmlns:a16="http://schemas.microsoft.com/office/drawing/2014/main" id="{D223CA36-83DA-9549-8D97-ACCB31D9E70E}"/>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746378" y="1476254"/>
            <a:ext cx="248400" cy="248400"/>
          </a:xfrm>
          <a:prstGeom prst="rect">
            <a:avLst/>
          </a:prstGeom>
        </p:spPr>
      </p:pic>
      <p:sp>
        <p:nvSpPr>
          <p:cNvPr id="118" name="TextBox 117">
            <a:extLst>
              <a:ext uri="{FF2B5EF4-FFF2-40B4-BE49-F238E27FC236}">
                <a16:creationId xmlns:a16="http://schemas.microsoft.com/office/drawing/2014/main" id="{09100C15-0974-404D-B4FE-18C9AA14010E}"/>
              </a:ext>
            </a:extLst>
          </p:cNvPr>
          <p:cNvSpPr txBox="1"/>
          <p:nvPr/>
        </p:nvSpPr>
        <p:spPr>
          <a:xfrm>
            <a:off x="7567148" y="1403016"/>
            <a:ext cx="1273775" cy="415498"/>
          </a:xfrm>
          <a:prstGeom prst="rect">
            <a:avLst/>
          </a:prstGeom>
          <a:noFill/>
          <a:ln>
            <a:noFill/>
          </a:ln>
        </p:spPr>
        <p:txBody>
          <a:bodyPr wrap="square" rtlCol="0">
            <a:spAutoFit/>
          </a:bodyPr>
          <a:lstStyle/>
          <a:p>
            <a:pPr defTabSz="914377"/>
            <a:r>
              <a:rPr lang="en-US" sz="700" b="1">
                <a:solidFill>
                  <a:srgbClr val="FF0000"/>
                </a:solidFill>
                <a:latin typeface="Calibri" panose="020F0502020204030204" pitchFamily="34" charset="0"/>
                <a:cs typeface="Calibri" panose="020F0502020204030204" pitchFamily="34" charset="0"/>
              </a:rPr>
              <a:t>5. Patient record not likely to be shared with Primary care in a timely manner</a:t>
            </a:r>
            <a:endParaRPr lang="en-GB" sz="700" b="1">
              <a:solidFill>
                <a:srgbClr val="FF0000"/>
              </a:solidFill>
              <a:latin typeface="Calibri" panose="020F0502020204030204" pitchFamily="34" charset="0"/>
              <a:cs typeface="Calibri" panose="020F0502020204030204" pitchFamily="34" charset="0"/>
            </a:endParaRPr>
          </a:p>
        </p:txBody>
      </p:sp>
      <p:sp>
        <p:nvSpPr>
          <p:cNvPr id="119" name="Rectangle 118">
            <a:extLst>
              <a:ext uri="{FF2B5EF4-FFF2-40B4-BE49-F238E27FC236}">
                <a16:creationId xmlns:a16="http://schemas.microsoft.com/office/drawing/2014/main" id="{191CA734-1D7C-EA47-85DA-E4B916F1CAE2}"/>
              </a:ext>
            </a:extLst>
          </p:cNvPr>
          <p:cNvSpPr/>
          <p:nvPr/>
        </p:nvSpPr>
        <p:spPr>
          <a:xfrm>
            <a:off x="1235635" y="1347961"/>
            <a:ext cx="1436969" cy="440143"/>
          </a:xfrm>
          <a:prstGeom prst="rect">
            <a:avLst/>
          </a:prstGeom>
          <a:ln>
            <a:solidFill>
              <a:srgbClr val="7030A0"/>
            </a:solidFill>
          </a:ln>
        </p:spPr>
        <p:txBody>
          <a:bodyPr wrap="square" anchor="ctr">
            <a:noAutofit/>
          </a:bodyPr>
          <a:lstStyle/>
          <a:p>
            <a:pPr marL="0" marR="0" lvl="0" indent="0" algn="l" defTabSz="121911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595959"/>
                </a:solidFill>
                <a:effectLst/>
                <a:uLnTx/>
                <a:uFillTx/>
                <a:latin typeface="Calibri" panose="020F0502020204030204"/>
                <a:ea typeface="+mn-ea"/>
                <a:cs typeface="Calibri" panose="020F0502020204030204" pitchFamily="34" charset="0"/>
              </a:rPr>
              <a:t>Autism service user creates hospital passport for when they need to access services</a:t>
            </a:r>
          </a:p>
        </p:txBody>
      </p:sp>
      <p:pic>
        <p:nvPicPr>
          <p:cNvPr id="59" name="Graphic 58" descr="Warning with solid fill">
            <a:extLst>
              <a:ext uri="{FF2B5EF4-FFF2-40B4-BE49-F238E27FC236}">
                <a16:creationId xmlns:a16="http://schemas.microsoft.com/office/drawing/2014/main" id="{DB6CB4F5-59FA-9940-A333-86DDCAFA7A1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672587" y="4601512"/>
            <a:ext cx="248400" cy="248400"/>
          </a:xfrm>
          <a:prstGeom prst="rect">
            <a:avLst/>
          </a:prstGeom>
        </p:spPr>
      </p:pic>
      <p:sp>
        <p:nvSpPr>
          <p:cNvPr id="61" name="TextBox 60">
            <a:extLst>
              <a:ext uri="{FF2B5EF4-FFF2-40B4-BE49-F238E27FC236}">
                <a16:creationId xmlns:a16="http://schemas.microsoft.com/office/drawing/2014/main" id="{9CAE8C87-B6A1-B147-8BB5-DC2BF0A204FD}"/>
              </a:ext>
            </a:extLst>
          </p:cNvPr>
          <p:cNvSpPr txBox="1"/>
          <p:nvPr/>
        </p:nvSpPr>
        <p:spPr>
          <a:xfrm>
            <a:off x="1231709" y="4842647"/>
            <a:ext cx="1273775" cy="523220"/>
          </a:xfrm>
          <a:prstGeom prst="rect">
            <a:avLst/>
          </a:prstGeom>
          <a:noFill/>
          <a:ln>
            <a:noFill/>
          </a:ln>
        </p:spPr>
        <p:txBody>
          <a:bodyPr wrap="square" rtlCol="0">
            <a:spAutoFit/>
          </a:bodyPr>
          <a:lstStyle/>
          <a:p>
            <a:pPr defTabSz="914377"/>
            <a:r>
              <a:rPr lang="en-US" sz="700" b="1">
                <a:solidFill>
                  <a:srgbClr val="FF0000"/>
                </a:solidFill>
                <a:latin typeface="Calibri" panose="020F0502020204030204" pitchFamily="34" charset="0"/>
                <a:cs typeface="Calibri" panose="020F0502020204030204" pitchFamily="34" charset="0"/>
              </a:rPr>
              <a:t>7. Limited outreach services targeting the large cohort of Autism patients with mental health needs</a:t>
            </a:r>
            <a:endParaRPr lang="en-GB" sz="700" b="1">
              <a:solidFill>
                <a:srgbClr val="FF0000"/>
              </a:solidFill>
              <a:latin typeface="Calibri" panose="020F0502020204030204" pitchFamily="34" charset="0"/>
              <a:cs typeface="Calibri" panose="020F0502020204030204" pitchFamily="34" charset="0"/>
            </a:endParaRPr>
          </a:p>
        </p:txBody>
      </p:sp>
      <p:cxnSp>
        <p:nvCxnSpPr>
          <p:cNvPr id="62" name="Curved Connector 61">
            <a:extLst>
              <a:ext uri="{FF2B5EF4-FFF2-40B4-BE49-F238E27FC236}">
                <a16:creationId xmlns:a16="http://schemas.microsoft.com/office/drawing/2014/main" id="{8B36A537-2F43-8E40-B3A2-F22C787515BC}"/>
              </a:ext>
            </a:extLst>
          </p:cNvPr>
          <p:cNvCxnSpPr>
            <a:cxnSpLocks/>
            <a:stCxn id="70" idx="1"/>
            <a:endCxn id="29" idx="3"/>
          </p:cNvCxnSpPr>
          <p:nvPr/>
        </p:nvCxnSpPr>
        <p:spPr>
          <a:xfrm rot="10800000" flipV="1">
            <a:off x="4503448" y="2127932"/>
            <a:ext cx="1435722" cy="1903838"/>
          </a:xfrm>
          <a:prstGeom prst="curvedConnector3">
            <a:avLst>
              <a:gd name="adj1" fmla="val 65038"/>
            </a:avLst>
          </a:prstGeom>
          <a:noFill/>
          <a:ln w="57150" cap="flat" cmpd="sng" algn="ctr">
            <a:gradFill>
              <a:gsLst>
                <a:gs pos="100000">
                  <a:srgbClr val="FF0000">
                    <a:alpha val="40555"/>
                  </a:srgbClr>
                </a:gs>
                <a:gs pos="0">
                  <a:srgbClr val="ED7D31">
                    <a:lumMod val="40000"/>
                    <a:lumOff val="60000"/>
                  </a:srgbClr>
                </a:gs>
                <a:gs pos="100000">
                  <a:srgbClr val="ED7D31">
                    <a:lumMod val="60000"/>
                    <a:lumOff val="40000"/>
                  </a:srgbClr>
                </a:gs>
              </a:gsLst>
              <a:lin ang="10800000" scaled="0"/>
            </a:gradFill>
            <a:prstDash val="solid"/>
          </a:ln>
          <a:effectLst/>
        </p:spPr>
      </p:cxnSp>
      <p:pic>
        <p:nvPicPr>
          <p:cNvPr id="70" name="Graphic 69" descr="Warning with solid fill">
            <a:extLst>
              <a:ext uri="{FF2B5EF4-FFF2-40B4-BE49-F238E27FC236}">
                <a16:creationId xmlns:a16="http://schemas.microsoft.com/office/drawing/2014/main" id="{8349229F-062F-DF44-9FDC-45A551176487}"/>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939170" y="2003732"/>
            <a:ext cx="248400" cy="248400"/>
          </a:xfrm>
          <a:prstGeom prst="rect">
            <a:avLst/>
          </a:prstGeom>
        </p:spPr>
      </p:pic>
      <p:sp>
        <p:nvSpPr>
          <p:cNvPr id="71" name="TextBox 70">
            <a:extLst>
              <a:ext uri="{FF2B5EF4-FFF2-40B4-BE49-F238E27FC236}">
                <a16:creationId xmlns:a16="http://schemas.microsoft.com/office/drawing/2014/main" id="{30766092-B4AB-AA46-9460-59C5B7D86AA8}"/>
              </a:ext>
            </a:extLst>
          </p:cNvPr>
          <p:cNvSpPr txBox="1"/>
          <p:nvPr/>
        </p:nvSpPr>
        <p:spPr>
          <a:xfrm>
            <a:off x="5505298" y="2302216"/>
            <a:ext cx="1316924" cy="415498"/>
          </a:xfrm>
          <a:prstGeom prst="rect">
            <a:avLst/>
          </a:prstGeom>
          <a:noFill/>
          <a:ln>
            <a:noFill/>
          </a:ln>
        </p:spPr>
        <p:txBody>
          <a:bodyPr wrap="square" rtlCol="0">
            <a:spAutoFit/>
          </a:bodyPr>
          <a:lstStyle/>
          <a:p>
            <a:pPr defTabSz="914377"/>
            <a:r>
              <a:rPr lang="en-US" sz="700" b="1">
                <a:solidFill>
                  <a:srgbClr val="FF0000"/>
                </a:solidFill>
                <a:latin typeface="Calibri" panose="020F0502020204030204" pitchFamily="34" charset="0"/>
                <a:cs typeface="Calibri" panose="020F0502020204030204" pitchFamily="34" charset="0"/>
              </a:rPr>
              <a:t>11. Communication challenges result in the service user being turned away from services</a:t>
            </a:r>
            <a:endParaRPr lang="en-GB" sz="700" b="1">
              <a:solidFill>
                <a:srgbClr val="FF0000"/>
              </a:solidFill>
              <a:latin typeface="Calibri" panose="020F0502020204030204" pitchFamily="34" charset="0"/>
              <a:cs typeface="Calibri" panose="020F0502020204030204" pitchFamily="34" charset="0"/>
            </a:endParaRPr>
          </a:p>
        </p:txBody>
      </p:sp>
      <p:pic>
        <p:nvPicPr>
          <p:cNvPr id="73" name="Graphic 72" descr="Warning with solid fill">
            <a:extLst>
              <a:ext uri="{FF2B5EF4-FFF2-40B4-BE49-F238E27FC236}">
                <a16:creationId xmlns:a16="http://schemas.microsoft.com/office/drawing/2014/main" id="{6732CF22-FDE5-5448-95F1-75AD6588A61E}"/>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117639" y="3262324"/>
            <a:ext cx="245282" cy="245282"/>
          </a:xfrm>
          <a:prstGeom prst="rect">
            <a:avLst/>
          </a:prstGeom>
        </p:spPr>
      </p:pic>
      <p:pic>
        <p:nvPicPr>
          <p:cNvPr id="75" name="Graphic 74" descr="Warning with solid fill">
            <a:extLst>
              <a:ext uri="{FF2B5EF4-FFF2-40B4-BE49-F238E27FC236}">
                <a16:creationId xmlns:a16="http://schemas.microsoft.com/office/drawing/2014/main" id="{40390941-5AAA-FE45-8754-B2FDB041937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154754" y="4514847"/>
            <a:ext cx="245282" cy="245282"/>
          </a:xfrm>
          <a:prstGeom prst="rect">
            <a:avLst/>
          </a:prstGeom>
        </p:spPr>
      </p:pic>
      <p:sp>
        <p:nvSpPr>
          <p:cNvPr id="76" name="TextBox 75">
            <a:extLst>
              <a:ext uri="{FF2B5EF4-FFF2-40B4-BE49-F238E27FC236}">
                <a16:creationId xmlns:a16="http://schemas.microsoft.com/office/drawing/2014/main" id="{D1A529DF-10BB-434E-8AD8-946689635E64}"/>
              </a:ext>
            </a:extLst>
          </p:cNvPr>
          <p:cNvSpPr txBox="1"/>
          <p:nvPr/>
        </p:nvSpPr>
        <p:spPr>
          <a:xfrm>
            <a:off x="4966513" y="3474070"/>
            <a:ext cx="651338" cy="415498"/>
          </a:xfrm>
          <a:prstGeom prst="rect">
            <a:avLst/>
          </a:prstGeom>
          <a:noFill/>
          <a:ln>
            <a:noFill/>
          </a:ln>
        </p:spPr>
        <p:txBody>
          <a:bodyPr wrap="square" rtlCol="0">
            <a:spAutoFit/>
          </a:bodyPr>
          <a:lstStyle/>
          <a:p>
            <a:pPr defTabSz="914377"/>
            <a:r>
              <a:rPr lang="en-US" sz="700" b="1">
                <a:solidFill>
                  <a:srgbClr val="FF0000"/>
                </a:solidFill>
                <a:latin typeface="Calibri" panose="020F0502020204030204" pitchFamily="34" charset="0"/>
                <a:cs typeface="Calibri" panose="020F0502020204030204" pitchFamily="34" charset="0"/>
              </a:rPr>
              <a:t>9. Travel to community settings</a:t>
            </a:r>
            <a:endParaRPr lang="en-GB" sz="700" b="1">
              <a:solidFill>
                <a:srgbClr val="FF0000"/>
              </a:solidFill>
              <a:latin typeface="Calibri" panose="020F0502020204030204" pitchFamily="34" charset="0"/>
              <a:cs typeface="Calibri" panose="020F0502020204030204" pitchFamily="34" charset="0"/>
            </a:endParaRPr>
          </a:p>
        </p:txBody>
      </p:sp>
      <p:sp>
        <p:nvSpPr>
          <p:cNvPr id="77" name="TextBox 76">
            <a:extLst>
              <a:ext uri="{FF2B5EF4-FFF2-40B4-BE49-F238E27FC236}">
                <a16:creationId xmlns:a16="http://schemas.microsoft.com/office/drawing/2014/main" id="{812DAD27-178C-8345-A159-0C889BF65088}"/>
              </a:ext>
            </a:extLst>
          </p:cNvPr>
          <p:cNvSpPr txBox="1"/>
          <p:nvPr/>
        </p:nvSpPr>
        <p:spPr>
          <a:xfrm>
            <a:off x="4726660" y="4589978"/>
            <a:ext cx="651338" cy="738664"/>
          </a:xfrm>
          <a:prstGeom prst="rect">
            <a:avLst/>
          </a:prstGeom>
          <a:noFill/>
          <a:ln>
            <a:noFill/>
          </a:ln>
        </p:spPr>
        <p:txBody>
          <a:bodyPr wrap="square" rtlCol="0">
            <a:spAutoFit/>
          </a:bodyPr>
          <a:lstStyle/>
          <a:p>
            <a:pPr defTabSz="914377"/>
            <a:r>
              <a:rPr lang="en-US" sz="700" b="1">
                <a:solidFill>
                  <a:srgbClr val="FF0000"/>
                </a:solidFill>
                <a:latin typeface="Calibri" panose="020F0502020204030204" pitchFamily="34" charset="0"/>
                <a:cs typeface="Calibri" panose="020F0502020204030204" pitchFamily="34" charset="0"/>
              </a:rPr>
              <a:t>8. Earlier reasonable adjustments can reduce attendance length</a:t>
            </a:r>
            <a:endParaRPr lang="en-GB" sz="700" b="1">
              <a:solidFill>
                <a:srgbClr val="FF0000"/>
              </a:solidFill>
              <a:latin typeface="Calibri" panose="020F0502020204030204" pitchFamily="34" charset="0"/>
              <a:cs typeface="Calibri" panose="020F0502020204030204" pitchFamily="34" charset="0"/>
            </a:endParaRPr>
          </a:p>
        </p:txBody>
      </p:sp>
      <p:cxnSp>
        <p:nvCxnSpPr>
          <p:cNvPr id="83" name="Curved Connector 82">
            <a:extLst>
              <a:ext uri="{FF2B5EF4-FFF2-40B4-BE49-F238E27FC236}">
                <a16:creationId xmlns:a16="http://schemas.microsoft.com/office/drawing/2014/main" id="{0F826D40-4EBB-0F4B-9AB9-6AD6FB3CE2B5}"/>
              </a:ext>
            </a:extLst>
          </p:cNvPr>
          <p:cNvCxnSpPr>
            <a:cxnSpLocks/>
            <a:stCxn id="49" idx="3"/>
            <a:endCxn id="43" idx="0"/>
          </p:cNvCxnSpPr>
          <p:nvPr/>
        </p:nvCxnSpPr>
        <p:spPr>
          <a:xfrm flipH="1">
            <a:off x="5944573" y="3092806"/>
            <a:ext cx="124200" cy="1612940"/>
          </a:xfrm>
          <a:prstGeom prst="curvedConnector4">
            <a:avLst>
              <a:gd name="adj1" fmla="val -294493"/>
              <a:gd name="adj2" fmla="val 55740"/>
            </a:avLst>
          </a:prstGeom>
          <a:noFill/>
          <a:ln w="57150" cap="flat" cmpd="sng" algn="ctr">
            <a:gradFill>
              <a:gsLst>
                <a:gs pos="100000">
                  <a:srgbClr val="FF0000">
                    <a:alpha val="40555"/>
                  </a:srgbClr>
                </a:gs>
                <a:gs pos="0">
                  <a:srgbClr val="ED7D31">
                    <a:lumMod val="40000"/>
                    <a:lumOff val="60000"/>
                  </a:srgbClr>
                </a:gs>
                <a:gs pos="100000">
                  <a:srgbClr val="ED7D31">
                    <a:lumMod val="60000"/>
                    <a:lumOff val="40000"/>
                  </a:srgbClr>
                </a:gs>
              </a:gsLst>
              <a:lin ang="10800000" scaled="0"/>
            </a:gradFill>
            <a:prstDash val="sysDash"/>
          </a:ln>
          <a:effectLst/>
        </p:spPr>
      </p:cxnSp>
      <p:pic>
        <p:nvPicPr>
          <p:cNvPr id="86" name="Graphic 85" descr="Warning with solid fill">
            <a:extLst>
              <a:ext uri="{FF2B5EF4-FFF2-40B4-BE49-F238E27FC236}">
                <a16:creationId xmlns:a16="http://schemas.microsoft.com/office/drawing/2014/main" id="{FA431F5E-E07B-B74C-BE4D-C62E5C29726B}"/>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6059589" y="3868787"/>
            <a:ext cx="248400" cy="248400"/>
          </a:xfrm>
          <a:prstGeom prst="rect">
            <a:avLst/>
          </a:prstGeom>
        </p:spPr>
      </p:pic>
      <p:sp>
        <p:nvSpPr>
          <p:cNvPr id="90" name="TextBox 89">
            <a:extLst>
              <a:ext uri="{FF2B5EF4-FFF2-40B4-BE49-F238E27FC236}">
                <a16:creationId xmlns:a16="http://schemas.microsoft.com/office/drawing/2014/main" id="{2A914058-14CF-EF4D-A400-CB66615D6E5B}"/>
              </a:ext>
            </a:extLst>
          </p:cNvPr>
          <p:cNvSpPr txBox="1"/>
          <p:nvPr/>
        </p:nvSpPr>
        <p:spPr>
          <a:xfrm>
            <a:off x="6304800" y="3754033"/>
            <a:ext cx="1034844" cy="523220"/>
          </a:xfrm>
          <a:prstGeom prst="rect">
            <a:avLst/>
          </a:prstGeom>
          <a:noFill/>
          <a:ln>
            <a:noFill/>
          </a:ln>
        </p:spPr>
        <p:txBody>
          <a:bodyPr wrap="square" rtlCol="0">
            <a:spAutoFit/>
          </a:bodyPr>
          <a:lstStyle/>
          <a:p>
            <a:pPr defTabSz="914377"/>
            <a:r>
              <a:rPr lang="en-GB" sz="700" b="1">
                <a:solidFill>
                  <a:srgbClr val="FF0000"/>
                </a:solidFill>
                <a:latin typeface="Calibri" panose="020F0502020204030204" pitchFamily="34" charset="0"/>
                <a:cs typeface="Calibri" panose="020F0502020204030204" pitchFamily="34" charset="0"/>
              </a:rPr>
              <a:t>11. Patient excluded from services due to negative behaviours then deteriorates</a:t>
            </a:r>
          </a:p>
        </p:txBody>
      </p:sp>
      <p:pic>
        <p:nvPicPr>
          <p:cNvPr id="91" name="Graphic 90" descr="Warning with solid fill">
            <a:extLst>
              <a:ext uri="{FF2B5EF4-FFF2-40B4-BE49-F238E27FC236}">
                <a16:creationId xmlns:a16="http://schemas.microsoft.com/office/drawing/2014/main" id="{709B5866-598F-5645-BCE4-41A0FF03CDF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204698" y="1449789"/>
            <a:ext cx="248400" cy="248400"/>
          </a:xfrm>
          <a:prstGeom prst="rect">
            <a:avLst/>
          </a:prstGeom>
        </p:spPr>
      </p:pic>
      <p:sp>
        <p:nvSpPr>
          <p:cNvPr id="93" name="TextBox 92">
            <a:extLst>
              <a:ext uri="{FF2B5EF4-FFF2-40B4-BE49-F238E27FC236}">
                <a16:creationId xmlns:a16="http://schemas.microsoft.com/office/drawing/2014/main" id="{89BFB2AA-860E-EE4D-8D2C-649A98BFF676}"/>
              </a:ext>
            </a:extLst>
          </p:cNvPr>
          <p:cNvSpPr txBox="1"/>
          <p:nvPr/>
        </p:nvSpPr>
        <p:spPr>
          <a:xfrm>
            <a:off x="4503002" y="1391864"/>
            <a:ext cx="882276" cy="415498"/>
          </a:xfrm>
          <a:prstGeom prst="rect">
            <a:avLst/>
          </a:prstGeom>
          <a:noFill/>
          <a:ln>
            <a:noFill/>
          </a:ln>
        </p:spPr>
        <p:txBody>
          <a:bodyPr wrap="square" rtlCol="0">
            <a:spAutoFit/>
          </a:bodyPr>
          <a:lstStyle/>
          <a:p>
            <a:pPr defTabSz="914377"/>
            <a:r>
              <a:rPr lang="en-US" sz="700" b="1">
                <a:solidFill>
                  <a:srgbClr val="FF0000"/>
                </a:solidFill>
                <a:latin typeface="Calibri" panose="020F0502020204030204" pitchFamily="34" charset="0"/>
                <a:cs typeface="Calibri" panose="020F0502020204030204" pitchFamily="34" charset="0"/>
              </a:rPr>
              <a:t>10. Hospital passport not stored in RIO</a:t>
            </a:r>
            <a:endParaRPr lang="en-GB" sz="700" b="1">
              <a:solidFill>
                <a:srgbClr val="FF0000"/>
              </a:solidFill>
              <a:latin typeface="Calibri" panose="020F0502020204030204" pitchFamily="34" charset="0"/>
              <a:cs typeface="Calibri" panose="020F0502020204030204" pitchFamily="34" charset="0"/>
            </a:endParaRPr>
          </a:p>
        </p:txBody>
      </p:sp>
      <p:cxnSp>
        <p:nvCxnSpPr>
          <p:cNvPr id="94" name="Curved Connector 93">
            <a:extLst>
              <a:ext uri="{FF2B5EF4-FFF2-40B4-BE49-F238E27FC236}">
                <a16:creationId xmlns:a16="http://schemas.microsoft.com/office/drawing/2014/main" id="{38420991-A312-F34B-9247-9751F9B2266C}"/>
              </a:ext>
            </a:extLst>
          </p:cNvPr>
          <p:cNvCxnSpPr>
            <a:cxnSpLocks/>
            <a:stCxn id="31" idx="2"/>
            <a:endCxn id="98" idx="2"/>
          </p:cNvCxnSpPr>
          <p:nvPr/>
        </p:nvCxnSpPr>
        <p:spPr>
          <a:xfrm rot="5400000" flipH="1" flipV="1">
            <a:off x="5701783" y="2064230"/>
            <a:ext cx="1135785" cy="6057326"/>
          </a:xfrm>
          <a:prstGeom prst="curvedConnector3">
            <a:avLst>
              <a:gd name="adj1" fmla="val -23735"/>
            </a:avLst>
          </a:prstGeom>
          <a:noFill/>
          <a:ln w="57150" cap="flat" cmpd="sng" algn="ctr">
            <a:gradFill>
              <a:gsLst>
                <a:gs pos="100000">
                  <a:srgbClr val="FF0000">
                    <a:alpha val="40555"/>
                  </a:srgbClr>
                </a:gs>
                <a:gs pos="0">
                  <a:srgbClr val="ED7D31">
                    <a:lumMod val="40000"/>
                    <a:lumOff val="60000"/>
                  </a:srgbClr>
                </a:gs>
                <a:gs pos="100000">
                  <a:srgbClr val="ED7D31">
                    <a:lumMod val="60000"/>
                    <a:lumOff val="40000"/>
                  </a:srgbClr>
                </a:gs>
              </a:gsLst>
              <a:lin ang="10800000" scaled="0"/>
            </a:gradFill>
            <a:prstDash val="sysDash"/>
          </a:ln>
          <a:effectLst/>
        </p:spPr>
      </p:cxnSp>
      <p:pic>
        <p:nvPicPr>
          <p:cNvPr id="99" name="Graphic 98" descr="Call centre with solid fill">
            <a:extLst>
              <a:ext uri="{FF2B5EF4-FFF2-40B4-BE49-F238E27FC236}">
                <a16:creationId xmlns:a16="http://schemas.microsoft.com/office/drawing/2014/main" id="{008D04A8-4002-604D-84ED-BAA620A772F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349044" y="4680470"/>
            <a:ext cx="248400" cy="248400"/>
          </a:xfrm>
          <a:prstGeom prst="rect">
            <a:avLst/>
          </a:prstGeom>
        </p:spPr>
      </p:pic>
      <p:pic>
        <p:nvPicPr>
          <p:cNvPr id="103" name="Graphic 102" descr="Warning with solid fill">
            <a:extLst>
              <a:ext uri="{FF2B5EF4-FFF2-40B4-BE49-F238E27FC236}">
                <a16:creationId xmlns:a16="http://schemas.microsoft.com/office/drawing/2014/main" id="{71591E18-7969-2D40-A610-4E1A71F64E5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876887" y="5480328"/>
            <a:ext cx="248400" cy="248400"/>
          </a:xfrm>
          <a:prstGeom prst="rect">
            <a:avLst/>
          </a:prstGeom>
        </p:spPr>
      </p:pic>
      <p:sp>
        <p:nvSpPr>
          <p:cNvPr id="104" name="TextBox 103">
            <a:extLst>
              <a:ext uri="{FF2B5EF4-FFF2-40B4-BE49-F238E27FC236}">
                <a16:creationId xmlns:a16="http://schemas.microsoft.com/office/drawing/2014/main" id="{385C233A-93B6-8E40-842E-ED97C8620527}"/>
              </a:ext>
            </a:extLst>
          </p:cNvPr>
          <p:cNvSpPr txBox="1"/>
          <p:nvPr/>
        </p:nvSpPr>
        <p:spPr>
          <a:xfrm>
            <a:off x="7778714" y="5670939"/>
            <a:ext cx="1348033" cy="630942"/>
          </a:xfrm>
          <a:prstGeom prst="rect">
            <a:avLst/>
          </a:prstGeom>
          <a:noFill/>
          <a:ln>
            <a:noFill/>
          </a:ln>
        </p:spPr>
        <p:txBody>
          <a:bodyPr wrap="square" rtlCol="0">
            <a:spAutoFit/>
          </a:bodyPr>
          <a:lstStyle/>
          <a:p>
            <a:pPr defTabSz="914377"/>
            <a:r>
              <a:rPr lang="en-US" sz="700" b="1">
                <a:solidFill>
                  <a:srgbClr val="FF0000"/>
                </a:solidFill>
                <a:latin typeface="Calibri" panose="020F0502020204030204" pitchFamily="34" charset="0"/>
                <a:cs typeface="Calibri" panose="020F0502020204030204" pitchFamily="34" charset="0"/>
              </a:rPr>
              <a:t>13. Limited community resources mean the patient deteriorates following discharge and re-enters formal services</a:t>
            </a:r>
            <a:endParaRPr lang="en-GB" sz="700" b="1">
              <a:solidFill>
                <a:srgbClr val="FF0000"/>
              </a:solidFill>
              <a:latin typeface="Calibri" panose="020F0502020204030204" pitchFamily="34" charset="0"/>
              <a:cs typeface="Calibri" panose="020F0502020204030204" pitchFamily="34" charset="0"/>
            </a:endParaRPr>
          </a:p>
        </p:txBody>
      </p:sp>
      <p:grpSp>
        <p:nvGrpSpPr>
          <p:cNvPr id="46" name="Group 45">
            <a:extLst>
              <a:ext uri="{FF2B5EF4-FFF2-40B4-BE49-F238E27FC236}">
                <a16:creationId xmlns:a16="http://schemas.microsoft.com/office/drawing/2014/main" id="{87FA62F7-7C15-1443-B456-D14624068AB6}"/>
              </a:ext>
            </a:extLst>
          </p:cNvPr>
          <p:cNvGrpSpPr/>
          <p:nvPr/>
        </p:nvGrpSpPr>
        <p:grpSpPr>
          <a:xfrm>
            <a:off x="8442158" y="168237"/>
            <a:ext cx="1384803" cy="628751"/>
            <a:chOff x="7365044" y="102536"/>
            <a:chExt cx="1384803" cy="628751"/>
          </a:xfrm>
        </p:grpSpPr>
        <p:cxnSp>
          <p:nvCxnSpPr>
            <p:cNvPr id="110" name="Curved Connector 109">
              <a:extLst>
                <a:ext uri="{FF2B5EF4-FFF2-40B4-BE49-F238E27FC236}">
                  <a16:creationId xmlns:a16="http://schemas.microsoft.com/office/drawing/2014/main" id="{F46E1BDA-7330-6B4B-90A9-89C1C88E3766}"/>
                </a:ext>
              </a:extLst>
            </p:cNvPr>
            <p:cNvCxnSpPr>
              <a:cxnSpLocks/>
            </p:cNvCxnSpPr>
            <p:nvPr/>
          </p:nvCxnSpPr>
          <p:spPr>
            <a:xfrm rot="10800000">
              <a:off x="7514222" y="397817"/>
              <a:ext cx="589563" cy="398"/>
            </a:xfrm>
            <a:prstGeom prst="curvedConnector3">
              <a:avLst>
                <a:gd name="adj1" fmla="val 50000"/>
              </a:avLst>
            </a:prstGeom>
            <a:noFill/>
            <a:ln w="57150" cap="flat" cmpd="sng" algn="ctr">
              <a:gradFill>
                <a:gsLst>
                  <a:gs pos="100000">
                    <a:srgbClr val="FF0000">
                      <a:alpha val="40555"/>
                    </a:srgbClr>
                  </a:gs>
                  <a:gs pos="0">
                    <a:srgbClr val="ED7D31">
                      <a:lumMod val="40000"/>
                      <a:lumOff val="60000"/>
                    </a:srgbClr>
                  </a:gs>
                  <a:gs pos="100000">
                    <a:srgbClr val="ED7D31">
                      <a:lumMod val="60000"/>
                      <a:lumOff val="40000"/>
                    </a:srgbClr>
                  </a:gs>
                </a:gsLst>
                <a:lin ang="10800000" scaled="0"/>
              </a:gradFill>
              <a:prstDash val="solid"/>
            </a:ln>
            <a:effectLst/>
          </p:spPr>
        </p:cxnSp>
        <p:cxnSp>
          <p:nvCxnSpPr>
            <p:cNvPr id="120" name="Curved Connector 119">
              <a:extLst>
                <a:ext uri="{FF2B5EF4-FFF2-40B4-BE49-F238E27FC236}">
                  <a16:creationId xmlns:a16="http://schemas.microsoft.com/office/drawing/2014/main" id="{10124A4E-244C-6F46-BB12-C6CD89607AE9}"/>
                </a:ext>
              </a:extLst>
            </p:cNvPr>
            <p:cNvCxnSpPr>
              <a:cxnSpLocks/>
            </p:cNvCxnSpPr>
            <p:nvPr/>
          </p:nvCxnSpPr>
          <p:spPr>
            <a:xfrm rot="10800000">
              <a:off x="7514222" y="612325"/>
              <a:ext cx="589563" cy="8483"/>
            </a:xfrm>
            <a:prstGeom prst="curvedConnector3">
              <a:avLst>
                <a:gd name="adj1" fmla="val 50000"/>
              </a:avLst>
            </a:prstGeom>
            <a:noFill/>
            <a:ln w="57150" cap="flat" cmpd="sng" algn="ctr">
              <a:gradFill>
                <a:gsLst>
                  <a:gs pos="100000">
                    <a:srgbClr val="FF0000">
                      <a:alpha val="40555"/>
                    </a:srgbClr>
                  </a:gs>
                  <a:gs pos="0">
                    <a:srgbClr val="ED7D31">
                      <a:lumMod val="40000"/>
                      <a:lumOff val="60000"/>
                    </a:srgbClr>
                  </a:gs>
                  <a:gs pos="100000">
                    <a:srgbClr val="ED7D31">
                      <a:lumMod val="60000"/>
                      <a:lumOff val="40000"/>
                    </a:srgbClr>
                  </a:gs>
                </a:gsLst>
                <a:lin ang="10800000" scaled="0"/>
              </a:gradFill>
              <a:prstDash val="sysDash"/>
            </a:ln>
            <a:effectLst/>
          </p:spPr>
        </p:cxnSp>
        <p:sp>
          <p:nvSpPr>
            <p:cNvPr id="41" name="TextBox 40">
              <a:extLst>
                <a:ext uri="{FF2B5EF4-FFF2-40B4-BE49-F238E27FC236}">
                  <a16:creationId xmlns:a16="http://schemas.microsoft.com/office/drawing/2014/main" id="{85FD9D02-8930-D34D-9840-2886FEDF533F}"/>
                </a:ext>
              </a:extLst>
            </p:cNvPr>
            <p:cNvSpPr txBox="1"/>
            <p:nvPr/>
          </p:nvSpPr>
          <p:spPr>
            <a:xfrm>
              <a:off x="8100558" y="302775"/>
              <a:ext cx="623889" cy="200055"/>
            </a:xfrm>
            <a:prstGeom prst="rect">
              <a:avLst/>
            </a:prstGeom>
            <a:noFill/>
            <a:ln>
              <a:noFill/>
            </a:ln>
          </p:spPr>
          <p:txBody>
            <a:bodyPr wrap="square" rtlCol="0">
              <a:spAutoFit/>
            </a:bodyPr>
            <a:lstStyle>
              <a:defPPr>
                <a:defRPr lang="en-US"/>
              </a:defPPr>
              <a:lvl1pPr defTabSz="914377">
                <a:defRPr sz="700" b="1">
                  <a:solidFill>
                    <a:srgbClr val="FF0000"/>
                  </a:solidFill>
                  <a:latin typeface="Calibri" panose="020F0502020204030204" pitchFamily="34" charset="0"/>
                  <a:cs typeface="Calibri" panose="020F0502020204030204" pitchFamily="34" charset="0"/>
                </a:defRPr>
              </a:lvl1pPr>
            </a:lstStyle>
            <a:p>
              <a:r>
                <a:rPr lang="en-GB">
                  <a:solidFill>
                    <a:schemeClr val="tx1">
                      <a:lumMod val="75000"/>
                      <a:lumOff val="25000"/>
                    </a:schemeClr>
                  </a:solidFill>
                </a:rPr>
                <a:t>Left to right</a:t>
              </a:r>
            </a:p>
          </p:txBody>
        </p:sp>
        <p:sp>
          <p:nvSpPr>
            <p:cNvPr id="121" name="TextBox 120">
              <a:extLst>
                <a:ext uri="{FF2B5EF4-FFF2-40B4-BE49-F238E27FC236}">
                  <a16:creationId xmlns:a16="http://schemas.microsoft.com/office/drawing/2014/main" id="{92DB6C07-4F24-7C44-819C-1030147073DE}"/>
                </a:ext>
              </a:extLst>
            </p:cNvPr>
            <p:cNvSpPr txBox="1"/>
            <p:nvPr/>
          </p:nvSpPr>
          <p:spPr>
            <a:xfrm>
              <a:off x="8100642" y="505861"/>
              <a:ext cx="623889" cy="200055"/>
            </a:xfrm>
            <a:prstGeom prst="rect">
              <a:avLst/>
            </a:prstGeom>
            <a:noFill/>
            <a:ln>
              <a:noFill/>
            </a:ln>
          </p:spPr>
          <p:txBody>
            <a:bodyPr wrap="square" rtlCol="0">
              <a:spAutoFit/>
            </a:bodyPr>
            <a:lstStyle>
              <a:defPPr>
                <a:defRPr lang="en-US"/>
              </a:defPPr>
              <a:lvl1pPr defTabSz="914377">
                <a:defRPr sz="700" b="1">
                  <a:solidFill>
                    <a:srgbClr val="FF0000"/>
                  </a:solidFill>
                  <a:latin typeface="Calibri" panose="020F0502020204030204" pitchFamily="34" charset="0"/>
                  <a:cs typeface="Calibri" panose="020F0502020204030204" pitchFamily="34" charset="0"/>
                </a:defRPr>
              </a:lvl1pPr>
            </a:lstStyle>
            <a:p>
              <a:r>
                <a:rPr lang="en-GB">
                  <a:solidFill>
                    <a:schemeClr val="tx1">
                      <a:lumMod val="75000"/>
                      <a:lumOff val="25000"/>
                    </a:schemeClr>
                  </a:solidFill>
                </a:rPr>
                <a:t>Right to left</a:t>
              </a:r>
            </a:p>
          </p:txBody>
        </p:sp>
        <p:sp>
          <p:nvSpPr>
            <p:cNvPr id="42" name="TextBox 41">
              <a:extLst>
                <a:ext uri="{FF2B5EF4-FFF2-40B4-BE49-F238E27FC236}">
                  <a16:creationId xmlns:a16="http://schemas.microsoft.com/office/drawing/2014/main" id="{FCAD399C-CC01-ED49-B2B6-0236BAEDE9B9}"/>
                </a:ext>
              </a:extLst>
            </p:cNvPr>
            <p:cNvSpPr txBox="1"/>
            <p:nvPr/>
          </p:nvSpPr>
          <p:spPr>
            <a:xfrm>
              <a:off x="7514138" y="102536"/>
              <a:ext cx="1122691" cy="215444"/>
            </a:xfrm>
            <a:prstGeom prst="rect">
              <a:avLst/>
            </a:prstGeom>
            <a:noFill/>
            <a:ln>
              <a:noFill/>
            </a:ln>
          </p:spPr>
          <p:txBody>
            <a:bodyPr wrap="square" rtlCol="0">
              <a:spAutoFit/>
            </a:bodyPr>
            <a:lstStyle>
              <a:defPPr>
                <a:defRPr lang="en-US"/>
              </a:defPPr>
              <a:lvl1pPr defTabSz="914377">
                <a:defRPr sz="700" b="1">
                  <a:solidFill>
                    <a:schemeClr val="tx1">
                      <a:lumMod val="75000"/>
                      <a:lumOff val="25000"/>
                    </a:schemeClr>
                  </a:solidFill>
                  <a:latin typeface="Calibri" panose="020F0502020204030204" pitchFamily="34" charset="0"/>
                  <a:cs typeface="Calibri" panose="020F0502020204030204" pitchFamily="34" charset="0"/>
                </a:defRPr>
              </a:lvl1pPr>
            </a:lstStyle>
            <a:p>
              <a:r>
                <a:rPr lang="en-GB" sz="800" u="sng"/>
                <a:t>Patient flow direction</a:t>
              </a:r>
            </a:p>
          </p:txBody>
        </p:sp>
        <p:sp>
          <p:nvSpPr>
            <p:cNvPr id="45" name="Rectangle 44">
              <a:extLst>
                <a:ext uri="{FF2B5EF4-FFF2-40B4-BE49-F238E27FC236}">
                  <a16:creationId xmlns:a16="http://schemas.microsoft.com/office/drawing/2014/main" id="{440EF0C8-C697-9F4E-B037-335C3E263186}"/>
                </a:ext>
              </a:extLst>
            </p:cNvPr>
            <p:cNvSpPr/>
            <p:nvPr/>
          </p:nvSpPr>
          <p:spPr>
            <a:xfrm>
              <a:off x="7365044" y="102536"/>
              <a:ext cx="1384803" cy="628751"/>
            </a:xfrm>
            <a:prstGeom prst="rect">
              <a:avLst/>
            </a:prstGeom>
            <a:noFill/>
            <a:ln>
              <a:solidFill>
                <a:srgbClr val="50235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22" name="Graphic 121" descr="Warning with solid fill">
            <a:extLst>
              <a:ext uri="{FF2B5EF4-FFF2-40B4-BE49-F238E27FC236}">
                <a16:creationId xmlns:a16="http://schemas.microsoft.com/office/drawing/2014/main" id="{8F355200-23AD-0044-8C0F-7270209B023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460156" y="4250722"/>
            <a:ext cx="248400" cy="248400"/>
          </a:xfrm>
          <a:prstGeom prst="rect">
            <a:avLst/>
          </a:prstGeom>
        </p:spPr>
      </p:pic>
      <p:sp>
        <p:nvSpPr>
          <p:cNvPr id="123" name="TextBox 122">
            <a:extLst>
              <a:ext uri="{FF2B5EF4-FFF2-40B4-BE49-F238E27FC236}">
                <a16:creationId xmlns:a16="http://schemas.microsoft.com/office/drawing/2014/main" id="{D880644E-4B0A-5C44-B396-0D22D54FC90B}"/>
              </a:ext>
            </a:extLst>
          </p:cNvPr>
          <p:cNvSpPr txBox="1"/>
          <p:nvPr/>
        </p:nvSpPr>
        <p:spPr>
          <a:xfrm>
            <a:off x="7617089" y="3998447"/>
            <a:ext cx="1099633" cy="630942"/>
          </a:xfrm>
          <a:prstGeom prst="rect">
            <a:avLst/>
          </a:prstGeom>
          <a:noFill/>
          <a:ln>
            <a:noFill/>
          </a:ln>
        </p:spPr>
        <p:txBody>
          <a:bodyPr wrap="square" rtlCol="0">
            <a:spAutoFit/>
          </a:bodyPr>
          <a:lstStyle/>
          <a:p>
            <a:pPr defTabSz="914377"/>
            <a:r>
              <a:rPr lang="en-US" sz="700" b="1">
                <a:solidFill>
                  <a:srgbClr val="FF0000"/>
                </a:solidFill>
                <a:latin typeface="Calibri" panose="020F0502020204030204" pitchFamily="34" charset="0"/>
                <a:cs typeface="Calibri" panose="020F0502020204030204" pitchFamily="34" charset="0"/>
              </a:rPr>
              <a:t>12. Service user unable to be discharged due to limited availability of funded community support offerings</a:t>
            </a:r>
            <a:endParaRPr lang="en-GB" sz="700" b="1">
              <a:solidFill>
                <a:srgbClr val="FF0000"/>
              </a:solidFill>
              <a:latin typeface="Calibri" panose="020F0502020204030204" pitchFamily="34" charset="0"/>
              <a:cs typeface="Calibri" panose="020F0502020204030204" pitchFamily="34" charset="0"/>
            </a:endParaRPr>
          </a:p>
        </p:txBody>
      </p:sp>
      <p:graphicFrame>
        <p:nvGraphicFramePr>
          <p:cNvPr id="96" name="Table 95">
            <a:extLst>
              <a:ext uri="{FF2B5EF4-FFF2-40B4-BE49-F238E27FC236}">
                <a16:creationId xmlns:a16="http://schemas.microsoft.com/office/drawing/2014/main" id="{27D7BDE4-B832-C740-B609-3A41340364BF}"/>
              </a:ext>
            </a:extLst>
          </p:cNvPr>
          <p:cNvGraphicFramePr>
            <a:graphicFrameLocks noGrp="1"/>
          </p:cNvGraphicFramePr>
          <p:nvPr>
            <p:extLst>
              <p:ext uri="{D42A27DB-BD31-4B8C-83A1-F6EECF244321}">
                <p14:modId xmlns:p14="http://schemas.microsoft.com/office/powerpoint/2010/main" val="1491674751"/>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A"/>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Tree>
    <p:extLst>
      <p:ext uri="{BB962C8B-B14F-4D97-AF65-F5344CB8AC3E}">
        <p14:creationId xmlns:p14="http://schemas.microsoft.com/office/powerpoint/2010/main" val="11982472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22AF2B-CD1C-8742-ABF2-F47A44879B64}"/>
              </a:ext>
            </a:extLst>
          </p:cNvPr>
          <p:cNvSpPr>
            <a:spLocks noGrp="1"/>
          </p:cNvSpPr>
          <p:nvPr>
            <p:ph type="title"/>
          </p:nvPr>
        </p:nvSpPr>
        <p:spPr/>
        <p:txBody>
          <a:bodyPr/>
          <a:lstStyle/>
          <a:p>
            <a:r>
              <a:rPr lang="en-GB"/>
              <a:t>Mental health &amp; Autism - Challenges</a:t>
            </a:r>
          </a:p>
        </p:txBody>
      </p:sp>
      <p:graphicFrame>
        <p:nvGraphicFramePr>
          <p:cNvPr id="2" name="Table 3">
            <a:extLst>
              <a:ext uri="{FF2B5EF4-FFF2-40B4-BE49-F238E27FC236}">
                <a16:creationId xmlns:a16="http://schemas.microsoft.com/office/drawing/2014/main" id="{C936049E-4494-6547-93D5-77CC5AD22A24}"/>
              </a:ext>
            </a:extLst>
          </p:cNvPr>
          <p:cNvGraphicFramePr>
            <a:graphicFrameLocks noGrp="1"/>
          </p:cNvGraphicFramePr>
          <p:nvPr>
            <p:extLst>
              <p:ext uri="{D42A27DB-BD31-4B8C-83A1-F6EECF244321}">
                <p14:modId xmlns:p14="http://schemas.microsoft.com/office/powerpoint/2010/main" val="884803952"/>
              </p:ext>
            </p:extLst>
          </p:nvPr>
        </p:nvGraphicFramePr>
        <p:xfrm>
          <a:off x="510638" y="864011"/>
          <a:ext cx="11082648" cy="5632540"/>
        </p:xfrm>
        <a:graphic>
          <a:graphicData uri="http://schemas.openxmlformats.org/drawingml/2006/table">
            <a:tbl>
              <a:tblPr firstRow="1" bandRow="1">
                <a:tableStyleId>{5C22544A-7EE6-4342-B048-85BDC9FD1C3A}</a:tableStyleId>
              </a:tblPr>
              <a:tblGrid>
                <a:gridCol w="357505">
                  <a:extLst>
                    <a:ext uri="{9D8B030D-6E8A-4147-A177-3AD203B41FA5}">
                      <a16:colId xmlns:a16="http://schemas.microsoft.com/office/drawing/2014/main" val="2182107927"/>
                    </a:ext>
                  </a:extLst>
                </a:gridCol>
                <a:gridCol w="2647943">
                  <a:extLst>
                    <a:ext uri="{9D8B030D-6E8A-4147-A177-3AD203B41FA5}">
                      <a16:colId xmlns:a16="http://schemas.microsoft.com/office/drawing/2014/main" val="3890154832"/>
                    </a:ext>
                  </a:extLst>
                </a:gridCol>
                <a:gridCol w="8077200">
                  <a:extLst>
                    <a:ext uri="{9D8B030D-6E8A-4147-A177-3AD203B41FA5}">
                      <a16:colId xmlns:a16="http://schemas.microsoft.com/office/drawing/2014/main" val="3027385909"/>
                    </a:ext>
                  </a:extLst>
                </a:gridCol>
              </a:tblGrid>
              <a:tr h="248458">
                <a:tc gridSpan="2">
                  <a:txBody>
                    <a:bodyPr/>
                    <a:lstStyle/>
                    <a:p>
                      <a:r>
                        <a:rPr lang="en-GB" sz="1200">
                          <a:solidFill>
                            <a:srgbClr val="50235B"/>
                          </a:solidFill>
                        </a:rPr>
                        <a:t>Common challenges</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hMerge="1">
                  <a:txBody>
                    <a:bodyPr/>
                    <a:lstStyle/>
                    <a:p>
                      <a:r>
                        <a:rPr lang="en-GB" sz="1400">
                          <a:solidFill>
                            <a:srgbClr val="50235B"/>
                          </a:solidFill>
                        </a:rPr>
                        <a:t>Description</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a:txBody>
                    <a:bodyPr/>
                    <a:lstStyle/>
                    <a:p>
                      <a:r>
                        <a:rPr lang="en-GB" sz="1200">
                          <a:solidFill>
                            <a:srgbClr val="50235B"/>
                          </a:solidFill>
                        </a:rPr>
                        <a:t>Description</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extLst>
                  <a:ext uri="{0D108BD9-81ED-4DB2-BD59-A6C34878D82A}">
                    <a16:rowId xmlns:a16="http://schemas.microsoft.com/office/drawing/2014/main" val="611319891"/>
                  </a:ext>
                </a:extLst>
              </a:tr>
              <a:tr h="414097">
                <a:tc>
                  <a:txBody>
                    <a:bodyPr/>
                    <a:lstStyle/>
                    <a:p>
                      <a:pPr algn="ctr"/>
                      <a:r>
                        <a:rPr lang="en-GB" sz="1000" b="1">
                          <a:solidFill>
                            <a:srgbClr val="FF0000"/>
                          </a:solidFill>
                          <a:latin typeface="Arial" panose="020B0604020202020204" pitchFamily="34" charset="0"/>
                          <a:ea typeface="Hiragino Sans CNS W3" panose="020B0300000000000000" pitchFamily="34" charset="-128"/>
                          <a:cs typeface="Arial" panose="020B0604020202020204" pitchFamily="34" charset="0"/>
                        </a:rPr>
                        <a:t>1</a:t>
                      </a:r>
                    </a:p>
                  </a:txBody>
                  <a:tcPr anchor="ctr">
                    <a:lnL w="12700" cap="flat" cmpd="sng" algn="ctr">
                      <a:solidFill>
                        <a:srgbClr val="CCBCD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a:solidFill>
                            <a:srgbClr val="50235B"/>
                          </a:solidFill>
                          <a:latin typeface="Arial" panose="020B0604020202020204" pitchFamily="34" charset="0"/>
                          <a:cs typeface="Arial" panose="020B0604020202020204" pitchFamily="34" charset="0"/>
                        </a:rPr>
                        <a:t>Autism service users may experience anxiety in having to make a phone call</a:t>
                      </a:r>
                      <a:endParaRPr lang="en-GB" sz="800" b="1">
                        <a:solidFill>
                          <a:srgbClr val="50235B"/>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kern="1200">
                          <a:solidFill>
                            <a:schemeClr val="tx1">
                              <a:lumMod val="75000"/>
                              <a:lumOff val="25000"/>
                            </a:schemeClr>
                          </a:solidFill>
                          <a:latin typeface="Arial" panose="020B0604020202020204" pitchFamily="34" charset="0"/>
                          <a:ea typeface="+mn-ea"/>
                          <a:cs typeface="Arial" panose="020B0604020202020204" pitchFamily="34" charset="0"/>
                        </a:rPr>
                        <a:t>It is recognised that communication via phone may not be the preferred option, which can result in </a:t>
                      </a:r>
                      <a:r>
                        <a:rPr lang="en-GB" sz="800">
                          <a:solidFill>
                            <a:schemeClr val="tx1">
                              <a:lumMod val="75000"/>
                              <a:lumOff val="25000"/>
                            </a:schemeClr>
                          </a:solidFill>
                          <a:latin typeface="Arial" panose="020B0604020202020204" pitchFamily="34" charset="0"/>
                          <a:cs typeface="Arial" panose="020B0604020202020204" pitchFamily="34" charset="0"/>
                        </a:rPr>
                        <a:t>barrier to services for people with autism. Therefore, there could be an opportunity to present alternative supported access points into mental health services for this cohort of patients. </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extLst>
                  <a:ext uri="{0D108BD9-81ED-4DB2-BD59-A6C34878D82A}">
                    <a16:rowId xmlns:a16="http://schemas.microsoft.com/office/drawing/2014/main" val="876790404"/>
                  </a:ext>
                </a:extLst>
              </a:tr>
              <a:tr h="30367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2</a:t>
                      </a:r>
                    </a:p>
                  </a:txBody>
                  <a:tcPr anchor="ctr">
                    <a:lnL w="12700" cap="flat" cmpd="sng" algn="ctr">
                      <a:solidFill>
                        <a:srgbClr val="CCBCD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a:solidFill>
                            <a:srgbClr val="50235B"/>
                          </a:solidFill>
                          <a:latin typeface="Arial" panose="020B0604020202020204" pitchFamily="34" charset="0"/>
                          <a:cs typeface="Arial" panose="020B0604020202020204" pitchFamily="34" charset="0"/>
                        </a:rPr>
                        <a:t>Autism service users often struggle to communicate their symptoms to clinicians</a:t>
                      </a:r>
                      <a:endParaRPr lang="en-GB" sz="800" b="1">
                        <a:solidFill>
                          <a:srgbClr val="50235B"/>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r>
                        <a:rPr lang="en-GB" sz="800">
                          <a:solidFill>
                            <a:schemeClr val="tx1">
                              <a:lumMod val="75000"/>
                              <a:lumOff val="25000"/>
                            </a:schemeClr>
                          </a:solidFill>
                          <a:latin typeface="Arial" panose="020B0604020202020204" pitchFamily="34" charset="0"/>
                          <a:cs typeface="Arial" panose="020B0604020202020204" pitchFamily="34" charset="0"/>
                        </a:rPr>
                        <a:t>People with autism may have issues communicating clearly and effectively, this means they may not easily express how they are feeling to clinical care teams. This can result in patients shutting down and masking symptoms or potentially expressing anger and frustration towards staff. </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extLst>
                  <a:ext uri="{0D108BD9-81ED-4DB2-BD59-A6C34878D82A}">
                    <a16:rowId xmlns:a16="http://schemas.microsoft.com/office/drawing/2014/main" val="3602947896"/>
                  </a:ext>
                </a:extLst>
              </a:tr>
              <a:tr h="52452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3</a:t>
                      </a:r>
                    </a:p>
                  </a:txBody>
                  <a:tcPr anchor="ctr">
                    <a:lnL w="12700" cap="flat" cmpd="sng" algn="ctr">
                      <a:solidFill>
                        <a:srgbClr val="CCBCD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a:solidFill>
                            <a:srgbClr val="50235B"/>
                          </a:solidFill>
                          <a:latin typeface="Arial" panose="020B0604020202020204" pitchFamily="34" charset="0"/>
                          <a:cs typeface="Arial" panose="020B0604020202020204" pitchFamily="34" charset="0"/>
                        </a:rPr>
                        <a:t>Reasonable adjustments not made to ward to support the service user with Autism</a:t>
                      </a:r>
                      <a:endParaRPr lang="en-GB" sz="800" b="1">
                        <a:solidFill>
                          <a:srgbClr val="50235B"/>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a:solidFill>
                            <a:schemeClr val="tx1">
                              <a:lumMod val="75000"/>
                              <a:lumOff val="25000"/>
                            </a:schemeClr>
                          </a:solidFill>
                          <a:latin typeface="Arial" panose="020B0604020202020204" pitchFamily="34" charset="0"/>
                          <a:cs typeface="Arial" panose="020B0604020202020204" pitchFamily="34" charset="0"/>
                        </a:rPr>
                        <a:t>Wards can be noisy, bright and may appear chaotic to some people with autism. Without reasonable adjustments to the environment and support from a professional who understands autism and how to adapt the care provided, it can be overwhelming for this cohort of service users, particularly if they have a sensitivity to sound, light or touch. These </a:t>
                      </a:r>
                      <a:r>
                        <a:rPr lang="en-GB" sz="800" kern="1200">
                          <a:solidFill>
                            <a:schemeClr val="tx1">
                              <a:lumMod val="75000"/>
                              <a:lumOff val="25000"/>
                            </a:schemeClr>
                          </a:solidFill>
                          <a:latin typeface="Arial" panose="020B0604020202020204" pitchFamily="34" charset="0"/>
                          <a:ea typeface="+mn-ea"/>
                          <a:cs typeface="Arial" panose="020B0604020202020204" pitchFamily="34" charset="0"/>
                        </a:rPr>
                        <a:t>factors can can exacerbate symptoms and lead to extended lengths of stay and/ or further challenge in transitioning back to the community. </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extLst>
                  <a:ext uri="{0D108BD9-81ED-4DB2-BD59-A6C34878D82A}">
                    <a16:rowId xmlns:a16="http://schemas.microsoft.com/office/drawing/2014/main" val="4226821869"/>
                  </a:ext>
                </a:extLst>
              </a:tr>
              <a:tr h="30367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4</a:t>
                      </a:r>
                    </a:p>
                  </a:txBody>
                  <a:tcPr anchor="ctr">
                    <a:lnL w="12700" cap="flat" cmpd="sng" algn="ctr">
                      <a:solidFill>
                        <a:srgbClr val="CCBCD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kern="1200">
                          <a:solidFill>
                            <a:srgbClr val="50235B"/>
                          </a:solidFill>
                          <a:latin typeface="Arial" panose="020B0604020202020204" pitchFamily="34" charset="0"/>
                          <a:ea typeface="+mn-ea"/>
                          <a:cs typeface="Arial" panose="020B0604020202020204" pitchFamily="34" charset="0"/>
                        </a:rPr>
                        <a:t>The CBT offering may not be appropriate for a service user with Autism</a:t>
                      </a:r>
                      <a:endParaRPr lang="en-GB" sz="800" b="1" kern="1200">
                        <a:solidFill>
                          <a:srgbClr val="50235B"/>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r>
                        <a:rPr lang="en-GB" sz="800">
                          <a:solidFill>
                            <a:schemeClr val="tx1">
                              <a:lumMod val="75000"/>
                              <a:lumOff val="25000"/>
                            </a:schemeClr>
                          </a:solidFill>
                          <a:latin typeface="Arial" panose="020B0604020202020204" pitchFamily="34" charset="0"/>
                          <a:cs typeface="Arial" panose="020B0604020202020204" pitchFamily="34" charset="0"/>
                        </a:rPr>
                        <a:t>The use of pathways across STW presents a challenge to people with Autism as the entry criteria and treatment offerings aren’t always adjusted to meet their specific requirements. There have been discrete examples of this in IAPT services where the methodologies used in CBT sessions for example did not fit with an individual’s needs. </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extLst>
                  <a:ext uri="{0D108BD9-81ED-4DB2-BD59-A6C34878D82A}">
                    <a16:rowId xmlns:a16="http://schemas.microsoft.com/office/drawing/2014/main" val="597697564"/>
                  </a:ext>
                </a:extLst>
              </a:tr>
              <a:tr h="41409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5</a:t>
                      </a:r>
                    </a:p>
                  </a:txBody>
                  <a:tcPr anchor="ctr">
                    <a:lnL w="12700" cap="flat" cmpd="sng" algn="ctr">
                      <a:solidFill>
                        <a:srgbClr val="CCBCD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kern="1200">
                          <a:solidFill>
                            <a:srgbClr val="50235B"/>
                          </a:solidFill>
                          <a:latin typeface="Arial" panose="020B0604020202020204" pitchFamily="34" charset="0"/>
                          <a:ea typeface="+mn-ea"/>
                          <a:cs typeface="Arial" panose="020B0604020202020204" pitchFamily="34" charset="0"/>
                        </a:rPr>
                        <a:t>Patient records not shared back with Primary care in a timely manner</a:t>
                      </a:r>
                      <a:endParaRPr lang="en-GB" sz="800" b="1" kern="1200">
                        <a:solidFill>
                          <a:srgbClr val="50235B"/>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r>
                        <a:rPr lang="en-GB" sz="800">
                          <a:solidFill>
                            <a:schemeClr val="tx1">
                              <a:lumMod val="75000"/>
                              <a:lumOff val="25000"/>
                            </a:schemeClr>
                          </a:solidFill>
                          <a:latin typeface="Arial" panose="020B0604020202020204" pitchFamily="34" charset="0"/>
                          <a:cs typeface="Arial" panose="020B0604020202020204" pitchFamily="34" charset="0"/>
                        </a:rPr>
                        <a:t>The different IT and patient record systems in use across secondary, community and primary care settings present barriers to streamlined, rapid communication between services. This means patients may move faster between services than their records do, so when patients are discharged from services the community or primary care clinician may not have full details of their previous interventions and medications. </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extLst>
                  <a:ext uri="{0D108BD9-81ED-4DB2-BD59-A6C34878D82A}">
                    <a16:rowId xmlns:a16="http://schemas.microsoft.com/office/drawing/2014/main" val="549323194"/>
                  </a:ext>
                </a:extLst>
              </a:tr>
              <a:tr h="30367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6</a:t>
                      </a:r>
                    </a:p>
                  </a:txBody>
                  <a:tcPr anchor="ctr">
                    <a:lnL w="12700" cap="flat" cmpd="sng" algn="ctr">
                      <a:solidFill>
                        <a:srgbClr val="CCBCD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kern="1200">
                          <a:solidFill>
                            <a:srgbClr val="50235B"/>
                          </a:solidFill>
                          <a:latin typeface="Arial" panose="020B0604020202020204" pitchFamily="34" charset="0"/>
                          <a:ea typeface="+mn-ea"/>
                          <a:cs typeface="Arial" panose="020B0604020202020204" pitchFamily="34" charset="0"/>
                        </a:rPr>
                        <a:t>Not all service users given robust support package following discharge</a:t>
                      </a:r>
                      <a:endParaRPr lang="en-GB" sz="800" b="1" kern="1200">
                        <a:solidFill>
                          <a:srgbClr val="50235B"/>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r>
                        <a:rPr lang="en-GB" sz="800">
                          <a:solidFill>
                            <a:schemeClr val="tx1">
                              <a:lumMod val="75000"/>
                              <a:lumOff val="25000"/>
                            </a:schemeClr>
                          </a:solidFill>
                          <a:latin typeface="Arial" panose="020B0604020202020204" pitchFamily="34" charset="0"/>
                          <a:cs typeface="Arial" panose="020B0604020202020204" pitchFamily="34" charset="0"/>
                        </a:rPr>
                        <a:t>Service users often report varying experiences following discharge from formal care settings, this can result in service users experiencing additional distress due to feelings of abandonment which can be a particular trigger for a number of people with Autism. </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extLst>
                  <a:ext uri="{0D108BD9-81ED-4DB2-BD59-A6C34878D82A}">
                    <a16:rowId xmlns:a16="http://schemas.microsoft.com/office/drawing/2014/main" val="1965175342"/>
                  </a:ext>
                </a:extLst>
              </a:tr>
              <a:tr h="41409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7</a:t>
                      </a:r>
                    </a:p>
                  </a:txBody>
                  <a:tcPr anchor="ctr">
                    <a:lnL w="12700" cap="flat" cmpd="sng" algn="ctr">
                      <a:solidFill>
                        <a:srgbClr val="CCBCD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kern="1200">
                          <a:solidFill>
                            <a:srgbClr val="50235B"/>
                          </a:solidFill>
                          <a:latin typeface="Arial" panose="020B0604020202020204" pitchFamily="34" charset="0"/>
                          <a:ea typeface="+mn-ea"/>
                          <a:cs typeface="Arial" panose="020B0604020202020204" pitchFamily="34" charset="0"/>
                        </a:rPr>
                        <a:t>Limited outreach services targeting the large cohort of Autism patients with mental health needs</a:t>
                      </a:r>
                      <a:endParaRPr lang="en-GB" sz="800" b="1" kern="1200">
                        <a:solidFill>
                          <a:srgbClr val="50235B"/>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r>
                        <a:rPr lang="en-GB" sz="800">
                          <a:solidFill>
                            <a:schemeClr val="tx1">
                              <a:lumMod val="75000"/>
                              <a:lumOff val="25000"/>
                            </a:schemeClr>
                          </a:solidFill>
                          <a:latin typeface="Arial" panose="020B0604020202020204" pitchFamily="34" charset="0"/>
                          <a:cs typeface="Arial" panose="020B0604020202020204" pitchFamily="34" charset="0"/>
                        </a:rPr>
                        <a:t>Some staff feel the Community Intervention Pathway is not always suited for people with Autism as Autism patients often require additional care and support, however this is not represented in current case load weightings. Given the capacity of staff time, this has resulted in instances where patients do not get to receive additional care and suppor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extLst>
                  <a:ext uri="{0D108BD9-81ED-4DB2-BD59-A6C34878D82A}">
                    <a16:rowId xmlns:a16="http://schemas.microsoft.com/office/drawing/2014/main" val="2378521350"/>
                  </a:ext>
                </a:extLst>
              </a:tr>
              <a:tr h="30367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8</a:t>
                      </a:r>
                    </a:p>
                  </a:txBody>
                  <a:tcPr anchor="ctr">
                    <a:lnL w="12700" cap="flat" cmpd="sng" algn="ctr">
                      <a:solidFill>
                        <a:srgbClr val="CCBCD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kern="1200">
                          <a:solidFill>
                            <a:srgbClr val="50235B"/>
                          </a:solidFill>
                          <a:latin typeface="Arial" panose="020B0604020202020204" pitchFamily="34" charset="0"/>
                          <a:ea typeface="+mn-ea"/>
                          <a:cs typeface="Arial" panose="020B0604020202020204" pitchFamily="34" charset="0"/>
                        </a:rPr>
                        <a:t>Earlier reasonable adjustments can reduce length of stay</a:t>
                      </a:r>
                      <a:endParaRPr lang="en-GB" sz="800" b="1" kern="1200">
                        <a:solidFill>
                          <a:srgbClr val="50235B"/>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r>
                        <a:rPr lang="en-GB" sz="800">
                          <a:solidFill>
                            <a:schemeClr val="tx1">
                              <a:lumMod val="75000"/>
                              <a:lumOff val="25000"/>
                            </a:schemeClr>
                          </a:solidFill>
                          <a:latin typeface="Arial" panose="020B0604020202020204" pitchFamily="34" charset="0"/>
                          <a:cs typeface="Arial" panose="020B0604020202020204" pitchFamily="34" charset="0"/>
                        </a:rPr>
                        <a:t>Linked to the challenging conditions in inpatient units, it has been seen across many settings that when adjustments can be made at the start of the patient journey (within any physical care setting) it can make a significant difference to patient experience and overall outcomes. </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extLst>
                  <a:ext uri="{0D108BD9-81ED-4DB2-BD59-A6C34878D82A}">
                    <a16:rowId xmlns:a16="http://schemas.microsoft.com/office/drawing/2014/main" val="36007073"/>
                  </a:ext>
                </a:extLst>
              </a:tr>
              <a:tr h="30367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9</a:t>
                      </a:r>
                    </a:p>
                  </a:txBody>
                  <a:tcPr anchor="ctr">
                    <a:lnL w="12700" cap="flat" cmpd="sng" algn="ctr">
                      <a:solidFill>
                        <a:srgbClr val="CCBCD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1" kern="1200">
                          <a:solidFill>
                            <a:srgbClr val="50235B"/>
                          </a:solidFill>
                          <a:latin typeface="Arial" panose="020B0604020202020204" pitchFamily="34" charset="0"/>
                          <a:ea typeface="+mn-ea"/>
                          <a:cs typeface="Arial" panose="020B0604020202020204" pitchFamily="34" charset="0"/>
                        </a:rPr>
                        <a:t>Distance of travel to community settings</a:t>
                      </a:r>
                    </a:p>
                  </a:txBody>
                  <a:tcPr anchor="ctr">
                    <a:lnL w="12700" cap="flat" cmpd="sng" algn="ctr">
                      <a:no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r>
                        <a:rPr lang="en-GB" sz="800">
                          <a:solidFill>
                            <a:schemeClr val="tx1">
                              <a:lumMod val="75000"/>
                              <a:lumOff val="25000"/>
                            </a:schemeClr>
                          </a:solidFill>
                          <a:latin typeface="Arial" panose="020B0604020202020204" pitchFamily="34" charset="0"/>
                          <a:cs typeface="Arial" panose="020B0604020202020204" pitchFamily="34" charset="0"/>
                        </a:rPr>
                        <a:t>Given the large geography of Shropshire, patients may have to travel long distances for mental health appointments. For some people with Autism, this can present a significant barrier to accessing services due the increased stress and anxiety they may experience due to the use of public transport and traveling long distances.</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extLst>
                  <a:ext uri="{0D108BD9-81ED-4DB2-BD59-A6C34878D82A}">
                    <a16:rowId xmlns:a16="http://schemas.microsoft.com/office/drawing/2014/main" val="8678440"/>
                  </a:ext>
                </a:extLst>
              </a:tr>
              <a:tr h="30367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10</a:t>
                      </a:r>
                    </a:p>
                  </a:txBody>
                  <a:tcPr anchor="ctr">
                    <a:lnL w="12700" cap="flat" cmpd="sng" algn="ctr">
                      <a:solidFill>
                        <a:srgbClr val="CCBCD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1" kern="1200">
                          <a:solidFill>
                            <a:srgbClr val="50235B"/>
                          </a:solidFill>
                          <a:latin typeface="Arial" panose="020B0604020202020204" pitchFamily="34" charset="0"/>
                          <a:ea typeface="+mn-ea"/>
                          <a:cs typeface="Arial" panose="020B0604020202020204" pitchFamily="34" charset="0"/>
                        </a:rPr>
                        <a:t>Hospital passport not uploaded to RIO</a:t>
                      </a:r>
                    </a:p>
                  </a:txBody>
                  <a:tcPr anchor="ctr">
                    <a:lnL w="12700" cap="flat" cmpd="sng" algn="ctr">
                      <a:no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r>
                        <a:rPr lang="en-GB" sz="800">
                          <a:solidFill>
                            <a:schemeClr val="tx1">
                              <a:lumMod val="75000"/>
                              <a:lumOff val="25000"/>
                            </a:schemeClr>
                          </a:solidFill>
                          <a:latin typeface="Arial" panose="020B0604020202020204" pitchFamily="34" charset="0"/>
                          <a:cs typeface="Arial" panose="020B0604020202020204" pitchFamily="34" charset="0"/>
                        </a:rPr>
                        <a:t>When patients have a hospital passport or other special requests/adjustments, there is occasionally a challenge in uploading this information to RIO as it cannot process images or scanned documents which causes an issue as a standardise passport template is not currently used. This means clinical teams may need to support a service user without having all the appropriate information for managing patients ahead of time. </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extLst>
                  <a:ext uri="{0D108BD9-81ED-4DB2-BD59-A6C34878D82A}">
                    <a16:rowId xmlns:a16="http://schemas.microsoft.com/office/drawing/2014/main" val="2193085207"/>
                  </a:ext>
                </a:extLst>
              </a:tr>
              <a:tr h="41409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11</a:t>
                      </a:r>
                    </a:p>
                  </a:txBody>
                  <a:tcPr anchor="ctr">
                    <a:lnL w="12700" cap="flat" cmpd="sng" algn="ctr">
                      <a:solidFill>
                        <a:srgbClr val="CCBCD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kern="1200">
                          <a:solidFill>
                            <a:srgbClr val="50235B"/>
                          </a:solidFill>
                          <a:latin typeface="Arial" panose="020B0604020202020204" pitchFamily="34" charset="0"/>
                          <a:ea typeface="+mn-ea"/>
                          <a:cs typeface="Arial" panose="020B0604020202020204" pitchFamily="34" charset="0"/>
                        </a:rPr>
                        <a:t>Communication challenges result in the service user being turned away from services</a:t>
                      </a:r>
                    </a:p>
                  </a:txBody>
                  <a:tcPr anchor="ctr">
                    <a:lnL w="12700" cap="flat" cmpd="sng" algn="ctr">
                      <a:no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r>
                        <a:rPr lang="en-GB" sz="800">
                          <a:solidFill>
                            <a:schemeClr val="tx1">
                              <a:lumMod val="75000"/>
                              <a:lumOff val="25000"/>
                            </a:schemeClr>
                          </a:solidFill>
                          <a:latin typeface="Arial" panose="020B0604020202020204" pitchFamily="34" charset="0"/>
                          <a:cs typeface="Arial" panose="020B0604020202020204" pitchFamily="34" charset="0"/>
                        </a:rPr>
                        <a:t>People with Autism have challenges with communication, this has been seen to result in varied outcomes for this particular cohort. When changes occur, or staff may not understand the situation in the way an Autism patient may wish, patients may react angrily or aggressively and be excluded from services, or shut down and not communicate their needs effectively. This can result in patients deteriorating and needing more intensive support in future. </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extLst>
                  <a:ext uri="{0D108BD9-81ED-4DB2-BD59-A6C34878D82A}">
                    <a16:rowId xmlns:a16="http://schemas.microsoft.com/office/drawing/2014/main" val="2397214840"/>
                  </a:ext>
                </a:extLst>
              </a:tr>
              <a:tr h="41409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12</a:t>
                      </a:r>
                    </a:p>
                  </a:txBody>
                  <a:tcPr anchor="ctr">
                    <a:lnL w="12700" cap="flat" cmpd="sng" algn="ctr">
                      <a:solidFill>
                        <a:srgbClr val="CCBCD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kern="1200">
                          <a:solidFill>
                            <a:srgbClr val="50235B"/>
                          </a:solidFill>
                          <a:latin typeface="Arial" panose="020B0604020202020204" pitchFamily="34" charset="0"/>
                          <a:ea typeface="+mn-ea"/>
                          <a:cs typeface="Arial" panose="020B0604020202020204" pitchFamily="34" charset="0"/>
                        </a:rPr>
                        <a:t>Service user unable to be discharged due to limited availability of funded community support offerings</a:t>
                      </a:r>
                      <a:endParaRPr lang="en-GB" sz="800" b="1" kern="1200">
                        <a:solidFill>
                          <a:srgbClr val="50235B"/>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r>
                        <a:rPr lang="en-GB" sz="800">
                          <a:solidFill>
                            <a:schemeClr val="tx1">
                              <a:lumMod val="75000"/>
                              <a:lumOff val="25000"/>
                            </a:schemeClr>
                          </a:solidFill>
                          <a:latin typeface="Arial" panose="020B0604020202020204" pitchFamily="34" charset="0"/>
                          <a:cs typeface="Arial" panose="020B0604020202020204" pitchFamily="34" charset="0"/>
                        </a:rPr>
                        <a:t>There is a limited provision of community support available for service users with Autism, this results in significantly longer inpatient stays for patients with Autism when compared to other service users with Mental Health conditions. </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extLst>
                  <a:ext uri="{0D108BD9-81ED-4DB2-BD59-A6C34878D82A}">
                    <a16:rowId xmlns:a16="http://schemas.microsoft.com/office/drawing/2014/main" val="2127048849"/>
                  </a:ext>
                </a:extLst>
              </a:tr>
              <a:tr h="41409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13</a:t>
                      </a:r>
                    </a:p>
                  </a:txBody>
                  <a:tcPr anchor="ctr">
                    <a:lnL w="12700" cap="flat" cmpd="sng" algn="ctr">
                      <a:solidFill>
                        <a:srgbClr val="CCBCD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kern="1200">
                          <a:solidFill>
                            <a:srgbClr val="50235B"/>
                          </a:solidFill>
                          <a:latin typeface="Arial" panose="020B0604020202020204" pitchFamily="34" charset="0"/>
                          <a:ea typeface="+mn-ea"/>
                          <a:cs typeface="Arial" panose="020B0604020202020204" pitchFamily="34" charset="0"/>
                        </a:rPr>
                        <a:t>Limited community resources mean patients deteriorate following discharge and re-enter formal services</a:t>
                      </a:r>
                      <a:endParaRPr lang="en-GB" sz="800" b="1" kern="1200">
                        <a:solidFill>
                          <a:srgbClr val="50235B"/>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r>
                        <a:rPr lang="en-GB" sz="800">
                          <a:solidFill>
                            <a:schemeClr val="tx1">
                              <a:lumMod val="75000"/>
                              <a:lumOff val="25000"/>
                            </a:schemeClr>
                          </a:solidFill>
                          <a:latin typeface="Arial" panose="020B0604020202020204" pitchFamily="34" charset="0"/>
                          <a:cs typeface="Arial" panose="020B0604020202020204" pitchFamily="34" charset="0"/>
                        </a:rPr>
                        <a:t>Linked to the above and the additional time and resources required to support some people with Autism following discharge, service users with Autism have been known to deteriorate at a higher rate than other service users, meaning they are likely to return to services and have the potential to become high intensity service users. </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extLst>
                  <a:ext uri="{0D108BD9-81ED-4DB2-BD59-A6C34878D82A}">
                    <a16:rowId xmlns:a16="http://schemas.microsoft.com/office/drawing/2014/main" val="3121489973"/>
                  </a:ext>
                </a:extLst>
              </a:tr>
            </a:tbl>
          </a:graphicData>
        </a:graphic>
      </p:graphicFrame>
      <p:graphicFrame>
        <p:nvGraphicFramePr>
          <p:cNvPr id="4" name="Table 3">
            <a:extLst>
              <a:ext uri="{FF2B5EF4-FFF2-40B4-BE49-F238E27FC236}">
                <a16:creationId xmlns:a16="http://schemas.microsoft.com/office/drawing/2014/main" id="{226E5558-942F-1A4D-9F3D-558CB041F1ED}"/>
              </a:ext>
            </a:extLst>
          </p:cNvPr>
          <p:cNvGraphicFramePr>
            <a:graphicFrameLocks noGrp="1"/>
          </p:cNvGraphicFramePr>
          <p:nvPr>
            <p:extLst>
              <p:ext uri="{D42A27DB-BD31-4B8C-83A1-F6EECF244321}">
                <p14:modId xmlns:p14="http://schemas.microsoft.com/office/powerpoint/2010/main" val="3184630733"/>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A"/>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Tree>
    <p:extLst>
      <p:ext uri="{BB962C8B-B14F-4D97-AF65-F5344CB8AC3E}">
        <p14:creationId xmlns:p14="http://schemas.microsoft.com/office/powerpoint/2010/main" val="9574037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22AF2B-CD1C-8742-ABF2-F47A44879B64}"/>
              </a:ext>
            </a:extLst>
          </p:cNvPr>
          <p:cNvSpPr>
            <a:spLocks noGrp="1"/>
          </p:cNvSpPr>
          <p:nvPr>
            <p:ph type="title"/>
          </p:nvPr>
        </p:nvSpPr>
        <p:spPr/>
        <p:txBody>
          <a:bodyPr/>
          <a:lstStyle/>
          <a:p>
            <a:r>
              <a:rPr lang="en-GB"/>
              <a:t>Mental health &amp; Autism - Recommendations</a:t>
            </a:r>
          </a:p>
        </p:txBody>
      </p:sp>
      <p:graphicFrame>
        <p:nvGraphicFramePr>
          <p:cNvPr id="2" name="Table 3">
            <a:extLst>
              <a:ext uri="{FF2B5EF4-FFF2-40B4-BE49-F238E27FC236}">
                <a16:creationId xmlns:a16="http://schemas.microsoft.com/office/drawing/2014/main" id="{C936049E-4494-6547-93D5-77CC5AD22A24}"/>
              </a:ext>
            </a:extLst>
          </p:cNvPr>
          <p:cNvGraphicFramePr>
            <a:graphicFrameLocks noGrp="1"/>
          </p:cNvGraphicFramePr>
          <p:nvPr>
            <p:extLst>
              <p:ext uri="{D42A27DB-BD31-4B8C-83A1-F6EECF244321}">
                <p14:modId xmlns:p14="http://schemas.microsoft.com/office/powerpoint/2010/main" val="2610117198"/>
              </p:ext>
            </p:extLst>
          </p:nvPr>
        </p:nvGraphicFramePr>
        <p:xfrm>
          <a:off x="480658" y="891443"/>
          <a:ext cx="11319782" cy="5374479"/>
        </p:xfrm>
        <a:graphic>
          <a:graphicData uri="http://schemas.openxmlformats.org/drawingml/2006/table">
            <a:tbl>
              <a:tblPr firstRow="1" bandRow="1">
                <a:tableStyleId>{5C22544A-7EE6-4342-B048-85BDC9FD1C3A}</a:tableStyleId>
              </a:tblPr>
              <a:tblGrid>
                <a:gridCol w="1737887">
                  <a:extLst>
                    <a:ext uri="{9D8B030D-6E8A-4147-A177-3AD203B41FA5}">
                      <a16:colId xmlns:a16="http://schemas.microsoft.com/office/drawing/2014/main" val="3027385909"/>
                    </a:ext>
                  </a:extLst>
                </a:gridCol>
                <a:gridCol w="6818539">
                  <a:extLst>
                    <a:ext uri="{9D8B030D-6E8A-4147-A177-3AD203B41FA5}">
                      <a16:colId xmlns:a16="http://schemas.microsoft.com/office/drawing/2014/main" val="146490030"/>
                    </a:ext>
                  </a:extLst>
                </a:gridCol>
                <a:gridCol w="208280">
                  <a:extLst>
                    <a:ext uri="{9D8B030D-6E8A-4147-A177-3AD203B41FA5}">
                      <a16:colId xmlns:a16="http://schemas.microsoft.com/office/drawing/2014/main" val="3281156986"/>
                    </a:ext>
                  </a:extLst>
                </a:gridCol>
                <a:gridCol w="212923">
                  <a:extLst>
                    <a:ext uri="{9D8B030D-6E8A-4147-A177-3AD203B41FA5}">
                      <a16:colId xmlns:a16="http://schemas.microsoft.com/office/drawing/2014/main" val="675505996"/>
                    </a:ext>
                  </a:extLst>
                </a:gridCol>
                <a:gridCol w="212923">
                  <a:extLst>
                    <a:ext uri="{9D8B030D-6E8A-4147-A177-3AD203B41FA5}">
                      <a16:colId xmlns:a16="http://schemas.microsoft.com/office/drawing/2014/main" val="3156659094"/>
                    </a:ext>
                  </a:extLst>
                </a:gridCol>
                <a:gridCol w="212923">
                  <a:extLst>
                    <a:ext uri="{9D8B030D-6E8A-4147-A177-3AD203B41FA5}">
                      <a16:colId xmlns:a16="http://schemas.microsoft.com/office/drawing/2014/main" val="2990047692"/>
                    </a:ext>
                  </a:extLst>
                </a:gridCol>
                <a:gridCol w="212923">
                  <a:extLst>
                    <a:ext uri="{9D8B030D-6E8A-4147-A177-3AD203B41FA5}">
                      <a16:colId xmlns:a16="http://schemas.microsoft.com/office/drawing/2014/main" val="1294141809"/>
                    </a:ext>
                  </a:extLst>
                </a:gridCol>
                <a:gridCol w="212923">
                  <a:extLst>
                    <a:ext uri="{9D8B030D-6E8A-4147-A177-3AD203B41FA5}">
                      <a16:colId xmlns:a16="http://schemas.microsoft.com/office/drawing/2014/main" val="788114707"/>
                    </a:ext>
                  </a:extLst>
                </a:gridCol>
                <a:gridCol w="212923">
                  <a:extLst>
                    <a:ext uri="{9D8B030D-6E8A-4147-A177-3AD203B41FA5}">
                      <a16:colId xmlns:a16="http://schemas.microsoft.com/office/drawing/2014/main" val="1658923130"/>
                    </a:ext>
                  </a:extLst>
                </a:gridCol>
                <a:gridCol w="212923">
                  <a:extLst>
                    <a:ext uri="{9D8B030D-6E8A-4147-A177-3AD203B41FA5}">
                      <a16:colId xmlns:a16="http://schemas.microsoft.com/office/drawing/2014/main" val="2451240619"/>
                    </a:ext>
                  </a:extLst>
                </a:gridCol>
                <a:gridCol w="212923">
                  <a:extLst>
                    <a:ext uri="{9D8B030D-6E8A-4147-A177-3AD203B41FA5}">
                      <a16:colId xmlns:a16="http://schemas.microsoft.com/office/drawing/2014/main" val="2475765049"/>
                    </a:ext>
                  </a:extLst>
                </a:gridCol>
                <a:gridCol w="212923">
                  <a:extLst>
                    <a:ext uri="{9D8B030D-6E8A-4147-A177-3AD203B41FA5}">
                      <a16:colId xmlns:a16="http://schemas.microsoft.com/office/drawing/2014/main" val="2264155838"/>
                    </a:ext>
                  </a:extLst>
                </a:gridCol>
                <a:gridCol w="212923">
                  <a:extLst>
                    <a:ext uri="{9D8B030D-6E8A-4147-A177-3AD203B41FA5}">
                      <a16:colId xmlns:a16="http://schemas.microsoft.com/office/drawing/2014/main" val="2818586567"/>
                    </a:ext>
                  </a:extLst>
                </a:gridCol>
                <a:gridCol w="212923">
                  <a:extLst>
                    <a:ext uri="{9D8B030D-6E8A-4147-A177-3AD203B41FA5}">
                      <a16:colId xmlns:a16="http://schemas.microsoft.com/office/drawing/2014/main" val="2721136212"/>
                    </a:ext>
                  </a:extLst>
                </a:gridCol>
                <a:gridCol w="212923">
                  <a:extLst>
                    <a:ext uri="{9D8B030D-6E8A-4147-A177-3AD203B41FA5}">
                      <a16:colId xmlns:a16="http://schemas.microsoft.com/office/drawing/2014/main" val="2694986622"/>
                    </a:ext>
                  </a:extLst>
                </a:gridCol>
              </a:tblGrid>
              <a:tr h="290030">
                <a:tc rowSpan="2">
                  <a:txBody>
                    <a:bodyPr/>
                    <a:lstStyle/>
                    <a:p>
                      <a:r>
                        <a:rPr lang="en-GB" sz="1200">
                          <a:solidFill>
                            <a:srgbClr val="50235B"/>
                          </a:solidFill>
                        </a:rPr>
                        <a:t>Theme</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rowSpan="2">
                  <a:txBody>
                    <a:bodyPr/>
                    <a:lstStyle/>
                    <a:p>
                      <a:r>
                        <a:rPr lang="en-GB" sz="1200">
                          <a:solidFill>
                            <a:srgbClr val="50235B"/>
                          </a:solidFill>
                        </a:rPr>
                        <a:t>Recommendation</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gridSpan="13">
                  <a:txBody>
                    <a:bodyPr/>
                    <a:lstStyle/>
                    <a:p>
                      <a:pPr algn="ctr"/>
                      <a:r>
                        <a:rPr lang="en-GB" sz="1200">
                          <a:solidFill>
                            <a:srgbClr val="50235B"/>
                          </a:solidFill>
                        </a:rPr>
                        <a:t>Challenge Targeted</a:t>
                      </a:r>
                    </a:p>
                  </a:txBody>
                  <a:tcPr marL="0" marR="0" marT="0" marB="0"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hMerge="1">
                  <a:txBody>
                    <a:bodyPr/>
                    <a:lstStyle/>
                    <a:p>
                      <a:pPr algn="ctr"/>
                      <a:endParaRPr lang="en-GB" sz="800">
                        <a:solidFill>
                          <a:srgbClr val="50235B"/>
                        </a:solidFill>
                      </a:endParaRPr>
                    </a:p>
                  </a:txBody>
                  <a:tcPr marL="0" marR="0" marT="0" marB="0"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hMerge="1">
                  <a:txBody>
                    <a:bodyPr/>
                    <a:lstStyle/>
                    <a:p>
                      <a:pPr algn="ctr"/>
                      <a:endParaRPr lang="en-GB" sz="800">
                        <a:solidFill>
                          <a:srgbClr val="50235B"/>
                        </a:solidFill>
                      </a:endParaRPr>
                    </a:p>
                  </a:txBody>
                  <a:tcPr marL="0" marR="0" marT="0" marB="0"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hMerge="1">
                  <a:txBody>
                    <a:bodyPr/>
                    <a:lstStyle/>
                    <a:p>
                      <a:pPr algn="ctr"/>
                      <a:endParaRPr lang="en-GB" sz="800">
                        <a:solidFill>
                          <a:srgbClr val="50235B"/>
                        </a:solidFill>
                      </a:endParaRPr>
                    </a:p>
                  </a:txBody>
                  <a:tcPr marL="0" marR="0" marT="0" marB="0"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hMerge="1">
                  <a:txBody>
                    <a:bodyPr/>
                    <a:lstStyle/>
                    <a:p>
                      <a:pPr algn="ctr"/>
                      <a:endParaRPr lang="en-GB" sz="800">
                        <a:solidFill>
                          <a:srgbClr val="50235B"/>
                        </a:solidFill>
                      </a:endParaRPr>
                    </a:p>
                  </a:txBody>
                  <a:tcPr marL="0" marR="0" marT="0" marB="0"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hMerge="1">
                  <a:txBody>
                    <a:bodyPr/>
                    <a:lstStyle/>
                    <a:p>
                      <a:pPr algn="ctr"/>
                      <a:endParaRPr lang="en-GB" sz="800">
                        <a:solidFill>
                          <a:srgbClr val="50235B"/>
                        </a:solidFill>
                      </a:endParaRPr>
                    </a:p>
                  </a:txBody>
                  <a:tcPr marL="0" marR="0" marT="0" marB="0"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hMerge="1">
                  <a:txBody>
                    <a:bodyPr/>
                    <a:lstStyle/>
                    <a:p>
                      <a:pPr algn="ctr"/>
                      <a:endParaRPr lang="en-GB" sz="800">
                        <a:solidFill>
                          <a:srgbClr val="50235B"/>
                        </a:solidFill>
                      </a:endParaRPr>
                    </a:p>
                  </a:txBody>
                  <a:tcPr marL="0" marR="0" marT="0" marB="0"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hMerge="1">
                  <a:txBody>
                    <a:bodyPr/>
                    <a:lstStyle/>
                    <a:p>
                      <a:pPr algn="ctr"/>
                      <a:endParaRPr lang="en-GB" sz="800">
                        <a:solidFill>
                          <a:srgbClr val="50235B"/>
                        </a:solidFill>
                      </a:endParaRPr>
                    </a:p>
                  </a:txBody>
                  <a:tcPr marL="0" marR="0" marT="0" marB="0"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hMerge="1">
                  <a:txBody>
                    <a:bodyPr/>
                    <a:lstStyle/>
                    <a:p>
                      <a:pPr algn="ctr"/>
                      <a:endParaRPr lang="en-GB" sz="800">
                        <a:solidFill>
                          <a:srgbClr val="50235B"/>
                        </a:solidFill>
                      </a:endParaRPr>
                    </a:p>
                  </a:txBody>
                  <a:tcPr marL="0" marR="0" marT="0" marB="0"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hMerge="1">
                  <a:txBody>
                    <a:bodyPr/>
                    <a:lstStyle/>
                    <a:p>
                      <a:pPr algn="ctr"/>
                      <a:endParaRPr lang="en-GB" sz="800">
                        <a:solidFill>
                          <a:srgbClr val="50235B"/>
                        </a:solidFill>
                      </a:endParaRPr>
                    </a:p>
                  </a:txBody>
                  <a:tcPr marL="0" marR="0" marT="0" marB="0"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hMerge="1">
                  <a:txBody>
                    <a:bodyPr/>
                    <a:lstStyle/>
                    <a:p>
                      <a:pPr algn="ctr"/>
                      <a:endParaRPr lang="en-GB" sz="800">
                        <a:solidFill>
                          <a:srgbClr val="50235B"/>
                        </a:solidFill>
                      </a:endParaRPr>
                    </a:p>
                  </a:txBody>
                  <a:tcPr marL="0" marR="0" marT="0" marB="0"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hMerge="1">
                  <a:txBody>
                    <a:bodyPr/>
                    <a:lstStyle/>
                    <a:p>
                      <a:pPr algn="ctr"/>
                      <a:endParaRPr lang="en-GB" sz="800">
                        <a:solidFill>
                          <a:srgbClr val="50235B"/>
                        </a:solidFill>
                      </a:endParaRPr>
                    </a:p>
                  </a:txBody>
                  <a:tcPr marL="0" marR="0" marT="0" marB="0"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hMerge="1">
                  <a:txBody>
                    <a:bodyPr/>
                    <a:lstStyle/>
                    <a:p>
                      <a:pPr algn="ctr"/>
                      <a:endParaRPr lang="en-GB" sz="800">
                        <a:solidFill>
                          <a:srgbClr val="50235B"/>
                        </a:solidFill>
                      </a:endParaRPr>
                    </a:p>
                  </a:txBody>
                  <a:tcPr marL="0" marR="0" marT="0" marB="0"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extLst>
                  <a:ext uri="{0D108BD9-81ED-4DB2-BD59-A6C34878D82A}">
                    <a16:rowId xmlns:a16="http://schemas.microsoft.com/office/drawing/2014/main" val="1303322646"/>
                  </a:ext>
                </a:extLst>
              </a:tr>
              <a:tr h="290030">
                <a:tc vMerge="1">
                  <a:txBody>
                    <a:bodyPr/>
                    <a:lstStyle/>
                    <a:p>
                      <a:r>
                        <a:rPr lang="en-GB" sz="1400">
                          <a:solidFill>
                            <a:srgbClr val="50235B"/>
                          </a:solidFill>
                        </a:rPr>
                        <a:t>Theme</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vMerge="1">
                  <a:txBody>
                    <a:bodyPr/>
                    <a:lstStyle/>
                    <a:p>
                      <a:r>
                        <a:rPr lang="en-GB" sz="1400">
                          <a:solidFill>
                            <a:srgbClr val="50235B"/>
                          </a:solidFill>
                        </a:rPr>
                        <a:t>Recommendation</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a:txBody>
                    <a:bodyPr/>
                    <a:lstStyle/>
                    <a:p>
                      <a:pPr algn="ctr"/>
                      <a:r>
                        <a:rPr lang="en-GB" sz="800" b="1">
                          <a:solidFill>
                            <a:srgbClr val="FF0000"/>
                          </a:solidFill>
                        </a:rPr>
                        <a:t>1</a:t>
                      </a:r>
                    </a:p>
                  </a:txBody>
                  <a:tcPr marL="0" marR="0" marT="0" marB="0"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a:txBody>
                    <a:bodyPr/>
                    <a:lstStyle/>
                    <a:p>
                      <a:pPr algn="ctr"/>
                      <a:r>
                        <a:rPr lang="en-GB" sz="800" b="1">
                          <a:solidFill>
                            <a:srgbClr val="FF0000"/>
                          </a:solidFill>
                        </a:rPr>
                        <a:t>2</a:t>
                      </a:r>
                    </a:p>
                  </a:txBody>
                  <a:tcPr marL="0" marR="0" marT="0" marB="0"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a:txBody>
                    <a:bodyPr/>
                    <a:lstStyle/>
                    <a:p>
                      <a:pPr algn="ctr"/>
                      <a:r>
                        <a:rPr lang="en-GB" sz="800" b="1">
                          <a:solidFill>
                            <a:srgbClr val="FF0000"/>
                          </a:solidFill>
                        </a:rPr>
                        <a:t>3</a:t>
                      </a:r>
                    </a:p>
                  </a:txBody>
                  <a:tcPr marL="0" marR="0" marT="0" marB="0"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a:txBody>
                    <a:bodyPr/>
                    <a:lstStyle/>
                    <a:p>
                      <a:pPr algn="ctr"/>
                      <a:r>
                        <a:rPr lang="en-GB" sz="800" b="1">
                          <a:solidFill>
                            <a:srgbClr val="FF0000"/>
                          </a:solidFill>
                        </a:rPr>
                        <a:t>4</a:t>
                      </a:r>
                    </a:p>
                  </a:txBody>
                  <a:tcPr marL="0" marR="0" marT="0" marB="0"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a:txBody>
                    <a:bodyPr/>
                    <a:lstStyle/>
                    <a:p>
                      <a:pPr algn="ctr"/>
                      <a:r>
                        <a:rPr lang="en-GB" sz="800" b="1">
                          <a:solidFill>
                            <a:srgbClr val="FF0000"/>
                          </a:solidFill>
                        </a:rPr>
                        <a:t>5</a:t>
                      </a:r>
                    </a:p>
                  </a:txBody>
                  <a:tcPr marL="0" marR="0" marT="0" marB="0"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a:txBody>
                    <a:bodyPr/>
                    <a:lstStyle/>
                    <a:p>
                      <a:pPr algn="ctr"/>
                      <a:r>
                        <a:rPr lang="en-GB" sz="800" b="1">
                          <a:solidFill>
                            <a:srgbClr val="FF0000"/>
                          </a:solidFill>
                        </a:rPr>
                        <a:t>6</a:t>
                      </a:r>
                    </a:p>
                  </a:txBody>
                  <a:tcPr marL="0" marR="0" marT="0" marB="0"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a:txBody>
                    <a:bodyPr/>
                    <a:lstStyle/>
                    <a:p>
                      <a:pPr algn="ctr"/>
                      <a:r>
                        <a:rPr lang="en-GB" sz="800" b="1">
                          <a:solidFill>
                            <a:srgbClr val="FF0000"/>
                          </a:solidFill>
                        </a:rPr>
                        <a:t>7</a:t>
                      </a:r>
                    </a:p>
                  </a:txBody>
                  <a:tcPr marL="0" marR="0" marT="0" marB="0"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a:txBody>
                    <a:bodyPr/>
                    <a:lstStyle/>
                    <a:p>
                      <a:pPr algn="ctr"/>
                      <a:r>
                        <a:rPr lang="en-GB" sz="800" b="1">
                          <a:solidFill>
                            <a:srgbClr val="FF0000"/>
                          </a:solidFill>
                        </a:rPr>
                        <a:t>8</a:t>
                      </a:r>
                    </a:p>
                  </a:txBody>
                  <a:tcPr marL="0" marR="0" marT="0" marB="0"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a:txBody>
                    <a:bodyPr/>
                    <a:lstStyle/>
                    <a:p>
                      <a:pPr algn="ctr"/>
                      <a:r>
                        <a:rPr lang="en-GB" sz="800" b="1">
                          <a:solidFill>
                            <a:srgbClr val="FF0000"/>
                          </a:solidFill>
                        </a:rPr>
                        <a:t>9</a:t>
                      </a:r>
                    </a:p>
                  </a:txBody>
                  <a:tcPr marL="0" marR="0" marT="0" marB="0"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a:txBody>
                    <a:bodyPr/>
                    <a:lstStyle/>
                    <a:p>
                      <a:pPr algn="ctr"/>
                      <a:r>
                        <a:rPr lang="en-GB" sz="800" b="1">
                          <a:solidFill>
                            <a:srgbClr val="FF0000"/>
                          </a:solidFill>
                        </a:rPr>
                        <a:t>10</a:t>
                      </a:r>
                    </a:p>
                  </a:txBody>
                  <a:tcPr marL="0" marR="0" marT="0" marB="0"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a:txBody>
                    <a:bodyPr/>
                    <a:lstStyle/>
                    <a:p>
                      <a:pPr algn="ctr"/>
                      <a:r>
                        <a:rPr lang="en-GB" sz="800" b="1">
                          <a:solidFill>
                            <a:srgbClr val="FF0000"/>
                          </a:solidFill>
                        </a:rPr>
                        <a:t>11</a:t>
                      </a:r>
                    </a:p>
                  </a:txBody>
                  <a:tcPr marL="0" marR="0" marT="0" marB="0"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a:txBody>
                    <a:bodyPr/>
                    <a:lstStyle/>
                    <a:p>
                      <a:pPr algn="ctr"/>
                      <a:r>
                        <a:rPr lang="en-GB" sz="800" b="1">
                          <a:solidFill>
                            <a:srgbClr val="FF0000"/>
                          </a:solidFill>
                        </a:rPr>
                        <a:t>12</a:t>
                      </a:r>
                    </a:p>
                  </a:txBody>
                  <a:tcPr marL="0" marR="0" marT="0" marB="0"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a:txBody>
                    <a:bodyPr/>
                    <a:lstStyle/>
                    <a:p>
                      <a:pPr algn="ctr"/>
                      <a:r>
                        <a:rPr lang="en-GB" sz="800" b="1">
                          <a:solidFill>
                            <a:srgbClr val="FF0000"/>
                          </a:solidFill>
                        </a:rPr>
                        <a:t>13</a:t>
                      </a:r>
                    </a:p>
                  </a:txBody>
                  <a:tcPr marL="0" marR="0" marT="0" marB="0"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extLst>
                  <a:ext uri="{0D108BD9-81ED-4DB2-BD59-A6C34878D82A}">
                    <a16:rowId xmlns:a16="http://schemas.microsoft.com/office/drawing/2014/main" val="611319891"/>
                  </a:ext>
                </a:extLst>
              </a:tr>
              <a:tr h="610100">
                <a:tc>
                  <a:txBody>
                    <a:bodyPr/>
                    <a:lstStyle/>
                    <a:p>
                      <a:pPr marL="457200" lvl="1" indent="0">
                        <a:buFont typeface="Arial" panose="020B0604020202020204" pitchFamily="34" charset="0"/>
                        <a:buNone/>
                      </a:pPr>
                      <a:r>
                        <a:rPr lang="en-GB" sz="900" b="1">
                          <a:solidFill>
                            <a:srgbClr val="50235B"/>
                          </a:solidFill>
                          <a:latin typeface="Arial" panose="020B0604020202020204" pitchFamily="34" charset="0"/>
                          <a:cs typeface="Arial" panose="020B0604020202020204" pitchFamily="34" charset="0"/>
                        </a:rPr>
                        <a:t>Accessibility</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r>
                        <a:rPr lang="en-GB" sz="850">
                          <a:solidFill>
                            <a:schemeClr val="tx1">
                              <a:lumMod val="75000"/>
                              <a:lumOff val="25000"/>
                            </a:schemeClr>
                          </a:solidFill>
                          <a:latin typeface="Arial" panose="020B0604020202020204" pitchFamily="34" charset="0"/>
                          <a:cs typeface="Arial" panose="020B0604020202020204" pitchFamily="34" charset="0"/>
                        </a:rPr>
                        <a:t>Ensure additional entry routes are available into mental health services, that are more accessible to people with autism. Access could be improved through staff training to ensure that appropriate additional time is given to patients when required and also when people may be struggling to call or talk on the phone, alternative methods of communication can be offered. </a:t>
                      </a:r>
                      <a:endParaRPr lang="en-GB" sz="850">
                        <a:solidFill>
                          <a:schemeClr val="tx1">
                            <a:lumMod val="75000"/>
                            <a:lumOff val="25000"/>
                          </a:schemeClr>
                        </a:solidFill>
                        <a:highlight>
                          <a:srgbClr val="FFFF00"/>
                        </a:highlight>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b="1">
                          <a:solidFill>
                            <a:srgbClr val="FF0000"/>
                          </a:solidFill>
                          <a:latin typeface="Arial" panose="020B0604020202020204" pitchFamily="34" charset="0"/>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extLst>
                  <a:ext uri="{0D108BD9-81ED-4DB2-BD59-A6C34878D82A}">
                    <a16:rowId xmlns:a16="http://schemas.microsoft.com/office/drawing/2014/main" val="876790404"/>
                  </a:ext>
                </a:extLst>
              </a:tr>
              <a:tr h="610100">
                <a:tc>
                  <a:txBody>
                    <a:bodyPr/>
                    <a:lstStyle/>
                    <a:p>
                      <a:pPr marL="457200" lvl="1" indent="0" algn="l" defTabSz="914400" rtl="0" eaLnBrk="1" latinLnBrk="0" hangingPunct="1">
                        <a:buFont typeface="Arial" panose="020B0604020202020204" pitchFamily="34" charset="0"/>
                        <a:buNone/>
                      </a:pPr>
                      <a:r>
                        <a:rPr lang="en-GB" sz="900" b="1" kern="1200">
                          <a:solidFill>
                            <a:srgbClr val="50235B"/>
                          </a:solidFill>
                          <a:latin typeface="Arial" panose="020B0604020202020204" pitchFamily="34" charset="0"/>
                          <a:ea typeface="+mn-ea"/>
                          <a:cs typeface="Arial" panose="020B0604020202020204" pitchFamily="34" charset="0"/>
                        </a:rPr>
                        <a:t>Staff Training</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r>
                        <a:rPr lang="en-GB" sz="850">
                          <a:solidFill>
                            <a:schemeClr val="tx1">
                              <a:lumMod val="75000"/>
                              <a:lumOff val="25000"/>
                            </a:schemeClr>
                          </a:solidFill>
                          <a:latin typeface="Arial" panose="020B0604020202020204" pitchFamily="34" charset="0"/>
                          <a:cs typeface="Arial" panose="020B0604020202020204" pitchFamily="34" charset="0"/>
                        </a:rPr>
                        <a:t>Wider and more comprehensive staff training should be rolled out across all STW mental health services to ensure that all front line staff understand the common signs and symptoms of Autism and how those symptoms may manifest in patients. This training will allow staff to make reasonable adjustments for patients with Autism across the board and allow staff to spend more time on these often more complex cases and where necessary adjust the approach away from the standard approach where appropriate. </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GB" sz="900" b="1">
                          <a:solidFill>
                            <a:srgbClr val="FF0000"/>
                          </a:solidFill>
                          <a:latin typeface="Arial" panose="020B0604020202020204" pitchFamily="34" charset="0"/>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b="1">
                          <a:solidFill>
                            <a:srgbClr val="FF0000"/>
                          </a:solidFill>
                          <a:latin typeface="Arial" panose="020B0604020202020204" pitchFamily="34" charset="0"/>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extLst>
                  <a:ext uri="{0D108BD9-81ED-4DB2-BD59-A6C34878D82A}">
                    <a16:rowId xmlns:a16="http://schemas.microsoft.com/office/drawing/2014/main" val="3602947896"/>
                  </a:ext>
                </a:extLst>
              </a:tr>
              <a:tr h="610100">
                <a:tc>
                  <a:txBody>
                    <a:bodyPr/>
                    <a:lstStyle/>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b="1" kern="1200">
                          <a:solidFill>
                            <a:srgbClr val="50235B"/>
                          </a:solidFill>
                          <a:latin typeface="Arial" panose="020B0604020202020204" pitchFamily="34" charset="0"/>
                          <a:ea typeface="+mn-ea"/>
                          <a:cs typeface="Arial" panose="020B0604020202020204" pitchFamily="34" charset="0"/>
                        </a:rPr>
                        <a:t>Service Provision</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r>
                        <a:rPr lang="en-GB" sz="850">
                          <a:solidFill>
                            <a:schemeClr val="tx1">
                              <a:lumMod val="75000"/>
                              <a:lumOff val="25000"/>
                            </a:schemeClr>
                          </a:solidFill>
                          <a:latin typeface="Arial" panose="020B0604020202020204" pitchFamily="34" charset="0"/>
                          <a:cs typeface="Arial" panose="020B0604020202020204" pitchFamily="34" charset="0"/>
                        </a:rPr>
                        <a:t>Given the lacking provision of Autism specific services, there is an opportunity to commission further services to support people with Autism. This can include Autism specific entry routes into mental health services as well as the deployment of Autism specialists to work within mental health teams. This will ensure that reasonable adjustments can be made across the board so service users with Autism are treated through a person centred approach, supporting improved outcomes. </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b="1">
                          <a:solidFill>
                            <a:srgbClr val="FF0000"/>
                          </a:solidFill>
                          <a:latin typeface="Arial" panose="020B0604020202020204" pitchFamily="34" charset="0"/>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b="1">
                          <a:solidFill>
                            <a:srgbClr val="FF0000"/>
                          </a:solidFill>
                          <a:latin typeface="Arial" panose="020B0604020202020204" pitchFamily="34" charset="0"/>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extLst>
                  <a:ext uri="{0D108BD9-81ED-4DB2-BD59-A6C34878D82A}">
                    <a16:rowId xmlns:a16="http://schemas.microsoft.com/office/drawing/2014/main" val="4226821869"/>
                  </a:ext>
                </a:extLst>
              </a:tr>
              <a:tr h="742313">
                <a:tc>
                  <a:txBody>
                    <a:bodyPr/>
                    <a:lstStyle/>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b="1" kern="1200">
                          <a:solidFill>
                            <a:srgbClr val="50235B"/>
                          </a:solidFill>
                          <a:latin typeface="Arial" panose="020B0604020202020204" pitchFamily="34" charset="0"/>
                          <a:ea typeface="+mn-ea"/>
                          <a:cs typeface="Arial" panose="020B0604020202020204" pitchFamily="34" charset="0"/>
                        </a:rPr>
                        <a:t>Autism Passports</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50">
                          <a:solidFill>
                            <a:schemeClr val="tx1">
                              <a:lumMod val="75000"/>
                              <a:lumOff val="25000"/>
                            </a:schemeClr>
                          </a:solidFill>
                          <a:latin typeface="Arial" panose="020B0604020202020204" pitchFamily="34" charset="0"/>
                          <a:cs typeface="Arial" panose="020B0604020202020204" pitchFamily="34" charset="0"/>
                        </a:rPr>
                        <a:t>The use of Hospital Passports for people with learning disabilities and/or Autism has been shown to be effective in the management and support of patients with these conditions within physical care settings. The rollout of Autism specific passports to all residents with Autism would allow for effective communication and appropriate reasonable adjustments made to support patients as all patients with Autism have differing needs. The communication and sharing of these passports (with appropriate permissions) to all care settings including Primary, Secondary and community would allow for a more equitable access to care and support. </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b="1">
                          <a:solidFill>
                            <a:srgbClr val="FF0000"/>
                          </a:solidFill>
                          <a:latin typeface="Arial" panose="020B0604020202020204" pitchFamily="34" charset="0"/>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b="1">
                          <a:solidFill>
                            <a:srgbClr val="FF0000"/>
                          </a:solidFill>
                          <a:latin typeface="Arial" panose="020B0604020202020204" pitchFamily="34" charset="0"/>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extLst>
                  <a:ext uri="{0D108BD9-81ED-4DB2-BD59-A6C34878D82A}">
                    <a16:rowId xmlns:a16="http://schemas.microsoft.com/office/drawing/2014/main" val="597697564"/>
                  </a:ext>
                </a:extLst>
              </a:tr>
              <a:tr h="742313">
                <a:tc>
                  <a:txBody>
                    <a:bodyPr/>
                    <a:lstStyle/>
                    <a:p>
                      <a:pPr marL="457200" lvl="1" indent="0" algn="l" defTabSz="914400" rtl="0" eaLnBrk="1" latinLnBrk="0" hangingPunct="1">
                        <a:buFont typeface="Arial" panose="020B0604020202020204" pitchFamily="34" charset="0"/>
                        <a:buNone/>
                      </a:pPr>
                      <a:r>
                        <a:rPr lang="en-GB" sz="900" b="1" kern="1200">
                          <a:solidFill>
                            <a:srgbClr val="50235B"/>
                          </a:solidFill>
                          <a:latin typeface="Arial" panose="020B0604020202020204" pitchFamily="34" charset="0"/>
                          <a:ea typeface="+mn-ea"/>
                          <a:cs typeface="Arial" panose="020B0604020202020204" pitchFamily="34" charset="0"/>
                        </a:rPr>
                        <a:t>Community care</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r>
                        <a:rPr lang="en-GB" sz="850">
                          <a:solidFill>
                            <a:schemeClr val="tx1">
                              <a:lumMod val="75000"/>
                              <a:lumOff val="25000"/>
                            </a:schemeClr>
                          </a:solidFill>
                          <a:latin typeface="Arial" panose="020B0604020202020204" pitchFamily="34" charset="0"/>
                          <a:cs typeface="Arial" panose="020B0604020202020204" pitchFamily="34" charset="0"/>
                        </a:rPr>
                        <a:t>Given the limited Autism service provision, it is fundamental to support the development of more support services in the community, through standing up new community services and working with the third sector to train and educate existing staff and services in the nuances and reasonable adjustments required for service users with Autism. This will support Autistic service users to receive more care and support in the community, allowing for more supported step down care following discharge as well as supporting a proactive prevention approach by providing more support closer to home which can be accessed in a timely manner. </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b="1">
                          <a:solidFill>
                            <a:srgbClr val="FF0000"/>
                          </a:solidFill>
                          <a:latin typeface="Arial" panose="020B0604020202020204" pitchFamily="34" charset="0"/>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b="1">
                          <a:solidFill>
                            <a:srgbClr val="FF0000"/>
                          </a:solidFill>
                          <a:latin typeface="Arial" panose="020B0604020202020204" pitchFamily="34" charset="0"/>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b="1">
                          <a:solidFill>
                            <a:srgbClr val="FF0000"/>
                          </a:solidFill>
                          <a:latin typeface="Arial" panose="020B0604020202020204" pitchFamily="34" charset="0"/>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b="1">
                          <a:solidFill>
                            <a:srgbClr val="FF0000"/>
                          </a:solidFill>
                          <a:latin typeface="Arial" panose="020B0604020202020204" pitchFamily="34" charset="0"/>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extLst>
                  <a:ext uri="{0D108BD9-81ED-4DB2-BD59-A6C34878D82A}">
                    <a16:rowId xmlns:a16="http://schemas.microsoft.com/office/drawing/2014/main" val="549323194"/>
                  </a:ext>
                </a:extLst>
              </a:tr>
              <a:tr h="610100">
                <a:tc>
                  <a:txBody>
                    <a:bodyPr/>
                    <a:lstStyle/>
                    <a:p>
                      <a:pPr marL="457200" lvl="1" indent="0" algn="l" defTabSz="914400" rtl="0" eaLnBrk="1" latinLnBrk="0" hangingPunct="1">
                        <a:buFont typeface="Arial" panose="020B0604020202020204" pitchFamily="34" charset="0"/>
                        <a:buNone/>
                      </a:pPr>
                      <a:r>
                        <a:rPr lang="en-GB" sz="900" b="1" kern="1200">
                          <a:solidFill>
                            <a:srgbClr val="50235B"/>
                          </a:solidFill>
                          <a:latin typeface="Arial" panose="020B0604020202020204" pitchFamily="34" charset="0"/>
                          <a:ea typeface="+mn-ea"/>
                          <a:cs typeface="Arial" panose="020B0604020202020204" pitchFamily="34" charset="0"/>
                        </a:rPr>
                        <a:t>Data sharing</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r>
                        <a:rPr lang="en-GB" sz="850">
                          <a:solidFill>
                            <a:schemeClr val="tx1">
                              <a:lumMod val="75000"/>
                              <a:lumOff val="25000"/>
                            </a:schemeClr>
                          </a:solidFill>
                          <a:latin typeface="Arial" panose="020B0604020202020204" pitchFamily="34" charset="0"/>
                          <a:cs typeface="Arial" panose="020B0604020202020204" pitchFamily="34" charset="0"/>
                        </a:rPr>
                        <a:t>There are significant data sharing challenges across the ICS that need to be explored, one such approach is to streamline the use of RIO and EMIS through existing tools such as Ardens in the short term to ensure data flows rapidly between organisations. Secondary to that is investing in a system wide approach to shared patient records through the development of a shared care record across all physical and mental health services. </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GB" sz="900" b="1">
                          <a:solidFill>
                            <a:srgbClr val="FF0000"/>
                          </a:solidFill>
                          <a:latin typeface="Arial" panose="020B0604020202020204" pitchFamily="34" charset="0"/>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b="1">
                          <a:solidFill>
                            <a:srgbClr val="FF0000"/>
                          </a:solidFill>
                          <a:latin typeface="Arial" panose="020B0604020202020204" pitchFamily="34" charset="0"/>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extLst>
                  <a:ext uri="{0D108BD9-81ED-4DB2-BD59-A6C34878D82A}">
                    <a16:rowId xmlns:a16="http://schemas.microsoft.com/office/drawing/2014/main" val="1965175342"/>
                  </a:ext>
                </a:extLst>
              </a:tr>
              <a:tr h="869393">
                <a:tc>
                  <a:txBody>
                    <a:bodyPr/>
                    <a:lstStyle/>
                    <a:p>
                      <a:pPr marL="457200" lvl="1" indent="0" algn="l" defTabSz="914400" rtl="0" eaLnBrk="1" latinLnBrk="0" hangingPunct="1">
                        <a:buFont typeface="Arial" panose="020B0604020202020204" pitchFamily="34" charset="0"/>
                        <a:buNone/>
                      </a:pPr>
                      <a:r>
                        <a:rPr lang="en-GB" sz="900" b="1" kern="1200">
                          <a:solidFill>
                            <a:srgbClr val="50235B"/>
                          </a:solidFill>
                          <a:latin typeface="Arial" panose="020B0604020202020204" pitchFamily="34" charset="0"/>
                          <a:ea typeface="+mn-ea"/>
                          <a:cs typeface="Arial" panose="020B0604020202020204" pitchFamily="34" charset="0"/>
                        </a:rPr>
                        <a:t>Reasonable adjustments</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r>
                        <a:rPr lang="en-GB" sz="850">
                          <a:solidFill>
                            <a:schemeClr val="tx1">
                              <a:lumMod val="75000"/>
                              <a:lumOff val="25000"/>
                            </a:schemeClr>
                          </a:solidFill>
                          <a:latin typeface="Arial" panose="020B0604020202020204" pitchFamily="34" charset="0"/>
                          <a:cs typeface="Arial" panose="020B0604020202020204" pitchFamily="34" charset="0"/>
                        </a:rPr>
                        <a:t>There are many simple adjustments that can be made to physical care settings that would significantly improve the experience and outcomes of service users with Autism, MPFT and other organisations should work closely with the Autism hub to implement a range of recommendations. Some recommendations include; Adjusting lighting or providing dark and quiet rooms/areas can hugely support people, providing weighted blankets on wards has been proven to be effective in supporting patients, implementation of the hospital passports in physical care settings will also be hugely appropriate. Similar adjustments should be made to consultation rooms outside of inpatient units to make for a more comfortable environment. </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GB" sz="900" b="1">
                          <a:solidFill>
                            <a:srgbClr val="FF0000"/>
                          </a:solidFill>
                          <a:latin typeface="Arial" panose="020B0604020202020204" pitchFamily="34" charset="0"/>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b="1">
                          <a:solidFill>
                            <a:srgbClr val="FF0000"/>
                          </a:solidFill>
                          <a:latin typeface="Arial" panose="020B0604020202020204" pitchFamily="34" charset="0"/>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GB" sz="900" b="1">
                          <a:solidFill>
                            <a:srgbClr val="FF0000"/>
                          </a:solidFill>
                          <a:latin typeface="Arial" panose="020B0604020202020204" pitchFamily="34" charset="0"/>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GB" sz="900" b="1">
                          <a:solidFill>
                            <a:srgbClr val="FF0000"/>
                          </a:solidFill>
                          <a:latin typeface="Arial" panose="020B0604020202020204" pitchFamily="34" charset="0"/>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extLst>
                  <a:ext uri="{0D108BD9-81ED-4DB2-BD59-A6C34878D82A}">
                    <a16:rowId xmlns:a16="http://schemas.microsoft.com/office/drawing/2014/main" val="2378521350"/>
                  </a:ext>
                </a:extLst>
              </a:tr>
            </a:tbl>
          </a:graphicData>
        </a:graphic>
      </p:graphicFrame>
      <p:pic>
        <p:nvPicPr>
          <p:cNvPr id="5" name="Graphic 4" descr="Universal access with solid fill">
            <a:extLst>
              <a:ext uri="{FF2B5EF4-FFF2-40B4-BE49-F238E27FC236}">
                <a16:creationId xmlns:a16="http://schemas.microsoft.com/office/drawing/2014/main" id="{255472EB-9596-7140-B115-763C8478344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54157" y="1598860"/>
            <a:ext cx="324000" cy="324000"/>
          </a:xfrm>
          <a:prstGeom prst="rect">
            <a:avLst/>
          </a:prstGeom>
        </p:spPr>
      </p:pic>
      <p:pic>
        <p:nvPicPr>
          <p:cNvPr id="7" name="Graphic 6" descr="Classroom with solid fill">
            <a:extLst>
              <a:ext uri="{FF2B5EF4-FFF2-40B4-BE49-F238E27FC236}">
                <a16:creationId xmlns:a16="http://schemas.microsoft.com/office/drawing/2014/main" id="{DF56878C-7AD2-D349-B959-ED88AD16F1B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55982" y="2219938"/>
            <a:ext cx="324000" cy="324000"/>
          </a:xfrm>
          <a:prstGeom prst="rect">
            <a:avLst/>
          </a:prstGeom>
        </p:spPr>
      </p:pic>
      <p:pic>
        <p:nvPicPr>
          <p:cNvPr id="9" name="Graphic 8" descr="List with solid fill">
            <a:extLst>
              <a:ext uri="{FF2B5EF4-FFF2-40B4-BE49-F238E27FC236}">
                <a16:creationId xmlns:a16="http://schemas.microsoft.com/office/drawing/2014/main" id="{402A88F5-F0EC-3641-B932-CDA21902C6E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55982" y="2826589"/>
            <a:ext cx="324000" cy="324000"/>
          </a:xfrm>
          <a:prstGeom prst="rect">
            <a:avLst/>
          </a:prstGeom>
        </p:spPr>
      </p:pic>
      <p:pic>
        <p:nvPicPr>
          <p:cNvPr id="11" name="Graphic 10" descr="Employee badge with solid fill">
            <a:extLst>
              <a:ext uri="{FF2B5EF4-FFF2-40B4-BE49-F238E27FC236}">
                <a16:creationId xmlns:a16="http://schemas.microsoft.com/office/drawing/2014/main" id="{0CB6C27D-5EDE-9043-82F7-1C3B1F9CCBD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55982" y="3505880"/>
            <a:ext cx="324000" cy="324000"/>
          </a:xfrm>
          <a:prstGeom prst="rect">
            <a:avLst/>
          </a:prstGeom>
        </p:spPr>
      </p:pic>
      <p:pic>
        <p:nvPicPr>
          <p:cNvPr id="13" name="Graphic 12" descr="Neighbourhood with solid fill">
            <a:extLst>
              <a:ext uri="{FF2B5EF4-FFF2-40B4-BE49-F238E27FC236}">
                <a16:creationId xmlns:a16="http://schemas.microsoft.com/office/drawing/2014/main" id="{EEE3A3AC-DE8C-5A43-9EF0-D0A085F15E8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54157" y="4242062"/>
            <a:ext cx="324000" cy="324000"/>
          </a:xfrm>
          <a:prstGeom prst="rect">
            <a:avLst/>
          </a:prstGeom>
        </p:spPr>
      </p:pic>
      <p:pic>
        <p:nvPicPr>
          <p:cNvPr id="15" name="Graphic 14" descr="Workflow with solid fill">
            <a:extLst>
              <a:ext uri="{FF2B5EF4-FFF2-40B4-BE49-F238E27FC236}">
                <a16:creationId xmlns:a16="http://schemas.microsoft.com/office/drawing/2014/main" id="{510FCDAE-64F2-0047-B54E-77BCD7980B07}"/>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4157" y="4918515"/>
            <a:ext cx="324000" cy="324000"/>
          </a:xfrm>
          <a:prstGeom prst="rect">
            <a:avLst/>
          </a:prstGeom>
        </p:spPr>
      </p:pic>
      <p:pic>
        <p:nvPicPr>
          <p:cNvPr id="17" name="Graphic 16" descr="Hospital with solid fill">
            <a:extLst>
              <a:ext uri="{FF2B5EF4-FFF2-40B4-BE49-F238E27FC236}">
                <a16:creationId xmlns:a16="http://schemas.microsoft.com/office/drawing/2014/main" id="{6D516687-60F7-774E-9ABD-17293ADB2695}"/>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55982" y="5667604"/>
            <a:ext cx="324000" cy="324000"/>
          </a:xfrm>
          <a:prstGeom prst="rect">
            <a:avLst/>
          </a:prstGeom>
        </p:spPr>
      </p:pic>
      <p:graphicFrame>
        <p:nvGraphicFramePr>
          <p:cNvPr id="12" name="Table 11">
            <a:extLst>
              <a:ext uri="{FF2B5EF4-FFF2-40B4-BE49-F238E27FC236}">
                <a16:creationId xmlns:a16="http://schemas.microsoft.com/office/drawing/2014/main" id="{C472F9EF-6AC2-B046-9035-4EDCA557274B}"/>
              </a:ext>
            </a:extLst>
          </p:cNvPr>
          <p:cNvGraphicFramePr>
            <a:graphicFrameLocks noGrp="1"/>
          </p:cNvGraphicFramePr>
          <p:nvPr>
            <p:extLst>
              <p:ext uri="{D42A27DB-BD31-4B8C-83A1-F6EECF244321}">
                <p14:modId xmlns:p14="http://schemas.microsoft.com/office/powerpoint/2010/main" val="3184630733"/>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A"/>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Tree>
    <p:extLst>
      <p:ext uri="{BB962C8B-B14F-4D97-AF65-F5344CB8AC3E}">
        <p14:creationId xmlns:p14="http://schemas.microsoft.com/office/powerpoint/2010/main" val="35393997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3FE2F85-5478-7B4D-A181-E85728796F24}"/>
              </a:ext>
            </a:extLst>
          </p:cNvPr>
          <p:cNvSpPr>
            <a:spLocks noGrp="1"/>
          </p:cNvSpPr>
          <p:nvPr>
            <p:ph sz="quarter" idx="10"/>
          </p:nvPr>
        </p:nvSpPr>
        <p:spPr>
          <a:xfrm>
            <a:off x="1881188" y="1983582"/>
            <a:ext cx="7431624" cy="2890837"/>
          </a:xfrm>
        </p:spPr>
        <p:txBody>
          <a:bodyPr/>
          <a:lstStyle/>
          <a:p>
            <a:r>
              <a:rPr lang="en-GB" sz="6600"/>
              <a:t>Mental Health &amp; Drug and Alcohol</a:t>
            </a:r>
          </a:p>
        </p:txBody>
      </p:sp>
      <p:graphicFrame>
        <p:nvGraphicFramePr>
          <p:cNvPr id="3" name="Table 2">
            <a:extLst>
              <a:ext uri="{FF2B5EF4-FFF2-40B4-BE49-F238E27FC236}">
                <a16:creationId xmlns:a16="http://schemas.microsoft.com/office/drawing/2014/main" id="{E0447EF9-FDA8-1A40-A668-67CAFAC97B86}"/>
              </a:ext>
            </a:extLst>
          </p:cNvPr>
          <p:cNvGraphicFramePr>
            <a:graphicFrameLocks noGrp="1"/>
          </p:cNvGraphicFramePr>
          <p:nvPr>
            <p:extLst>
              <p:ext uri="{D42A27DB-BD31-4B8C-83A1-F6EECF244321}">
                <p14:modId xmlns:p14="http://schemas.microsoft.com/office/powerpoint/2010/main" val="2622048801"/>
              </p:ext>
            </p:extLst>
          </p:nvPr>
        </p:nvGraphicFramePr>
        <p:xfrm>
          <a:off x="1" y="6560723"/>
          <a:ext cx="12191998" cy="297277"/>
        </p:xfrm>
        <a:graphic>
          <a:graphicData uri="http://schemas.openxmlformats.org/drawingml/2006/table">
            <a:tbl>
              <a:tblPr>
                <a:tableStyleId>{5C22544A-7EE6-4342-B048-85BDC9FD1C3A}</a:tableStyleId>
              </a:tblPr>
              <a:tblGrid>
                <a:gridCol w="1741714">
                  <a:extLst>
                    <a:ext uri="{9D8B030D-6E8A-4147-A177-3AD203B41FA5}">
                      <a16:colId xmlns:a16="http://schemas.microsoft.com/office/drawing/2014/main" val="3508502722"/>
                    </a:ext>
                  </a:extLst>
                </a:gridCol>
                <a:gridCol w="1741714">
                  <a:extLst>
                    <a:ext uri="{9D8B030D-6E8A-4147-A177-3AD203B41FA5}">
                      <a16:colId xmlns:a16="http://schemas.microsoft.com/office/drawing/2014/main" val="1894411863"/>
                    </a:ext>
                  </a:extLst>
                </a:gridCol>
                <a:gridCol w="1741714">
                  <a:extLst>
                    <a:ext uri="{9D8B030D-6E8A-4147-A177-3AD203B41FA5}">
                      <a16:colId xmlns:a16="http://schemas.microsoft.com/office/drawing/2014/main" val="1998335409"/>
                    </a:ext>
                  </a:extLst>
                </a:gridCol>
                <a:gridCol w="1741714">
                  <a:extLst>
                    <a:ext uri="{9D8B030D-6E8A-4147-A177-3AD203B41FA5}">
                      <a16:colId xmlns:a16="http://schemas.microsoft.com/office/drawing/2014/main" val="202640554"/>
                    </a:ext>
                  </a:extLst>
                </a:gridCol>
                <a:gridCol w="1741714">
                  <a:extLst>
                    <a:ext uri="{9D8B030D-6E8A-4147-A177-3AD203B41FA5}">
                      <a16:colId xmlns:a16="http://schemas.microsoft.com/office/drawing/2014/main" val="3019704548"/>
                    </a:ext>
                  </a:extLst>
                </a:gridCol>
                <a:gridCol w="1741714">
                  <a:extLst>
                    <a:ext uri="{9D8B030D-6E8A-4147-A177-3AD203B41FA5}">
                      <a16:colId xmlns:a16="http://schemas.microsoft.com/office/drawing/2014/main" val="1364401804"/>
                    </a:ext>
                  </a:extLst>
                </a:gridCol>
                <a:gridCol w="1741714">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A"/>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Tree>
    <p:extLst>
      <p:ext uri="{BB962C8B-B14F-4D97-AF65-F5344CB8AC3E}">
        <p14:creationId xmlns:p14="http://schemas.microsoft.com/office/powerpoint/2010/main" val="130068602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22AF2B-CD1C-8742-ABF2-F47A44879B64}"/>
              </a:ext>
            </a:extLst>
          </p:cNvPr>
          <p:cNvSpPr>
            <a:spLocks noGrp="1"/>
          </p:cNvSpPr>
          <p:nvPr>
            <p:ph type="title"/>
          </p:nvPr>
        </p:nvSpPr>
        <p:spPr/>
        <p:txBody>
          <a:bodyPr/>
          <a:lstStyle/>
          <a:p>
            <a:r>
              <a:rPr lang="en-GB"/>
              <a:t>Mental health &amp; Drug and Alcohol – Summary</a:t>
            </a:r>
          </a:p>
        </p:txBody>
      </p:sp>
      <p:sp>
        <p:nvSpPr>
          <p:cNvPr id="28" name="TextBox 27">
            <a:extLst>
              <a:ext uri="{FF2B5EF4-FFF2-40B4-BE49-F238E27FC236}">
                <a16:creationId xmlns:a16="http://schemas.microsoft.com/office/drawing/2014/main" id="{34D14069-3A78-CB4B-9516-37759BDAF618}"/>
              </a:ext>
            </a:extLst>
          </p:cNvPr>
          <p:cNvSpPr txBox="1"/>
          <p:nvPr/>
        </p:nvSpPr>
        <p:spPr>
          <a:xfrm>
            <a:off x="510638" y="1856910"/>
            <a:ext cx="2249334"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50235C"/>
                </a:solidFill>
                <a:effectLst/>
                <a:uLnTx/>
                <a:uFillTx/>
                <a:latin typeface="Arial" panose="020B0604020202020204"/>
                <a:ea typeface="+mn-ea"/>
                <a:cs typeface="+mn-cs"/>
              </a:rPr>
              <a:t>Key recommendations</a:t>
            </a:r>
          </a:p>
        </p:txBody>
      </p:sp>
      <p:sp>
        <p:nvSpPr>
          <p:cNvPr id="36" name="Rectangle 35">
            <a:extLst>
              <a:ext uri="{FF2B5EF4-FFF2-40B4-BE49-F238E27FC236}">
                <a16:creationId xmlns:a16="http://schemas.microsoft.com/office/drawing/2014/main" id="{F0613AF4-B5CC-A042-A76D-31B970DEDD1C}"/>
              </a:ext>
            </a:extLst>
          </p:cNvPr>
          <p:cNvSpPr/>
          <p:nvPr/>
        </p:nvSpPr>
        <p:spPr>
          <a:xfrm>
            <a:off x="510638" y="855283"/>
            <a:ext cx="11348270" cy="8521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200" b="1">
                <a:solidFill>
                  <a:srgbClr val="50235B"/>
                </a:solidFill>
              </a:rPr>
              <a:t>Across Shropshire, Telford &amp; Wrekin, there is estimated to be almost 5000 people suffering from drug or alcohol dependency and experiencing mental health difficulties.  However existing mental health teams and structures are not built to manage this cohort of patients in a joined up and collaborative way. This section seeks to understand the challenges facing this group of service users and suggest tactical recommendations for improvement. </a:t>
            </a:r>
          </a:p>
        </p:txBody>
      </p:sp>
      <p:graphicFrame>
        <p:nvGraphicFramePr>
          <p:cNvPr id="15" name="Table 16">
            <a:extLst>
              <a:ext uri="{FF2B5EF4-FFF2-40B4-BE49-F238E27FC236}">
                <a16:creationId xmlns:a16="http://schemas.microsoft.com/office/drawing/2014/main" id="{ED8E2C67-90A8-A54A-B538-36E91B4D690C}"/>
              </a:ext>
            </a:extLst>
          </p:cNvPr>
          <p:cNvGraphicFramePr>
            <a:graphicFrameLocks noGrp="1"/>
          </p:cNvGraphicFramePr>
          <p:nvPr/>
        </p:nvGraphicFramePr>
        <p:xfrm>
          <a:off x="510638" y="2274190"/>
          <a:ext cx="6181107" cy="3832755"/>
        </p:xfrm>
        <a:graphic>
          <a:graphicData uri="http://schemas.openxmlformats.org/drawingml/2006/table">
            <a:tbl>
              <a:tblPr firstRow="1" bandRow="1">
                <a:tableStyleId>{5C22544A-7EE6-4342-B048-85BDC9FD1C3A}</a:tableStyleId>
              </a:tblPr>
              <a:tblGrid>
                <a:gridCol w="818100">
                  <a:extLst>
                    <a:ext uri="{9D8B030D-6E8A-4147-A177-3AD203B41FA5}">
                      <a16:colId xmlns:a16="http://schemas.microsoft.com/office/drawing/2014/main" val="3218774346"/>
                    </a:ext>
                  </a:extLst>
                </a:gridCol>
                <a:gridCol w="1891494">
                  <a:extLst>
                    <a:ext uri="{9D8B030D-6E8A-4147-A177-3AD203B41FA5}">
                      <a16:colId xmlns:a16="http://schemas.microsoft.com/office/drawing/2014/main" val="1877035167"/>
                    </a:ext>
                  </a:extLst>
                </a:gridCol>
                <a:gridCol w="3471513">
                  <a:extLst>
                    <a:ext uri="{9D8B030D-6E8A-4147-A177-3AD203B41FA5}">
                      <a16:colId xmlns:a16="http://schemas.microsoft.com/office/drawing/2014/main" val="1879412206"/>
                    </a:ext>
                  </a:extLst>
                </a:gridCol>
              </a:tblGrid>
              <a:tr h="1277585">
                <a:tc>
                  <a:txBody>
                    <a:bodyPr/>
                    <a:lstStyle/>
                    <a:p>
                      <a:pPr algn="l"/>
                      <a:endParaRPr lang="en-GB" sz="1200" b="1">
                        <a:solidFill>
                          <a:srgbClr val="50235B"/>
                        </a:solidFill>
                        <a:latin typeface="Arial" panose="020B0604020202020204" pitchFamily="34" charset="0"/>
                        <a:cs typeface="Arial" panose="020B0604020202020204" pitchFamily="34" charset="0"/>
                      </a:endParaRPr>
                    </a:p>
                  </a:txBody>
                  <a:tcPr anchor="ctr">
                    <a:lnB w="12700" cap="flat" cmpd="sng" algn="ctr">
                      <a:solidFill>
                        <a:srgbClr val="DFD9E3"/>
                      </a:solidFill>
                      <a:prstDash val="solid"/>
                      <a:round/>
                      <a:headEnd type="none" w="med" len="med"/>
                      <a:tailEnd type="none" w="med" len="med"/>
                    </a:lnB>
                    <a:noFill/>
                  </a:tcPr>
                </a:tc>
                <a:tc>
                  <a:txBody>
                    <a:bodyPr/>
                    <a:lstStyle/>
                    <a:p>
                      <a:pPr algn="l"/>
                      <a:r>
                        <a:rPr lang="en-GB" sz="1200" b="1">
                          <a:solidFill>
                            <a:srgbClr val="50235B"/>
                          </a:solidFill>
                          <a:latin typeface="Arial" panose="020B0604020202020204" pitchFamily="34" charset="0"/>
                          <a:cs typeface="Arial" panose="020B0604020202020204" pitchFamily="34" charset="0"/>
                        </a:rPr>
                        <a:t>Community support</a:t>
                      </a:r>
                    </a:p>
                  </a:txBody>
                  <a:tcPr anchor="ctr">
                    <a:lnB w="12700" cap="flat" cmpd="sng" algn="ctr">
                      <a:solidFill>
                        <a:srgbClr val="DFD9E3"/>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a:solidFill>
                            <a:schemeClr val="tx1">
                              <a:lumMod val="65000"/>
                              <a:lumOff val="35000"/>
                            </a:schemeClr>
                          </a:solidFill>
                          <a:effectLst/>
                          <a:latin typeface="Arial" panose="020B0604020202020204" pitchFamily="34" charset="0"/>
                        </a:rPr>
                        <a:t>Invest in more community offerings for people with co-existing drug and alcohol and mental health problems, including joining up with existing drug and alcohol outreach services that are currently aimed at A&amp;E attendance prevention. </a:t>
                      </a:r>
                    </a:p>
                  </a:txBody>
                  <a:tcPr anchor="ctr">
                    <a:lnB w="12700" cap="flat" cmpd="sng" algn="ctr">
                      <a:solidFill>
                        <a:srgbClr val="DFD9E3"/>
                      </a:solidFill>
                      <a:prstDash val="solid"/>
                      <a:round/>
                      <a:headEnd type="none" w="med" len="med"/>
                      <a:tailEnd type="none" w="med" len="med"/>
                    </a:lnB>
                    <a:noFill/>
                  </a:tcPr>
                </a:tc>
                <a:extLst>
                  <a:ext uri="{0D108BD9-81ED-4DB2-BD59-A6C34878D82A}">
                    <a16:rowId xmlns:a16="http://schemas.microsoft.com/office/drawing/2014/main" val="1528731931"/>
                  </a:ext>
                </a:extLst>
              </a:tr>
              <a:tr h="1277585">
                <a:tc>
                  <a:txBody>
                    <a:bodyPr/>
                    <a:lstStyle/>
                    <a:p>
                      <a:pPr algn="l"/>
                      <a:endParaRPr lang="en-GB" sz="1200" b="1">
                        <a:solidFill>
                          <a:srgbClr val="50235B"/>
                        </a:solidFill>
                        <a:latin typeface="Arial" panose="020B0604020202020204" pitchFamily="34" charset="0"/>
                        <a:cs typeface="Arial" panose="020B0604020202020204" pitchFamily="34" charset="0"/>
                      </a:endParaRPr>
                    </a:p>
                  </a:txBody>
                  <a:tcPr anchor="ct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l"/>
                      <a:r>
                        <a:rPr lang="en-GB" sz="1200" b="1">
                          <a:solidFill>
                            <a:srgbClr val="50235B"/>
                          </a:solidFill>
                          <a:latin typeface="Arial" panose="020B0604020202020204" pitchFamily="34" charset="0"/>
                          <a:cs typeface="Arial" panose="020B0604020202020204" pitchFamily="34" charset="0"/>
                        </a:rPr>
                        <a:t>Joint Working</a:t>
                      </a:r>
                    </a:p>
                  </a:txBody>
                  <a:tcPr anchor="ct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a:solidFill>
                            <a:schemeClr val="tx1">
                              <a:lumMod val="65000"/>
                              <a:lumOff val="35000"/>
                            </a:schemeClr>
                          </a:solidFill>
                          <a:effectLst/>
                          <a:latin typeface="Arial" panose="020B0604020202020204" pitchFamily="34" charset="0"/>
                        </a:rPr>
                        <a:t>Establish a collaborative forum between mental health and drug and alcohol teams to support joint working and collaboration in the delivery of care for service users. </a:t>
                      </a:r>
                    </a:p>
                  </a:txBody>
                  <a:tcPr anchor="ct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extLst>
                  <a:ext uri="{0D108BD9-81ED-4DB2-BD59-A6C34878D82A}">
                    <a16:rowId xmlns:a16="http://schemas.microsoft.com/office/drawing/2014/main" val="2134926600"/>
                  </a:ext>
                </a:extLst>
              </a:tr>
              <a:tr h="1277585">
                <a:tc>
                  <a:txBody>
                    <a:bodyPr/>
                    <a:lstStyle/>
                    <a:p>
                      <a:pPr algn="l" rtl="0" fontAlgn="ctr"/>
                      <a:endParaRPr lang="en-GB" sz="1200" b="1" i="0" u="none" strike="noStrike">
                        <a:solidFill>
                          <a:srgbClr val="50235B"/>
                        </a:solidFill>
                        <a:effectLst/>
                        <a:latin typeface="Arial" panose="020B0604020202020204" pitchFamily="34" charset="0"/>
                        <a:cs typeface="Arial" panose="020B0604020202020204" pitchFamily="34" charset="0"/>
                      </a:endParaRPr>
                    </a:p>
                  </a:txBody>
                  <a:tcPr anchor="ctr">
                    <a:lnT w="12700" cap="flat" cmpd="sng" algn="ctr">
                      <a:solidFill>
                        <a:srgbClr val="DFD9E3"/>
                      </a:solidFill>
                      <a:prstDash val="solid"/>
                      <a:round/>
                      <a:headEnd type="none" w="med" len="med"/>
                      <a:tailEnd type="none" w="med" len="med"/>
                    </a:lnT>
                    <a:noFill/>
                  </a:tcPr>
                </a:tc>
                <a:tc>
                  <a:txBody>
                    <a:bodyPr/>
                    <a:lstStyle/>
                    <a:p>
                      <a:pPr algn="l" rtl="0" fontAlgn="ctr"/>
                      <a:r>
                        <a:rPr lang="en-GB" sz="1200" b="1" i="0" u="none" strike="noStrike">
                          <a:solidFill>
                            <a:srgbClr val="50235B"/>
                          </a:solidFill>
                          <a:effectLst/>
                          <a:latin typeface="Arial" panose="020B0604020202020204" pitchFamily="34" charset="0"/>
                          <a:cs typeface="Arial" panose="020B0604020202020204" pitchFamily="34" charset="0"/>
                        </a:rPr>
                        <a:t>Training &amp; Awareness</a:t>
                      </a:r>
                    </a:p>
                  </a:txBody>
                  <a:tcPr anchor="ctr">
                    <a:lnT w="12700" cap="flat" cmpd="sng" algn="ctr">
                      <a:solidFill>
                        <a:srgbClr val="DFD9E3"/>
                      </a:solidFill>
                      <a:prstDash val="solid"/>
                      <a:round/>
                      <a:headEnd type="none" w="med" len="med"/>
                      <a:tailEnd type="none" w="med" len="med"/>
                    </a:lnT>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a:solidFill>
                            <a:schemeClr val="tx1">
                              <a:lumMod val="65000"/>
                              <a:lumOff val="35000"/>
                            </a:schemeClr>
                          </a:solidFill>
                          <a:effectLst/>
                          <a:latin typeface="Arial" panose="020B0604020202020204" pitchFamily="34" charset="0"/>
                        </a:rPr>
                        <a:t>Run a staff training and awareness campaign aimed at front line staff to reduce the stigma surrounding drug and alcohol addiction. </a:t>
                      </a:r>
                    </a:p>
                  </a:txBody>
                  <a:tcPr anchor="ctr">
                    <a:lnT w="12700" cap="flat" cmpd="sng" algn="ctr">
                      <a:solidFill>
                        <a:srgbClr val="DFD9E3"/>
                      </a:solidFill>
                      <a:prstDash val="solid"/>
                      <a:round/>
                      <a:headEnd type="none" w="med" len="med"/>
                      <a:tailEnd type="none" w="med" len="med"/>
                    </a:lnT>
                    <a:noFill/>
                  </a:tcPr>
                </a:tc>
                <a:extLst>
                  <a:ext uri="{0D108BD9-81ED-4DB2-BD59-A6C34878D82A}">
                    <a16:rowId xmlns:a16="http://schemas.microsoft.com/office/drawing/2014/main" val="3152551171"/>
                  </a:ext>
                </a:extLst>
              </a:tr>
            </a:tbl>
          </a:graphicData>
        </a:graphic>
      </p:graphicFrame>
      <p:pic>
        <p:nvPicPr>
          <p:cNvPr id="4" name="Graphic 3" descr="Neighbourhood with solid fill">
            <a:extLst>
              <a:ext uri="{FF2B5EF4-FFF2-40B4-BE49-F238E27FC236}">
                <a16:creationId xmlns:a16="http://schemas.microsoft.com/office/drawing/2014/main" id="{0BFE327D-5920-4C4B-A090-E1FFEE5E1BF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38188" y="2675429"/>
            <a:ext cx="432000" cy="432000"/>
          </a:xfrm>
          <a:prstGeom prst="rect">
            <a:avLst/>
          </a:prstGeom>
        </p:spPr>
      </p:pic>
      <p:pic>
        <p:nvPicPr>
          <p:cNvPr id="6" name="Graphic 5" descr="Cheers with solid fill">
            <a:extLst>
              <a:ext uri="{FF2B5EF4-FFF2-40B4-BE49-F238E27FC236}">
                <a16:creationId xmlns:a16="http://schemas.microsoft.com/office/drawing/2014/main" id="{A5F83493-8FBB-2945-A39B-37FA8A22C3D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8188" y="3974567"/>
            <a:ext cx="432000" cy="432000"/>
          </a:xfrm>
          <a:prstGeom prst="rect">
            <a:avLst/>
          </a:prstGeom>
        </p:spPr>
      </p:pic>
      <p:pic>
        <p:nvPicPr>
          <p:cNvPr id="8" name="Graphic 7" descr="Lecturer with solid fill">
            <a:extLst>
              <a:ext uri="{FF2B5EF4-FFF2-40B4-BE49-F238E27FC236}">
                <a16:creationId xmlns:a16="http://schemas.microsoft.com/office/drawing/2014/main" id="{C3ED3344-DEFD-5A4A-8969-A3AE29331E6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8188" y="5251066"/>
            <a:ext cx="432000" cy="432000"/>
          </a:xfrm>
          <a:prstGeom prst="rect">
            <a:avLst/>
          </a:prstGeom>
        </p:spPr>
      </p:pic>
      <p:sp>
        <p:nvSpPr>
          <p:cNvPr id="22" name="Rectangle 21">
            <a:extLst>
              <a:ext uri="{FF2B5EF4-FFF2-40B4-BE49-F238E27FC236}">
                <a16:creationId xmlns:a16="http://schemas.microsoft.com/office/drawing/2014/main" id="{33B62459-D007-9643-80F8-76E8E2002FFA}"/>
              </a:ext>
            </a:extLst>
          </p:cNvPr>
          <p:cNvSpPr/>
          <p:nvPr/>
        </p:nvSpPr>
        <p:spPr>
          <a:xfrm>
            <a:off x="7035118" y="2140631"/>
            <a:ext cx="4823792" cy="1942487"/>
          </a:xfrm>
          <a:prstGeom prst="rect">
            <a:avLst/>
          </a:prstGeom>
          <a:noFill/>
          <a:ln w="12700" cap="flat" cmpd="sng" algn="ctr">
            <a:noFill/>
            <a:prstDash val="solid"/>
            <a:miter lim="800000"/>
          </a:ln>
          <a:effectLst/>
        </p:spPr>
        <p:txBody>
          <a:bodyPr rtlCol="0" anchor="t"/>
          <a:lstStyle/>
          <a:p>
            <a:pPr lvl="0" defTabSz="685800">
              <a:spcBef>
                <a:spcPts val="300"/>
              </a:spcBef>
              <a:spcAft>
                <a:spcPts val="300"/>
              </a:spcAft>
              <a:defRPr/>
            </a:pPr>
            <a:r>
              <a:rPr lang="en-GB" sz="1200">
                <a:solidFill>
                  <a:schemeClr val="tx1">
                    <a:lumMod val="75000"/>
                    <a:lumOff val="25000"/>
                  </a:schemeClr>
                </a:solidFill>
                <a:latin typeface="Arial" panose="020B0604020202020204" pitchFamily="34" charset="0"/>
                <a:cs typeface="Arial" panose="020B0604020202020204" pitchFamily="34" charset="0"/>
              </a:rPr>
              <a:t>A journey representing the common experiences for people with coexisting mental health and drug and alcohol issues was produced and analysed:</a:t>
            </a:r>
          </a:p>
          <a:p>
            <a:pPr marL="171450" lvl="0" indent="-171450" defTabSz="685800">
              <a:spcBef>
                <a:spcPts val="300"/>
              </a:spcBef>
              <a:spcAft>
                <a:spcPts val="300"/>
              </a:spcAft>
              <a:buFont typeface="Arial" panose="020B0604020202020204" pitchFamily="34" charset="0"/>
              <a:buChar char="•"/>
              <a:defRPr/>
            </a:pPr>
            <a:r>
              <a:rPr lang="en-GB" sz="1200" b="1">
                <a:solidFill>
                  <a:schemeClr val="tx1">
                    <a:lumMod val="75000"/>
                    <a:lumOff val="25000"/>
                  </a:schemeClr>
                </a:solidFill>
                <a:latin typeface="Arial" panose="020B0604020202020204" pitchFamily="34" charset="0"/>
                <a:cs typeface="Arial" panose="020B0604020202020204" pitchFamily="34" charset="0"/>
              </a:rPr>
              <a:t>8 key challenges </a:t>
            </a:r>
            <a:r>
              <a:rPr lang="en-GB" sz="1200">
                <a:solidFill>
                  <a:schemeClr val="tx1">
                    <a:lumMod val="75000"/>
                    <a:lumOff val="25000"/>
                  </a:schemeClr>
                </a:solidFill>
                <a:latin typeface="Arial" panose="020B0604020202020204" pitchFamily="34" charset="0"/>
                <a:cs typeface="Arial" panose="020B0604020202020204" pitchFamily="34" charset="0"/>
              </a:rPr>
              <a:t>were identified, covering multiple aspects of the user journey. </a:t>
            </a:r>
          </a:p>
          <a:p>
            <a:pPr marL="171450" lvl="0" indent="-171450" defTabSz="685800">
              <a:spcBef>
                <a:spcPts val="300"/>
              </a:spcBef>
              <a:spcAft>
                <a:spcPts val="300"/>
              </a:spcAft>
              <a:buFont typeface="Arial" panose="020B0604020202020204" pitchFamily="34" charset="0"/>
              <a:buChar char="•"/>
              <a:defRPr/>
            </a:pPr>
            <a:r>
              <a:rPr lang="en-GB" sz="1200">
                <a:solidFill>
                  <a:schemeClr val="tx1">
                    <a:lumMod val="75000"/>
                    <a:lumOff val="25000"/>
                  </a:schemeClr>
                </a:solidFill>
                <a:latin typeface="Arial" panose="020B0604020202020204" pitchFamily="34" charset="0"/>
                <a:cs typeface="Arial" panose="020B0604020202020204" pitchFamily="34" charset="0"/>
              </a:rPr>
              <a:t>The most common area of concern for staff and service users in this area is the </a:t>
            </a:r>
            <a:r>
              <a:rPr lang="en-GB" sz="1200" b="1">
                <a:solidFill>
                  <a:schemeClr val="tx1">
                    <a:lumMod val="75000"/>
                    <a:lumOff val="25000"/>
                  </a:schemeClr>
                </a:solidFill>
                <a:latin typeface="Arial" panose="020B0604020202020204" pitchFamily="34" charset="0"/>
                <a:cs typeface="Arial" panose="020B0604020202020204" pitchFamily="34" charset="0"/>
              </a:rPr>
              <a:t>‘revolving door’ </a:t>
            </a:r>
            <a:r>
              <a:rPr lang="en-GB" sz="1200">
                <a:solidFill>
                  <a:schemeClr val="tx1">
                    <a:lumMod val="75000"/>
                    <a:lumOff val="25000"/>
                  </a:schemeClr>
                </a:solidFill>
                <a:latin typeface="Arial" panose="020B0604020202020204" pitchFamily="34" charset="0"/>
                <a:cs typeface="Arial" panose="020B0604020202020204" pitchFamily="34" charset="0"/>
              </a:rPr>
              <a:t>between mental health services and drug and alcohol services. </a:t>
            </a:r>
          </a:p>
          <a:p>
            <a:pPr marL="171450" lvl="0" indent="-171450" defTabSz="685800">
              <a:spcBef>
                <a:spcPts val="300"/>
              </a:spcBef>
              <a:spcAft>
                <a:spcPts val="300"/>
              </a:spcAft>
              <a:buFont typeface="Arial" panose="020B0604020202020204" pitchFamily="34" charset="0"/>
              <a:buChar char="•"/>
              <a:defRPr/>
            </a:pPr>
            <a:r>
              <a:rPr lang="en-GB" sz="1200" b="1">
                <a:solidFill>
                  <a:schemeClr val="tx1">
                    <a:lumMod val="75000"/>
                    <a:lumOff val="25000"/>
                  </a:schemeClr>
                </a:solidFill>
                <a:latin typeface="Arial" panose="020B0604020202020204" pitchFamily="34" charset="0"/>
                <a:cs typeface="Arial" panose="020B0604020202020204" pitchFamily="34" charset="0"/>
              </a:rPr>
              <a:t>5 areas have been identified </a:t>
            </a:r>
            <a:r>
              <a:rPr lang="en-GB" sz="1200">
                <a:solidFill>
                  <a:schemeClr val="tx1">
                    <a:lumMod val="75000"/>
                    <a:lumOff val="25000"/>
                  </a:schemeClr>
                </a:solidFill>
                <a:latin typeface="Arial" panose="020B0604020202020204" pitchFamily="34" charset="0"/>
                <a:cs typeface="Arial" panose="020B0604020202020204" pitchFamily="34" charset="0"/>
              </a:rPr>
              <a:t>that require targeted improvement.</a:t>
            </a:r>
          </a:p>
        </p:txBody>
      </p:sp>
      <p:cxnSp>
        <p:nvCxnSpPr>
          <p:cNvPr id="23" name="Straight Connector 22">
            <a:extLst>
              <a:ext uri="{FF2B5EF4-FFF2-40B4-BE49-F238E27FC236}">
                <a16:creationId xmlns:a16="http://schemas.microsoft.com/office/drawing/2014/main" id="{92A27FD9-4B11-5648-9C0D-1F7F671E147A}"/>
              </a:ext>
            </a:extLst>
          </p:cNvPr>
          <p:cNvCxnSpPr>
            <a:cxnSpLocks/>
          </p:cNvCxnSpPr>
          <p:nvPr/>
        </p:nvCxnSpPr>
        <p:spPr>
          <a:xfrm>
            <a:off x="6904388" y="1800638"/>
            <a:ext cx="0" cy="448378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CFC85803-7BDF-234C-BFC6-54EBEF2EBAC8}"/>
              </a:ext>
            </a:extLst>
          </p:cNvPr>
          <p:cNvSpPr txBox="1"/>
          <p:nvPr/>
        </p:nvSpPr>
        <p:spPr>
          <a:xfrm>
            <a:off x="7035118" y="1800638"/>
            <a:ext cx="3133242"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50235C"/>
                </a:solidFill>
                <a:effectLst/>
                <a:uLnTx/>
                <a:uFillTx/>
                <a:latin typeface="Arial" panose="020B0604020202020204"/>
                <a:ea typeface="+mn-ea"/>
                <a:cs typeface="+mn-cs"/>
              </a:rPr>
              <a:t>Summary of findings</a:t>
            </a:r>
          </a:p>
        </p:txBody>
      </p:sp>
      <p:cxnSp>
        <p:nvCxnSpPr>
          <p:cNvPr id="25" name="Straight Connector 24">
            <a:extLst>
              <a:ext uri="{FF2B5EF4-FFF2-40B4-BE49-F238E27FC236}">
                <a16:creationId xmlns:a16="http://schemas.microsoft.com/office/drawing/2014/main" id="{79E2B728-364B-D748-840F-6001E6EFDFA8}"/>
              </a:ext>
            </a:extLst>
          </p:cNvPr>
          <p:cNvCxnSpPr>
            <a:cxnSpLocks/>
          </p:cNvCxnSpPr>
          <p:nvPr/>
        </p:nvCxnSpPr>
        <p:spPr>
          <a:xfrm>
            <a:off x="6904388" y="4250066"/>
            <a:ext cx="482378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CF0665F4-BBE2-F540-A838-B2BF4E8B2053}"/>
              </a:ext>
            </a:extLst>
          </p:cNvPr>
          <p:cNvSpPr txBox="1"/>
          <p:nvPr/>
        </p:nvSpPr>
        <p:spPr>
          <a:xfrm>
            <a:off x="7035118" y="4320417"/>
            <a:ext cx="3133242"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50235C"/>
                </a:solidFill>
                <a:effectLst/>
                <a:uLnTx/>
                <a:uFillTx/>
                <a:latin typeface="Arial" panose="020B0604020202020204"/>
                <a:ea typeface="+mn-ea"/>
                <a:cs typeface="+mn-cs"/>
              </a:rPr>
              <a:t>Next steps</a:t>
            </a:r>
          </a:p>
        </p:txBody>
      </p:sp>
      <p:sp>
        <p:nvSpPr>
          <p:cNvPr id="37" name="Rectangle 36">
            <a:extLst>
              <a:ext uri="{FF2B5EF4-FFF2-40B4-BE49-F238E27FC236}">
                <a16:creationId xmlns:a16="http://schemas.microsoft.com/office/drawing/2014/main" id="{16D96E1D-223F-1B41-9714-9B0E8929BC6C}"/>
              </a:ext>
            </a:extLst>
          </p:cNvPr>
          <p:cNvSpPr/>
          <p:nvPr/>
        </p:nvSpPr>
        <p:spPr>
          <a:xfrm>
            <a:off x="7035117" y="4705239"/>
            <a:ext cx="4823786" cy="1573161"/>
          </a:xfrm>
          <a:prstGeom prst="rect">
            <a:avLst/>
          </a:prstGeom>
          <a:noFill/>
          <a:ln w="12700" cap="flat" cmpd="sng" algn="ctr">
            <a:noFill/>
            <a:prstDash val="solid"/>
            <a:miter lim="800000"/>
          </a:ln>
          <a:effectLst/>
        </p:spPr>
        <p:txBody>
          <a:bodyPr rtlCol="0" anchor="t"/>
          <a:lstStyle/>
          <a:p>
            <a:pPr marL="171450" marR="0" lvl="0" indent="-1714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GB" sz="1200" b="0" i="0" u="none" strike="noStrike" kern="1200" cap="none" spc="0" normalizeH="0" baseline="0" noProof="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The recommendations from this patient journey map will be integrated into the mental health roadmap that has been developed to support the ICS. </a:t>
            </a:r>
          </a:p>
          <a:p>
            <a:pPr marL="171450" marR="0" lvl="0" indent="-1714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200">
                <a:solidFill>
                  <a:schemeClr val="tx1">
                    <a:lumMod val="75000"/>
                    <a:lumOff val="25000"/>
                  </a:schemeClr>
                </a:solidFill>
                <a:latin typeface="Arial" panose="020B0604020202020204" pitchFamily="34" charset="0"/>
                <a:cs typeface="Arial" panose="020B0604020202020204" pitchFamily="34" charset="0"/>
              </a:rPr>
              <a:t>The journey map, recommendations and challenges produced will be shared with mental health and drug and alcohol teams to support the move to closer, more aligned working between teams. </a:t>
            </a:r>
            <a:endParaRPr kumimoji="0" lang="en-GB" sz="1200" b="0" i="0" u="none" strike="noStrike" kern="1200" cap="none" spc="0" normalizeH="0" baseline="0" noProof="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graphicFrame>
        <p:nvGraphicFramePr>
          <p:cNvPr id="16" name="Table 15">
            <a:extLst>
              <a:ext uri="{FF2B5EF4-FFF2-40B4-BE49-F238E27FC236}">
                <a16:creationId xmlns:a16="http://schemas.microsoft.com/office/drawing/2014/main" id="{DE6A3806-F81D-CE48-9BCC-4E4FBEE12009}"/>
              </a:ext>
            </a:extLst>
          </p:cNvPr>
          <p:cNvGraphicFramePr>
            <a:graphicFrameLocks noGrp="1"/>
          </p:cNvGraphicFramePr>
          <p:nvPr>
            <p:extLst>
              <p:ext uri="{D42A27DB-BD31-4B8C-83A1-F6EECF244321}">
                <p14:modId xmlns:p14="http://schemas.microsoft.com/office/powerpoint/2010/main" val="3184630733"/>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A"/>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Tree>
    <p:extLst>
      <p:ext uri="{BB962C8B-B14F-4D97-AF65-F5344CB8AC3E}">
        <p14:creationId xmlns:p14="http://schemas.microsoft.com/office/powerpoint/2010/main" val="36461639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22AF2B-CD1C-8742-ABF2-F47A44879B64}"/>
              </a:ext>
            </a:extLst>
          </p:cNvPr>
          <p:cNvSpPr>
            <a:spLocks noGrp="1"/>
          </p:cNvSpPr>
          <p:nvPr>
            <p:ph type="title"/>
          </p:nvPr>
        </p:nvSpPr>
        <p:spPr/>
        <p:txBody>
          <a:bodyPr/>
          <a:lstStyle/>
          <a:p>
            <a:r>
              <a:rPr lang="en-GB"/>
              <a:t>Mental health &amp; Drug and Alcohol</a:t>
            </a:r>
          </a:p>
        </p:txBody>
      </p:sp>
      <p:sp>
        <p:nvSpPr>
          <p:cNvPr id="7" name="TextBox 6">
            <a:extLst>
              <a:ext uri="{FF2B5EF4-FFF2-40B4-BE49-F238E27FC236}">
                <a16:creationId xmlns:a16="http://schemas.microsoft.com/office/drawing/2014/main" id="{892E9E0C-01FC-1740-9B08-C381AC69FDD1}"/>
              </a:ext>
            </a:extLst>
          </p:cNvPr>
          <p:cNvSpPr txBox="1"/>
          <p:nvPr/>
        </p:nvSpPr>
        <p:spPr>
          <a:xfrm>
            <a:off x="510638" y="800444"/>
            <a:ext cx="11237914" cy="1154162"/>
          </a:xfrm>
          <a:prstGeom prst="rect">
            <a:avLst/>
          </a:prstGeom>
          <a:noFill/>
        </p:spPr>
        <p:txBody>
          <a:bodyPr wrap="square" rtlCol="0">
            <a:spAutoFit/>
          </a:bodyPr>
          <a:lstStyle>
            <a:defPPr>
              <a:defRPr lang="en-US"/>
            </a:defPPr>
            <a:lvl1pPr marL="285750" indent="-285750">
              <a:buFont typeface="Arial" panose="020B0604020202020204" pitchFamily="34" charset="0"/>
              <a:buChar char="•"/>
              <a:defRPr sz="1050"/>
            </a:lvl1pPr>
          </a:lstStyle>
          <a:p>
            <a:pPr marL="0" indent="0">
              <a:buNone/>
            </a:pPr>
            <a:r>
              <a:rPr lang="en-GB" sz="1150" b="1">
                <a:solidFill>
                  <a:srgbClr val="50235C"/>
                </a:solidFill>
              </a:rPr>
              <a:t>Drug and alcohol (D&amp;A) problems often go hand in hand with mental health issues, with 86% of alcohol users in treatment reporting mental health problems. It is widely recognised that many people with mental health problems use drugs and or alcohol to ‘self medicate’ and relieve the symptoms of their mental health challenges, however patients often face barriers to accessing mental health services and potential exclusion from services due to drug and alcohol dependence. In addition, drug and alcohol services are not commissioned to provide mental health support and are therefore unable to offer appropriate support to meet the needs of their service users. There is an opportunity to change the way services work together to improve accessibility for service users and overall outcomes.  </a:t>
            </a:r>
          </a:p>
        </p:txBody>
      </p:sp>
      <p:grpSp>
        <p:nvGrpSpPr>
          <p:cNvPr id="14" name="Group 13">
            <a:extLst>
              <a:ext uri="{FF2B5EF4-FFF2-40B4-BE49-F238E27FC236}">
                <a16:creationId xmlns:a16="http://schemas.microsoft.com/office/drawing/2014/main" id="{7E0C9EB7-7642-F546-A346-6CCC7A35A777}"/>
              </a:ext>
            </a:extLst>
          </p:cNvPr>
          <p:cNvGrpSpPr/>
          <p:nvPr/>
        </p:nvGrpSpPr>
        <p:grpSpPr>
          <a:xfrm>
            <a:off x="510636" y="1924453"/>
            <a:ext cx="8568965" cy="2362418"/>
            <a:chOff x="4782787" y="1094608"/>
            <a:chExt cx="4065938" cy="1771811"/>
          </a:xfrm>
        </p:grpSpPr>
        <p:sp>
          <p:nvSpPr>
            <p:cNvPr id="19" name="Rectangle 18">
              <a:extLst>
                <a:ext uri="{FF2B5EF4-FFF2-40B4-BE49-F238E27FC236}">
                  <a16:creationId xmlns:a16="http://schemas.microsoft.com/office/drawing/2014/main" id="{1487E005-8D68-734A-B5E9-05BC79427B74}"/>
                </a:ext>
              </a:extLst>
            </p:cNvPr>
            <p:cNvSpPr/>
            <p:nvPr/>
          </p:nvSpPr>
          <p:spPr>
            <a:xfrm>
              <a:off x="4782787" y="1094608"/>
              <a:ext cx="4065938" cy="199823"/>
            </a:xfrm>
            <a:prstGeom prst="rect">
              <a:avLst/>
            </a:prstGeom>
            <a:solidFill>
              <a:srgbClr val="F0ECF3"/>
            </a:solidFill>
            <a:ln w="9525" cap="flat" cmpd="sng" algn="ctr">
              <a:solidFill>
                <a:srgbClr val="F0ECF3"/>
              </a:solidFill>
              <a:prstDash val="solid"/>
              <a:miter lim="800000"/>
            </a:ln>
            <a:effectLst/>
          </p:spPr>
          <p:txBody>
            <a:bodyPr rtlCol="0" anchor="ctr"/>
            <a:lstStyle/>
            <a:p>
              <a:pPr defTabSz="914377">
                <a:defRPr/>
              </a:pPr>
              <a:r>
                <a:rPr lang="en-GB" sz="1067" b="1">
                  <a:solidFill>
                    <a:srgbClr val="50235B"/>
                  </a:solidFill>
                  <a:latin typeface="Arial" panose="020B0604020202020204"/>
                </a:rPr>
                <a:t>Facts and Figures</a:t>
              </a:r>
            </a:p>
          </p:txBody>
        </p:sp>
        <p:sp>
          <p:nvSpPr>
            <p:cNvPr id="20" name="Rectangle 19">
              <a:extLst>
                <a:ext uri="{FF2B5EF4-FFF2-40B4-BE49-F238E27FC236}">
                  <a16:creationId xmlns:a16="http://schemas.microsoft.com/office/drawing/2014/main" id="{F250A382-7342-3346-864D-36D4AD8152D1}"/>
                </a:ext>
              </a:extLst>
            </p:cNvPr>
            <p:cNvSpPr/>
            <p:nvPr/>
          </p:nvSpPr>
          <p:spPr>
            <a:xfrm>
              <a:off x="4782787" y="1294431"/>
              <a:ext cx="4065938" cy="1571988"/>
            </a:xfrm>
            <a:prstGeom prst="rect">
              <a:avLst/>
            </a:prstGeom>
            <a:noFill/>
            <a:ln w="3175">
              <a:solidFill>
                <a:srgbClr val="F0ECF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0" indent="-285750">
                <a:spcBef>
                  <a:spcPts val="200"/>
                </a:spcBef>
                <a:spcAft>
                  <a:spcPts val="200"/>
                </a:spcAft>
                <a:buFont typeface="Arial" panose="020B0604020202020204" pitchFamily="34" charset="0"/>
                <a:buChar char="•"/>
              </a:pPr>
              <a:r>
                <a:rPr lang="en-US" sz="1000">
                  <a:solidFill>
                    <a:srgbClr val="000000">
                      <a:lumMod val="75000"/>
                      <a:lumOff val="25000"/>
                    </a:srgbClr>
                  </a:solidFill>
                </a:rPr>
                <a:t>Research shows that </a:t>
              </a:r>
              <a:r>
                <a:rPr lang="en-US" sz="1000" b="1">
                  <a:solidFill>
                    <a:srgbClr val="000000">
                      <a:lumMod val="75000"/>
                      <a:lumOff val="25000"/>
                    </a:srgbClr>
                  </a:solidFill>
                </a:rPr>
                <a:t>mental health problems are experienced by the majority of drug </a:t>
              </a:r>
              <a:r>
                <a:rPr lang="en-US" sz="1000">
                  <a:solidFill>
                    <a:srgbClr val="000000">
                      <a:lumMod val="75000"/>
                      <a:lumOff val="25000"/>
                    </a:srgbClr>
                  </a:solidFill>
                </a:rPr>
                <a:t>(70%) </a:t>
              </a:r>
              <a:r>
                <a:rPr lang="en-US" sz="1000" b="1">
                  <a:solidFill>
                    <a:srgbClr val="000000">
                      <a:lumMod val="75000"/>
                      <a:lumOff val="25000"/>
                    </a:srgbClr>
                  </a:solidFill>
                </a:rPr>
                <a:t>and alcohol </a:t>
              </a:r>
              <a:r>
                <a:rPr lang="en-US" sz="1000">
                  <a:solidFill>
                    <a:srgbClr val="000000">
                      <a:lumMod val="75000"/>
                      <a:lumOff val="25000"/>
                    </a:srgbClr>
                  </a:solidFill>
                </a:rPr>
                <a:t>(86%) </a:t>
              </a:r>
              <a:r>
                <a:rPr lang="en-US" sz="1000" b="1">
                  <a:solidFill>
                    <a:srgbClr val="000000">
                      <a:lumMod val="75000"/>
                      <a:lumOff val="25000"/>
                    </a:srgbClr>
                  </a:solidFill>
                </a:rPr>
                <a:t>users</a:t>
              </a:r>
              <a:r>
                <a:rPr lang="en-US" sz="1000">
                  <a:solidFill>
                    <a:srgbClr val="000000">
                      <a:lumMod val="75000"/>
                      <a:lumOff val="25000"/>
                    </a:srgbClr>
                  </a:solidFill>
                </a:rPr>
                <a:t> in community substance misuse treatment. (PHE 2019)</a:t>
              </a:r>
            </a:p>
            <a:p>
              <a:pPr marL="285750" lvl="0" indent="-285750">
                <a:spcBef>
                  <a:spcPts val="200"/>
                </a:spcBef>
                <a:spcAft>
                  <a:spcPts val="200"/>
                </a:spcAft>
                <a:buFont typeface="Arial" panose="020B0604020202020204" pitchFamily="34" charset="0"/>
                <a:buChar char="•"/>
              </a:pPr>
              <a:r>
                <a:rPr lang="en-US" sz="1000" b="1">
                  <a:solidFill>
                    <a:srgbClr val="000000">
                      <a:lumMod val="75000"/>
                      <a:lumOff val="25000"/>
                    </a:srgbClr>
                  </a:solidFill>
                </a:rPr>
                <a:t>Over half (53%) of adults starting D&amp;A treatment said they had a mental health treatment need</a:t>
              </a:r>
              <a:r>
                <a:rPr lang="en-US" sz="1000">
                  <a:solidFill>
                    <a:srgbClr val="000000">
                      <a:lumMod val="75000"/>
                      <a:lumOff val="25000"/>
                    </a:srgbClr>
                  </a:solidFill>
                </a:rPr>
                <a:t>, ranging from 49% for people with opiate problems to 59% for people with non-opiate and alcohol problems. (PHE 2019)</a:t>
              </a:r>
            </a:p>
            <a:p>
              <a:pPr marL="285750" lvl="0" indent="-285750">
                <a:spcBef>
                  <a:spcPts val="200"/>
                </a:spcBef>
                <a:spcAft>
                  <a:spcPts val="200"/>
                </a:spcAft>
                <a:buFont typeface="Arial" panose="020B0604020202020204" pitchFamily="34" charset="0"/>
                <a:buChar char="•"/>
              </a:pPr>
              <a:r>
                <a:rPr lang="en-US" sz="1000" b="1">
                  <a:solidFill>
                    <a:srgbClr val="000000">
                      <a:lumMod val="75000"/>
                      <a:lumOff val="25000"/>
                    </a:srgbClr>
                  </a:solidFill>
                </a:rPr>
                <a:t>24% of people </a:t>
              </a:r>
              <a:r>
                <a:rPr lang="en-US" sz="1000">
                  <a:solidFill>
                    <a:srgbClr val="000000">
                      <a:lumMod val="75000"/>
                      <a:lumOff val="25000"/>
                    </a:srgbClr>
                  </a:solidFill>
                </a:rPr>
                <a:t>starting drug and alcohol treatment </a:t>
              </a:r>
              <a:r>
                <a:rPr lang="en-US" sz="1000" b="1">
                  <a:solidFill>
                    <a:srgbClr val="000000">
                      <a:lumMod val="75000"/>
                      <a:lumOff val="25000"/>
                    </a:srgbClr>
                  </a:solidFill>
                </a:rPr>
                <a:t>who had a mental health need were not receiving any treatment </a:t>
              </a:r>
              <a:r>
                <a:rPr lang="en-US" sz="1000">
                  <a:solidFill>
                    <a:srgbClr val="000000">
                      <a:lumMod val="75000"/>
                      <a:lumOff val="25000"/>
                    </a:srgbClr>
                  </a:solidFill>
                </a:rPr>
                <a:t>to meet this need. Of those receiving mental health treatment, over half received it in a primary care setting, such as a GP surgery. (NHS England)</a:t>
              </a:r>
            </a:p>
            <a:p>
              <a:pPr marL="285750" lvl="0" indent="-285750">
                <a:spcBef>
                  <a:spcPts val="200"/>
                </a:spcBef>
                <a:spcAft>
                  <a:spcPts val="200"/>
                </a:spcAft>
                <a:buFont typeface="Arial" panose="020B0604020202020204" pitchFamily="34" charset="0"/>
                <a:buChar char="•"/>
              </a:pPr>
              <a:r>
                <a:rPr lang="en-US" sz="1000">
                  <a:solidFill>
                    <a:srgbClr val="000000">
                      <a:lumMod val="75000"/>
                      <a:lumOff val="25000"/>
                    </a:srgbClr>
                  </a:solidFill>
                </a:rPr>
                <a:t>Approximately </a:t>
              </a:r>
              <a:r>
                <a:rPr lang="en-US" sz="1000" b="1">
                  <a:solidFill>
                    <a:srgbClr val="000000">
                      <a:lumMod val="75000"/>
                      <a:lumOff val="25000"/>
                    </a:srgbClr>
                  </a:solidFill>
                </a:rPr>
                <a:t>5000 people </a:t>
              </a:r>
              <a:r>
                <a:rPr lang="en-US" sz="1000">
                  <a:solidFill>
                    <a:srgbClr val="000000">
                      <a:lumMod val="75000"/>
                      <a:lumOff val="25000"/>
                    </a:srgbClr>
                  </a:solidFill>
                </a:rPr>
                <a:t>across Shropshire, Telford and Wrekin </a:t>
              </a:r>
              <a:r>
                <a:rPr lang="en-US" sz="1000" b="1">
                  <a:solidFill>
                    <a:srgbClr val="000000">
                      <a:lumMod val="75000"/>
                      <a:lumOff val="25000"/>
                    </a:srgbClr>
                  </a:solidFill>
                </a:rPr>
                <a:t>are estimated to have an alcohol dependency </a:t>
              </a:r>
              <a:r>
                <a:rPr lang="en-US" sz="1000">
                  <a:solidFill>
                    <a:srgbClr val="000000">
                      <a:lumMod val="75000"/>
                      <a:lumOff val="25000"/>
                    </a:srgbClr>
                  </a:solidFill>
                </a:rPr>
                <a:t>– roughly 1.3% of the adult population. (PHE 2020)</a:t>
              </a:r>
            </a:p>
            <a:p>
              <a:pPr marL="285750" lvl="0" indent="-285750">
                <a:spcBef>
                  <a:spcPts val="200"/>
                </a:spcBef>
                <a:spcAft>
                  <a:spcPts val="200"/>
                </a:spcAft>
                <a:buFont typeface="Arial" panose="020B0604020202020204" pitchFamily="34" charset="0"/>
                <a:buChar char="•"/>
              </a:pPr>
              <a:r>
                <a:rPr lang="en-US" sz="1000">
                  <a:solidFill>
                    <a:srgbClr val="000000">
                      <a:lumMod val="75000"/>
                      <a:lumOff val="25000"/>
                    </a:srgbClr>
                  </a:solidFill>
                </a:rPr>
                <a:t>Adults with drug dependence are </a:t>
              </a:r>
              <a:r>
                <a:rPr lang="en-US" sz="1000" b="1">
                  <a:solidFill>
                    <a:srgbClr val="000000">
                      <a:lumMod val="75000"/>
                      <a:lumOff val="25000"/>
                    </a:srgbClr>
                  </a:solidFill>
                </a:rPr>
                <a:t>twice as likely as the general population to be using psychological therapy</a:t>
              </a:r>
              <a:r>
                <a:rPr lang="en-US" sz="1000">
                  <a:solidFill>
                    <a:srgbClr val="000000">
                      <a:lumMod val="75000"/>
                      <a:lumOff val="25000"/>
                    </a:srgbClr>
                  </a:solidFill>
                </a:rPr>
                <a:t>.</a:t>
              </a:r>
            </a:p>
            <a:p>
              <a:pPr marL="285750" lvl="0" indent="-285750">
                <a:spcBef>
                  <a:spcPts val="200"/>
                </a:spcBef>
                <a:spcAft>
                  <a:spcPts val="200"/>
                </a:spcAft>
                <a:buFont typeface="Arial" panose="020B0604020202020204" pitchFamily="34" charset="0"/>
                <a:buChar char="•"/>
              </a:pPr>
              <a:r>
                <a:rPr lang="en-US" sz="1000">
                  <a:solidFill>
                    <a:srgbClr val="000000">
                      <a:lumMod val="75000"/>
                      <a:lumOff val="25000"/>
                    </a:srgbClr>
                  </a:solidFill>
                </a:rPr>
                <a:t>Death by suicide is also common, with </a:t>
              </a:r>
              <a:r>
                <a:rPr lang="en-US" sz="1000" b="1">
                  <a:solidFill>
                    <a:srgbClr val="000000">
                      <a:lumMod val="75000"/>
                      <a:lumOff val="25000"/>
                    </a:srgbClr>
                  </a:solidFill>
                </a:rPr>
                <a:t>a history of alcohol or drug use being recorded in 54% of all suicides</a:t>
              </a:r>
              <a:r>
                <a:rPr lang="en-US" sz="1000">
                  <a:solidFill>
                    <a:srgbClr val="000000">
                      <a:lumMod val="75000"/>
                      <a:lumOff val="25000"/>
                    </a:srgbClr>
                  </a:solidFill>
                </a:rPr>
                <a:t> in people experiencing mental health problems.</a:t>
              </a:r>
            </a:p>
          </p:txBody>
        </p:sp>
      </p:grpSp>
      <p:grpSp>
        <p:nvGrpSpPr>
          <p:cNvPr id="22" name="Group 21">
            <a:extLst>
              <a:ext uri="{FF2B5EF4-FFF2-40B4-BE49-F238E27FC236}">
                <a16:creationId xmlns:a16="http://schemas.microsoft.com/office/drawing/2014/main" id="{FDED7D77-F4ED-FD4A-8B1A-B87096F5A636}"/>
              </a:ext>
            </a:extLst>
          </p:cNvPr>
          <p:cNvGrpSpPr/>
          <p:nvPr/>
        </p:nvGrpSpPr>
        <p:grpSpPr>
          <a:xfrm>
            <a:off x="510636" y="4359278"/>
            <a:ext cx="8568965" cy="2100521"/>
            <a:chOff x="4782787" y="1094608"/>
            <a:chExt cx="4065938" cy="1575389"/>
          </a:xfrm>
        </p:grpSpPr>
        <p:sp>
          <p:nvSpPr>
            <p:cNvPr id="23" name="Rectangle 22">
              <a:extLst>
                <a:ext uri="{FF2B5EF4-FFF2-40B4-BE49-F238E27FC236}">
                  <a16:creationId xmlns:a16="http://schemas.microsoft.com/office/drawing/2014/main" id="{8BFA237E-7528-0642-B2F3-2659AE43B0BC}"/>
                </a:ext>
              </a:extLst>
            </p:cNvPr>
            <p:cNvSpPr/>
            <p:nvPr/>
          </p:nvSpPr>
          <p:spPr>
            <a:xfrm>
              <a:off x="4782787" y="1094608"/>
              <a:ext cx="4065938" cy="199823"/>
            </a:xfrm>
            <a:prstGeom prst="rect">
              <a:avLst/>
            </a:prstGeom>
            <a:solidFill>
              <a:srgbClr val="F0ECF3"/>
            </a:solidFill>
            <a:ln w="9525" cap="flat" cmpd="sng" algn="ctr">
              <a:solidFill>
                <a:srgbClr val="F0ECF3"/>
              </a:solidFill>
              <a:prstDash val="solid"/>
              <a:miter lim="800000"/>
            </a:ln>
            <a:effectLst/>
          </p:spPr>
          <p:txBody>
            <a:bodyPr rtlCol="0" anchor="ctr"/>
            <a:lstStyle/>
            <a:p>
              <a:pPr defTabSz="914377">
                <a:defRPr/>
              </a:pPr>
              <a:r>
                <a:rPr lang="en-GB" sz="1067" b="1">
                  <a:solidFill>
                    <a:srgbClr val="50235B"/>
                  </a:solidFill>
                  <a:latin typeface="Arial" panose="020B0604020202020204"/>
                </a:rPr>
                <a:t>Stakeholder Insights</a:t>
              </a:r>
            </a:p>
          </p:txBody>
        </p:sp>
        <p:sp>
          <p:nvSpPr>
            <p:cNvPr id="24" name="Rectangle 23">
              <a:extLst>
                <a:ext uri="{FF2B5EF4-FFF2-40B4-BE49-F238E27FC236}">
                  <a16:creationId xmlns:a16="http://schemas.microsoft.com/office/drawing/2014/main" id="{71660C57-FF23-C648-B333-F05E77884992}"/>
                </a:ext>
              </a:extLst>
            </p:cNvPr>
            <p:cNvSpPr/>
            <p:nvPr/>
          </p:nvSpPr>
          <p:spPr>
            <a:xfrm>
              <a:off x="4782787" y="1294431"/>
              <a:ext cx="4065938" cy="1375566"/>
            </a:xfrm>
            <a:prstGeom prst="rect">
              <a:avLst/>
            </a:prstGeom>
            <a:noFill/>
            <a:ln w="3175">
              <a:solidFill>
                <a:srgbClr val="F0ECF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0" indent="-285750">
                <a:spcBef>
                  <a:spcPts val="300"/>
                </a:spcBef>
                <a:spcAft>
                  <a:spcPts val="300"/>
                </a:spcAft>
                <a:buFont typeface="Arial" panose="020B0604020202020204" pitchFamily="34" charset="0"/>
                <a:buChar char="•"/>
              </a:pPr>
              <a:r>
                <a:rPr lang="en-GB" sz="1000">
                  <a:solidFill>
                    <a:srgbClr val="000000">
                      <a:lumMod val="75000"/>
                      <a:lumOff val="25000"/>
                    </a:srgbClr>
                  </a:solidFill>
                </a:rPr>
                <a:t>Service users often </a:t>
              </a:r>
              <a:r>
                <a:rPr lang="en-GB" sz="1000" b="1">
                  <a:solidFill>
                    <a:srgbClr val="000000">
                      <a:lumMod val="75000"/>
                      <a:lumOff val="25000"/>
                    </a:srgbClr>
                  </a:solidFill>
                </a:rPr>
                <a:t>fall through the middle </a:t>
              </a:r>
              <a:r>
                <a:rPr lang="en-GB" sz="1000">
                  <a:solidFill>
                    <a:srgbClr val="000000">
                      <a:lumMod val="75000"/>
                      <a:lumOff val="25000"/>
                    </a:srgbClr>
                  </a:solidFill>
                </a:rPr>
                <a:t>of mental health and D&amp;A services, as their needs don’t fit the existing pathways. </a:t>
              </a:r>
            </a:p>
            <a:p>
              <a:pPr marL="285750" lvl="0" indent="-285750">
                <a:spcBef>
                  <a:spcPts val="300"/>
                </a:spcBef>
                <a:spcAft>
                  <a:spcPts val="300"/>
                </a:spcAft>
                <a:buFont typeface="Arial" panose="020B0604020202020204" pitchFamily="34" charset="0"/>
                <a:buChar char="•"/>
              </a:pPr>
              <a:r>
                <a:rPr lang="en-GB" sz="1000">
                  <a:solidFill>
                    <a:srgbClr val="000000">
                      <a:lumMod val="75000"/>
                      <a:lumOff val="25000"/>
                    </a:srgbClr>
                  </a:solidFill>
                </a:rPr>
                <a:t>There is an opportunity to </a:t>
              </a:r>
              <a:r>
                <a:rPr lang="en-GB" sz="1000" b="1">
                  <a:solidFill>
                    <a:srgbClr val="000000">
                      <a:lumMod val="75000"/>
                      <a:lumOff val="25000"/>
                    </a:srgbClr>
                  </a:solidFill>
                </a:rPr>
                <a:t>bridge the gap between teams </a:t>
              </a:r>
              <a:r>
                <a:rPr lang="en-GB" sz="1000">
                  <a:solidFill>
                    <a:srgbClr val="000000">
                      <a:lumMod val="75000"/>
                      <a:lumOff val="25000"/>
                    </a:srgbClr>
                  </a:solidFill>
                </a:rPr>
                <a:t>to create joint teams and connected pathways for service users. </a:t>
              </a:r>
            </a:p>
            <a:p>
              <a:pPr marL="285750" lvl="0" indent="-285750">
                <a:spcBef>
                  <a:spcPts val="300"/>
                </a:spcBef>
                <a:spcAft>
                  <a:spcPts val="300"/>
                </a:spcAft>
                <a:buFont typeface="Arial" panose="020B0604020202020204" pitchFamily="34" charset="0"/>
                <a:buChar char="•"/>
              </a:pPr>
              <a:r>
                <a:rPr lang="en-GB" sz="1000">
                  <a:solidFill>
                    <a:srgbClr val="000000">
                      <a:lumMod val="75000"/>
                      <a:lumOff val="25000"/>
                    </a:srgbClr>
                  </a:solidFill>
                </a:rPr>
                <a:t>Many service users cannot be supported for their D&amp;A dependency issues without </a:t>
              </a:r>
              <a:r>
                <a:rPr lang="en-GB" sz="1000" b="1">
                  <a:solidFill>
                    <a:srgbClr val="000000">
                      <a:lumMod val="75000"/>
                      <a:lumOff val="25000"/>
                    </a:srgbClr>
                  </a:solidFill>
                </a:rPr>
                <a:t>addressing the mental health issues first </a:t>
              </a:r>
              <a:r>
                <a:rPr lang="en-GB" sz="1000">
                  <a:solidFill>
                    <a:srgbClr val="000000">
                      <a:lumMod val="75000"/>
                      <a:lumOff val="25000"/>
                    </a:srgbClr>
                  </a:solidFill>
                </a:rPr>
                <a:t>as this is often the root cause. </a:t>
              </a:r>
            </a:p>
            <a:p>
              <a:pPr marL="285750" lvl="0" indent="-285750">
                <a:spcBef>
                  <a:spcPts val="300"/>
                </a:spcBef>
                <a:spcAft>
                  <a:spcPts val="300"/>
                </a:spcAft>
                <a:buFont typeface="Arial" panose="020B0604020202020204" pitchFamily="34" charset="0"/>
                <a:buChar char="•"/>
              </a:pPr>
              <a:r>
                <a:rPr lang="en-GB" sz="1000">
                  <a:solidFill>
                    <a:srgbClr val="000000">
                      <a:lumMod val="75000"/>
                      <a:lumOff val="25000"/>
                    </a:srgbClr>
                  </a:solidFill>
                </a:rPr>
                <a:t>Drug &amp; Alcohol services </a:t>
              </a:r>
              <a:r>
                <a:rPr lang="en-GB" sz="1000" b="1">
                  <a:solidFill>
                    <a:srgbClr val="000000">
                      <a:lumMod val="75000"/>
                      <a:lumOff val="25000"/>
                    </a:srgbClr>
                  </a:solidFill>
                </a:rPr>
                <a:t>struggle to be inclusive </a:t>
              </a:r>
              <a:r>
                <a:rPr lang="en-GB" sz="1000">
                  <a:solidFill>
                    <a:srgbClr val="000000">
                      <a:lumMod val="75000"/>
                      <a:lumOff val="25000"/>
                    </a:srgbClr>
                  </a:solidFill>
                </a:rPr>
                <a:t>to all population groups. </a:t>
              </a:r>
            </a:p>
            <a:p>
              <a:pPr marL="285750" lvl="0" indent="-285750">
                <a:spcBef>
                  <a:spcPts val="300"/>
                </a:spcBef>
                <a:spcAft>
                  <a:spcPts val="300"/>
                </a:spcAft>
                <a:buFont typeface="Arial" panose="020B0604020202020204" pitchFamily="34" charset="0"/>
                <a:buChar char="•"/>
              </a:pPr>
              <a:r>
                <a:rPr lang="en-GB" sz="1000">
                  <a:solidFill>
                    <a:srgbClr val="000000">
                      <a:lumMod val="75000"/>
                      <a:lumOff val="25000"/>
                    </a:srgbClr>
                  </a:solidFill>
                </a:rPr>
                <a:t>STW are currently seeing indications of a </a:t>
              </a:r>
              <a:r>
                <a:rPr lang="en-GB" sz="1000" b="1">
                  <a:solidFill>
                    <a:srgbClr val="000000">
                      <a:lumMod val="75000"/>
                      <a:lumOff val="25000"/>
                    </a:srgbClr>
                  </a:solidFill>
                </a:rPr>
                <a:t>surge in in alcohol referrals </a:t>
              </a:r>
              <a:r>
                <a:rPr lang="en-GB" sz="1000">
                  <a:solidFill>
                    <a:srgbClr val="000000">
                      <a:lumMod val="75000"/>
                      <a:lumOff val="25000"/>
                    </a:srgbClr>
                  </a:solidFill>
                </a:rPr>
                <a:t>into mental health services. </a:t>
              </a:r>
            </a:p>
            <a:p>
              <a:pPr marL="285750" lvl="0" indent="-285750">
                <a:spcBef>
                  <a:spcPts val="300"/>
                </a:spcBef>
                <a:spcAft>
                  <a:spcPts val="300"/>
                </a:spcAft>
                <a:buFont typeface="Arial" panose="020B0604020202020204" pitchFamily="34" charset="0"/>
                <a:buChar char="•"/>
              </a:pPr>
              <a:r>
                <a:rPr lang="en-GB" sz="1000">
                  <a:solidFill>
                    <a:srgbClr val="000000">
                      <a:lumMod val="75000"/>
                      <a:lumOff val="25000"/>
                    </a:srgbClr>
                  </a:solidFill>
                </a:rPr>
                <a:t>D&amp;A users often have </a:t>
              </a:r>
              <a:r>
                <a:rPr lang="en-GB" sz="1000" b="1">
                  <a:solidFill>
                    <a:srgbClr val="000000">
                      <a:lumMod val="75000"/>
                      <a:lumOff val="25000"/>
                    </a:srgbClr>
                  </a:solidFill>
                </a:rPr>
                <a:t>increased complexity of care needs</a:t>
              </a:r>
              <a:r>
                <a:rPr lang="en-GB" sz="1000">
                  <a:solidFill>
                    <a:srgbClr val="000000">
                      <a:lumMod val="75000"/>
                      <a:lumOff val="25000"/>
                    </a:srgbClr>
                  </a:solidFill>
                </a:rPr>
                <a:t>, meaning they may need longer and more intense support. </a:t>
              </a:r>
            </a:p>
            <a:p>
              <a:pPr marL="285750" lvl="0" indent="-285750">
                <a:spcBef>
                  <a:spcPts val="300"/>
                </a:spcBef>
                <a:spcAft>
                  <a:spcPts val="300"/>
                </a:spcAft>
                <a:buFont typeface="Arial" panose="020B0604020202020204" pitchFamily="34" charset="0"/>
                <a:buChar char="•"/>
              </a:pPr>
              <a:r>
                <a:rPr lang="en-GB" sz="1000">
                  <a:solidFill>
                    <a:srgbClr val="000000">
                      <a:lumMod val="75000"/>
                      <a:lumOff val="25000"/>
                    </a:srgbClr>
                  </a:solidFill>
                </a:rPr>
                <a:t>People with co-existing mental health and D&amp;A addiction issues are often </a:t>
              </a:r>
              <a:r>
                <a:rPr lang="en-GB" sz="1000" b="1">
                  <a:solidFill>
                    <a:srgbClr val="000000">
                      <a:lumMod val="75000"/>
                      <a:lumOff val="25000"/>
                    </a:srgbClr>
                  </a:solidFill>
                </a:rPr>
                <a:t>high intensity users of A&amp;E. </a:t>
              </a:r>
            </a:p>
          </p:txBody>
        </p:sp>
      </p:grpSp>
      <p:sp>
        <p:nvSpPr>
          <p:cNvPr id="12" name="Rectangle 11">
            <a:extLst>
              <a:ext uri="{FF2B5EF4-FFF2-40B4-BE49-F238E27FC236}">
                <a16:creationId xmlns:a16="http://schemas.microsoft.com/office/drawing/2014/main" id="{6DFDDD2E-A868-F24E-9180-BE0F34D9FD83}"/>
              </a:ext>
            </a:extLst>
          </p:cNvPr>
          <p:cNvSpPr/>
          <p:nvPr/>
        </p:nvSpPr>
        <p:spPr>
          <a:xfrm>
            <a:off x="9389950" y="1924450"/>
            <a:ext cx="2358602" cy="4535343"/>
          </a:xfrm>
          <a:prstGeom prst="rect">
            <a:avLst/>
          </a:prstGeom>
          <a:solidFill>
            <a:srgbClr val="F0ECF3"/>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100"/>
              </a:spcBef>
              <a:spcAft>
                <a:spcPts val="100"/>
              </a:spcAft>
            </a:pPr>
            <a:r>
              <a:rPr lang="en-GB" sz="1070" b="1">
                <a:solidFill>
                  <a:srgbClr val="50235B"/>
                </a:solidFill>
              </a:rPr>
              <a:t>What guidance is out there?</a:t>
            </a:r>
          </a:p>
        </p:txBody>
      </p:sp>
      <p:sp>
        <p:nvSpPr>
          <p:cNvPr id="13" name="TextBox 12">
            <a:extLst>
              <a:ext uri="{FF2B5EF4-FFF2-40B4-BE49-F238E27FC236}">
                <a16:creationId xmlns:a16="http://schemas.microsoft.com/office/drawing/2014/main" id="{495E7469-81EA-764A-8E49-4C3CD0FEBF32}"/>
              </a:ext>
            </a:extLst>
          </p:cNvPr>
          <p:cNvSpPr txBox="1"/>
          <p:nvPr/>
        </p:nvSpPr>
        <p:spPr>
          <a:xfrm>
            <a:off x="9389951" y="2229346"/>
            <a:ext cx="2358602" cy="4362733"/>
          </a:xfrm>
          <a:prstGeom prst="rect">
            <a:avLst/>
          </a:prstGeom>
          <a:noFill/>
        </p:spPr>
        <p:txBody>
          <a:bodyPr wrap="square" rtlCol="0">
            <a:spAutoFit/>
          </a:bodyPr>
          <a:lstStyle/>
          <a:p>
            <a:r>
              <a:rPr lang="en-GB" sz="1000">
                <a:solidFill>
                  <a:schemeClr val="tx1">
                    <a:lumMod val="75000"/>
                    <a:lumOff val="25000"/>
                  </a:schemeClr>
                </a:solidFill>
              </a:rPr>
              <a:t>	Public Health England 	and NHS England 	produced guidance for the delivery of care for people with co-occurring mental health and drug and alcohol use conditions. It provides a framework for commissioners to use to commission appropriate services for this particularly vulnerable cohort of patients. It includes two key principles:</a:t>
            </a:r>
          </a:p>
          <a:p>
            <a:pPr marL="228600" indent="-228600">
              <a:spcBef>
                <a:spcPts val="300"/>
              </a:spcBef>
              <a:spcAft>
                <a:spcPts val="300"/>
              </a:spcAft>
              <a:buAutoNum type="arabicPeriod"/>
            </a:pPr>
            <a:r>
              <a:rPr lang="en-GB" sz="1000">
                <a:solidFill>
                  <a:schemeClr val="tx1">
                    <a:lumMod val="75000"/>
                    <a:lumOff val="25000"/>
                  </a:schemeClr>
                </a:solidFill>
              </a:rPr>
              <a:t>Everyone’s job - Commissioners and providers of mental health and alcohol and drug use services have a joint responsibility to meet the needs of individuals with co-occurring conditions by working together to reach shared solutions. </a:t>
            </a:r>
          </a:p>
          <a:p>
            <a:pPr marL="228600" indent="-228600">
              <a:spcBef>
                <a:spcPts val="300"/>
              </a:spcBef>
              <a:spcAft>
                <a:spcPts val="300"/>
              </a:spcAft>
              <a:buAutoNum type="arabicPeriod"/>
            </a:pPr>
            <a:r>
              <a:rPr lang="en-GB" sz="1000">
                <a:solidFill>
                  <a:schemeClr val="tx1">
                    <a:lumMod val="75000"/>
                    <a:lumOff val="25000"/>
                  </a:schemeClr>
                </a:solidFill>
              </a:rPr>
              <a:t>No wrong door. Providers in alcohol and drug, mental health and other services have an open door policy for individuals with co-occurring conditions, and make every contact count. Treatment for any of the co-occurring conditions is available through every contact point. </a:t>
            </a:r>
          </a:p>
        </p:txBody>
      </p:sp>
      <p:pic>
        <p:nvPicPr>
          <p:cNvPr id="41986" name="Picture 2" descr="NHS England - Allen Lane">
            <a:extLst>
              <a:ext uri="{FF2B5EF4-FFF2-40B4-BE49-F238E27FC236}">
                <a16:creationId xmlns:a16="http://schemas.microsoft.com/office/drawing/2014/main" id="{2B63C1F5-15DF-DA44-BDF6-C165E3BDDCE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9730" t="32108" r="32103" b="31591"/>
          <a:stretch/>
        </p:blipFill>
        <p:spPr bwMode="auto">
          <a:xfrm>
            <a:off x="9871600" y="2454812"/>
            <a:ext cx="418198" cy="257671"/>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05507F87-9400-2442-BE1F-22A574BCE15F}"/>
              </a:ext>
            </a:extLst>
          </p:cNvPr>
          <p:cNvPicPr>
            <a:picLocks noChangeAspect="1"/>
          </p:cNvPicPr>
          <p:nvPr/>
        </p:nvPicPr>
        <p:blipFill>
          <a:blip r:embed="rId4"/>
          <a:stretch>
            <a:fillRect/>
          </a:stretch>
        </p:blipFill>
        <p:spPr>
          <a:xfrm>
            <a:off x="9504890" y="2298101"/>
            <a:ext cx="405246" cy="257671"/>
          </a:xfrm>
          <a:prstGeom prst="rect">
            <a:avLst/>
          </a:prstGeom>
        </p:spPr>
      </p:pic>
      <p:graphicFrame>
        <p:nvGraphicFramePr>
          <p:cNvPr id="15" name="Table 14">
            <a:extLst>
              <a:ext uri="{FF2B5EF4-FFF2-40B4-BE49-F238E27FC236}">
                <a16:creationId xmlns:a16="http://schemas.microsoft.com/office/drawing/2014/main" id="{A8F242F6-6068-0941-9498-A32635C71FB1}"/>
              </a:ext>
            </a:extLst>
          </p:cNvPr>
          <p:cNvGraphicFramePr>
            <a:graphicFrameLocks noGrp="1"/>
          </p:cNvGraphicFramePr>
          <p:nvPr>
            <p:extLst>
              <p:ext uri="{D42A27DB-BD31-4B8C-83A1-F6EECF244321}">
                <p14:modId xmlns:p14="http://schemas.microsoft.com/office/powerpoint/2010/main" val="3184630733"/>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A"/>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Tree>
    <p:extLst>
      <p:ext uri="{BB962C8B-B14F-4D97-AF65-F5344CB8AC3E}">
        <p14:creationId xmlns:p14="http://schemas.microsoft.com/office/powerpoint/2010/main" val="248904196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22AF2B-CD1C-8742-ABF2-F47A44879B64}"/>
              </a:ext>
            </a:extLst>
          </p:cNvPr>
          <p:cNvSpPr>
            <a:spLocks noGrp="1"/>
          </p:cNvSpPr>
          <p:nvPr>
            <p:ph type="title"/>
          </p:nvPr>
        </p:nvSpPr>
        <p:spPr/>
        <p:txBody>
          <a:bodyPr/>
          <a:lstStyle/>
          <a:p>
            <a:r>
              <a:rPr lang="en-GB"/>
              <a:t>Mental health &amp; Drug and Alcohol</a:t>
            </a:r>
          </a:p>
        </p:txBody>
      </p:sp>
      <p:graphicFrame>
        <p:nvGraphicFramePr>
          <p:cNvPr id="108" name="Table 24">
            <a:extLst>
              <a:ext uri="{FF2B5EF4-FFF2-40B4-BE49-F238E27FC236}">
                <a16:creationId xmlns:a16="http://schemas.microsoft.com/office/drawing/2014/main" id="{9F8761E9-CE1E-FF42-A82E-1D3212585600}"/>
              </a:ext>
            </a:extLst>
          </p:cNvPr>
          <p:cNvGraphicFramePr>
            <a:graphicFrameLocks noGrp="1"/>
          </p:cNvGraphicFramePr>
          <p:nvPr/>
        </p:nvGraphicFramePr>
        <p:xfrm>
          <a:off x="181573" y="946181"/>
          <a:ext cx="11515195" cy="5533278"/>
        </p:xfrm>
        <a:graphic>
          <a:graphicData uri="http://schemas.openxmlformats.org/drawingml/2006/table">
            <a:tbl>
              <a:tblPr/>
              <a:tblGrid>
                <a:gridCol w="967964">
                  <a:extLst>
                    <a:ext uri="{9D8B030D-6E8A-4147-A177-3AD203B41FA5}">
                      <a16:colId xmlns:a16="http://schemas.microsoft.com/office/drawing/2014/main" val="2927554375"/>
                    </a:ext>
                  </a:extLst>
                </a:gridCol>
                <a:gridCol w="10547231">
                  <a:extLst>
                    <a:ext uri="{9D8B030D-6E8A-4147-A177-3AD203B41FA5}">
                      <a16:colId xmlns:a16="http://schemas.microsoft.com/office/drawing/2014/main" val="1597772214"/>
                    </a:ext>
                  </a:extLst>
                </a:gridCol>
              </a:tblGrid>
              <a:tr h="371593">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r>
                        <a:rPr lang="en-GB" sz="1100" b="1">
                          <a:solidFill>
                            <a:srgbClr val="50235B"/>
                          </a:solidFill>
                          <a:latin typeface="Calibri" panose="020F0502020204030204" pitchFamily="34" charset="0"/>
                          <a:cs typeface="Calibri" panose="020F0502020204030204" pitchFamily="34" charset="0"/>
                        </a:rPr>
                        <a:t>Stages</a:t>
                      </a:r>
                    </a:p>
                  </a:txBody>
                  <a:tcPr marL="121920" marR="121920" marT="60960" marB="60960" anchor="ctr">
                    <a:lnL w="12700" cap="flat" cmpd="sng" algn="ctr">
                      <a:solidFill>
                        <a:srgbClr val="FFFFFF">
                          <a:lumMod val="85000"/>
                        </a:srgbClr>
                      </a:solidFill>
                      <a:prstDash val="solid"/>
                      <a:round/>
                      <a:headEnd type="none" w="med" len="med"/>
                      <a:tailEnd type="none" w="med" len="med"/>
                    </a:lnL>
                    <a:lnR w="12700" cap="flat" cmpd="sng" algn="ctr">
                      <a:solidFill>
                        <a:srgbClr val="FFFFFF">
                          <a:lumMod val="85000"/>
                        </a:srgbClr>
                      </a:solidFill>
                      <a:prstDash val="solid"/>
                      <a:round/>
                      <a:headEnd type="none" w="med" len="med"/>
                      <a:tailEnd type="none" w="med" len="med"/>
                    </a:lnR>
                    <a:lnT w="12700" cap="flat" cmpd="sng" algn="ctr">
                      <a:solidFill>
                        <a:srgbClr val="DADADA"/>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endParaRPr lang="en-GB" sz="1200" b="1">
                        <a:solidFill>
                          <a:schemeClr val="bg2"/>
                        </a:solidFill>
                        <a:latin typeface="Calibri" panose="020F0502020204030204" pitchFamily="34" charset="0"/>
                        <a:cs typeface="Calibri" panose="020F0502020204030204" pitchFamily="34" charset="0"/>
                      </a:endParaRPr>
                    </a:p>
                  </a:txBody>
                  <a:tcPr marL="121920" marR="121920" marT="60960" marB="60960">
                    <a:lnL w="12700" cap="flat" cmpd="sng" algn="ctr">
                      <a:solidFill>
                        <a:srgbClr val="FFFFFF">
                          <a:lumMod val="85000"/>
                        </a:srgbClr>
                      </a:solidFill>
                      <a:prstDash val="solid"/>
                      <a:round/>
                      <a:headEnd type="none" w="med" len="med"/>
                      <a:tailEnd type="none" w="med" len="med"/>
                    </a:lnL>
                    <a:lnR w="12700" cap="flat" cmpd="sng" algn="ctr">
                      <a:solidFill>
                        <a:srgbClr val="FFFFFF">
                          <a:lumMod val="85000"/>
                        </a:srgbClr>
                      </a:solidFill>
                      <a:prstDash val="solid"/>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423482"/>
                  </a:ext>
                </a:extLst>
              </a:tr>
              <a:tr h="494697">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r>
                        <a:rPr lang="en-GB" sz="1100" b="1">
                          <a:solidFill>
                            <a:srgbClr val="50235B"/>
                          </a:solidFill>
                          <a:latin typeface="Calibri" panose="020F0502020204030204" pitchFamily="34" charset="0"/>
                          <a:cs typeface="Calibri" panose="020F0502020204030204" pitchFamily="34" charset="0"/>
                        </a:rPr>
                        <a:t>Information Sharing</a:t>
                      </a:r>
                    </a:p>
                  </a:txBody>
                  <a:tcPr marL="121920" marR="121920" marT="60960" marB="60960" anchor="ctr">
                    <a:lnL w="12700" cap="flat" cmpd="sng" algn="ctr">
                      <a:solidFill>
                        <a:srgbClr val="FFFFFF">
                          <a:lumMod val="85000"/>
                        </a:srgbClr>
                      </a:solidFill>
                      <a:prstDash val="solid"/>
                      <a:round/>
                      <a:headEnd type="none" w="med" len="med"/>
                      <a:tailEnd type="none" w="med" len="med"/>
                    </a:lnL>
                    <a:lnR w="12700" cap="flat" cmpd="sng" algn="ctr">
                      <a:solidFill>
                        <a:srgbClr val="FFFFFF">
                          <a:lumMod val="8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endParaRPr lang="en-GB" sz="1200" b="1">
                        <a:solidFill>
                          <a:schemeClr val="bg2"/>
                        </a:solidFill>
                        <a:latin typeface="Calibri" panose="020F0502020204030204" pitchFamily="34" charset="0"/>
                        <a:cs typeface="Calibri" panose="020F0502020204030204" pitchFamily="34" charset="0"/>
                      </a:endParaRPr>
                    </a:p>
                  </a:txBody>
                  <a:tcPr marL="121920" marR="121920" marT="60960" marB="60960">
                    <a:lnL w="12700" cap="flat" cmpd="sng" algn="ctr">
                      <a:solidFill>
                        <a:srgbClr val="FFFFFF">
                          <a:lumMod val="85000"/>
                        </a:srgbClr>
                      </a:solidFill>
                      <a:prstDash val="solid"/>
                      <a:round/>
                      <a:headEnd type="none" w="med" len="med"/>
                      <a:tailEnd type="none" w="med" len="med"/>
                    </a:lnL>
                    <a:lnR w="12700" cap="flat" cmpd="sng" algn="ctr">
                      <a:solidFill>
                        <a:srgbClr val="FFFFFF">
                          <a:lumMod val="85000"/>
                        </a:srgbClr>
                      </a:solidFill>
                      <a:prstDash val="solid"/>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7430533"/>
                  </a:ext>
                </a:extLst>
              </a:tr>
              <a:tr h="2333494">
                <a:tc rowSpan="2">
                  <a:txBody>
                    <a:bodyPr/>
                    <a:lstStyle>
                      <a:lvl1pPr marL="0"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1pPr>
                      <a:lvl2pPr marL="457051"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2pPr>
                      <a:lvl3pPr marL="914103"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3pPr>
                      <a:lvl4pPr marL="1371154"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4pPr>
                      <a:lvl5pPr marL="1828206"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5pPr>
                      <a:lvl6pPr marL="2285257"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6pPr>
                      <a:lvl7pPr marL="2742308"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7pPr>
                      <a:lvl8pPr marL="3199360"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8pPr>
                      <a:lvl9pPr marL="3656411"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9pPr>
                    </a:lstStyle>
                    <a:p>
                      <a:pPr marL="0" marR="0" algn="l" defTabSz="914103" rtl="0" eaLnBrk="1" latinLnBrk="0" hangingPunct="1">
                        <a:lnSpc>
                          <a:spcPct val="100000"/>
                        </a:lnSpc>
                        <a:spcBef>
                          <a:spcPts val="0"/>
                        </a:spcBef>
                        <a:spcAft>
                          <a:spcPts val="0"/>
                        </a:spcAft>
                        <a:buClr>
                          <a:srgbClr val="000000"/>
                        </a:buClr>
                        <a:buFont typeface="Arial"/>
                      </a:pPr>
                      <a:r>
                        <a:rPr lang="en-GB" sz="1100" b="1" i="0" u="none" strike="noStrike" kern="1200" cap="none">
                          <a:solidFill>
                            <a:srgbClr val="50235B"/>
                          </a:solidFill>
                          <a:latin typeface="Calibri" panose="020F0502020204030204" pitchFamily="34" charset="0"/>
                          <a:ea typeface="+mn-ea"/>
                          <a:cs typeface="Calibri" panose="020F0502020204030204" pitchFamily="34" charset="0"/>
                          <a:sym typeface="Arial"/>
                        </a:rPr>
                        <a:t>Patient experience</a:t>
                      </a:r>
                    </a:p>
                  </a:txBody>
                  <a:tcPr marL="121920" marR="121920" marT="60960" marB="60960" anchor="ctr">
                    <a:lnL w="12700" cap="flat" cmpd="sng" algn="ctr">
                      <a:solidFill>
                        <a:srgbClr val="FFFFFF">
                          <a:lumMod val="85000"/>
                        </a:srgbClr>
                      </a:solidFill>
                      <a:prstDash val="solid"/>
                      <a:round/>
                      <a:headEnd type="none" w="med" len="med"/>
                      <a:tailEnd type="none" w="med" len="med"/>
                    </a:lnL>
                    <a:lnR w="12700" cap="flat" cmpd="sng" algn="ctr">
                      <a:solidFill>
                        <a:srgbClr val="FFFFFF">
                          <a:lumMod val="8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1pPr>
                      <a:lvl2pPr marL="457051"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2pPr>
                      <a:lvl3pPr marL="914103"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3pPr>
                      <a:lvl4pPr marL="1371154"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4pPr>
                      <a:lvl5pPr marL="1828206"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5pPr>
                      <a:lvl6pPr marL="2285257"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6pPr>
                      <a:lvl7pPr marL="2742308"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7pPr>
                      <a:lvl8pPr marL="3199360"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8pPr>
                      <a:lvl9pPr marL="3656411"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9pPr>
                    </a:lstStyle>
                    <a:p>
                      <a:pPr>
                        <a:spcBef>
                          <a:spcPts val="0"/>
                        </a:spcBef>
                        <a:spcAft>
                          <a:spcPts val="0"/>
                        </a:spcAft>
                      </a:pPr>
                      <a:r>
                        <a:rPr lang="en-GB" sz="1200" b="1">
                          <a:solidFill>
                            <a:schemeClr val="bg1">
                              <a:lumMod val="50000"/>
                            </a:schemeClr>
                          </a:solidFill>
                          <a:latin typeface="Calibri" panose="020F0502020204030204" pitchFamily="34" charset="0"/>
                          <a:cs typeface="Calibri" panose="020F0502020204030204" pitchFamily="34" charset="0"/>
                        </a:rPr>
                        <a:t>Mental health services</a:t>
                      </a:r>
                    </a:p>
                    <a:p>
                      <a:pPr>
                        <a:spcBef>
                          <a:spcPts val="0"/>
                        </a:spcBef>
                        <a:spcAft>
                          <a:spcPts val="0"/>
                        </a:spcAft>
                      </a:pPr>
                      <a:endParaRPr lang="en-GB" sz="500" b="1">
                        <a:solidFill>
                          <a:schemeClr val="bg1">
                            <a:lumMod val="50000"/>
                          </a:schemeClr>
                        </a:solidFill>
                        <a:latin typeface="Calibri" panose="020F0502020204030204" pitchFamily="34" charset="0"/>
                        <a:cs typeface="Calibri" panose="020F0502020204030204" pitchFamily="34" charset="0"/>
                      </a:endParaRPr>
                    </a:p>
                  </a:txBody>
                  <a:tcPr marL="121920" marR="121920" marT="60960" marB="60960" anchor="b">
                    <a:lnL w="12700" cap="flat" cmpd="sng" algn="ctr">
                      <a:solidFill>
                        <a:srgbClr val="FFFFFF">
                          <a:lumMod val="85000"/>
                        </a:srgbClr>
                      </a:solidFill>
                      <a:prstDash val="solid"/>
                      <a:round/>
                      <a:headEnd type="none" w="med" len="med"/>
                      <a:tailEnd type="none" w="med" len="med"/>
                    </a:lnL>
                    <a:lnR w="12700" cap="flat" cmpd="sng" algn="ctr">
                      <a:solidFill>
                        <a:srgbClr val="FFFFFF">
                          <a:lumMod val="85000"/>
                        </a:srgbClr>
                      </a:solidFill>
                      <a:prstDash val="solid"/>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chemeClr val="bg1">
                          <a:lumMod val="50000"/>
                        </a:schemeClr>
                      </a:solidFill>
                      <a:prstDash val="lg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85016580"/>
                  </a:ext>
                </a:extLst>
              </a:tr>
              <a:tr h="2333494">
                <a:tc vMerge="1">
                  <a:txBody>
                    <a:bodyPr/>
                    <a:lstStyle/>
                    <a:p>
                      <a:endParaRPr lang="en-GB"/>
                    </a:p>
                  </a:txBody>
                  <a:tcPr/>
                </a:tc>
                <a:tc>
                  <a:txBody>
                    <a:bodyPr/>
                    <a:lstStyle/>
                    <a:p>
                      <a:pPr marL="0" marR="0" algn="l" defTabSz="914103" rtl="0" eaLnBrk="1" latinLnBrk="0" hangingPunct="1">
                        <a:lnSpc>
                          <a:spcPct val="100000"/>
                        </a:lnSpc>
                        <a:spcBef>
                          <a:spcPts val="0"/>
                        </a:spcBef>
                        <a:spcAft>
                          <a:spcPts val="0"/>
                        </a:spcAft>
                        <a:buClr>
                          <a:srgbClr val="000000"/>
                        </a:buClr>
                        <a:buFont typeface="Arial"/>
                      </a:pPr>
                      <a:endParaRPr lang="en-GB" sz="500" b="1" i="0" u="none" strike="noStrike" kern="1200" cap="none">
                        <a:solidFill>
                          <a:schemeClr val="bg1">
                            <a:lumMod val="50000"/>
                          </a:schemeClr>
                        </a:solidFill>
                        <a:latin typeface="Calibri" panose="020F0502020204030204" pitchFamily="34" charset="0"/>
                        <a:ea typeface="+mn-ea"/>
                        <a:cs typeface="Calibri" panose="020F0502020204030204" pitchFamily="34" charset="0"/>
                        <a:sym typeface="Arial"/>
                      </a:endParaRPr>
                    </a:p>
                    <a:p>
                      <a:pPr marL="0" marR="0" algn="l" defTabSz="914103" rtl="0" eaLnBrk="1" latinLnBrk="0" hangingPunct="1">
                        <a:lnSpc>
                          <a:spcPct val="100000"/>
                        </a:lnSpc>
                        <a:spcBef>
                          <a:spcPts val="0"/>
                        </a:spcBef>
                        <a:spcAft>
                          <a:spcPts val="0"/>
                        </a:spcAft>
                        <a:buClr>
                          <a:srgbClr val="000000"/>
                        </a:buClr>
                        <a:buFont typeface="Arial"/>
                      </a:pPr>
                      <a:r>
                        <a:rPr lang="en-GB" sz="1200" b="1" i="0" u="none" strike="noStrike" kern="1200" cap="none">
                          <a:solidFill>
                            <a:schemeClr val="bg1">
                              <a:lumMod val="50000"/>
                            </a:schemeClr>
                          </a:solidFill>
                          <a:latin typeface="Calibri" panose="020F0502020204030204" pitchFamily="34" charset="0"/>
                          <a:ea typeface="+mn-ea"/>
                          <a:cs typeface="Calibri" panose="020F0502020204030204" pitchFamily="34" charset="0"/>
                          <a:sym typeface="Arial"/>
                        </a:rPr>
                        <a:t>Drug and alcohol services</a:t>
                      </a:r>
                    </a:p>
                  </a:txBody>
                  <a:tcPr marL="121920" marR="121920" marT="60960" marB="60960">
                    <a:lnL w="12700" cap="flat" cmpd="sng" algn="ctr">
                      <a:solidFill>
                        <a:srgbClr val="FFFFFF">
                          <a:lumMod val="85000"/>
                        </a:srgbClr>
                      </a:solidFill>
                      <a:prstDash val="solid"/>
                      <a:round/>
                      <a:headEnd type="none" w="med" len="med"/>
                      <a:tailEnd type="none" w="med" len="med"/>
                    </a:lnL>
                    <a:lnR w="12700" cap="flat" cmpd="sng" algn="ctr">
                      <a:solidFill>
                        <a:srgbClr val="FFFFFF">
                          <a:lumMod val="85000"/>
                        </a:srgbClr>
                      </a:solidFill>
                      <a:prstDash val="solid"/>
                      <a:round/>
                      <a:headEnd type="none" w="med" len="med"/>
                      <a:tailEnd type="none" w="med" len="med"/>
                    </a:lnR>
                    <a:lnT w="12700" cap="flat" cmpd="sng" algn="ctr">
                      <a:solidFill>
                        <a:schemeClr val="bg1">
                          <a:lumMod val="50000"/>
                        </a:schemeClr>
                      </a:solidFill>
                      <a:prstDash val="lg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05813956"/>
                  </a:ext>
                </a:extLst>
              </a:tr>
            </a:tbl>
          </a:graphicData>
        </a:graphic>
      </p:graphicFrame>
      <p:sp>
        <p:nvSpPr>
          <p:cNvPr id="112" name="Pentagon 111">
            <a:extLst>
              <a:ext uri="{FF2B5EF4-FFF2-40B4-BE49-F238E27FC236}">
                <a16:creationId xmlns:a16="http://schemas.microsoft.com/office/drawing/2014/main" id="{D43C51F4-8170-FC48-8329-D0B64EBAB929}"/>
              </a:ext>
            </a:extLst>
          </p:cNvPr>
          <p:cNvSpPr/>
          <p:nvPr/>
        </p:nvSpPr>
        <p:spPr>
          <a:xfrm>
            <a:off x="10125077" y="952027"/>
            <a:ext cx="1571691" cy="360000"/>
          </a:xfrm>
          <a:prstGeom prst="homePlate">
            <a:avLst/>
          </a:prstGeom>
          <a:solidFill>
            <a:srgbClr val="5B9BD5">
              <a:lumMod val="60000"/>
              <a:lumOff val="40000"/>
            </a:srgbClr>
          </a:solidFill>
          <a:ln w="12700" cap="flat" cmpd="sng" algn="ctr">
            <a:noFill/>
            <a:prstDash val="solid"/>
            <a:miter lim="800000"/>
          </a:ln>
          <a:effectLst/>
        </p:spPr>
        <p:txBody>
          <a:bodyPr rtlCol="0" anchor="ctr"/>
          <a:lstStyle/>
          <a:p>
            <a:pPr algn="ctr" defTabSz="1219140">
              <a:defRPr/>
            </a:pPr>
            <a:r>
              <a:rPr lang="en-GB" sz="1067" b="1" kern="0">
                <a:solidFill>
                  <a:srgbClr val="FFFFFF"/>
                </a:solidFill>
                <a:latin typeface="Calibri" panose="020F0502020204030204" pitchFamily="34" charset="0"/>
                <a:cs typeface="Calibri" panose="020F0502020204030204" pitchFamily="34" charset="0"/>
              </a:rPr>
              <a:t>Discharge</a:t>
            </a:r>
          </a:p>
        </p:txBody>
      </p:sp>
      <p:sp>
        <p:nvSpPr>
          <p:cNvPr id="113" name="Pentagon 112">
            <a:extLst>
              <a:ext uri="{FF2B5EF4-FFF2-40B4-BE49-F238E27FC236}">
                <a16:creationId xmlns:a16="http://schemas.microsoft.com/office/drawing/2014/main" id="{58131F6E-5B8D-964E-92D6-43BC1995C8AA}"/>
              </a:ext>
            </a:extLst>
          </p:cNvPr>
          <p:cNvSpPr/>
          <p:nvPr/>
        </p:nvSpPr>
        <p:spPr>
          <a:xfrm>
            <a:off x="7256206" y="952027"/>
            <a:ext cx="3060125" cy="360000"/>
          </a:xfrm>
          <a:prstGeom prst="homePlate">
            <a:avLst/>
          </a:prstGeom>
          <a:solidFill>
            <a:srgbClr val="5B9BD5">
              <a:lumMod val="75000"/>
            </a:srgbClr>
          </a:solidFill>
          <a:ln w="12700" cap="flat" cmpd="sng" algn="ctr">
            <a:noFill/>
            <a:prstDash val="solid"/>
            <a:miter lim="800000"/>
          </a:ln>
          <a:effectLst/>
        </p:spPr>
        <p:txBody>
          <a:bodyPr rtlCol="0" anchor="ctr"/>
          <a:lstStyle/>
          <a:p>
            <a:pPr algn="ctr" defTabSz="1219140">
              <a:defRPr/>
            </a:pPr>
            <a:r>
              <a:rPr lang="en-GB" sz="1067" b="1" kern="0">
                <a:solidFill>
                  <a:srgbClr val="FFFFFF"/>
                </a:solidFill>
                <a:latin typeface="Calibri" panose="020F0502020204030204" pitchFamily="34" charset="0"/>
                <a:cs typeface="Calibri" panose="020F0502020204030204" pitchFamily="34" charset="0"/>
              </a:rPr>
              <a:t>Treatment</a:t>
            </a:r>
          </a:p>
        </p:txBody>
      </p:sp>
      <p:sp>
        <p:nvSpPr>
          <p:cNvPr id="114" name="Pentagon 113">
            <a:extLst>
              <a:ext uri="{FF2B5EF4-FFF2-40B4-BE49-F238E27FC236}">
                <a16:creationId xmlns:a16="http://schemas.microsoft.com/office/drawing/2014/main" id="{F784E44E-1BF3-C646-918B-43C4D64E7BDB}"/>
              </a:ext>
            </a:extLst>
          </p:cNvPr>
          <p:cNvSpPr/>
          <p:nvPr/>
        </p:nvSpPr>
        <p:spPr>
          <a:xfrm>
            <a:off x="3872187" y="952027"/>
            <a:ext cx="3567360" cy="360000"/>
          </a:xfrm>
          <a:prstGeom prst="homePlate">
            <a:avLst/>
          </a:prstGeom>
          <a:solidFill>
            <a:srgbClr val="5B9BD5">
              <a:lumMod val="50000"/>
            </a:srgbClr>
          </a:solidFill>
          <a:ln w="12700" cap="flat" cmpd="sng" algn="ctr">
            <a:noFill/>
            <a:prstDash val="solid"/>
            <a:miter lim="800000"/>
          </a:ln>
          <a:effectLst/>
        </p:spPr>
        <p:txBody>
          <a:bodyPr rtlCol="0" anchor="ctr"/>
          <a:lstStyle/>
          <a:p>
            <a:pPr algn="ctr" defTabSz="1219140">
              <a:defRPr/>
            </a:pPr>
            <a:r>
              <a:rPr lang="en-GB" sz="1067" b="1" kern="0">
                <a:solidFill>
                  <a:srgbClr val="FFFFFF"/>
                </a:solidFill>
                <a:latin typeface="Calibri" panose="020F0502020204030204" pitchFamily="34" charset="0"/>
                <a:cs typeface="Calibri" panose="020F0502020204030204" pitchFamily="34" charset="0"/>
              </a:rPr>
              <a:t>Diagnostics</a:t>
            </a:r>
          </a:p>
        </p:txBody>
      </p:sp>
      <p:sp>
        <p:nvSpPr>
          <p:cNvPr id="115" name="Pentagon 114">
            <a:extLst>
              <a:ext uri="{FF2B5EF4-FFF2-40B4-BE49-F238E27FC236}">
                <a16:creationId xmlns:a16="http://schemas.microsoft.com/office/drawing/2014/main" id="{0A0C8264-0F07-034A-955C-2EC0B7E08601}"/>
              </a:ext>
            </a:extLst>
          </p:cNvPr>
          <p:cNvSpPr/>
          <p:nvPr/>
        </p:nvSpPr>
        <p:spPr>
          <a:xfrm>
            <a:off x="1158462" y="952027"/>
            <a:ext cx="2961655" cy="360000"/>
          </a:xfrm>
          <a:prstGeom prst="homePlate">
            <a:avLst/>
          </a:prstGeom>
          <a:solidFill>
            <a:srgbClr val="002060"/>
          </a:solidFill>
          <a:ln w="12700" cap="flat" cmpd="sng" algn="ctr">
            <a:noFill/>
            <a:prstDash val="solid"/>
            <a:miter lim="800000"/>
          </a:ln>
          <a:effectLst/>
        </p:spPr>
        <p:txBody>
          <a:bodyPr rtlCol="0" anchor="ctr"/>
          <a:lstStyle/>
          <a:p>
            <a:pPr algn="ctr" defTabSz="1219140">
              <a:defRPr/>
            </a:pPr>
            <a:r>
              <a:rPr lang="en-GB" sz="1067" b="1" kern="0">
                <a:solidFill>
                  <a:srgbClr val="FFFFFF"/>
                </a:solidFill>
                <a:latin typeface="Calibri" panose="020F0502020204030204" pitchFamily="34" charset="0"/>
                <a:cs typeface="Calibri" panose="020F0502020204030204" pitchFamily="34" charset="0"/>
              </a:rPr>
              <a:t>Recognition</a:t>
            </a:r>
          </a:p>
        </p:txBody>
      </p:sp>
      <p:cxnSp>
        <p:nvCxnSpPr>
          <p:cNvPr id="208" name="Curved Connector 207">
            <a:extLst>
              <a:ext uri="{FF2B5EF4-FFF2-40B4-BE49-F238E27FC236}">
                <a16:creationId xmlns:a16="http://schemas.microsoft.com/office/drawing/2014/main" id="{D1B346B2-8C04-1E41-923E-716D25688D08}"/>
              </a:ext>
            </a:extLst>
          </p:cNvPr>
          <p:cNvCxnSpPr>
            <a:cxnSpLocks/>
            <a:stCxn id="34" idx="3"/>
            <a:endCxn id="27" idx="1"/>
          </p:cNvCxnSpPr>
          <p:nvPr/>
        </p:nvCxnSpPr>
        <p:spPr>
          <a:xfrm flipV="1">
            <a:off x="4243221" y="2624217"/>
            <a:ext cx="1571749" cy="2546026"/>
          </a:xfrm>
          <a:prstGeom prst="curvedConnector3">
            <a:avLst>
              <a:gd name="adj1" fmla="val 50000"/>
            </a:avLst>
          </a:prstGeom>
          <a:noFill/>
          <a:ln w="57150" cap="flat" cmpd="sng" algn="ctr">
            <a:gradFill>
              <a:gsLst>
                <a:gs pos="100000">
                  <a:srgbClr val="FF0000">
                    <a:alpha val="40555"/>
                  </a:srgbClr>
                </a:gs>
                <a:gs pos="0">
                  <a:srgbClr val="ED7D31">
                    <a:lumMod val="40000"/>
                    <a:lumOff val="60000"/>
                  </a:srgbClr>
                </a:gs>
                <a:gs pos="100000">
                  <a:srgbClr val="ED7D31">
                    <a:lumMod val="60000"/>
                    <a:lumOff val="40000"/>
                  </a:srgbClr>
                </a:gs>
              </a:gsLst>
              <a:lin ang="10800000" scaled="0"/>
            </a:gradFill>
            <a:prstDash val="solid"/>
          </a:ln>
          <a:effectLst/>
        </p:spPr>
      </p:cxnSp>
      <p:cxnSp>
        <p:nvCxnSpPr>
          <p:cNvPr id="209" name="Curved Connector 208">
            <a:extLst>
              <a:ext uri="{FF2B5EF4-FFF2-40B4-BE49-F238E27FC236}">
                <a16:creationId xmlns:a16="http://schemas.microsoft.com/office/drawing/2014/main" id="{96008573-8672-9D47-92D3-1BC3A30FC5CC}"/>
              </a:ext>
            </a:extLst>
          </p:cNvPr>
          <p:cNvCxnSpPr>
            <a:cxnSpLocks/>
            <a:stCxn id="22" idx="1"/>
            <a:endCxn id="15" idx="3"/>
          </p:cNvCxnSpPr>
          <p:nvPr/>
        </p:nvCxnSpPr>
        <p:spPr>
          <a:xfrm rot="10800000">
            <a:off x="2494445" y="2617073"/>
            <a:ext cx="1501472" cy="7145"/>
          </a:xfrm>
          <a:prstGeom prst="curvedConnector3">
            <a:avLst>
              <a:gd name="adj1" fmla="val 50000"/>
            </a:avLst>
          </a:prstGeom>
          <a:noFill/>
          <a:ln w="57150" cap="flat" cmpd="sng" algn="ctr">
            <a:gradFill>
              <a:gsLst>
                <a:gs pos="0">
                  <a:srgbClr val="ED7D31">
                    <a:lumMod val="40000"/>
                    <a:lumOff val="60000"/>
                  </a:srgbClr>
                </a:gs>
                <a:gs pos="100000">
                  <a:srgbClr val="ED7D31">
                    <a:lumMod val="60000"/>
                    <a:lumOff val="40000"/>
                  </a:srgbClr>
                </a:gs>
              </a:gsLst>
              <a:lin ang="10800000" scaled="0"/>
            </a:gradFill>
            <a:prstDash val="solid"/>
          </a:ln>
          <a:effectLst/>
        </p:spPr>
      </p:cxnSp>
      <p:pic>
        <p:nvPicPr>
          <p:cNvPr id="4" name="Graphic 3" descr="User with solid fill">
            <a:extLst>
              <a:ext uri="{FF2B5EF4-FFF2-40B4-BE49-F238E27FC236}">
                <a16:creationId xmlns:a16="http://schemas.microsoft.com/office/drawing/2014/main" id="{76506758-FF18-ED42-8730-04C704570FC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46045" y="5048730"/>
            <a:ext cx="248400" cy="248400"/>
          </a:xfrm>
          <a:prstGeom prst="rect">
            <a:avLst/>
          </a:prstGeom>
        </p:spPr>
      </p:pic>
      <p:sp>
        <p:nvSpPr>
          <p:cNvPr id="14" name="TextBox 13">
            <a:extLst>
              <a:ext uri="{FF2B5EF4-FFF2-40B4-BE49-F238E27FC236}">
                <a16:creationId xmlns:a16="http://schemas.microsoft.com/office/drawing/2014/main" id="{F9444F0C-A3EE-DC4E-A7A4-C49E04BB233B}"/>
              </a:ext>
            </a:extLst>
          </p:cNvPr>
          <p:cNvSpPr txBox="1"/>
          <p:nvPr/>
        </p:nvSpPr>
        <p:spPr>
          <a:xfrm>
            <a:off x="1834124" y="5294443"/>
            <a:ext cx="1105721" cy="630942"/>
          </a:xfrm>
          <a:prstGeom prst="rect">
            <a:avLst/>
          </a:prstGeom>
          <a:noFill/>
          <a:ln>
            <a:noFill/>
          </a:ln>
        </p:spPr>
        <p:txBody>
          <a:bodyPr wrap="square" rtlCol="0">
            <a:spAutoFit/>
          </a:bodyPr>
          <a:lstStyle/>
          <a:p>
            <a:pPr defTabSz="914377"/>
            <a:r>
              <a:rPr lang="en-US" sz="700" b="1">
                <a:solidFill>
                  <a:schemeClr val="tx1">
                    <a:lumMod val="65000"/>
                    <a:lumOff val="35000"/>
                  </a:schemeClr>
                </a:solidFill>
                <a:latin typeface="Calibri" panose="020F0502020204030204" pitchFamily="34" charset="0"/>
                <a:cs typeface="Calibri" panose="020F0502020204030204" pitchFamily="34" charset="0"/>
              </a:rPr>
              <a:t>Service user with alcohol dependence goes into alcohol treatment services for addiction support</a:t>
            </a:r>
            <a:endParaRPr lang="en-GB" sz="700" b="1">
              <a:solidFill>
                <a:schemeClr val="tx1">
                  <a:lumMod val="65000"/>
                  <a:lumOff val="35000"/>
                </a:schemeClr>
              </a:solidFill>
              <a:latin typeface="Calibri" panose="020F0502020204030204" pitchFamily="34" charset="0"/>
              <a:cs typeface="Calibri" panose="020F0502020204030204" pitchFamily="34" charset="0"/>
            </a:endParaRPr>
          </a:p>
        </p:txBody>
      </p:sp>
      <p:pic>
        <p:nvPicPr>
          <p:cNvPr id="15" name="Graphic 14" descr="User with solid fill">
            <a:extLst>
              <a:ext uri="{FF2B5EF4-FFF2-40B4-BE49-F238E27FC236}">
                <a16:creationId xmlns:a16="http://schemas.microsoft.com/office/drawing/2014/main" id="{CE6776E5-BF54-CC4F-AA88-3DD3C972E28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46045" y="2492872"/>
            <a:ext cx="248400" cy="248400"/>
          </a:xfrm>
          <a:prstGeom prst="rect">
            <a:avLst/>
          </a:prstGeom>
        </p:spPr>
      </p:pic>
      <p:sp>
        <p:nvSpPr>
          <p:cNvPr id="16" name="TextBox 15">
            <a:extLst>
              <a:ext uri="{FF2B5EF4-FFF2-40B4-BE49-F238E27FC236}">
                <a16:creationId xmlns:a16="http://schemas.microsoft.com/office/drawing/2014/main" id="{624C2648-2DDD-3D4D-8E5C-DF28EA5A9A4E}"/>
              </a:ext>
            </a:extLst>
          </p:cNvPr>
          <p:cNvSpPr txBox="1"/>
          <p:nvPr/>
        </p:nvSpPr>
        <p:spPr>
          <a:xfrm>
            <a:off x="1834124" y="2748417"/>
            <a:ext cx="1105721" cy="630942"/>
          </a:xfrm>
          <a:prstGeom prst="rect">
            <a:avLst/>
          </a:prstGeom>
          <a:noFill/>
          <a:ln>
            <a:noFill/>
          </a:ln>
        </p:spPr>
        <p:txBody>
          <a:bodyPr wrap="square" rtlCol="0">
            <a:spAutoFit/>
          </a:bodyPr>
          <a:lstStyle/>
          <a:p>
            <a:pPr defTabSz="914377"/>
            <a:r>
              <a:rPr lang="en-US" sz="700" b="1">
                <a:solidFill>
                  <a:schemeClr val="tx1">
                    <a:lumMod val="65000"/>
                    <a:lumOff val="35000"/>
                  </a:schemeClr>
                </a:solidFill>
                <a:latin typeface="Calibri" panose="020F0502020204030204" pitchFamily="34" charset="0"/>
                <a:cs typeface="Calibri" panose="020F0502020204030204" pitchFamily="34" charset="0"/>
              </a:rPr>
              <a:t>Service user with alcohol dependence goes into mental health services for support with depression</a:t>
            </a:r>
            <a:endParaRPr lang="en-GB" sz="700" b="1">
              <a:solidFill>
                <a:schemeClr val="tx1">
                  <a:lumMod val="65000"/>
                  <a:lumOff val="35000"/>
                </a:schemeClr>
              </a:solidFill>
              <a:latin typeface="Calibri" panose="020F0502020204030204" pitchFamily="34" charset="0"/>
              <a:cs typeface="Calibri" panose="020F0502020204030204" pitchFamily="34" charset="0"/>
            </a:endParaRPr>
          </a:p>
        </p:txBody>
      </p:sp>
      <p:pic>
        <p:nvPicPr>
          <p:cNvPr id="22" name="Graphic 21" descr="Clipboard Ticked with solid fill">
            <a:extLst>
              <a:ext uri="{FF2B5EF4-FFF2-40B4-BE49-F238E27FC236}">
                <a16:creationId xmlns:a16="http://schemas.microsoft.com/office/drawing/2014/main" id="{80DB2824-D914-4241-A0F1-F09FF649D80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995917" y="2500017"/>
            <a:ext cx="248400" cy="248400"/>
          </a:xfrm>
          <a:prstGeom prst="rect">
            <a:avLst/>
          </a:prstGeom>
        </p:spPr>
      </p:pic>
      <p:sp>
        <p:nvSpPr>
          <p:cNvPr id="24" name="TextBox 23">
            <a:extLst>
              <a:ext uri="{FF2B5EF4-FFF2-40B4-BE49-F238E27FC236}">
                <a16:creationId xmlns:a16="http://schemas.microsoft.com/office/drawing/2014/main" id="{C39E927A-ADEC-654E-8961-3509EA829314}"/>
              </a:ext>
            </a:extLst>
          </p:cNvPr>
          <p:cNvSpPr txBox="1"/>
          <p:nvPr/>
        </p:nvSpPr>
        <p:spPr>
          <a:xfrm>
            <a:off x="3563962" y="2748417"/>
            <a:ext cx="1105721" cy="846386"/>
          </a:xfrm>
          <a:prstGeom prst="rect">
            <a:avLst/>
          </a:prstGeom>
          <a:noFill/>
          <a:ln>
            <a:noFill/>
          </a:ln>
        </p:spPr>
        <p:txBody>
          <a:bodyPr wrap="square" rtlCol="0">
            <a:spAutoFit/>
          </a:bodyPr>
          <a:lstStyle/>
          <a:p>
            <a:pPr defTabSz="914377"/>
            <a:r>
              <a:rPr lang="en-US" sz="700" b="1">
                <a:solidFill>
                  <a:schemeClr val="tx1">
                    <a:lumMod val="65000"/>
                    <a:lumOff val="35000"/>
                  </a:schemeClr>
                </a:solidFill>
                <a:latin typeface="Calibri" panose="020F0502020204030204" pitchFamily="34" charset="0"/>
                <a:cs typeface="Calibri" panose="020F0502020204030204" pitchFamily="34" charset="0"/>
              </a:rPr>
              <a:t>Triage conducted by primary care to determine user needs. User is told they need to address alcohol dependency prior to being referred into IAPT</a:t>
            </a:r>
            <a:endParaRPr lang="en-GB" sz="700" b="1">
              <a:solidFill>
                <a:schemeClr val="tx1">
                  <a:lumMod val="65000"/>
                  <a:lumOff val="35000"/>
                </a:schemeClr>
              </a:solidFill>
              <a:latin typeface="Calibri" panose="020F0502020204030204" pitchFamily="34" charset="0"/>
              <a:cs typeface="Calibri" panose="020F0502020204030204" pitchFamily="34" charset="0"/>
            </a:endParaRPr>
          </a:p>
        </p:txBody>
      </p:sp>
      <p:sp>
        <p:nvSpPr>
          <p:cNvPr id="26" name="TextBox 25">
            <a:extLst>
              <a:ext uri="{FF2B5EF4-FFF2-40B4-BE49-F238E27FC236}">
                <a16:creationId xmlns:a16="http://schemas.microsoft.com/office/drawing/2014/main" id="{5D52911A-61F6-0649-AD47-16EB0E87A294}"/>
              </a:ext>
            </a:extLst>
          </p:cNvPr>
          <p:cNvSpPr txBox="1"/>
          <p:nvPr/>
        </p:nvSpPr>
        <p:spPr>
          <a:xfrm>
            <a:off x="3562238" y="5302463"/>
            <a:ext cx="1105721" cy="846386"/>
          </a:xfrm>
          <a:prstGeom prst="rect">
            <a:avLst/>
          </a:prstGeom>
          <a:noFill/>
          <a:ln>
            <a:noFill/>
          </a:ln>
        </p:spPr>
        <p:txBody>
          <a:bodyPr wrap="square" rtlCol="0">
            <a:spAutoFit/>
          </a:bodyPr>
          <a:lstStyle/>
          <a:p>
            <a:pPr defTabSz="914377"/>
            <a:r>
              <a:rPr lang="en-US" sz="700" b="1">
                <a:solidFill>
                  <a:schemeClr val="tx1">
                    <a:lumMod val="65000"/>
                    <a:lumOff val="35000"/>
                  </a:schemeClr>
                </a:solidFill>
                <a:latin typeface="Calibri" panose="020F0502020204030204" pitchFamily="34" charset="0"/>
                <a:cs typeface="Calibri" panose="020F0502020204030204" pitchFamily="34" charset="0"/>
              </a:rPr>
              <a:t>Service user is assessed by D&amp;A services and appears to be suffering from depression and is referred to mental health services for support</a:t>
            </a:r>
            <a:endParaRPr lang="en-GB" sz="700" b="1">
              <a:solidFill>
                <a:schemeClr val="tx1">
                  <a:lumMod val="65000"/>
                  <a:lumOff val="35000"/>
                </a:schemeClr>
              </a:solidFill>
              <a:latin typeface="Calibri" panose="020F0502020204030204" pitchFamily="34" charset="0"/>
              <a:cs typeface="Calibri" panose="020F0502020204030204" pitchFamily="34" charset="0"/>
            </a:endParaRPr>
          </a:p>
        </p:txBody>
      </p:sp>
      <p:pic>
        <p:nvPicPr>
          <p:cNvPr id="27" name="Graphic 26" descr="Hospital with solid fill">
            <a:extLst>
              <a:ext uri="{FF2B5EF4-FFF2-40B4-BE49-F238E27FC236}">
                <a16:creationId xmlns:a16="http://schemas.microsoft.com/office/drawing/2014/main" id="{7064080E-DF47-9A4C-A00D-B66A46EC235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814970" y="2500017"/>
            <a:ext cx="248400" cy="248400"/>
          </a:xfrm>
          <a:prstGeom prst="rect">
            <a:avLst/>
          </a:prstGeom>
        </p:spPr>
      </p:pic>
      <p:sp>
        <p:nvSpPr>
          <p:cNvPr id="28" name="TextBox 27">
            <a:extLst>
              <a:ext uri="{FF2B5EF4-FFF2-40B4-BE49-F238E27FC236}">
                <a16:creationId xmlns:a16="http://schemas.microsoft.com/office/drawing/2014/main" id="{A451DD28-81E4-C542-A741-3F4C8C165D3B}"/>
              </a:ext>
            </a:extLst>
          </p:cNvPr>
          <p:cNvSpPr txBox="1"/>
          <p:nvPr/>
        </p:nvSpPr>
        <p:spPr>
          <a:xfrm>
            <a:off x="5413188" y="2748417"/>
            <a:ext cx="1105721" cy="846386"/>
          </a:xfrm>
          <a:prstGeom prst="rect">
            <a:avLst/>
          </a:prstGeom>
          <a:noFill/>
          <a:ln>
            <a:noFill/>
          </a:ln>
        </p:spPr>
        <p:txBody>
          <a:bodyPr wrap="square" rtlCol="0">
            <a:spAutoFit/>
          </a:bodyPr>
          <a:lstStyle/>
          <a:p>
            <a:pPr defTabSz="914377"/>
            <a:r>
              <a:rPr lang="en-US" sz="700" b="1">
                <a:solidFill>
                  <a:schemeClr val="tx1">
                    <a:lumMod val="65000"/>
                    <a:lumOff val="35000"/>
                  </a:schemeClr>
                </a:solidFill>
                <a:latin typeface="Calibri" panose="020F0502020204030204" pitchFamily="34" charset="0"/>
                <a:cs typeface="Calibri" panose="020F0502020204030204" pitchFamily="34" charset="0"/>
              </a:rPr>
              <a:t>Service user is assessed by mental health teams and told that they need to address alcohol dependency prior to being able to access therapy</a:t>
            </a:r>
            <a:endParaRPr lang="en-GB" sz="700" b="1">
              <a:solidFill>
                <a:schemeClr val="tx1">
                  <a:lumMod val="65000"/>
                  <a:lumOff val="35000"/>
                </a:schemeClr>
              </a:solidFill>
              <a:latin typeface="Calibri" panose="020F0502020204030204" pitchFamily="34" charset="0"/>
              <a:cs typeface="Calibri" panose="020F0502020204030204" pitchFamily="34" charset="0"/>
            </a:endParaRPr>
          </a:p>
        </p:txBody>
      </p:sp>
      <p:cxnSp>
        <p:nvCxnSpPr>
          <p:cNvPr id="31" name="Curved Connector 30">
            <a:extLst>
              <a:ext uri="{FF2B5EF4-FFF2-40B4-BE49-F238E27FC236}">
                <a16:creationId xmlns:a16="http://schemas.microsoft.com/office/drawing/2014/main" id="{762E0EC3-E326-4840-B76D-50229F835A8F}"/>
              </a:ext>
            </a:extLst>
          </p:cNvPr>
          <p:cNvCxnSpPr>
            <a:cxnSpLocks/>
            <a:stCxn id="62" idx="1"/>
            <a:endCxn id="22" idx="3"/>
          </p:cNvCxnSpPr>
          <p:nvPr/>
        </p:nvCxnSpPr>
        <p:spPr>
          <a:xfrm rot="10800000">
            <a:off x="4244318" y="2624217"/>
            <a:ext cx="1572845" cy="2554046"/>
          </a:xfrm>
          <a:prstGeom prst="curvedConnector3">
            <a:avLst>
              <a:gd name="adj1" fmla="val 50000"/>
            </a:avLst>
          </a:prstGeom>
          <a:noFill/>
          <a:ln w="57150" cap="flat" cmpd="sng" algn="ctr">
            <a:gradFill>
              <a:gsLst>
                <a:gs pos="0">
                  <a:srgbClr val="ED7D31">
                    <a:lumMod val="40000"/>
                    <a:lumOff val="60000"/>
                  </a:srgbClr>
                </a:gs>
                <a:gs pos="100000">
                  <a:srgbClr val="ED7D31">
                    <a:lumMod val="60000"/>
                    <a:lumOff val="40000"/>
                  </a:srgbClr>
                </a:gs>
              </a:gsLst>
              <a:lin ang="10800000" scaled="0"/>
            </a:gradFill>
            <a:prstDash val="solid"/>
          </a:ln>
          <a:effectLst/>
        </p:spPr>
      </p:cxnSp>
      <p:cxnSp>
        <p:nvCxnSpPr>
          <p:cNvPr id="35" name="Curved Connector 34">
            <a:extLst>
              <a:ext uri="{FF2B5EF4-FFF2-40B4-BE49-F238E27FC236}">
                <a16:creationId xmlns:a16="http://schemas.microsoft.com/office/drawing/2014/main" id="{F81A7F18-930F-8D49-B290-BA7F77208ECE}"/>
              </a:ext>
            </a:extLst>
          </p:cNvPr>
          <p:cNvCxnSpPr>
            <a:cxnSpLocks/>
            <a:stCxn id="34" idx="1"/>
            <a:endCxn id="4" idx="3"/>
          </p:cNvCxnSpPr>
          <p:nvPr/>
        </p:nvCxnSpPr>
        <p:spPr>
          <a:xfrm rot="10800000" flipV="1">
            <a:off x="2494445" y="5170242"/>
            <a:ext cx="1500376" cy="2687"/>
          </a:xfrm>
          <a:prstGeom prst="curvedConnector3">
            <a:avLst>
              <a:gd name="adj1" fmla="val 50000"/>
            </a:avLst>
          </a:prstGeom>
          <a:noFill/>
          <a:ln w="57150" cap="flat" cmpd="sng" algn="ctr">
            <a:gradFill>
              <a:gsLst>
                <a:gs pos="0">
                  <a:srgbClr val="ED7D31">
                    <a:lumMod val="40000"/>
                    <a:lumOff val="60000"/>
                  </a:srgbClr>
                </a:gs>
                <a:gs pos="100000">
                  <a:srgbClr val="ED7D31">
                    <a:lumMod val="60000"/>
                    <a:lumOff val="40000"/>
                  </a:srgbClr>
                </a:gs>
              </a:gsLst>
              <a:lin ang="10800000" scaled="0"/>
            </a:gradFill>
            <a:prstDash val="solid"/>
          </a:ln>
          <a:effectLst/>
        </p:spPr>
      </p:cxnSp>
      <p:pic>
        <p:nvPicPr>
          <p:cNvPr id="44" name="Graphic 43" descr="Warning with solid fill">
            <a:extLst>
              <a:ext uri="{FF2B5EF4-FFF2-40B4-BE49-F238E27FC236}">
                <a16:creationId xmlns:a16="http://schemas.microsoft.com/office/drawing/2014/main" id="{B1FECC76-BEA6-3348-9A8C-9434342CF27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905905" y="3776161"/>
            <a:ext cx="245282" cy="245282"/>
          </a:xfrm>
          <a:prstGeom prst="rect">
            <a:avLst/>
          </a:prstGeom>
        </p:spPr>
      </p:pic>
      <p:sp>
        <p:nvSpPr>
          <p:cNvPr id="45" name="TextBox 44">
            <a:extLst>
              <a:ext uri="{FF2B5EF4-FFF2-40B4-BE49-F238E27FC236}">
                <a16:creationId xmlns:a16="http://schemas.microsoft.com/office/drawing/2014/main" id="{4944FF8E-F4FE-E54B-8EC0-DF2C11B8DCFA}"/>
              </a:ext>
            </a:extLst>
          </p:cNvPr>
          <p:cNvSpPr txBox="1"/>
          <p:nvPr/>
        </p:nvSpPr>
        <p:spPr>
          <a:xfrm>
            <a:off x="4084047" y="3777549"/>
            <a:ext cx="890227" cy="307777"/>
          </a:xfrm>
          <a:prstGeom prst="rect">
            <a:avLst/>
          </a:prstGeom>
          <a:noFill/>
          <a:ln>
            <a:noFill/>
          </a:ln>
        </p:spPr>
        <p:txBody>
          <a:bodyPr wrap="square" rtlCol="0">
            <a:spAutoFit/>
          </a:bodyPr>
          <a:lstStyle/>
          <a:p>
            <a:pPr defTabSz="914377"/>
            <a:r>
              <a:rPr lang="en-US" sz="700" b="1">
                <a:solidFill>
                  <a:srgbClr val="FF0000"/>
                </a:solidFill>
                <a:latin typeface="Calibri" panose="020F0502020204030204" pitchFamily="34" charset="0"/>
                <a:cs typeface="Calibri" panose="020F0502020204030204" pitchFamily="34" charset="0"/>
              </a:rPr>
              <a:t>4. User is bounced between services</a:t>
            </a:r>
            <a:endParaRPr lang="en-GB" sz="700" b="1">
              <a:solidFill>
                <a:srgbClr val="FF0000"/>
              </a:solidFill>
              <a:latin typeface="Calibri" panose="020F0502020204030204" pitchFamily="34" charset="0"/>
              <a:cs typeface="Calibri" panose="020F0502020204030204" pitchFamily="34" charset="0"/>
            </a:endParaRPr>
          </a:p>
        </p:txBody>
      </p:sp>
      <p:pic>
        <p:nvPicPr>
          <p:cNvPr id="34" name="Graphic 33" descr="Boardroom with solid fill">
            <a:extLst>
              <a:ext uri="{FF2B5EF4-FFF2-40B4-BE49-F238E27FC236}">
                <a16:creationId xmlns:a16="http://schemas.microsoft.com/office/drawing/2014/main" id="{B682E8AA-2B3F-3345-A627-5E61875E45C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994821" y="5046043"/>
            <a:ext cx="248400" cy="248400"/>
          </a:xfrm>
          <a:prstGeom prst="rect">
            <a:avLst/>
          </a:prstGeom>
        </p:spPr>
      </p:pic>
      <p:sp>
        <p:nvSpPr>
          <p:cNvPr id="50" name="TextBox 49">
            <a:extLst>
              <a:ext uri="{FF2B5EF4-FFF2-40B4-BE49-F238E27FC236}">
                <a16:creationId xmlns:a16="http://schemas.microsoft.com/office/drawing/2014/main" id="{8D8341FF-C5D5-2B42-8E40-2E16F71F9D47}"/>
              </a:ext>
            </a:extLst>
          </p:cNvPr>
          <p:cNvSpPr txBox="1"/>
          <p:nvPr/>
        </p:nvSpPr>
        <p:spPr>
          <a:xfrm>
            <a:off x="5413188" y="5305625"/>
            <a:ext cx="1105721" cy="738664"/>
          </a:xfrm>
          <a:prstGeom prst="rect">
            <a:avLst/>
          </a:prstGeom>
          <a:noFill/>
          <a:ln>
            <a:noFill/>
          </a:ln>
        </p:spPr>
        <p:txBody>
          <a:bodyPr wrap="square" rtlCol="0">
            <a:spAutoFit/>
          </a:bodyPr>
          <a:lstStyle/>
          <a:p>
            <a:pPr defTabSz="914377"/>
            <a:r>
              <a:rPr lang="en-US" sz="700" b="1">
                <a:solidFill>
                  <a:schemeClr val="tx1">
                    <a:lumMod val="65000"/>
                    <a:lumOff val="35000"/>
                  </a:schemeClr>
                </a:solidFill>
                <a:latin typeface="Calibri" panose="020F0502020204030204" pitchFamily="34" charset="0"/>
                <a:cs typeface="Calibri" panose="020F0502020204030204" pitchFamily="34" charset="0"/>
              </a:rPr>
              <a:t>Service user is assessed by D&amp;A services as suffering for depression and it is determined mental health support would be most suitable</a:t>
            </a:r>
            <a:endParaRPr lang="en-GB" sz="700" b="1">
              <a:solidFill>
                <a:schemeClr val="tx1">
                  <a:lumMod val="65000"/>
                  <a:lumOff val="35000"/>
                </a:schemeClr>
              </a:solidFill>
              <a:latin typeface="Calibri" panose="020F0502020204030204" pitchFamily="34" charset="0"/>
              <a:cs typeface="Calibri" panose="020F0502020204030204" pitchFamily="34" charset="0"/>
            </a:endParaRPr>
          </a:p>
        </p:txBody>
      </p:sp>
      <p:cxnSp>
        <p:nvCxnSpPr>
          <p:cNvPr id="53" name="Curved Connector 52">
            <a:extLst>
              <a:ext uri="{FF2B5EF4-FFF2-40B4-BE49-F238E27FC236}">
                <a16:creationId xmlns:a16="http://schemas.microsoft.com/office/drawing/2014/main" id="{D5168387-654D-3547-A222-D2B100E103D4}"/>
              </a:ext>
            </a:extLst>
          </p:cNvPr>
          <p:cNvCxnSpPr>
            <a:cxnSpLocks/>
            <a:stCxn id="62" idx="3"/>
            <a:endCxn id="84" idx="1"/>
          </p:cNvCxnSpPr>
          <p:nvPr/>
        </p:nvCxnSpPr>
        <p:spPr>
          <a:xfrm flipV="1">
            <a:off x="6065562" y="3195650"/>
            <a:ext cx="1843844" cy="1982613"/>
          </a:xfrm>
          <a:prstGeom prst="curvedConnector3">
            <a:avLst>
              <a:gd name="adj1" fmla="val 35069"/>
            </a:avLst>
          </a:prstGeom>
          <a:noFill/>
          <a:ln w="57150" cap="flat" cmpd="sng" algn="ctr">
            <a:gradFill>
              <a:gsLst>
                <a:gs pos="100000">
                  <a:srgbClr val="FF0000">
                    <a:alpha val="40555"/>
                  </a:srgbClr>
                </a:gs>
                <a:gs pos="0">
                  <a:srgbClr val="ED7D31">
                    <a:lumMod val="40000"/>
                    <a:lumOff val="60000"/>
                  </a:srgbClr>
                </a:gs>
                <a:gs pos="100000">
                  <a:srgbClr val="ED7D31">
                    <a:lumMod val="60000"/>
                    <a:lumOff val="40000"/>
                  </a:srgbClr>
                </a:gs>
              </a:gsLst>
              <a:lin ang="10800000" scaled="0"/>
            </a:gradFill>
            <a:prstDash val="solid"/>
          </a:ln>
          <a:effectLst/>
        </p:spPr>
      </p:cxnSp>
      <p:cxnSp>
        <p:nvCxnSpPr>
          <p:cNvPr id="54" name="Curved Connector 53">
            <a:extLst>
              <a:ext uri="{FF2B5EF4-FFF2-40B4-BE49-F238E27FC236}">
                <a16:creationId xmlns:a16="http://schemas.microsoft.com/office/drawing/2014/main" id="{A97F9602-E883-A147-AF23-BDD2789ABF39}"/>
              </a:ext>
            </a:extLst>
          </p:cNvPr>
          <p:cNvCxnSpPr>
            <a:cxnSpLocks/>
            <a:stCxn id="117" idx="1"/>
            <a:endCxn id="27" idx="3"/>
          </p:cNvCxnSpPr>
          <p:nvPr/>
        </p:nvCxnSpPr>
        <p:spPr>
          <a:xfrm rot="10800000">
            <a:off x="6063371" y="2624218"/>
            <a:ext cx="1673577" cy="3001279"/>
          </a:xfrm>
          <a:prstGeom prst="curvedConnector3">
            <a:avLst>
              <a:gd name="adj1" fmla="val 58812"/>
            </a:avLst>
          </a:prstGeom>
          <a:noFill/>
          <a:ln w="57150" cap="flat" cmpd="sng" algn="ctr">
            <a:gradFill>
              <a:gsLst>
                <a:gs pos="0">
                  <a:srgbClr val="ED7D31">
                    <a:lumMod val="40000"/>
                    <a:lumOff val="60000"/>
                  </a:srgbClr>
                </a:gs>
                <a:gs pos="100000">
                  <a:srgbClr val="ED7D31">
                    <a:lumMod val="60000"/>
                    <a:lumOff val="40000"/>
                  </a:srgbClr>
                </a:gs>
              </a:gsLst>
              <a:lin ang="10800000" scaled="0"/>
            </a:gradFill>
            <a:prstDash val="solid"/>
          </a:ln>
          <a:effectLst/>
        </p:spPr>
      </p:cxnSp>
      <p:sp>
        <p:nvSpPr>
          <p:cNvPr id="60" name="TextBox 59">
            <a:extLst>
              <a:ext uri="{FF2B5EF4-FFF2-40B4-BE49-F238E27FC236}">
                <a16:creationId xmlns:a16="http://schemas.microsoft.com/office/drawing/2014/main" id="{5512CF39-952E-5B4D-9D7E-CAA17653EF9D}"/>
              </a:ext>
            </a:extLst>
          </p:cNvPr>
          <p:cNvSpPr txBox="1"/>
          <p:nvPr/>
        </p:nvSpPr>
        <p:spPr>
          <a:xfrm>
            <a:off x="6819051" y="3761568"/>
            <a:ext cx="1105721" cy="307777"/>
          </a:xfrm>
          <a:prstGeom prst="rect">
            <a:avLst/>
          </a:prstGeom>
          <a:noFill/>
          <a:ln>
            <a:noFill/>
          </a:ln>
        </p:spPr>
        <p:txBody>
          <a:bodyPr wrap="square" rtlCol="0">
            <a:spAutoFit/>
          </a:bodyPr>
          <a:lstStyle/>
          <a:p>
            <a:pPr defTabSz="914377"/>
            <a:r>
              <a:rPr lang="en-US" sz="700" b="1">
                <a:solidFill>
                  <a:srgbClr val="FF0000"/>
                </a:solidFill>
                <a:latin typeface="Calibri" panose="020F0502020204030204" pitchFamily="34" charset="0"/>
                <a:cs typeface="Calibri" panose="020F0502020204030204" pitchFamily="34" charset="0"/>
              </a:rPr>
              <a:t>4. User is bounced between services again</a:t>
            </a:r>
            <a:endParaRPr lang="en-GB" sz="700" b="1">
              <a:solidFill>
                <a:srgbClr val="FF0000"/>
              </a:solidFill>
              <a:latin typeface="Calibri" panose="020F0502020204030204" pitchFamily="34" charset="0"/>
              <a:cs typeface="Calibri" panose="020F0502020204030204" pitchFamily="34" charset="0"/>
            </a:endParaRPr>
          </a:p>
        </p:txBody>
      </p:sp>
      <p:sp>
        <p:nvSpPr>
          <p:cNvPr id="61" name="TextBox 60">
            <a:extLst>
              <a:ext uri="{FF2B5EF4-FFF2-40B4-BE49-F238E27FC236}">
                <a16:creationId xmlns:a16="http://schemas.microsoft.com/office/drawing/2014/main" id="{9AC8F61D-C073-5F42-952D-80F54E199B50}"/>
              </a:ext>
            </a:extLst>
          </p:cNvPr>
          <p:cNvSpPr txBox="1"/>
          <p:nvPr/>
        </p:nvSpPr>
        <p:spPr>
          <a:xfrm>
            <a:off x="7328628" y="5752611"/>
            <a:ext cx="1192287" cy="630942"/>
          </a:xfrm>
          <a:prstGeom prst="rect">
            <a:avLst/>
          </a:prstGeom>
          <a:noFill/>
          <a:ln>
            <a:noFill/>
          </a:ln>
        </p:spPr>
        <p:txBody>
          <a:bodyPr wrap="square" rtlCol="0">
            <a:spAutoFit/>
          </a:bodyPr>
          <a:lstStyle/>
          <a:p>
            <a:pPr defTabSz="914377"/>
            <a:r>
              <a:rPr lang="en-US" sz="700" b="1">
                <a:solidFill>
                  <a:srgbClr val="FF0000"/>
                </a:solidFill>
                <a:latin typeface="Calibri" panose="020F0502020204030204" pitchFamily="34" charset="0"/>
                <a:cs typeface="Calibri" panose="020F0502020204030204" pitchFamily="34" charset="0"/>
              </a:rPr>
              <a:t>7. Limited MH support available for D&amp;A service users. D&amp;A services may provide ad-hoc MH support, if possible. </a:t>
            </a:r>
            <a:endParaRPr lang="en-GB" sz="700" b="1">
              <a:solidFill>
                <a:srgbClr val="FF0000"/>
              </a:solidFill>
              <a:latin typeface="Calibri" panose="020F0502020204030204" pitchFamily="34" charset="0"/>
              <a:cs typeface="Calibri" panose="020F0502020204030204" pitchFamily="34" charset="0"/>
            </a:endParaRPr>
          </a:p>
        </p:txBody>
      </p:sp>
      <p:pic>
        <p:nvPicPr>
          <p:cNvPr id="62" name="Graphic 61" descr="Boardroom with solid fill">
            <a:extLst>
              <a:ext uri="{FF2B5EF4-FFF2-40B4-BE49-F238E27FC236}">
                <a16:creationId xmlns:a16="http://schemas.microsoft.com/office/drawing/2014/main" id="{CB999033-9B3C-2948-B539-AC82CCC8E07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817162" y="5054063"/>
            <a:ext cx="248400" cy="248400"/>
          </a:xfrm>
          <a:prstGeom prst="rect">
            <a:avLst/>
          </a:prstGeom>
        </p:spPr>
      </p:pic>
      <p:sp>
        <p:nvSpPr>
          <p:cNvPr id="65" name="TextBox 64">
            <a:extLst>
              <a:ext uri="{FF2B5EF4-FFF2-40B4-BE49-F238E27FC236}">
                <a16:creationId xmlns:a16="http://schemas.microsoft.com/office/drawing/2014/main" id="{6059913D-87A1-B145-BF9F-CA548EB0DC69}"/>
              </a:ext>
            </a:extLst>
          </p:cNvPr>
          <p:cNvSpPr txBox="1"/>
          <p:nvPr/>
        </p:nvSpPr>
        <p:spPr>
          <a:xfrm>
            <a:off x="7528941" y="3262052"/>
            <a:ext cx="1105721" cy="415498"/>
          </a:xfrm>
          <a:prstGeom prst="rect">
            <a:avLst/>
          </a:prstGeom>
          <a:noFill/>
          <a:ln>
            <a:noFill/>
          </a:ln>
        </p:spPr>
        <p:txBody>
          <a:bodyPr wrap="square" rtlCol="0">
            <a:spAutoFit/>
          </a:bodyPr>
          <a:lstStyle>
            <a:defPPr>
              <a:defRPr lang="en-US"/>
            </a:defPPr>
            <a:lvl1pPr defTabSz="914377">
              <a:defRPr sz="700" b="1">
                <a:solidFill>
                  <a:srgbClr val="FF0000"/>
                </a:solidFill>
                <a:latin typeface="Calibri" panose="020F0502020204030204" pitchFamily="34" charset="0"/>
                <a:cs typeface="Calibri" panose="020F0502020204030204" pitchFamily="34" charset="0"/>
              </a:defRPr>
            </a:lvl1pPr>
          </a:lstStyle>
          <a:p>
            <a:r>
              <a:rPr lang="en-US"/>
              <a:t>6. Service user withdraws from services due to lack of support </a:t>
            </a:r>
            <a:endParaRPr lang="en-GB"/>
          </a:p>
        </p:txBody>
      </p:sp>
      <p:pic>
        <p:nvPicPr>
          <p:cNvPr id="66" name="Graphic 65" descr="Warning with solid fill">
            <a:extLst>
              <a:ext uri="{FF2B5EF4-FFF2-40B4-BE49-F238E27FC236}">
                <a16:creationId xmlns:a16="http://schemas.microsoft.com/office/drawing/2014/main" id="{C342ED49-626D-4F48-9F6F-7FDE9084672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993725" y="2268706"/>
            <a:ext cx="245282" cy="245282"/>
          </a:xfrm>
          <a:prstGeom prst="rect">
            <a:avLst/>
          </a:prstGeom>
        </p:spPr>
      </p:pic>
      <p:sp>
        <p:nvSpPr>
          <p:cNvPr id="67" name="TextBox 66">
            <a:extLst>
              <a:ext uri="{FF2B5EF4-FFF2-40B4-BE49-F238E27FC236}">
                <a16:creationId xmlns:a16="http://schemas.microsoft.com/office/drawing/2014/main" id="{64FAB443-99F4-4E47-81CC-74031EABE7DF}"/>
              </a:ext>
            </a:extLst>
          </p:cNvPr>
          <p:cNvSpPr txBox="1"/>
          <p:nvPr/>
        </p:nvSpPr>
        <p:spPr>
          <a:xfrm>
            <a:off x="3622996" y="1874751"/>
            <a:ext cx="1030851" cy="415498"/>
          </a:xfrm>
          <a:prstGeom prst="rect">
            <a:avLst/>
          </a:prstGeom>
          <a:noFill/>
          <a:ln>
            <a:noFill/>
          </a:ln>
        </p:spPr>
        <p:txBody>
          <a:bodyPr wrap="square" rtlCol="0">
            <a:spAutoFit/>
          </a:bodyPr>
          <a:lstStyle/>
          <a:p>
            <a:pPr defTabSz="914377"/>
            <a:r>
              <a:rPr lang="en-US" sz="700" b="1">
                <a:solidFill>
                  <a:srgbClr val="FF0000"/>
                </a:solidFill>
                <a:latin typeface="Calibri" panose="020F0502020204030204" pitchFamily="34" charset="0"/>
                <a:cs typeface="Calibri" panose="020F0502020204030204" pitchFamily="34" charset="0"/>
              </a:rPr>
              <a:t>1. Initial triage is not conducted by a mental health professional  </a:t>
            </a:r>
            <a:endParaRPr lang="en-GB" sz="700" b="1">
              <a:solidFill>
                <a:srgbClr val="FF0000"/>
              </a:solidFill>
              <a:latin typeface="Calibri" panose="020F0502020204030204" pitchFamily="34" charset="0"/>
              <a:cs typeface="Calibri" panose="020F0502020204030204" pitchFamily="34" charset="0"/>
            </a:endParaRPr>
          </a:p>
        </p:txBody>
      </p:sp>
      <p:pic>
        <p:nvPicPr>
          <p:cNvPr id="68" name="Graphic 67" descr="Warning with solid fill">
            <a:extLst>
              <a:ext uri="{FF2B5EF4-FFF2-40B4-BE49-F238E27FC236}">
                <a16:creationId xmlns:a16="http://schemas.microsoft.com/office/drawing/2014/main" id="{D8263A65-EC76-9E4F-B001-546EE6C2B2C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08549" y="2268706"/>
            <a:ext cx="245282" cy="245282"/>
          </a:xfrm>
          <a:prstGeom prst="rect">
            <a:avLst/>
          </a:prstGeom>
        </p:spPr>
      </p:pic>
      <p:sp>
        <p:nvSpPr>
          <p:cNvPr id="69" name="TextBox 68">
            <a:extLst>
              <a:ext uri="{FF2B5EF4-FFF2-40B4-BE49-F238E27FC236}">
                <a16:creationId xmlns:a16="http://schemas.microsoft.com/office/drawing/2014/main" id="{83AE8DE4-25AD-E849-8932-E2193E00FF0D}"/>
              </a:ext>
            </a:extLst>
          </p:cNvPr>
          <p:cNvSpPr txBox="1"/>
          <p:nvPr/>
        </p:nvSpPr>
        <p:spPr>
          <a:xfrm>
            <a:off x="5452077" y="1876852"/>
            <a:ext cx="1176739" cy="415498"/>
          </a:xfrm>
          <a:prstGeom prst="rect">
            <a:avLst/>
          </a:prstGeom>
          <a:noFill/>
          <a:ln>
            <a:noFill/>
          </a:ln>
        </p:spPr>
        <p:txBody>
          <a:bodyPr wrap="square" rtlCol="0">
            <a:spAutoFit/>
          </a:bodyPr>
          <a:lstStyle/>
          <a:p>
            <a:pPr defTabSz="914377"/>
            <a:r>
              <a:rPr lang="en-US" sz="700" b="1">
                <a:solidFill>
                  <a:srgbClr val="FF0000"/>
                </a:solidFill>
                <a:latin typeface="Calibri" panose="020F0502020204030204" pitchFamily="34" charset="0"/>
                <a:cs typeface="Calibri" panose="020F0502020204030204" pitchFamily="34" charset="0"/>
              </a:rPr>
              <a:t>3. Patient must repeat triage process multiple times</a:t>
            </a:r>
            <a:endParaRPr lang="en-GB" sz="700" b="1">
              <a:solidFill>
                <a:srgbClr val="FF0000"/>
              </a:solidFill>
              <a:latin typeface="Calibri" panose="020F0502020204030204" pitchFamily="34" charset="0"/>
              <a:cs typeface="Calibri" panose="020F0502020204030204" pitchFamily="34" charset="0"/>
            </a:endParaRPr>
          </a:p>
        </p:txBody>
      </p:sp>
      <p:pic>
        <p:nvPicPr>
          <p:cNvPr id="71" name="Graphic 70" descr="Warning with solid fill">
            <a:extLst>
              <a:ext uri="{FF2B5EF4-FFF2-40B4-BE49-F238E27FC236}">
                <a16:creationId xmlns:a16="http://schemas.microsoft.com/office/drawing/2014/main" id="{2DE0F61D-8EDE-B94A-AAB2-50A298C33A9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905513" y="1465400"/>
            <a:ext cx="245282" cy="245282"/>
          </a:xfrm>
          <a:prstGeom prst="rect">
            <a:avLst/>
          </a:prstGeom>
        </p:spPr>
      </p:pic>
      <p:sp>
        <p:nvSpPr>
          <p:cNvPr id="72" name="TextBox 71">
            <a:extLst>
              <a:ext uri="{FF2B5EF4-FFF2-40B4-BE49-F238E27FC236}">
                <a16:creationId xmlns:a16="http://schemas.microsoft.com/office/drawing/2014/main" id="{BF320C9D-0ADC-6649-A782-348B4E5346ED}"/>
              </a:ext>
            </a:extLst>
          </p:cNvPr>
          <p:cNvSpPr txBox="1"/>
          <p:nvPr/>
        </p:nvSpPr>
        <p:spPr>
          <a:xfrm>
            <a:off x="5150795" y="1362149"/>
            <a:ext cx="1478022" cy="415498"/>
          </a:xfrm>
          <a:prstGeom prst="rect">
            <a:avLst/>
          </a:prstGeom>
          <a:noFill/>
          <a:ln>
            <a:noFill/>
          </a:ln>
        </p:spPr>
        <p:txBody>
          <a:bodyPr wrap="square" rtlCol="0">
            <a:spAutoFit/>
          </a:bodyPr>
          <a:lstStyle/>
          <a:p>
            <a:pPr algn="ctr" defTabSz="914377"/>
            <a:r>
              <a:rPr lang="en-US" sz="700" b="1">
                <a:solidFill>
                  <a:srgbClr val="FF0000"/>
                </a:solidFill>
                <a:latin typeface="Calibri" panose="020F0502020204030204" pitchFamily="34" charset="0"/>
                <a:cs typeface="Calibri" panose="020F0502020204030204" pitchFamily="34" charset="0"/>
              </a:rPr>
              <a:t>2. Triage notes / initial diagnosis not shared between mental health and drug and alcohol services</a:t>
            </a:r>
            <a:endParaRPr lang="en-GB" sz="700" b="1">
              <a:solidFill>
                <a:srgbClr val="FF0000"/>
              </a:solidFill>
              <a:latin typeface="Calibri" panose="020F0502020204030204" pitchFamily="34" charset="0"/>
              <a:cs typeface="Calibri" panose="020F0502020204030204" pitchFamily="34" charset="0"/>
            </a:endParaRPr>
          </a:p>
        </p:txBody>
      </p:sp>
      <p:pic>
        <p:nvPicPr>
          <p:cNvPr id="73" name="Graphic 72" descr="Warning with solid fill">
            <a:extLst>
              <a:ext uri="{FF2B5EF4-FFF2-40B4-BE49-F238E27FC236}">
                <a16:creationId xmlns:a16="http://schemas.microsoft.com/office/drawing/2014/main" id="{14430122-E227-5A49-8B1A-B785D34F877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628816" y="1447257"/>
            <a:ext cx="245282" cy="245282"/>
          </a:xfrm>
          <a:prstGeom prst="rect">
            <a:avLst/>
          </a:prstGeom>
        </p:spPr>
      </p:pic>
      <p:cxnSp>
        <p:nvCxnSpPr>
          <p:cNvPr id="76" name="Curved Connector 75">
            <a:extLst>
              <a:ext uri="{FF2B5EF4-FFF2-40B4-BE49-F238E27FC236}">
                <a16:creationId xmlns:a16="http://schemas.microsoft.com/office/drawing/2014/main" id="{E077449E-F276-3044-B15B-C4B6682E2567}"/>
              </a:ext>
            </a:extLst>
          </p:cNvPr>
          <p:cNvCxnSpPr>
            <a:cxnSpLocks/>
            <a:stCxn id="62" idx="3"/>
            <a:endCxn id="79" idx="1"/>
          </p:cNvCxnSpPr>
          <p:nvPr/>
        </p:nvCxnSpPr>
        <p:spPr>
          <a:xfrm flipV="1">
            <a:off x="6065562" y="2443860"/>
            <a:ext cx="1842285" cy="2734403"/>
          </a:xfrm>
          <a:prstGeom prst="curvedConnector3">
            <a:avLst>
              <a:gd name="adj1" fmla="val 37725"/>
            </a:avLst>
          </a:prstGeom>
          <a:noFill/>
          <a:ln w="57150" cap="flat" cmpd="sng" algn="ctr">
            <a:gradFill>
              <a:gsLst>
                <a:gs pos="100000">
                  <a:srgbClr val="FF0000">
                    <a:alpha val="40555"/>
                  </a:srgbClr>
                </a:gs>
                <a:gs pos="0">
                  <a:srgbClr val="ED7D31">
                    <a:lumMod val="40000"/>
                    <a:lumOff val="60000"/>
                  </a:srgbClr>
                </a:gs>
                <a:gs pos="100000">
                  <a:srgbClr val="ED7D31">
                    <a:lumMod val="60000"/>
                    <a:lumOff val="40000"/>
                  </a:srgbClr>
                </a:gs>
              </a:gsLst>
              <a:lin ang="10800000" scaled="0"/>
            </a:gradFill>
            <a:prstDash val="solid"/>
          </a:ln>
          <a:effectLst/>
        </p:spPr>
      </p:cxnSp>
      <p:pic>
        <p:nvPicPr>
          <p:cNvPr id="79" name="Graphic 78" descr="Hospital with solid fill">
            <a:extLst>
              <a:ext uri="{FF2B5EF4-FFF2-40B4-BE49-F238E27FC236}">
                <a16:creationId xmlns:a16="http://schemas.microsoft.com/office/drawing/2014/main" id="{346C2903-2E72-8743-92F8-B72F0A0BBC6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907847" y="2319660"/>
            <a:ext cx="248400" cy="248400"/>
          </a:xfrm>
          <a:prstGeom prst="rect">
            <a:avLst/>
          </a:prstGeom>
        </p:spPr>
      </p:pic>
      <p:pic>
        <p:nvPicPr>
          <p:cNvPr id="59" name="Graphic 58" descr="Warning with solid fill">
            <a:extLst>
              <a:ext uri="{FF2B5EF4-FFF2-40B4-BE49-F238E27FC236}">
                <a16:creationId xmlns:a16="http://schemas.microsoft.com/office/drawing/2014/main" id="{44A165EF-D357-554C-A206-FB88921890E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628816" y="3776161"/>
            <a:ext cx="245282" cy="245282"/>
          </a:xfrm>
          <a:prstGeom prst="rect">
            <a:avLst/>
          </a:prstGeom>
        </p:spPr>
      </p:pic>
      <p:sp>
        <p:nvSpPr>
          <p:cNvPr id="83" name="TextBox 82">
            <a:extLst>
              <a:ext uri="{FF2B5EF4-FFF2-40B4-BE49-F238E27FC236}">
                <a16:creationId xmlns:a16="http://schemas.microsoft.com/office/drawing/2014/main" id="{BB2E100A-6C2B-5B4B-AE52-E30682F65D7E}"/>
              </a:ext>
            </a:extLst>
          </p:cNvPr>
          <p:cNvSpPr txBox="1"/>
          <p:nvPr/>
        </p:nvSpPr>
        <p:spPr>
          <a:xfrm>
            <a:off x="7439546" y="2579477"/>
            <a:ext cx="1265622" cy="415498"/>
          </a:xfrm>
          <a:prstGeom prst="rect">
            <a:avLst/>
          </a:prstGeom>
          <a:noFill/>
          <a:ln>
            <a:noFill/>
          </a:ln>
        </p:spPr>
        <p:txBody>
          <a:bodyPr wrap="square" rtlCol="0">
            <a:spAutoFit/>
          </a:bodyPr>
          <a:lstStyle/>
          <a:p>
            <a:pPr defTabSz="914377"/>
            <a:r>
              <a:rPr lang="en-US" sz="700" b="1">
                <a:solidFill>
                  <a:schemeClr val="tx1">
                    <a:lumMod val="65000"/>
                    <a:lumOff val="35000"/>
                  </a:schemeClr>
                </a:solidFill>
                <a:latin typeface="Calibri" panose="020F0502020204030204" pitchFamily="34" charset="0"/>
                <a:cs typeface="Calibri" panose="020F0502020204030204" pitchFamily="34" charset="0"/>
              </a:rPr>
              <a:t>Service user enters IAPT therapy treatment to address mental health issues</a:t>
            </a:r>
            <a:endParaRPr lang="en-GB" sz="700" b="1">
              <a:solidFill>
                <a:schemeClr val="tx1">
                  <a:lumMod val="65000"/>
                  <a:lumOff val="35000"/>
                </a:schemeClr>
              </a:solidFill>
              <a:latin typeface="Calibri" panose="020F0502020204030204" pitchFamily="34" charset="0"/>
              <a:cs typeface="Calibri" panose="020F0502020204030204" pitchFamily="34" charset="0"/>
            </a:endParaRPr>
          </a:p>
        </p:txBody>
      </p:sp>
      <p:pic>
        <p:nvPicPr>
          <p:cNvPr id="84" name="Graphic 83" descr="Warning with solid fill">
            <a:extLst>
              <a:ext uri="{FF2B5EF4-FFF2-40B4-BE49-F238E27FC236}">
                <a16:creationId xmlns:a16="http://schemas.microsoft.com/office/drawing/2014/main" id="{35F33F66-7774-0E40-AB1F-C5239351A99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909406" y="3073009"/>
            <a:ext cx="245282" cy="245282"/>
          </a:xfrm>
          <a:prstGeom prst="rect">
            <a:avLst/>
          </a:prstGeom>
        </p:spPr>
      </p:pic>
      <p:cxnSp>
        <p:nvCxnSpPr>
          <p:cNvPr id="87" name="Curved Connector 86">
            <a:extLst>
              <a:ext uri="{FF2B5EF4-FFF2-40B4-BE49-F238E27FC236}">
                <a16:creationId xmlns:a16="http://schemas.microsoft.com/office/drawing/2014/main" id="{F2668ED3-F82C-CD4F-9AF4-192CB429E252}"/>
              </a:ext>
            </a:extLst>
          </p:cNvPr>
          <p:cNvCxnSpPr>
            <a:cxnSpLocks/>
            <a:stCxn id="84" idx="3"/>
            <a:endCxn id="116" idx="0"/>
          </p:cNvCxnSpPr>
          <p:nvPr/>
        </p:nvCxnSpPr>
        <p:spPr>
          <a:xfrm>
            <a:off x="8154688" y="3195650"/>
            <a:ext cx="1144072" cy="1240791"/>
          </a:xfrm>
          <a:prstGeom prst="curvedConnector2">
            <a:avLst/>
          </a:prstGeom>
          <a:noFill/>
          <a:ln w="57150" cap="flat" cmpd="sng" algn="ctr">
            <a:gradFill>
              <a:gsLst>
                <a:gs pos="100000">
                  <a:srgbClr val="FF0000">
                    <a:alpha val="40555"/>
                  </a:srgbClr>
                </a:gs>
                <a:gs pos="0">
                  <a:srgbClr val="ED7D31">
                    <a:lumMod val="40000"/>
                    <a:lumOff val="60000"/>
                  </a:srgbClr>
                </a:gs>
                <a:gs pos="100000">
                  <a:srgbClr val="ED7D31">
                    <a:lumMod val="60000"/>
                    <a:lumOff val="40000"/>
                  </a:srgbClr>
                </a:gs>
              </a:gsLst>
              <a:lin ang="10800000" scaled="0"/>
            </a:gradFill>
            <a:prstDash val="solid"/>
          </a:ln>
          <a:effectLst/>
        </p:spPr>
      </p:cxnSp>
      <p:sp>
        <p:nvSpPr>
          <p:cNvPr id="94" name="TextBox 93">
            <a:extLst>
              <a:ext uri="{FF2B5EF4-FFF2-40B4-BE49-F238E27FC236}">
                <a16:creationId xmlns:a16="http://schemas.microsoft.com/office/drawing/2014/main" id="{7D89A09E-08A5-F143-9D05-1E9D59F34A89}"/>
              </a:ext>
            </a:extLst>
          </p:cNvPr>
          <p:cNvSpPr txBox="1"/>
          <p:nvPr/>
        </p:nvSpPr>
        <p:spPr>
          <a:xfrm>
            <a:off x="8800082" y="4643150"/>
            <a:ext cx="1192287" cy="846386"/>
          </a:xfrm>
          <a:prstGeom prst="rect">
            <a:avLst/>
          </a:prstGeom>
          <a:noFill/>
          <a:ln>
            <a:noFill/>
          </a:ln>
        </p:spPr>
        <p:txBody>
          <a:bodyPr wrap="square" rtlCol="0">
            <a:spAutoFit/>
          </a:bodyPr>
          <a:lstStyle/>
          <a:p>
            <a:pPr defTabSz="914377"/>
            <a:r>
              <a:rPr lang="en-US" sz="700" b="1">
                <a:solidFill>
                  <a:schemeClr val="tx1">
                    <a:lumMod val="65000"/>
                    <a:lumOff val="35000"/>
                  </a:schemeClr>
                </a:solidFill>
                <a:latin typeface="Calibri" panose="020F0502020204030204" pitchFamily="34" charset="0"/>
                <a:cs typeface="Calibri" panose="020F0502020204030204" pitchFamily="34" charset="0"/>
              </a:rPr>
              <a:t>Service user enters drug treatment support to address addiction challenges and is offered simple psychological support to improve mental health</a:t>
            </a:r>
            <a:endParaRPr lang="en-GB" sz="700" b="1">
              <a:solidFill>
                <a:schemeClr val="tx1">
                  <a:lumMod val="65000"/>
                  <a:lumOff val="35000"/>
                </a:schemeClr>
              </a:solidFill>
              <a:latin typeface="Calibri" panose="020F0502020204030204" pitchFamily="34" charset="0"/>
              <a:cs typeface="Calibri" panose="020F0502020204030204" pitchFamily="34" charset="0"/>
            </a:endParaRPr>
          </a:p>
        </p:txBody>
      </p:sp>
      <p:sp>
        <p:nvSpPr>
          <p:cNvPr id="95" name="TextBox 94">
            <a:extLst>
              <a:ext uri="{FF2B5EF4-FFF2-40B4-BE49-F238E27FC236}">
                <a16:creationId xmlns:a16="http://schemas.microsoft.com/office/drawing/2014/main" id="{1361807E-4B43-E04F-8EE7-7DD727CCAC51}"/>
              </a:ext>
            </a:extLst>
          </p:cNvPr>
          <p:cNvSpPr txBox="1"/>
          <p:nvPr/>
        </p:nvSpPr>
        <p:spPr>
          <a:xfrm>
            <a:off x="9174560" y="3631746"/>
            <a:ext cx="1105721" cy="523220"/>
          </a:xfrm>
          <a:prstGeom prst="rect">
            <a:avLst/>
          </a:prstGeom>
          <a:noFill/>
          <a:ln>
            <a:noFill/>
          </a:ln>
        </p:spPr>
        <p:txBody>
          <a:bodyPr wrap="square" rtlCol="0">
            <a:spAutoFit/>
          </a:bodyPr>
          <a:lstStyle>
            <a:defPPr>
              <a:defRPr lang="en-US"/>
            </a:defPPr>
            <a:lvl1pPr defTabSz="914377">
              <a:defRPr sz="700" b="1">
                <a:solidFill>
                  <a:srgbClr val="FF0000"/>
                </a:solidFill>
                <a:latin typeface="Calibri" panose="020F0502020204030204" pitchFamily="34" charset="0"/>
                <a:cs typeface="Calibri" panose="020F0502020204030204" pitchFamily="34" charset="0"/>
              </a:defRPr>
            </a:lvl1pPr>
          </a:lstStyle>
          <a:p>
            <a:r>
              <a:rPr lang="en-US"/>
              <a:t>8. Service user deteriorates further and begins using drugs to self medicate</a:t>
            </a:r>
            <a:endParaRPr lang="en-GB"/>
          </a:p>
        </p:txBody>
      </p:sp>
      <p:pic>
        <p:nvPicPr>
          <p:cNvPr id="96" name="Graphic 95" descr="Warning with solid fill">
            <a:extLst>
              <a:ext uri="{FF2B5EF4-FFF2-40B4-BE49-F238E27FC236}">
                <a16:creationId xmlns:a16="http://schemas.microsoft.com/office/drawing/2014/main" id="{3A9CB4B5-DFF7-B34E-AF2B-0CD7F73C22C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98801" y="3714261"/>
            <a:ext cx="245282" cy="245282"/>
          </a:xfrm>
          <a:prstGeom prst="rect">
            <a:avLst/>
          </a:prstGeom>
        </p:spPr>
      </p:pic>
      <p:pic>
        <p:nvPicPr>
          <p:cNvPr id="97" name="Graphic 96" descr="User with solid fill">
            <a:extLst>
              <a:ext uri="{FF2B5EF4-FFF2-40B4-BE49-F238E27FC236}">
                <a16:creationId xmlns:a16="http://schemas.microsoft.com/office/drawing/2014/main" id="{BBB7EBCB-FFE4-5640-87DE-7F91137AFB0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71280" y="5017610"/>
            <a:ext cx="248400" cy="248400"/>
          </a:xfrm>
          <a:prstGeom prst="rect">
            <a:avLst/>
          </a:prstGeom>
        </p:spPr>
      </p:pic>
      <p:sp>
        <p:nvSpPr>
          <p:cNvPr id="98" name="TextBox 97">
            <a:extLst>
              <a:ext uri="{FF2B5EF4-FFF2-40B4-BE49-F238E27FC236}">
                <a16:creationId xmlns:a16="http://schemas.microsoft.com/office/drawing/2014/main" id="{5B0CDCE3-15F1-C542-8761-9A4D5BE78490}"/>
              </a:ext>
            </a:extLst>
          </p:cNvPr>
          <p:cNvSpPr txBox="1"/>
          <p:nvPr/>
        </p:nvSpPr>
        <p:spPr>
          <a:xfrm>
            <a:off x="10459359" y="5263323"/>
            <a:ext cx="1192287" cy="630942"/>
          </a:xfrm>
          <a:prstGeom prst="rect">
            <a:avLst/>
          </a:prstGeom>
          <a:noFill/>
          <a:ln>
            <a:noFill/>
          </a:ln>
        </p:spPr>
        <p:txBody>
          <a:bodyPr wrap="square" rtlCol="0">
            <a:spAutoFit/>
          </a:bodyPr>
          <a:lstStyle/>
          <a:p>
            <a:pPr defTabSz="914377"/>
            <a:r>
              <a:rPr lang="en-US" sz="700" b="1">
                <a:solidFill>
                  <a:schemeClr val="tx1">
                    <a:lumMod val="65000"/>
                    <a:lumOff val="35000"/>
                  </a:schemeClr>
                </a:solidFill>
                <a:latin typeface="Calibri" panose="020F0502020204030204" pitchFamily="34" charset="0"/>
                <a:cs typeface="Calibri" panose="020F0502020204030204" pitchFamily="34" charset="0"/>
              </a:rPr>
              <a:t>Service user is discharged out of formal services but continues regular attendance at AA and NA in the community</a:t>
            </a:r>
            <a:endParaRPr lang="en-GB" sz="700" b="1">
              <a:solidFill>
                <a:schemeClr val="tx1">
                  <a:lumMod val="65000"/>
                  <a:lumOff val="35000"/>
                </a:schemeClr>
              </a:solidFill>
              <a:latin typeface="Calibri" panose="020F0502020204030204" pitchFamily="34" charset="0"/>
              <a:cs typeface="Calibri" panose="020F0502020204030204" pitchFamily="34" charset="0"/>
            </a:endParaRPr>
          </a:p>
        </p:txBody>
      </p:sp>
      <p:cxnSp>
        <p:nvCxnSpPr>
          <p:cNvPr id="99" name="Curved Connector 98">
            <a:extLst>
              <a:ext uri="{FF2B5EF4-FFF2-40B4-BE49-F238E27FC236}">
                <a16:creationId xmlns:a16="http://schemas.microsoft.com/office/drawing/2014/main" id="{330F3AD2-48FC-3B49-90A0-E9671DA29EDD}"/>
              </a:ext>
            </a:extLst>
          </p:cNvPr>
          <p:cNvCxnSpPr>
            <a:cxnSpLocks/>
            <a:stCxn id="116" idx="3"/>
            <a:endCxn id="97" idx="1"/>
          </p:cNvCxnSpPr>
          <p:nvPr/>
        </p:nvCxnSpPr>
        <p:spPr>
          <a:xfrm>
            <a:off x="9422960" y="4560641"/>
            <a:ext cx="1448320" cy="581169"/>
          </a:xfrm>
          <a:prstGeom prst="curvedConnector3">
            <a:avLst>
              <a:gd name="adj1" fmla="val 50000"/>
            </a:avLst>
          </a:prstGeom>
          <a:noFill/>
          <a:ln w="57150" cap="flat" cmpd="sng" algn="ctr">
            <a:gradFill>
              <a:gsLst>
                <a:gs pos="100000">
                  <a:srgbClr val="FF0000">
                    <a:alpha val="40555"/>
                  </a:srgbClr>
                </a:gs>
                <a:gs pos="0">
                  <a:srgbClr val="ED7D31">
                    <a:lumMod val="40000"/>
                    <a:lumOff val="60000"/>
                  </a:srgbClr>
                </a:gs>
                <a:gs pos="100000">
                  <a:srgbClr val="ED7D31">
                    <a:lumMod val="60000"/>
                    <a:lumOff val="40000"/>
                  </a:srgbClr>
                </a:gs>
              </a:gsLst>
              <a:lin ang="10800000" scaled="0"/>
            </a:gradFill>
            <a:prstDash val="solid"/>
          </a:ln>
          <a:effectLst/>
        </p:spPr>
      </p:cxnSp>
      <p:pic>
        <p:nvPicPr>
          <p:cNvPr id="102" name="Graphic 101" descr="User with solid fill">
            <a:extLst>
              <a:ext uri="{FF2B5EF4-FFF2-40B4-BE49-F238E27FC236}">
                <a16:creationId xmlns:a16="http://schemas.microsoft.com/office/drawing/2014/main" id="{010A4D96-2C61-2245-8D1E-01C3F5BFEF1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28767" y="2315491"/>
            <a:ext cx="248400" cy="248400"/>
          </a:xfrm>
          <a:prstGeom prst="rect">
            <a:avLst/>
          </a:prstGeom>
        </p:spPr>
      </p:pic>
      <p:sp>
        <p:nvSpPr>
          <p:cNvPr id="103" name="TextBox 102">
            <a:extLst>
              <a:ext uri="{FF2B5EF4-FFF2-40B4-BE49-F238E27FC236}">
                <a16:creationId xmlns:a16="http://schemas.microsoft.com/office/drawing/2014/main" id="{C1F03BB9-B233-DD48-9A11-790BB5D78810}"/>
              </a:ext>
            </a:extLst>
          </p:cNvPr>
          <p:cNvSpPr txBox="1"/>
          <p:nvPr/>
        </p:nvSpPr>
        <p:spPr>
          <a:xfrm>
            <a:off x="10327601" y="2561204"/>
            <a:ext cx="1192287" cy="630942"/>
          </a:xfrm>
          <a:prstGeom prst="rect">
            <a:avLst/>
          </a:prstGeom>
          <a:noFill/>
          <a:ln>
            <a:noFill/>
          </a:ln>
        </p:spPr>
        <p:txBody>
          <a:bodyPr wrap="square" rtlCol="0">
            <a:spAutoFit/>
          </a:bodyPr>
          <a:lstStyle/>
          <a:p>
            <a:pPr defTabSz="914377"/>
            <a:r>
              <a:rPr lang="en-US" sz="700" b="1">
                <a:solidFill>
                  <a:schemeClr val="tx1">
                    <a:lumMod val="65000"/>
                    <a:lumOff val="35000"/>
                  </a:schemeClr>
                </a:solidFill>
                <a:latin typeface="Calibri" panose="020F0502020204030204" pitchFamily="34" charset="0"/>
                <a:cs typeface="Calibri" panose="020F0502020204030204" pitchFamily="34" charset="0"/>
              </a:rPr>
              <a:t>Service user is discharged out of formal services but regularly visits the calm café for peer support with mental health</a:t>
            </a:r>
            <a:endParaRPr lang="en-GB" sz="700" b="1">
              <a:solidFill>
                <a:schemeClr val="tx1">
                  <a:lumMod val="65000"/>
                  <a:lumOff val="35000"/>
                </a:schemeClr>
              </a:solidFill>
              <a:latin typeface="Calibri" panose="020F0502020204030204" pitchFamily="34" charset="0"/>
              <a:cs typeface="Calibri" panose="020F0502020204030204" pitchFamily="34" charset="0"/>
            </a:endParaRPr>
          </a:p>
        </p:txBody>
      </p:sp>
      <p:cxnSp>
        <p:nvCxnSpPr>
          <p:cNvPr id="104" name="Curved Connector 103">
            <a:extLst>
              <a:ext uri="{FF2B5EF4-FFF2-40B4-BE49-F238E27FC236}">
                <a16:creationId xmlns:a16="http://schemas.microsoft.com/office/drawing/2014/main" id="{F81D21BA-60B0-5040-AA78-A160C1D938FD}"/>
              </a:ext>
            </a:extLst>
          </p:cNvPr>
          <p:cNvCxnSpPr>
            <a:cxnSpLocks/>
            <a:stCxn id="79" idx="3"/>
            <a:endCxn id="102" idx="1"/>
          </p:cNvCxnSpPr>
          <p:nvPr/>
        </p:nvCxnSpPr>
        <p:spPr>
          <a:xfrm flipV="1">
            <a:off x="8156247" y="2439691"/>
            <a:ext cx="2572520" cy="4169"/>
          </a:xfrm>
          <a:prstGeom prst="curvedConnector3">
            <a:avLst>
              <a:gd name="adj1" fmla="val 50000"/>
            </a:avLst>
          </a:prstGeom>
          <a:noFill/>
          <a:ln w="57150" cap="flat" cmpd="sng" algn="ctr">
            <a:gradFill>
              <a:gsLst>
                <a:gs pos="100000">
                  <a:srgbClr val="FF0000">
                    <a:alpha val="40555"/>
                  </a:srgbClr>
                </a:gs>
                <a:gs pos="0">
                  <a:srgbClr val="ED7D31">
                    <a:lumMod val="40000"/>
                    <a:lumOff val="60000"/>
                  </a:srgbClr>
                </a:gs>
                <a:gs pos="100000">
                  <a:srgbClr val="ED7D31">
                    <a:lumMod val="60000"/>
                    <a:lumOff val="40000"/>
                  </a:srgbClr>
                </a:gs>
              </a:gsLst>
              <a:lin ang="10800000" scaled="0"/>
            </a:gradFill>
            <a:prstDash val="solid"/>
          </a:ln>
          <a:effectLst/>
        </p:spPr>
      </p:cxnSp>
      <p:sp>
        <p:nvSpPr>
          <p:cNvPr id="107" name="Rectangle 106">
            <a:extLst>
              <a:ext uri="{FF2B5EF4-FFF2-40B4-BE49-F238E27FC236}">
                <a16:creationId xmlns:a16="http://schemas.microsoft.com/office/drawing/2014/main" id="{A230D188-166A-DE44-B5F9-EA1D2E29F232}"/>
              </a:ext>
            </a:extLst>
          </p:cNvPr>
          <p:cNvSpPr/>
          <p:nvPr/>
        </p:nvSpPr>
        <p:spPr>
          <a:xfrm>
            <a:off x="3488838" y="1335602"/>
            <a:ext cx="1105722" cy="440143"/>
          </a:xfrm>
          <a:prstGeom prst="rect">
            <a:avLst/>
          </a:prstGeom>
          <a:ln>
            <a:solidFill>
              <a:srgbClr val="7030A0"/>
            </a:solidFill>
          </a:ln>
        </p:spPr>
        <p:txBody>
          <a:bodyPr wrap="square" anchor="ctr">
            <a:noAutofit/>
          </a:bodyPr>
          <a:lstStyle/>
          <a:p>
            <a:pPr marL="0" marR="0" lvl="0" indent="0" algn="l" defTabSz="121911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595959"/>
                </a:solidFill>
                <a:effectLst/>
                <a:uLnTx/>
                <a:uFillTx/>
                <a:latin typeface="Calibri" panose="020F0502020204030204"/>
                <a:ea typeface="+mn-ea"/>
                <a:cs typeface="Calibri" panose="020F0502020204030204" pitchFamily="34" charset="0"/>
              </a:rPr>
              <a:t>No record of mental ill health found in patient record</a:t>
            </a:r>
          </a:p>
        </p:txBody>
      </p:sp>
      <p:sp>
        <p:nvSpPr>
          <p:cNvPr id="111" name="Rectangle 110">
            <a:extLst>
              <a:ext uri="{FF2B5EF4-FFF2-40B4-BE49-F238E27FC236}">
                <a16:creationId xmlns:a16="http://schemas.microsoft.com/office/drawing/2014/main" id="{09679198-5B7B-6F43-9A86-F7BF54C11423}"/>
              </a:ext>
            </a:extLst>
          </p:cNvPr>
          <p:cNvSpPr/>
          <p:nvPr/>
        </p:nvSpPr>
        <p:spPr>
          <a:xfrm>
            <a:off x="8637285" y="1337517"/>
            <a:ext cx="1392015" cy="440143"/>
          </a:xfrm>
          <a:prstGeom prst="rect">
            <a:avLst/>
          </a:prstGeom>
          <a:ln>
            <a:solidFill>
              <a:srgbClr val="7030A0"/>
            </a:solidFill>
          </a:ln>
        </p:spPr>
        <p:txBody>
          <a:bodyPr wrap="square" anchor="ctr">
            <a:noAutofit/>
          </a:bodyPr>
          <a:lstStyle/>
          <a:p>
            <a:pPr marL="0" marR="0" lvl="0" indent="0" algn="l" defTabSz="121911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595959"/>
                </a:solidFill>
                <a:effectLst/>
                <a:uLnTx/>
                <a:uFillTx/>
                <a:latin typeface="Calibri" panose="020F0502020204030204"/>
                <a:ea typeface="+mn-ea"/>
                <a:cs typeface="Calibri" panose="020F0502020204030204" pitchFamily="34" charset="0"/>
              </a:rPr>
              <a:t>Patient treatment and notes transferred into GP patient record for future reference</a:t>
            </a:r>
          </a:p>
        </p:txBody>
      </p:sp>
      <p:pic>
        <p:nvPicPr>
          <p:cNvPr id="116" name="Graphic 115" descr="Care with solid fill">
            <a:extLst>
              <a:ext uri="{FF2B5EF4-FFF2-40B4-BE49-F238E27FC236}">
                <a16:creationId xmlns:a16="http://schemas.microsoft.com/office/drawing/2014/main" id="{B87DDD47-F543-DE4A-9046-DF6BBC18A82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174560" y="4436441"/>
            <a:ext cx="248400" cy="248400"/>
          </a:xfrm>
          <a:prstGeom prst="rect">
            <a:avLst/>
          </a:prstGeom>
        </p:spPr>
      </p:pic>
      <p:pic>
        <p:nvPicPr>
          <p:cNvPr id="117" name="Graphic 116" descr="Warning with solid fill">
            <a:extLst>
              <a:ext uri="{FF2B5EF4-FFF2-40B4-BE49-F238E27FC236}">
                <a16:creationId xmlns:a16="http://schemas.microsoft.com/office/drawing/2014/main" id="{11505C81-093E-504E-9DEA-4E3299D783F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36947" y="5502855"/>
            <a:ext cx="245282" cy="245282"/>
          </a:xfrm>
          <a:prstGeom prst="rect">
            <a:avLst/>
          </a:prstGeom>
        </p:spPr>
      </p:pic>
      <p:cxnSp>
        <p:nvCxnSpPr>
          <p:cNvPr id="119" name="Curved Connector 118">
            <a:extLst>
              <a:ext uri="{FF2B5EF4-FFF2-40B4-BE49-F238E27FC236}">
                <a16:creationId xmlns:a16="http://schemas.microsoft.com/office/drawing/2014/main" id="{DA762C72-C1CE-A244-A504-B103B6034974}"/>
              </a:ext>
            </a:extLst>
          </p:cNvPr>
          <p:cNvCxnSpPr>
            <a:cxnSpLocks/>
            <a:stCxn id="117" idx="3"/>
            <a:endCxn id="97" idx="1"/>
          </p:cNvCxnSpPr>
          <p:nvPr/>
        </p:nvCxnSpPr>
        <p:spPr>
          <a:xfrm flipV="1">
            <a:off x="7982229" y="5141810"/>
            <a:ext cx="2889051" cy="483686"/>
          </a:xfrm>
          <a:prstGeom prst="curvedConnector3">
            <a:avLst>
              <a:gd name="adj1" fmla="val 71441"/>
            </a:avLst>
          </a:prstGeom>
          <a:noFill/>
          <a:ln w="57150" cap="flat" cmpd="sng" algn="ctr">
            <a:gradFill>
              <a:gsLst>
                <a:gs pos="100000">
                  <a:srgbClr val="FF0000">
                    <a:alpha val="40555"/>
                  </a:srgbClr>
                </a:gs>
                <a:gs pos="0">
                  <a:srgbClr val="ED7D31">
                    <a:lumMod val="40000"/>
                    <a:lumOff val="60000"/>
                  </a:srgbClr>
                </a:gs>
                <a:gs pos="100000">
                  <a:srgbClr val="ED7D31">
                    <a:lumMod val="60000"/>
                    <a:lumOff val="40000"/>
                  </a:srgbClr>
                </a:gs>
              </a:gsLst>
              <a:lin ang="10800000" scaled="0"/>
            </a:gradFill>
            <a:prstDash val="solid"/>
          </a:ln>
          <a:effectLst/>
        </p:spPr>
      </p:cxnSp>
      <p:sp>
        <p:nvSpPr>
          <p:cNvPr id="130" name="TextBox 129">
            <a:extLst>
              <a:ext uri="{FF2B5EF4-FFF2-40B4-BE49-F238E27FC236}">
                <a16:creationId xmlns:a16="http://schemas.microsoft.com/office/drawing/2014/main" id="{755AFF12-C928-B943-97E8-A5BFB5A26E66}"/>
              </a:ext>
            </a:extLst>
          </p:cNvPr>
          <p:cNvSpPr txBox="1"/>
          <p:nvPr/>
        </p:nvSpPr>
        <p:spPr>
          <a:xfrm>
            <a:off x="5413188" y="4597544"/>
            <a:ext cx="1051964" cy="307777"/>
          </a:xfrm>
          <a:prstGeom prst="rect">
            <a:avLst/>
          </a:prstGeom>
          <a:noFill/>
          <a:ln>
            <a:noFill/>
          </a:ln>
        </p:spPr>
        <p:txBody>
          <a:bodyPr wrap="square" rtlCol="0">
            <a:spAutoFit/>
          </a:bodyPr>
          <a:lstStyle/>
          <a:p>
            <a:pPr defTabSz="914377"/>
            <a:r>
              <a:rPr lang="en-US" sz="700" b="1">
                <a:solidFill>
                  <a:srgbClr val="FF0000"/>
                </a:solidFill>
                <a:latin typeface="Calibri" panose="020F0502020204030204" pitchFamily="34" charset="0"/>
                <a:cs typeface="Calibri" panose="020F0502020204030204" pitchFamily="34" charset="0"/>
              </a:rPr>
              <a:t>5. MDT approach to user care is not taken</a:t>
            </a:r>
            <a:endParaRPr lang="en-GB" sz="700" b="1">
              <a:solidFill>
                <a:srgbClr val="FF0000"/>
              </a:solidFill>
              <a:latin typeface="Calibri" panose="020F0502020204030204" pitchFamily="34" charset="0"/>
              <a:cs typeface="Calibri" panose="020F0502020204030204" pitchFamily="34" charset="0"/>
            </a:endParaRPr>
          </a:p>
        </p:txBody>
      </p:sp>
      <p:pic>
        <p:nvPicPr>
          <p:cNvPr id="131" name="Graphic 130" descr="Warning with solid fill">
            <a:extLst>
              <a:ext uri="{FF2B5EF4-FFF2-40B4-BE49-F238E27FC236}">
                <a16:creationId xmlns:a16="http://schemas.microsoft.com/office/drawing/2014/main" id="{778CD5EA-E4F7-F24B-932C-3718FD7632A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22309" y="4319607"/>
            <a:ext cx="245282" cy="245282"/>
          </a:xfrm>
          <a:prstGeom prst="rect">
            <a:avLst/>
          </a:prstGeom>
        </p:spPr>
      </p:pic>
      <p:pic>
        <p:nvPicPr>
          <p:cNvPr id="10" name="Graphic 9" descr="Circles with arrows with solid fill">
            <a:extLst>
              <a:ext uri="{FF2B5EF4-FFF2-40B4-BE49-F238E27FC236}">
                <a16:creationId xmlns:a16="http://schemas.microsoft.com/office/drawing/2014/main" id="{81A46346-07CD-9441-8A87-76EDA7B27567}"/>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396871" y="3436318"/>
            <a:ext cx="1000123" cy="1000123"/>
          </a:xfrm>
          <a:prstGeom prst="rect">
            <a:avLst/>
          </a:prstGeom>
        </p:spPr>
      </p:pic>
      <p:sp>
        <p:nvSpPr>
          <p:cNvPr id="70" name="TextBox 69">
            <a:extLst>
              <a:ext uri="{FF2B5EF4-FFF2-40B4-BE49-F238E27FC236}">
                <a16:creationId xmlns:a16="http://schemas.microsoft.com/office/drawing/2014/main" id="{81FE75F9-1691-FF49-8640-5D396A270990}"/>
              </a:ext>
            </a:extLst>
          </p:cNvPr>
          <p:cNvSpPr txBox="1"/>
          <p:nvPr/>
        </p:nvSpPr>
        <p:spPr>
          <a:xfrm>
            <a:off x="5624456" y="3712594"/>
            <a:ext cx="567755" cy="461665"/>
          </a:xfrm>
          <a:prstGeom prst="rect">
            <a:avLst/>
          </a:prstGeom>
          <a:noFill/>
          <a:ln>
            <a:noFill/>
          </a:ln>
        </p:spPr>
        <p:txBody>
          <a:bodyPr wrap="square" rtlCol="0">
            <a:spAutoFit/>
          </a:bodyPr>
          <a:lstStyle/>
          <a:p>
            <a:pPr algn="ctr" defTabSz="914377"/>
            <a:r>
              <a:rPr lang="en-US" sz="600" b="1">
                <a:solidFill>
                  <a:srgbClr val="FFC1BC"/>
                </a:solidFill>
                <a:latin typeface="Calibri" panose="020F0502020204030204" pitchFamily="34" charset="0"/>
                <a:cs typeface="Calibri" panose="020F0502020204030204" pitchFamily="34" charset="0"/>
              </a:rPr>
              <a:t>‘Revolving door’ between services</a:t>
            </a:r>
            <a:endParaRPr lang="en-GB" sz="600" b="1">
              <a:solidFill>
                <a:srgbClr val="FFC1BC"/>
              </a:solidFill>
              <a:latin typeface="Calibri" panose="020F0502020204030204" pitchFamily="34" charset="0"/>
              <a:cs typeface="Calibri" panose="020F0502020204030204" pitchFamily="34" charset="0"/>
            </a:endParaRPr>
          </a:p>
        </p:txBody>
      </p:sp>
      <p:graphicFrame>
        <p:nvGraphicFramePr>
          <p:cNvPr id="63" name="Table 62">
            <a:extLst>
              <a:ext uri="{FF2B5EF4-FFF2-40B4-BE49-F238E27FC236}">
                <a16:creationId xmlns:a16="http://schemas.microsoft.com/office/drawing/2014/main" id="{8E454842-A0F1-A84F-9FF7-785046FD9ABA}"/>
              </a:ext>
            </a:extLst>
          </p:cNvPr>
          <p:cNvGraphicFramePr>
            <a:graphicFrameLocks noGrp="1"/>
          </p:cNvGraphicFramePr>
          <p:nvPr>
            <p:extLst>
              <p:ext uri="{D42A27DB-BD31-4B8C-83A1-F6EECF244321}">
                <p14:modId xmlns:p14="http://schemas.microsoft.com/office/powerpoint/2010/main" val="3184630733"/>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A"/>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Tree>
    <p:extLst>
      <p:ext uri="{BB962C8B-B14F-4D97-AF65-F5344CB8AC3E}">
        <p14:creationId xmlns:p14="http://schemas.microsoft.com/office/powerpoint/2010/main" val="7943600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7DF49F5-76E4-D045-9AE5-C5DFB0E4B946}"/>
              </a:ext>
            </a:extLst>
          </p:cNvPr>
          <p:cNvSpPr>
            <a:spLocks noGrp="1"/>
          </p:cNvSpPr>
          <p:nvPr>
            <p:ph sz="quarter" idx="10"/>
          </p:nvPr>
        </p:nvSpPr>
        <p:spPr/>
        <p:txBody>
          <a:bodyPr/>
          <a:lstStyle/>
          <a:p>
            <a:r>
              <a:rPr lang="en-GB"/>
              <a:t>Executive summary</a:t>
            </a:r>
          </a:p>
        </p:txBody>
      </p:sp>
      <p:graphicFrame>
        <p:nvGraphicFramePr>
          <p:cNvPr id="7" name="Table 6">
            <a:extLst>
              <a:ext uri="{FF2B5EF4-FFF2-40B4-BE49-F238E27FC236}">
                <a16:creationId xmlns:a16="http://schemas.microsoft.com/office/drawing/2014/main" id="{55491300-71DD-9D4D-9A39-2ECB09F71D19}"/>
              </a:ext>
            </a:extLst>
          </p:cNvPr>
          <p:cNvGraphicFramePr>
            <a:graphicFrameLocks noGrp="1"/>
          </p:cNvGraphicFramePr>
          <p:nvPr>
            <p:extLst>
              <p:ext uri="{D42A27DB-BD31-4B8C-83A1-F6EECF244321}">
                <p14:modId xmlns:p14="http://schemas.microsoft.com/office/powerpoint/2010/main" val="2927800741"/>
              </p:ext>
            </p:extLst>
          </p:nvPr>
        </p:nvGraphicFramePr>
        <p:xfrm>
          <a:off x="1" y="6560723"/>
          <a:ext cx="12191998" cy="297277"/>
        </p:xfrm>
        <a:graphic>
          <a:graphicData uri="http://schemas.openxmlformats.org/drawingml/2006/table">
            <a:tbl>
              <a:tblPr>
                <a:tableStyleId>{5C22544A-7EE6-4342-B048-85BDC9FD1C3A}</a:tableStyleId>
              </a:tblPr>
              <a:tblGrid>
                <a:gridCol w="1741714">
                  <a:extLst>
                    <a:ext uri="{9D8B030D-6E8A-4147-A177-3AD203B41FA5}">
                      <a16:colId xmlns:a16="http://schemas.microsoft.com/office/drawing/2014/main" val="3508502722"/>
                    </a:ext>
                  </a:extLst>
                </a:gridCol>
                <a:gridCol w="1741714">
                  <a:extLst>
                    <a:ext uri="{9D8B030D-6E8A-4147-A177-3AD203B41FA5}">
                      <a16:colId xmlns:a16="http://schemas.microsoft.com/office/drawing/2014/main" val="1894411863"/>
                    </a:ext>
                  </a:extLst>
                </a:gridCol>
                <a:gridCol w="1741714">
                  <a:extLst>
                    <a:ext uri="{9D8B030D-6E8A-4147-A177-3AD203B41FA5}">
                      <a16:colId xmlns:a16="http://schemas.microsoft.com/office/drawing/2014/main" val="1998335409"/>
                    </a:ext>
                  </a:extLst>
                </a:gridCol>
                <a:gridCol w="1741714">
                  <a:extLst>
                    <a:ext uri="{9D8B030D-6E8A-4147-A177-3AD203B41FA5}">
                      <a16:colId xmlns:a16="http://schemas.microsoft.com/office/drawing/2014/main" val="202640554"/>
                    </a:ext>
                  </a:extLst>
                </a:gridCol>
                <a:gridCol w="1741714">
                  <a:extLst>
                    <a:ext uri="{9D8B030D-6E8A-4147-A177-3AD203B41FA5}">
                      <a16:colId xmlns:a16="http://schemas.microsoft.com/office/drawing/2014/main" val="3019704548"/>
                    </a:ext>
                  </a:extLst>
                </a:gridCol>
                <a:gridCol w="1741714">
                  <a:extLst>
                    <a:ext uri="{9D8B030D-6E8A-4147-A177-3AD203B41FA5}">
                      <a16:colId xmlns:a16="http://schemas.microsoft.com/office/drawing/2014/main" val="1364401804"/>
                    </a:ext>
                  </a:extLst>
                </a:gridCol>
                <a:gridCol w="1741714">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C"/>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Tree>
    <p:extLst>
      <p:ext uri="{BB962C8B-B14F-4D97-AF65-F5344CB8AC3E}">
        <p14:creationId xmlns:p14="http://schemas.microsoft.com/office/powerpoint/2010/main" val="381754240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22AF2B-CD1C-8742-ABF2-F47A44879B64}"/>
              </a:ext>
            </a:extLst>
          </p:cNvPr>
          <p:cNvSpPr>
            <a:spLocks noGrp="1"/>
          </p:cNvSpPr>
          <p:nvPr>
            <p:ph type="title"/>
          </p:nvPr>
        </p:nvSpPr>
        <p:spPr/>
        <p:txBody>
          <a:bodyPr/>
          <a:lstStyle/>
          <a:p>
            <a:r>
              <a:rPr lang="en-GB"/>
              <a:t>Mental health &amp; Drug and Alcohol - Challenges</a:t>
            </a:r>
          </a:p>
        </p:txBody>
      </p:sp>
      <p:graphicFrame>
        <p:nvGraphicFramePr>
          <p:cNvPr id="4" name="Table 3">
            <a:extLst>
              <a:ext uri="{FF2B5EF4-FFF2-40B4-BE49-F238E27FC236}">
                <a16:creationId xmlns:a16="http://schemas.microsoft.com/office/drawing/2014/main" id="{D648F469-9FD3-4446-BE3D-9571E81B47CF}"/>
              </a:ext>
            </a:extLst>
          </p:cNvPr>
          <p:cNvGraphicFramePr>
            <a:graphicFrameLocks noGrp="1"/>
          </p:cNvGraphicFramePr>
          <p:nvPr>
            <p:extLst>
              <p:ext uri="{D42A27DB-BD31-4B8C-83A1-F6EECF244321}">
                <p14:modId xmlns:p14="http://schemas.microsoft.com/office/powerpoint/2010/main" val="476283924"/>
              </p:ext>
            </p:extLst>
          </p:nvPr>
        </p:nvGraphicFramePr>
        <p:xfrm>
          <a:off x="510638" y="891443"/>
          <a:ext cx="11082648" cy="5477631"/>
        </p:xfrm>
        <a:graphic>
          <a:graphicData uri="http://schemas.openxmlformats.org/drawingml/2006/table">
            <a:tbl>
              <a:tblPr firstRow="1" bandRow="1">
                <a:tableStyleId>{5C22544A-7EE6-4342-B048-85BDC9FD1C3A}</a:tableStyleId>
              </a:tblPr>
              <a:tblGrid>
                <a:gridCol w="357505">
                  <a:extLst>
                    <a:ext uri="{9D8B030D-6E8A-4147-A177-3AD203B41FA5}">
                      <a16:colId xmlns:a16="http://schemas.microsoft.com/office/drawing/2014/main" val="2182107927"/>
                    </a:ext>
                  </a:extLst>
                </a:gridCol>
                <a:gridCol w="2647943">
                  <a:extLst>
                    <a:ext uri="{9D8B030D-6E8A-4147-A177-3AD203B41FA5}">
                      <a16:colId xmlns:a16="http://schemas.microsoft.com/office/drawing/2014/main" val="3890154832"/>
                    </a:ext>
                  </a:extLst>
                </a:gridCol>
                <a:gridCol w="8077200">
                  <a:extLst>
                    <a:ext uri="{9D8B030D-6E8A-4147-A177-3AD203B41FA5}">
                      <a16:colId xmlns:a16="http://schemas.microsoft.com/office/drawing/2014/main" val="3027385909"/>
                    </a:ext>
                  </a:extLst>
                </a:gridCol>
              </a:tblGrid>
              <a:tr h="255600">
                <a:tc gridSpan="2">
                  <a:txBody>
                    <a:bodyPr/>
                    <a:lstStyle/>
                    <a:p>
                      <a:r>
                        <a:rPr lang="en-GB" sz="1200">
                          <a:solidFill>
                            <a:srgbClr val="50235B"/>
                          </a:solidFill>
                        </a:rPr>
                        <a:t>Common challenges</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hMerge="1">
                  <a:txBody>
                    <a:bodyPr/>
                    <a:lstStyle/>
                    <a:p>
                      <a:r>
                        <a:rPr lang="en-GB" sz="1400">
                          <a:solidFill>
                            <a:srgbClr val="50235B"/>
                          </a:solidFill>
                        </a:rPr>
                        <a:t>Description</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a:txBody>
                    <a:bodyPr/>
                    <a:lstStyle/>
                    <a:p>
                      <a:r>
                        <a:rPr lang="en-GB" sz="1200">
                          <a:solidFill>
                            <a:srgbClr val="50235B"/>
                          </a:solidFill>
                        </a:rPr>
                        <a:t>Description</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extLst>
                  <a:ext uri="{0D108BD9-81ED-4DB2-BD59-A6C34878D82A}">
                    <a16:rowId xmlns:a16="http://schemas.microsoft.com/office/drawing/2014/main" val="611319891"/>
                  </a:ext>
                </a:extLst>
              </a:tr>
              <a:tr h="619233">
                <a:tc>
                  <a:txBody>
                    <a:bodyPr/>
                    <a:lstStyle/>
                    <a:p>
                      <a:pPr algn="ctr"/>
                      <a:r>
                        <a:rPr lang="en-GB" sz="1000" b="1">
                          <a:solidFill>
                            <a:srgbClr val="FF0000"/>
                          </a:solidFill>
                          <a:latin typeface="Arial" panose="020B0604020202020204" pitchFamily="34" charset="0"/>
                          <a:ea typeface="Hiragino Sans CNS W3" panose="020B0300000000000000" pitchFamily="34" charset="-128"/>
                          <a:cs typeface="Arial" panose="020B0604020202020204" pitchFamily="34" charset="0"/>
                        </a:rPr>
                        <a:t>1</a:t>
                      </a:r>
                    </a:p>
                  </a:txBody>
                  <a:tcPr anchor="ctr">
                    <a:lnL w="12700" cap="flat" cmpd="sng" algn="ctr">
                      <a:solidFill>
                        <a:srgbClr val="CCBCD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50" b="1">
                          <a:solidFill>
                            <a:srgbClr val="50235B"/>
                          </a:solidFill>
                          <a:latin typeface="Arial" panose="020B0604020202020204" pitchFamily="34" charset="0"/>
                          <a:cs typeface="Arial" panose="020B0604020202020204" pitchFamily="34" charset="0"/>
                        </a:rPr>
                        <a:t>Initial triage is not conducted by a mental health professional  </a:t>
                      </a:r>
                    </a:p>
                  </a:txBody>
                  <a:tcPr anchor="ctr">
                    <a:lnL w="12700" cap="flat" cmpd="sng" algn="ctr">
                      <a:no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r>
                        <a:rPr lang="en-GB" sz="850">
                          <a:solidFill>
                            <a:schemeClr val="tx1">
                              <a:lumMod val="75000"/>
                              <a:lumOff val="25000"/>
                            </a:schemeClr>
                          </a:solidFill>
                          <a:latin typeface="Arial" panose="020B0604020202020204" pitchFamily="34" charset="0"/>
                          <a:cs typeface="Arial" panose="020B0604020202020204" pitchFamily="34" charset="0"/>
                        </a:rPr>
                        <a:t>Due to limited time and resources, primary care is occasionally ill equipped to effectively treat and manage patients with mental health issues due to limited mental health professionals available across primary care. This can lead to a patient’s initial diagnosis and/or referral not representing the actual needs of the patient, meaning they may be directed to inappropriate care settings. For patients who are self medicating with drugs or alcohol this can mean that when the root causes of their drinking (mental health issues) are not recognised they are sent straight to drug and alcohol services when mental health support may be more appropriate. </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extLst>
                  <a:ext uri="{0D108BD9-81ED-4DB2-BD59-A6C34878D82A}">
                    <a16:rowId xmlns:a16="http://schemas.microsoft.com/office/drawing/2014/main" val="876790404"/>
                  </a:ext>
                </a:extLst>
              </a:tr>
              <a:tr h="6192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2</a:t>
                      </a:r>
                    </a:p>
                  </a:txBody>
                  <a:tcPr anchor="ctr">
                    <a:lnL w="12700" cap="flat" cmpd="sng" algn="ctr">
                      <a:solidFill>
                        <a:srgbClr val="CCBCD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50" b="1">
                          <a:solidFill>
                            <a:srgbClr val="50235B"/>
                          </a:solidFill>
                          <a:latin typeface="Arial" panose="020B0604020202020204" pitchFamily="34" charset="0"/>
                          <a:cs typeface="Arial" panose="020B0604020202020204" pitchFamily="34" charset="0"/>
                        </a:rPr>
                        <a:t>Triage notes / initial diagnosis not shared between mental health and drug and alcohol services</a:t>
                      </a:r>
                    </a:p>
                  </a:txBody>
                  <a:tcPr anchor="ctr">
                    <a:lnL w="12700" cap="flat" cmpd="sng" algn="ctr">
                      <a:no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r>
                        <a:rPr lang="en-GB" sz="850">
                          <a:solidFill>
                            <a:schemeClr val="tx1">
                              <a:lumMod val="75000"/>
                              <a:lumOff val="25000"/>
                            </a:schemeClr>
                          </a:solidFill>
                          <a:latin typeface="Arial" panose="020B0604020202020204" pitchFamily="34" charset="0"/>
                          <a:cs typeface="Arial" panose="020B0604020202020204" pitchFamily="34" charset="0"/>
                        </a:rPr>
                        <a:t>Due to the differing systems in use across primary care and secondary care, there are often delays in sharing patient notes between organisations, meaning that important information may be missing when a patient transfers to a new team or service. This can result in patients having to repeat answers to questions multiple times and results in wasted staff and patient time that could be better spent on other tasks.</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extLst>
                  <a:ext uri="{0D108BD9-81ED-4DB2-BD59-A6C34878D82A}">
                    <a16:rowId xmlns:a16="http://schemas.microsoft.com/office/drawing/2014/main" val="3602947896"/>
                  </a:ext>
                </a:extLst>
              </a:tr>
              <a:tr h="6192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3</a:t>
                      </a:r>
                    </a:p>
                  </a:txBody>
                  <a:tcPr anchor="ctr">
                    <a:lnL w="12700" cap="flat" cmpd="sng" algn="ctr">
                      <a:solidFill>
                        <a:srgbClr val="CCBCD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50" b="1">
                          <a:solidFill>
                            <a:srgbClr val="50235B"/>
                          </a:solidFill>
                          <a:latin typeface="Arial" panose="020B0604020202020204" pitchFamily="34" charset="0"/>
                          <a:cs typeface="Arial" panose="020B0604020202020204" pitchFamily="34" charset="0"/>
                        </a:rPr>
                        <a:t>Service users must repeat triage process multiple times</a:t>
                      </a:r>
                    </a:p>
                  </a:txBody>
                  <a:tcPr anchor="ctr">
                    <a:lnL w="12700" cap="flat" cmpd="sng" algn="ctr">
                      <a:no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50">
                          <a:solidFill>
                            <a:schemeClr val="tx1">
                              <a:lumMod val="75000"/>
                              <a:lumOff val="25000"/>
                            </a:schemeClr>
                          </a:solidFill>
                          <a:latin typeface="Arial" panose="020B0604020202020204" pitchFamily="34" charset="0"/>
                          <a:cs typeface="Arial" panose="020B0604020202020204" pitchFamily="34" charset="0"/>
                        </a:rPr>
                        <a:t>Not only due to data sharing issues, but also due to some of the siloed working seen across the system, patients may have to answer the same set of triage questions multiple times to gain access to appropriate care and support. This is often due to the communication and the limited trust between organisations that appropriate questions have been asked and answers documented in an appropriate way, meaning triage may be completed during every interaction with services. </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extLst>
                  <a:ext uri="{0D108BD9-81ED-4DB2-BD59-A6C34878D82A}">
                    <a16:rowId xmlns:a16="http://schemas.microsoft.com/office/drawing/2014/main" val="4226821869"/>
                  </a:ext>
                </a:extLst>
              </a:tr>
              <a:tr h="8094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4</a:t>
                      </a:r>
                    </a:p>
                  </a:txBody>
                  <a:tcPr anchor="ctr">
                    <a:lnL w="12700" cap="flat" cmpd="sng" algn="ctr">
                      <a:solidFill>
                        <a:srgbClr val="CCBCD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50" b="1" kern="1200">
                          <a:solidFill>
                            <a:srgbClr val="50235B"/>
                          </a:solidFill>
                          <a:latin typeface="Arial" panose="020B0604020202020204" pitchFamily="34" charset="0"/>
                          <a:ea typeface="+mn-ea"/>
                          <a:cs typeface="Arial" panose="020B0604020202020204" pitchFamily="34" charset="0"/>
                        </a:rPr>
                        <a:t>Service users repeatedly bounced between services</a:t>
                      </a:r>
                    </a:p>
                  </a:txBody>
                  <a:tcPr anchor="ctr">
                    <a:lnL w="12700" cap="flat" cmpd="sng" algn="ctr">
                      <a:no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r>
                        <a:rPr lang="en-GB" sz="850">
                          <a:solidFill>
                            <a:schemeClr val="tx1">
                              <a:lumMod val="75000"/>
                              <a:lumOff val="25000"/>
                            </a:schemeClr>
                          </a:solidFill>
                          <a:latin typeface="Arial" panose="020B0604020202020204" pitchFamily="34" charset="0"/>
                          <a:cs typeface="Arial" panose="020B0604020202020204" pitchFamily="34" charset="0"/>
                        </a:rPr>
                        <a:t>The use of pathways across STW can occasionally cause significant challenges to patients who do not have a clear diagnosis as their needs may not be able to be met through a single pathway. The result of this is that patients with complex or unclear needs can be bounced between services, in the case of patients who are drug or alcohol users with mental health issues, this manifests itself in diversion between D&amp;A services and mental health services as patients presenting as alcohol dependant may be determined as having mental health needs causing their alcohol use, but mental health services often insist that the alcohol dependency is tackled prior to addressing mental health concerns – highlighting the ‘revolving door’ identified by staff from across the system. This can have a significant impact on the resilience and experience of service users meaning that when they may require support in future they may not be inclined to ask the system for help.</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extLst>
                  <a:ext uri="{0D108BD9-81ED-4DB2-BD59-A6C34878D82A}">
                    <a16:rowId xmlns:a16="http://schemas.microsoft.com/office/drawing/2014/main" val="597697564"/>
                  </a:ext>
                </a:extLst>
              </a:tr>
              <a:tr h="6192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5</a:t>
                      </a:r>
                    </a:p>
                  </a:txBody>
                  <a:tcPr anchor="ctr">
                    <a:lnL w="12700" cap="flat" cmpd="sng" algn="ctr">
                      <a:solidFill>
                        <a:srgbClr val="CCBCD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50" b="1" kern="1200">
                          <a:solidFill>
                            <a:srgbClr val="50235B"/>
                          </a:solidFill>
                          <a:latin typeface="Arial" panose="020B0604020202020204" pitchFamily="34" charset="0"/>
                          <a:ea typeface="+mn-ea"/>
                          <a:cs typeface="Arial" panose="020B0604020202020204" pitchFamily="34" charset="0"/>
                        </a:rPr>
                        <a:t>MDT approach to service user care is not taken</a:t>
                      </a:r>
                    </a:p>
                  </a:txBody>
                  <a:tcPr anchor="ctr">
                    <a:lnL w="12700" cap="flat" cmpd="sng" algn="ctr">
                      <a:no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r>
                        <a:rPr lang="en-GB" sz="850">
                          <a:solidFill>
                            <a:schemeClr val="tx1">
                              <a:lumMod val="75000"/>
                              <a:lumOff val="25000"/>
                            </a:schemeClr>
                          </a:solidFill>
                          <a:latin typeface="Arial" panose="020B0604020202020204" pitchFamily="34" charset="0"/>
                          <a:cs typeface="Arial" panose="020B0604020202020204" pitchFamily="34" charset="0"/>
                        </a:rPr>
                        <a:t>Service users with complex care, treatment and support needs require the expertise of a range of people in order to receive the most effective and appropriate care, therefore the most effective way for this care to be delivered is through the use of multi-disciplinary teams representing a range of mental and physical health services. This approach allows the patient to be treated holistically and not pushed between services treating one aspect at a time. This approach can reduce the length of time a patient is a user of services and can lead to improved outcomes for patients. </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extLst>
                  <a:ext uri="{0D108BD9-81ED-4DB2-BD59-A6C34878D82A}">
                    <a16:rowId xmlns:a16="http://schemas.microsoft.com/office/drawing/2014/main" val="549323194"/>
                  </a:ext>
                </a:extLst>
              </a:tr>
              <a:tr h="6192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6</a:t>
                      </a:r>
                    </a:p>
                  </a:txBody>
                  <a:tcPr anchor="ctr">
                    <a:lnL w="12700" cap="flat" cmpd="sng" algn="ctr">
                      <a:solidFill>
                        <a:srgbClr val="CCBCD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50" b="1" kern="1200">
                          <a:solidFill>
                            <a:srgbClr val="50235B"/>
                          </a:solidFill>
                          <a:latin typeface="Arial" panose="020B0604020202020204" pitchFamily="34" charset="0"/>
                          <a:ea typeface="+mn-ea"/>
                          <a:cs typeface="Arial" panose="020B0604020202020204" pitchFamily="34" charset="0"/>
                        </a:rPr>
                        <a:t>Service users withdraw from services due to lack of support </a:t>
                      </a:r>
                    </a:p>
                  </a:txBody>
                  <a:tcPr anchor="ctr">
                    <a:lnL w="12700" cap="flat" cmpd="sng" algn="ctr">
                      <a:no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r>
                        <a:rPr lang="en-GB" sz="850">
                          <a:solidFill>
                            <a:schemeClr val="tx1">
                              <a:lumMod val="75000"/>
                              <a:lumOff val="25000"/>
                            </a:schemeClr>
                          </a:solidFill>
                          <a:latin typeface="Arial" panose="020B0604020202020204" pitchFamily="34" charset="0"/>
                          <a:cs typeface="Arial" panose="020B0604020202020204" pitchFamily="34" charset="0"/>
                        </a:rPr>
                        <a:t>Due to the complex pathway and occasional rejection from services that users with multiple issues can face, service users may stop attempting to access services and can disconnect from the support system available. This may results in a deterioration of their condition, resulting in increased use of resources down the line as their needs may become increasingly complex. </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extLst>
                  <a:ext uri="{0D108BD9-81ED-4DB2-BD59-A6C34878D82A}">
                    <a16:rowId xmlns:a16="http://schemas.microsoft.com/office/drawing/2014/main" val="1965175342"/>
                  </a:ext>
                </a:extLst>
              </a:tr>
              <a:tr h="6192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7</a:t>
                      </a:r>
                    </a:p>
                  </a:txBody>
                  <a:tcPr anchor="ctr">
                    <a:lnL w="12700" cap="flat" cmpd="sng" algn="ctr">
                      <a:solidFill>
                        <a:srgbClr val="CCBCD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50" b="1" kern="1200">
                          <a:solidFill>
                            <a:srgbClr val="50235B"/>
                          </a:solidFill>
                          <a:latin typeface="Arial" panose="020B0604020202020204" pitchFamily="34" charset="0"/>
                          <a:ea typeface="+mn-ea"/>
                          <a:cs typeface="Arial" panose="020B0604020202020204" pitchFamily="34" charset="0"/>
                        </a:rPr>
                        <a:t>Limited MH support available for D&amp;A service users. D&amp;A services may provide ad-hoc MH support, if possible. This is inconsistently offered across the system.</a:t>
                      </a:r>
                    </a:p>
                  </a:txBody>
                  <a:tcPr anchor="ctr">
                    <a:lnL w="12700" cap="flat" cmpd="sng" algn="ctr">
                      <a:no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r>
                        <a:rPr lang="en-GB" sz="850">
                          <a:solidFill>
                            <a:schemeClr val="tx1">
                              <a:lumMod val="75000"/>
                              <a:lumOff val="25000"/>
                            </a:schemeClr>
                          </a:solidFill>
                          <a:latin typeface="Arial" panose="020B0604020202020204" pitchFamily="34" charset="0"/>
                          <a:cs typeface="Arial" panose="020B0604020202020204" pitchFamily="34" charset="0"/>
                        </a:rPr>
                        <a:t>Drug and Alcohol services in MPFT are not commissioned to provide psychological support to service users, however where patients have an urgent need that cannot be met in the near term by mental health services, the D&amp;A service often go above and beyond with the extremely limited MH provision available to provide psychological support where possible, however due to the limited resources this can be inconsistently offered. This is not a long term solution as it does not receive direct funding or resources and may impact the other work delivered by drug and alcohol teams. </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extLst>
                  <a:ext uri="{0D108BD9-81ED-4DB2-BD59-A6C34878D82A}">
                    <a16:rowId xmlns:a16="http://schemas.microsoft.com/office/drawing/2014/main" val="2378521350"/>
                  </a:ext>
                </a:extLst>
              </a:tr>
              <a:tr h="6192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8</a:t>
                      </a:r>
                    </a:p>
                  </a:txBody>
                  <a:tcPr anchor="ctr">
                    <a:lnL w="12700" cap="flat" cmpd="sng" algn="ctr">
                      <a:solidFill>
                        <a:srgbClr val="CCBCD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50" b="1" kern="1200">
                          <a:solidFill>
                            <a:srgbClr val="50235B"/>
                          </a:solidFill>
                          <a:latin typeface="Arial" panose="020B0604020202020204" pitchFamily="34" charset="0"/>
                          <a:ea typeface="+mn-ea"/>
                          <a:cs typeface="Arial" panose="020B0604020202020204" pitchFamily="34" charset="0"/>
                        </a:rPr>
                        <a:t>Service users deteriorate further and continue using drugs to self medicate</a:t>
                      </a:r>
                    </a:p>
                  </a:txBody>
                  <a:tcPr anchor="ctr">
                    <a:lnL w="12700" cap="flat" cmpd="sng" algn="ctr">
                      <a:no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r>
                        <a:rPr lang="en-GB" sz="850">
                          <a:solidFill>
                            <a:schemeClr val="tx1">
                              <a:lumMod val="75000"/>
                              <a:lumOff val="25000"/>
                            </a:schemeClr>
                          </a:solidFill>
                          <a:latin typeface="Arial" panose="020B0604020202020204" pitchFamily="34" charset="0"/>
                          <a:cs typeface="Arial" panose="020B0604020202020204" pitchFamily="34" charset="0"/>
                        </a:rPr>
                        <a:t>When patients do not receive the care and support that they need, it has been witnessed that patients can often deteriorate further. In the past a patient with severe psychosis did not receive enough care to meet their needs so moved to harder substances to self medicate as their condition deteriorated, the need for stronger substances resulted in an increased dependence on illicit drugs.</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extLst>
                  <a:ext uri="{0D108BD9-81ED-4DB2-BD59-A6C34878D82A}">
                    <a16:rowId xmlns:a16="http://schemas.microsoft.com/office/drawing/2014/main" val="36007073"/>
                  </a:ext>
                </a:extLst>
              </a:tr>
            </a:tbl>
          </a:graphicData>
        </a:graphic>
      </p:graphicFrame>
      <p:graphicFrame>
        <p:nvGraphicFramePr>
          <p:cNvPr id="5" name="Table 4">
            <a:extLst>
              <a:ext uri="{FF2B5EF4-FFF2-40B4-BE49-F238E27FC236}">
                <a16:creationId xmlns:a16="http://schemas.microsoft.com/office/drawing/2014/main" id="{2AAC0BE0-9B45-574F-AB5A-1E9B342C96CE}"/>
              </a:ext>
            </a:extLst>
          </p:cNvPr>
          <p:cNvGraphicFramePr>
            <a:graphicFrameLocks noGrp="1"/>
          </p:cNvGraphicFramePr>
          <p:nvPr>
            <p:extLst>
              <p:ext uri="{D42A27DB-BD31-4B8C-83A1-F6EECF244321}">
                <p14:modId xmlns:p14="http://schemas.microsoft.com/office/powerpoint/2010/main" val="3184630733"/>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A"/>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Tree>
    <p:extLst>
      <p:ext uri="{BB962C8B-B14F-4D97-AF65-F5344CB8AC3E}">
        <p14:creationId xmlns:p14="http://schemas.microsoft.com/office/powerpoint/2010/main" val="243934865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22AF2B-CD1C-8742-ABF2-F47A44879B64}"/>
              </a:ext>
            </a:extLst>
          </p:cNvPr>
          <p:cNvSpPr>
            <a:spLocks noGrp="1"/>
          </p:cNvSpPr>
          <p:nvPr>
            <p:ph type="title"/>
          </p:nvPr>
        </p:nvSpPr>
        <p:spPr/>
        <p:txBody>
          <a:bodyPr/>
          <a:lstStyle/>
          <a:p>
            <a:r>
              <a:rPr lang="en-GB"/>
              <a:t>Mental health &amp; Drug and Alcohol - Recommendations</a:t>
            </a:r>
          </a:p>
        </p:txBody>
      </p:sp>
      <p:graphicFrame>
        <p:nvGraphicFramePr>
          <p:cNvPr id="2" name="Table 3">
            <a:extLst>
              <a:ext uri="{FF2B5EF4-FFF2-40B4-BE49-F238E27FC236}">
                <a16:creationId xmlns:a16="http://schemas.microsoft.com/office/drawing/2014/main" id="{C936049E-4494-6547-93D5-77CC5AD22A24}"/>
              </a:ext>
            </a:extLst>
          </p:cNvPr>
          <p:cNvGraphicFramePr>
            <a:graphicFrameLocks noGrp="1"/>
          </p:cNvGraphicFramePr>
          <p:nvPr>
            <p:extLst>
              <p:ext uri="{D42A27DB-BD31-4B8C-83A1-F6EECF244321}">
                <p14:modId xmlns:p14="http://schemas.microsoft.com/office/powerpoint/2010/main" val="1196430338"/>
              </p:ext>
            </p:extLst>
          </p:nvPr>
        </p:nvGraphicFramePr>
        <p:xfrm>
          <a:off x="327006" y="904693"/>
          <a:ext cx="11356085" cy="5467095"/>
        </p:xfrm>
        <a:graphic>
          <a:graphicData uri="http://schemas.openxmlformats.org/drawingml/2006/table">
            <a:tbl>
              <a:tblPr firstRow="1" bandRow="1">
                <a:tableStyleId>{5C22544A-7EE6-4342-B048-85BDC9FD1C3A}</a:tableStyleId>
              </a:tblPr>
              <a:tblGrid>
                <a:gridCol w="1665144">
                  <a:extLst>
                    <a:ext uri="{9D8B030D-6E8A-4147-A177-3AD203B41FA5}">
                      <a16:colId xmlns:a16="http://schemas.microsoft.com/office/drawing/2014/main" val="3027385909"/>
                    </a:ext>
                  </a:extLst>
                </a:gridCol>
                <a:gridCol w="7668685">
                  <a:extLst>
                    <a:ext uri="{9D8B030D-6E8A-4147-A177-3AD203B41FA5}">
                      <a16:colId xmlns:a16="http://schemas.microsoft.com/office/drawing/2014/main" val="146490030"/>
                    </a:ext>
                  </a:extLst>
                </a:gridCol>
                <a:gridCol w="252782">
                  <a:extLst>
                    <a:ext uri="{9D8B030D-6E8A-4147-A177-3AD203B41FA5}">
                      <a16:colId xmlns:a16="http://schemas.microsoft.com/office/drawing/2014/main" val="3281156986"/>
                    </a:ext>
                  </a:extLst>
                </a:gridCol>
                <a:gridCol w="252782">
                  <a:extLst>
                    <a:ext uri="{9D8B030D-6E8A-4147-A177-3AD203B41FA5}">
                      <a16:colId xmlns:a16="http://schemas.microsoft.com/office/drawing/2014/main" val="3326262264"/>
                    </a:ext>
                  </a:extLst>
                </a:gridCol>
                <a:gridCol w="252782">
                  <a:extLst>
                    <a:ext uri="{9D8B030D-6E8A-4147-A177-3AD203B41FA5}">
                      <a16:colId xmlns:a16="http://schemas.microsoft.com/office/drawing/2014/main" val="3667195114"/>
                    </a:ext>
                  </a:extLst>
                </a:gridCol>
                <a:gridCol w="252782">
                  <a:extLst>
                    <a:ext uri="{9D8B030D-6E8A-4147-A177-3AD203B41FA5}">
                      <a16:colId xmlns:a16="http://schemas.microsoft.com/office/drawing/2014/main" val="3173161902"/>
                    </a:ext>
                  </a:extLst>
                </a:gridCol>
                <a:gridCol w="252782">
                  <a:extLst>
                    <a:ext uri="{9D8B030D-6E8A-4147-A177-3AD203B41FA5}">
                      <a16:colId xmlns:a16="http://schemas.microsoft.com/office/drawing/2014/main" val="240208723"/>
                    </a:ext>
                  </a:extLst>
                </a:gridCol>
                <a:gridCol w="252782">
                  <a:extLst>
                    <a:ext uri="{9D8B030D-6E8A-4147-A177-3AD203B41FA5}">
                      <a16:colId xmlns:a16="http://schemas.microsoft.com/office/drawing/2014/main" val="642075770"/>
                    </a:ext>
                  </a:extLst>
                </a:gridCol>
                <a:gridCol w="252782">
                  <a:extLst>
                    <a:ext uri="{9D8B030D-6E8A-4147-A177-3AD203B41FA5}">
                      <a16:colId xmlns:a16="http://schemas.microsoft.com/office/drawing/2014/main" val="4258729131"/>
                    </a:ext>
                  </a:extLst>
                </a:gridCol>
                <a:gridCol w="252782">
                  <a:extLst>
                    <a:ext uri="{9D8B030D-6E8A-4147-A177-3AD203B41FA5}">
                      <a16:colId xmlns:a16="http://schemas.microsoft.com/office/drawing/2014/main" val="1160747623"/>
                    </a:ext>
                  </a:extLst>
                </a:gridCol>
              </a:tblGrid>
              <a:tr h="296491">
                <a:tc rowSpan="2">
                  <a:txBody>
                    <a:bodyPr/>
                    <a:lstStyle/>
                    <a:p>
                      <a:r>
                        <a:rPr lang="en-GB" sz="1400">
                          <a:solidFill>
                            <a:srgbClr val="50235B"/>
                          </a:solidFill>
                        </a:rPr>
                        <a:t>Theme</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rowSpan="2">
                  <a:txBody>
                    <a:bodyPr/>
                    <a:lstStyle/>
                    <a:p>
                      <a:r>
                        <a:rPr lang="en-GB" sz="1400">
                          <a:solidFill>
                            <a:srgbClr val="50235B"/>
                          </a:solidFill>
                        </a:rPr>
                        <a:t>Recommendation</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gridSpan="8">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solidFill>
                            <a:srgbClr val="50235B"/>
                          </a:solidFill>
                        </a:rPr>
                        <a:t>Challenge Targeted</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hMerge="1">
                  <a:txBody>
                    <a:bodyPr/>
                    <a:lstStyle/>
                    <a:p>
                      <a:endParaRPr lang="en-GB" sz="1400">
                        <a:solidFill>
                          <a:srgbClr val="50235B"/>
                        </a:solidFill>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hMerge="1">
                  <a:txBody>
                    <a:bodyPr/>
                    <a:lstStyle/>
                    <a:p>
                      <a:endParaRPr lang="en-GB" sz="1400">
                        <a:solidFill>
                          <a:srgbClr val="50235B"/>
                        </a:solidFill>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hMerge="1">
                  <a:txBody>
                    <a:bodyPr/>
                    <a:lstStyle/>
                    <a:p>
                      <a:endParaRPr lang="en-GB" sz="1400">
                        <a:solidFill>
                          <a:srgbClr val="50235B"/>
                        </a:solidFill>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hMerge="1">
                  <a:txBody>
                    <a:bodyPr/>
                    <a:lstStyle/>
                    <a:p>
                      <a:endParaRPr lang="en-GB" sz="1400">
                        <a:solidFill>
                          <a:srgbClr val="50235B"/>
                        </a:solidFill>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hMerge="1">
                  <a:txBody>
                    <a:bodyPr/>
                    <a:lstStyle/>
                    <a:p>
                      <a:endParaRPr lang="en-GB" sz="1400">
                        <a:solidFill>
                          <a:srgbClr val="50235B"/>
                        </a:solidFill>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hMerge="1">
                  <a:txBody>
                    <a:bodyPr/>
                    <a:lstStyle/>
                    <a:p>
                      <a:endParaRPr lang="en-GB" sz="1400">
                        <a:solidFill>
                          <a:srgbClr val="50235B"/>
                        </a:solidFill>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hMerge="1">
                  <a:txBody>
                    <a:bodyPr/>
                    <a:lstStyle/>
                    <a:p>
                      <a:endParaRPr lang="en-GB" sz="1400">
                        <a:solidFill>
                          <a:srgbClr val="50235B"/>
                        </a:solidFill>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extLst>
                  <a:ext uri="{0D108BD9-81ED-4DB2-BD59-A6C34878D82A}">
                    <a16:rowId xmlns:a16="http://schemas.microsoft.com/office/drawing/2014/main" val="783877262"/>
                  </a:ext>
                </a:extLst>
              </a:tr>
              <a:tr h="263105">
                <a:tc vMerge="1">
                  <a:txBody>
                    <a:bodyPr/>
                    <a:lstStyle/>
                    <a:p>
                      <a:r>
                        <a:rPr lang="en-GB" sz="1400">
                          <a:solidFill>
                            <a:srgbClr val="50235B"/>
                          </a:solidFill>
                        </a:rPr>
                        <a:t>Theme</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vMerge="1">
                  <a:txBody>
                    <a:bodyPr/>
                    <a:lstStyle/>
                    <a:p>
                      <a:r>
                        <a:rPr lang="en-GB" sz="1400">
                          <a:solidFill>
                            <a:srgbClr val="50235B"/>
                          </a:solidFill>
                        </a:rPr>
                        <a:t>Recommendation</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a:txBody>
                    <a:bodyPr/>
                    <a:lstStyle/>
                    <a:p>
                      <a:pPr algn="ctr"/>
                      <a:r>
                        <a:rPr lang="en-GB" sz="800" b="1">
                          <a:solidFill>
                            <a:srgbClr val="FF0000"/>
                          </a:solidFill>
                        </a:rPr>
                        <a:t>1</a:t>
                      </a:r>
                    </a:p>
                  </a:txBody>
                  <a:tcPr marL="0" marR="0" marT="0" marB="0"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a:txBody>
                    <a:bodyPr/>
                    <a:lstStyle/>
                    <a:p>
                      <a:pPr algn="ctr"/>
                      <a:r>
                        <a:rPr lang="en-GB" sz="800" b="1">
                          <a:solidFill>
                            <a:srgbClr val="FF0000"/>
                          </a:solidFill>
                        </a:rPr>
                        <a:t>2</a:t>
                      </a:r>
                    </a:p>
                  </a:txBody>
                  <a:tcPr marL="0" marR="0" marT="0" marB="0"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a:txBody>
                    <a:bodyPr/>
                    <a:lstStyle/>
                    <a:p>
                      <a:pPr algn="ctr"/>
                      <a:r>
                        <a:rPr lang="en-GB" sz="800" b="1">
                          <a:solidFill>
                            <a:srgbClr val="FF0000"/>
                          </a:solidFill>
                        </a:rPr>
                        <a:t>3</a:t>
                      </a:r>
                    </a:p>
                  </a:txBody>
                  <a:tcPr marL="0" marR="0" marT="0" marB="0"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a:txBody>
                    <a:bodyPr/>
                    <a:lstStyle/>
                    <a:p>
                      <a:pPr algn="ctr"/>
                      <a:r>
                        <a:rPr lang="en-GB" sz="800" b="1">
                          <a:solidFill>
                            <a:srgbClr val="FF0000"/>
                          </a:solidFill>
                        </a:rPr>
                        <a:t>4</a:t>
                      </a:r>
                    </a:p>
                  </a:txBody>
                  <a:tcPr marL="0" marR="0" marT="0" marB="0"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a:txBody>
                    <a:bodyPr/>
                    <a:lstStyle/>
                    <a:p>
                      <a:pPr algn="ctr"/>
                      <a:r>
                        <a:rPr lang="en-GB" sz="800" b="1">
                          <a:solidFill>
                            <a:srgbClr val="FF0000"/>
                          </a:solidFill>
                        </a:rPr>
                        <a:t>5</a:t>
                      </a:r>
                    </a:p>
                  </a:txBody>
                  <a:tcPr marL="0" marR="0" marT="0" marB="0"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a:txBody>
                    <a:bodyPr/>
                    <a:lstStyle/>
                    <a:p>
                      <a:pPr algn="ctr"/>
                      <a:r>
                        <a:rPr lang="en-GB" sz="800" b="1">
                          <a:solidFill>
                            <a:srgbClr val="FF0000"/>
                          </a:solidFill>
                        </a:rPr>
                        <a:t>6</a:t>
                      </a:r>
                    </a:p>
                  </a:txBody>
                  <a:tcPr marL="0" marR="0" marT="0" marB="0"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a:txBody>
                    <a:bodyPr/>
                    <a:lstStyle/>
                    <a:p>
                      <a:pPr algn="ctr"/>
                      <a:r>
                        <a:rPr lang="en-GB" sz="800" b="1">
                          <a:solidFill>
                            <a:srgbClr val="FF0000"/>
                          </a:solidFill>
                        </a:rPr>
                        <a:t>7</a:t>
                      </a:r>
                    </a:p>
                  </a:txBody>
                  <a:tcPr marL="0" marR="0" marT="0" marB="0"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a:txBody>
                    <a:bodyPr/>
                    <a:lstStyle/>
                    <a:p>
                      <a:pPr algn="ctr"/>
                      <a:r>
                        <a:rPr lang="en-GB" sz="800" b="1">
                          <a:solidFill>
                            <a:srgbClr val="FF0000"/>
                          </a:solidFill>
                        </a:rPr>
                        <a:t>8</a:t>
                      </a:r>
                    </a:p>
                  </a:txBody>
                  <a:tcPr marL="0" marR="0" marT="0" marB="0"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extLst>
                  <a:ext uri="{0D108BD9-81ED-4DB2-BD59-A6C34878D82A}">
                    <a16:rowId xmlns:a16="http://schemas.microsoft.com/office/drawing/2014/main" val="611319891"/>
                  </a:ext>
                </a:extLst>
              </a:tr>
              <a:tr h="979838">
                <a:tc>
                  <a:txBody>
                    <a:bodyPr/>
                    <a:lstStyle/>
                    <a:p>
                      <a:pPr marL="457200" lvl="1" indent="0" algn="l" defTabSz="914400" rtl="0" eaLnBrk="1" latinLnBrk="0" hangingPunct="1">
                        <a:buFont typeface="Arial" panose="020B0604020202020204" pitchFamily="34" charset="0"/>
                        <a:buNone/>
                      </a:pPr>
                      <a:r>
                        <a:rPr lang="en-GB" sz="1000" b="1" kern="1200">
                          <a:solidFill>
                            <a:srgbClr val="50235B"/>
                          </a:solidFill>
                          <a:latin typeface="Arial" panose="020B0604020202020204" pitchFamily="34" charset="0"/>
                          <a:ea typeface="+mn-ea"/>
                          <a:cs typeface="Arial" panose="020B0604020202020204" pitchFamily="34" charset="0"/>
                        </a:rPr>
                        <a:t>MDT working</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r>
                        <a:rPr lang="en-GB" sz="900">
                          <a:solidFill>
                            <a:schemeClr val="tx1">
                              <a:lumMod val="75000"/>
                              <a:lumOff val="25000"/>
                            </a:schemeClr>
                          </a:solidFill>
                          <a:latin typeface="Arial" panose="020B0604020202020204" pitchFamily="34" charset="0"/>
                          <a:cs typeface="Arial" panose="020B0604020202020204" pitchFamily="34" charset="0"/>
                        </a:rPr>
                        <a:t>The biggest challenge for dual diagnosis service users is getting access to the right treatment and support, the use of specific pathways across STW does not make this an easy process. Therefore there is a significant opportunity to create joined up teams consisting of drug and alcohol specialists, mental health specialists and physical health specialists to give service users the most appropriate support possible. Taking this MDT approach to treating patients allows a holistic treatment approach to be used, which has been shown to reduce onward admissions, improve patient outcomes and reduce multiple admissions into A&amp;E, causing a disproportionate drain on resources. </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GB" sz="900" b="1">
                          <a:solidFill>
                            <a:srgbClr val="FF0000"/>
                          </a:solidFill>
                          <a:latin typeface="Arial" panose="020B0604020202020204" pitchFamily="34" charset="0"/>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extLst>
                  <a:ext uri="{0D108BD9-81ED-4DB2-BD59-A6C34878D82A}">
                    <a16:rowId xmlns:a16="http://schemas.microsoft.com/office/drawing/2014/main" val="876790404"/>
                  </a:ext>
                </a:extLst>
              </a:tr>
              <a:tr h="979838">
                <a:tc>
                  <a:txBody>
                    <a:bodyPr/>
                    <a:lstStyle/>
                    <a:p>
                      <a:pPr marL="457200" lvl="1" indent="0" algn="l" defTabSz="914400" rtl="0" eaLnBrk="1" latinLnBrk="0" hangingPunct="1">
                        <a:buFont typeface="Arial" panose="020B0604020202020204" pitchFamily="34" charset="0"/>
                        <a:buNone/>
                      </a:pPr>
                      <a:r>
                        <a:rPr lang="en-GB" sz="1000" b="1" kern="1200">
                          <a:solidFill>
                            <a:srgbClr val="50235B"/>
                          </a:solidFill>
                          <a:latin typeface="Arial" panose="020B0604020202020204" pitchFamily="34" charset="0"/>
                          <a:ea typeface="+mn-ea"/>
                          <a:cs typeface="Arial" panose="020B0604020202020204" pitchFamily="34" charset="0"/>
                        </a:rPr>
                        <a:t>Data sharing</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r>
                        <a:rPr lang="en-GB" sz="900">
                          <a:solidFill>
                            <a:schemeClr val="tx1">
                              <a:lumMod val="75000"/>
                              <a:lumOff val="25000"/>
                            </a:schemeClr>
                          </a:solidFill>
                          <a:latin typeface="Arial" panose="020B0604020202020204" pitchFamily="34" charset="0"/>
                          <a:cs typeface="Arial" panose="020B0604020202020204" pitchFamily="34" charset="0"/>
                        </a:rPr>
                        <a:t>There are significant data sharing challenges across the ICS that need to be explored, one such approach is to streamline the use of RIO and EMIS through tools such as Ardens in the short term to ensure data flows rapidly between organisations and patients are not forced to repeat messages when accessing different services. Secondary to that is investing in a system wide approach to shared patient records through the development of a shared care record across all physical and mental health services supporting collaboration in patient treatmen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extLst>
                  <a:ext uri="{0D108BD9-81ED-4DB2-BD59-A6C34878D82A}">
                    <a16:rowId xmlns:a16="http://schemas.microsoft.com/office/drawing/2014/main" val="3602947896"/>
                  </a:ext>
                </a:extLst>
              </a:tr>
              <a:tr h="979838">
                <a:tc>
                  <a:txBody>
                    <a:bodyPr/>
                    <a:lstStyle/>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1" kern="1200">
                          <a:solidFill>
                            <a:srgbClr val="50235B"/>
                          </a:solidFill>
                          <a:latin typeface="Arial" panose="020B0604020202020204" pitchFamily="34" charset="0"/>
                          <a:ea typeface="+mn-ea"/>
                          <a:cs typeface="Arial" panose="020B0604020202020204" pitchFamily="34" charset="0"/>
                        </a:rPr>
                        <a:t>Staff training</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a:solidFill>
                            <a:schemeClr val="tx1">
                              <a:lumMod val="75000"/>
                              <a:lumOff val="25000"/>
                            </a:schemeClr>
                          </a:solidFill>
                          <a:latin typeface="Arial" panose="020B0604020202020204" pitchFamily="34" charset="0"/>
                          <a:cs typeface="Arial" panose="020B0604020202020204" pitchFamily="34" charset="0"/>
                        </a:rPr>
                        <a:t>Staff training is fundamental to ensure that all staff across health and care settings understand the nuanced behaviours of and approach required to support people with mental health issues. Service users often face difficulty accessing mental health services due to a lack of training and awareness, this is compounded in cases where service users are intense users of drugs or alcohol. Therefore the opportunity remains for significant staff training and awareness campaigns in order to support all staff to better provide support and care to people with poor mental health. </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GB" sz="900" b="1">
                          <a:solidFill>
                            <a:srgbClr val="FF0000"/>
                          </a:solidFill>
                          <a:latin typeface="Arial" panose="020B0604020202020204" pitchFamily="34" charset="0"/>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extLst>
                  <a:ext uri="{0D108BD9-81ED-4DB2-BD59-A6C34878D82A}">
                    <a16:rowId xmlns:a16="http://schemas.microsoft.com/office/drawing/2014/main" val="4226821869"/>
                  </a:ext>
                </a:extLst>
              </a:tr>
              <a:tr h="979838">
                <a:tc>
                  <a:txBody>
                    <a:bodyPr/>
                    <a:lstStyle/>
                    <a:p>
                      <a:pPr marL="457200" lvl="1" indent="0" algn="l" defTabSz="914400" rtl="0" eaLnBrk="1" latinLnBrk="0" hangingPunct="1">
                        <a:buFont typeface="Arial" panose="020B0604020202020204" pitchFamily="34" charset="0"/>
                        <a:buNone/>
                      </a:pPr>
                      <a:r>
                        <a:rPr lang="en-GB" sz="1000" b="1" kern="1200">
                          <a:solidFill>
                            <a:srgbClr val="50235B"/>
                          </a:solidFill>
                          <a:latin typeface="Arial" panose="020B0604020202020204" pitchFamily="34" charset="0"/>
                          <a:ea typeface="+mn-ea"/>
                          <a:cs typeface="Arial" panose="020B0604020202020204" pitchFamily="34" charset="0"/>
                        </a:rPr>
                        <a:t>Service provision</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r>
                        <a:rPr lang="en-GB" sz="900">
                          <a:solidFill>
                            <a:schemeClr val="tx1">
                              <a:lumMod val="75000"/>
                              <a:lumOff val="25000"/>
                            </a:schemeClr>
                          </a:solidFill>
                          <a:latin typeface="Arial" panose="020B0604020202020204" pitchFamily="34" charset="0"/>
                          <a:cs typeface="Arial" panose="020B0604020202020204" pitchFamily="34" charset="0"/>
                        </a:rPr>
                        <a:t>Mental health services face significant demand and capacity challenges, therefore when patients present with drug and alcohol issues it is often easy to refer them to drug and alcohol services, despite these services often not being aimed at resolving the underlying issues. Therefore by increasing the funding and provision to existing services, we can support a more open front door into mental health services, allowing for more people to be treated and reduce the extra burden being placed on peripheral services. </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b="1">
                          <a:solidFill>
                            <a:srgbClr val="FF0000"/>
                          </a:solidFill>
                          <a:latin typeface="Arial" panose="020B0604020202020204" pitchFamily="34" charset="0"/>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b="1">
                          <a:solidFill>
                            <a:srgbClr val="FF0000"/>
                          </a:solidFill>
                          <a:latin typeface="Arial" panose="020B0604020202020204" pitchFamily="34" charset="0"/>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extLst>
                  <a:ext uri="{0D108BD9-81ED-4DB2-BD59-A6C34878D82A}">
                    <a16:rowId xmlns:a16="http://schemas.microsoft.com/office/drawing/2014/main" val="597697564"/>
                  </a:ext>
                </a:extLst>
              </a:tr>
              <a:tr h="979838">
                <a:tc>
                  <a:txBody>
                    <a:bodyPr/>
                    <a:lstStyle/>
                    <a:p>
                      <a:pPr marL="457200" lvl="1" indent="0" algn="l" defTabSz="914400" rtl="0" eaLnBrk="1" latinLnBrk="0" hangingPunct="1">
                        <a:buFont typeface="Arial" panose="020B0604020202020204" pitchFamily="34" charset="0"/>
                        <a:buNone/>
                      </a:pPr>
                      <a:r>
                        <a:rPr lang="en-GB" sz="1000" b="1" kern="1200">
                          <a:solidFill>
                            <a:srgbClr val="50235B"/>
                          </a:solidFill>
                          <a:latin typeface="Arial" panose="020B0604020202020204" pitchFamily="34" charset="0"/>
                          <a:ea typeface="+mn-ea"/>
                          <a:cs typeface="Arial" panose="020B0604020202020204" pitchFamily="34" charset="0"/>
                        </a:rPr>
                        <a:t>Targeted community suppor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r>
                        <a:rPr lang="en-GB" sz="900">
                          <a:solidFill>
                            <a:schemeClr val="tx1">
                              <a:lumMod val="75000"/>
                              <a:lumOff val="25000"/>
                            </a:schemeClr>
                          </a:solidFill>
                          <a:latin typeface="Arial" panose="020B0604020202020204" pitchFamily="34" charset="0"/>
                          <a:cs typeface="Arial" panose="020B0604020202020204" pitchFamily="34" charset="0"/>
                        </a:rPr>
                        <a:t>People with the dual challenges of mental illness as drug or alcohol addiction are among the highest individual users of health and care services across the system. Therefore by providing targeted support services aimed at this specific cohort of patients there could be a reduction in the demand and usage of front line services. This approach is already being taken for high intensity physical health users across blue light services, with a taskforce set up to tackle individuals and support them in the management of their issues. There is therefore an opportunity to join up with physical and mental health services to provide proactive prevention to this cohort of patients – a similar approach in another system has seen a 50% reduction in. drug and alcohol related A&amp;E admissions. </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endParaRPr lang="en-GB" sz="9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extLst>
                  <a:ext uri="{0D108BD9-81ED-4DB2-BD59-A6C34878D82A}">
                    <a16:rowId xmlns:a16="http://schemas.microsoft.com/office/drawing/2014/main" val="549323194"/>
                  </a:ext>
                </a:extLst>
              </a:tr>
            </a:tbl>
          </a:graphicData>
        </a:graphic>
      </p:graphicFrame>
      <p:pic>
        <p:nvPicPr>
          <p:cNvPr id="4" name="Graphic 3" descr="Workflow with solid fill">
            <a:extLst>
              <a:ext uri="{FF2B5EF4-FFF2-40B4-BE49-F238E27FC236}">
                <a16:creationId xmlns:a16="http://schemas.microsoft.com/office/drawing/2014/main" id="{8C82645D-9ADE-4A41-9A2E-E857190F551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27723" y="2772788"/>
            <a:ext cx="324000" cy="324000"/>
          </a:xfrm>
          <a:prstGeom prst="rect">
            <a:avLst/>
          </a:prstGeom>
        </p:spPr>
      </p:pic>
      <p:pic>
        <p:nvPicPr>
          <p:cNvPr id="6" name="Graphic 5" descr="Cheers with solid fill">
            <a:extLst>
              <a:ext uri="{FF2B5EF4-FFF2-40B4-BE49-F238E27FC236}">
                <a16:creationId xmlns:a16="http://schemas.microsoft.com/office/drawing/2014/main" id="{C5AF617B-92CB-9542-9A0C-35701CD71A0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27723" y="1788420"/>
            <a:ext cx="324000" cy="324000"/>
          </a:xfrm>
          <a:prstGeom prst="rect">
            <a:avLst/>
          </a:prstGeom>
        </p:spPr>
      </p:pic>
      <p:pic>
        <p:nvPicPr>
          <p:cNvPr id="7" name="Graphic 6" descr="Classroom with solid fill">
            <a:extLst>
              <a:ext uri="{FF2B5EF4-FFF2-40B4-BE49-F238E27FC236}">
                <a16:creationId xmlns:a16="http://schemas.microsoft.com/office/drawing/2014/main" id="{651E31FA-E743-C349-A6AC-88AC0FEEC43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27723" y="3762238"/>
            <a:ext cx="324000" cy="324000"/>
          </a:xfrm>
          <a:prstGeom prst="rect">
            <a:avLst/>
          </a:prstGeom>
        </p:spPr>
      </p:pic>
      <p:pic>
        <p:nvPicPr>
          <p:cNvPr id="9" name="Graphic 8" descr="List with solid fill">
            <a:extLst>
              <a:ext uri="{FF2B5EF4-FFF2-40B4-BE49-F238E27FC236}">
                <a16:creationId xmlns:a16="http://schemas.microsoft.com/office/drawing/2014/main" id="{B956DB0B-2C7C-7646-92D6-72F8D070F0A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27723" y="4738436"/>
            <a:ext cx="324000" cy="324000"/>
          </a:xfrm>
          <a:prstGeom prst="rect">
            <a:avLst/>
          </a:prstGeom>
        </p:spPr>
      </p:pic>
      <p:pic>
        <p:nvPicPr>
          <p:cNvPr id="11" name="Graphic 10" descr="Neighbourhood with solid fill">
            <a:extLst>
              <a:ext uri="{FF2B5EF4-FFF2-40B4-BE49-F238E27FC236}">
                <a16:creationId xmlns:a16="http://schemas.microsoft.com/office/drawing/2014/main" id="{C2C4BE55-BA94-CD4D-A711-EFC11D118A4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27723" y="5722726"/>
            <a:ext cx="324000" cy="324000"/>
          </a:xfrm>
          <a:prstGeom prst="rect">
            <a:avLst/>
          </a:prstGeom>
        </p:spPr>
      </p:pic>
      <p:graphicFrame>
        <p:nvGraphicFramePr>
          <p:cNvPr id="10" name="Table 9">
            <a:extLst>
              <a:ext uri="{FF2B5EF4-FFF2-40B4-BE49-F238E27FC236}">
                <a16:creationId xmlns:a16="http://schemas.microsoft.com/office/drawing/2014/main" id="{013B358F-6DF7-C348-A7D5-97FD7E6BFAA5}"/>
              </a:ext>
            </a:extLst>
          </p:cNvPr>
          <p:cNvGraphicFramePr>
            <a:graphicFrameLocks noGrp="1"/>
          </p:cNvGraphicFramePr>
          <p:nvPr>
            <p:extLst>
              <p:ext uri="{D42A27DB-BD31-4B8C-83A1-F6EECF244321}">
                <p14:modId xmlns:p14="http://schemas.microsoft.com/office/powerpoint/2010/main" val="3184630733"/>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A"/>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Tree>
    <p:extLst>
      <p:ext uri="{BB962C8B-B14F-4D97-AF65-F5344CB8AC3E}">
        <p14:creationId xmlns:p14="http://schemas.microsoft.com/office/powerpoint/2010/main" val="286254860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3FE2F85-5478-7B4D-A181-E85728796F24}"/>
              </a:ext>
            </a:extLst>
          </p:cNvPr>
          <p:cNvSpPr>
            <a:spLocks noGrp="1"/>
          </p:cNvSpPr>
          <p:nvPr>
            <p:ph sz="quarter" idx="10"/>
          </p:nvPr>
        </p:nvSpPr>
        <p:spPr>
          <a:xfrm>
            <a:off x="1881187" y="1983582"/>
            <a:ext cx="9973355" cy="2890837"/>
          </a:xfrm>
        </p:spPr>
        <p:txBody>
          <a:bodyPr/>
          <a:lstStyle/>
          <a:p>
            <a:r>
              <a:rPr lang="en-GB" sz="6600"/>
              <a:t>Severe Mental Illness Physical Health Checks</a:t>
            </a:r>
          </a:p>
        </p:txBody>
      </p:sp>
      <p:graphicFrame>
        <p:nvGraphicFramePr>
          <p:cNvPr id="3" name="Table 2">
            <a:extLst>
              <a:ext uri="{FF2B5EF4-FFF2-40B4-BE49-F238E27FC236}">
                <a16:creationId xmlns:a16="http://schemas.microsoft.com/office/drawing/2014/main" id="{A96572A6-9767-BD49-9FF6-775664C5B279}"/>
              </a:ext>
            </a:extLst>
          </p:cNvPr>
          <p:cNvGraphicFramePr>
            <a:graphicFrameLocks noGrp="1"/>
          </p:cNvGraphicFramePr>
          <p:nvPr>
            <p:extLst>
              <p:ext uri="{D42A27DB-BD31-4B8C-83A1-F6EECF244321}">
                <p14:modId xmlns:p14="http://schemas.microsoft.com/office/powerpoint/2010/main" val="2622048801"/>
              </p:ext>
            </p:extLst>
          </p:nvPr>
        </p:nvGraphicFramePr>
        <p:xfrm>
          <a:off x="1" y="6560723"/>
          <a:ext cx="12191998" cy="297277"/>
        </p:xfrm>
        <a:graphic>
          <a:graphicData uri="http://schemas.openxmlformats.org/drawingml/2006/table">
            <a:tbl>
              <a:tblPr>
                <a:tableStyleId>{5C22544A-7EE6-4342-B048-85BDC9FD1C3A}</a:tableStyleId>
              </a:tblPr>
              <a:tblGrid>
                <a:gridCol w="1741714">
                  <a:extLst>
                    <a:ext uri="{9D8B030D-6E8A-4147-A177-3AD203B41FA5}">
                      <a16:colId xmlns:a16="http://schemas.microsoft.com/office/drawing/2014/main" val="3508502722"/>
                    </a:ext>
                  </a:extLst>
                </a:gridCol>
                <a:gridCol w="1741714">
                  <a:extLst>
                    <a:ext uri="{9D8B030D-6E8A-4147-A177-3AD203B41FA5}">
                      <a16:colId xmlns:a16="http://schemas.microsoft.com/office/drawing/2014/main" val="1894411863"/>
                    </a:ext>
                  </a:extLst>
                </a:gridCol>
                <a:gridCol w="1741714">
                  <a:extLst>
                    <a:ext uri="{9D8B030D-6E8A-4147-A177-3AD203B41FA5}">
                      <a16:colId xmlns:a16="http://schemas.microsoft.com/office/drawing/2014/main" val="1998335409"/>
                    </a:ext>
                  </a:extLst>
                </a:gridCol>
                <a:gridCol w="1741714">
                  <a:extLst>
                    <a:ext uri="{9D8B030D-6E8A-4147-A177-3AD203B41FA5}">
                      <a16:colId xmlns:a16="http://schemas.microsoft.com/office/drawing/2014/main" val="202640554"/>
                    </a:ext>
                  </a:extLst>
                </a:gridCol>
                <a:gridCol w="1741714">
                  <a:extLst>
                    <a:ext uri="{9D8B030D-6E8A-4147-A177-3AD203B41FA5}">
                      <a16:colId xmlns:a16="http://schemas.microsoft.com/office/drawing/2014/main" val="3019704548"/>
                    </a:ext>
                  </a:extLst>
                </a:gridCol>
                <a:gridCol w="1741714">
                  <a:extLst>
                    <a:ext uri="{9D8B030D-6E8A-4147-A177-3AD203B41FA5}">
                      <a16:colId xmlns:a16="http://schemas.microsoft.com/office/drawing/2014/main" val="1364401804"/>
                    </a:ext>
                  </a:extLst>
                </a:gridCol>
                <a:gridCol w="1741714">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A"/>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Tree>
    <p:extLst>
      <p:ext uri="{BB962C8B-B14F-4D97-AF65-F5344CB8AC3E}">
        <p14:creationId xmlns:p14="http://schemas.microsoft.com/office/powerpoint/2010/main" val="261726065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22AF2B-CD1C-8742-ABF2-F47A44879B64}"/>
              </a:ext>
            </a:extLst>
          </p:cNvPr>
          <p:cNvSpPr>
            <a:spLocks noGrp="1"/>
          </p:cNvSpPr>
          <p:nvPr>
            <p:ph type="title"/>
          </p:nvPr>
        </p:nvSpPr>
        <p:spPr/>
        <p:txBody>
          <a:bodyPr/>
          <a:lstStyle/>
          <a:p>
            <a:r>
              <a:rPr lang="en-GB"/>
              <a:t>SMI Physical health checks – Summary</a:t>
            </a:r>
          </a:p>
        </p:txBody>
      </p:sp>
      <p:sp>
        <p:nvSpPr>
          <p:cNvPr id="28" name="TextBox 27">
            <a:extLst>
              <a:ext uri="{FF2B5EF4-FFF2-40B4-BE49-F238E27FC236}">
                <a16:creationId xmlns:a16="http://schemas.microsoft.com/office/drawing/2014/main" id="{34D14069-3A78-CB4B-9516-37759BDAF618}"/>
              </a:ext>
            </a:extLst>
          </p:cNvPr>
          <p:cNvSpPr txBox="1"/>
          <p:nvPr/>
        </p:nvSpPr>
        <p:spPr>
          <a:xfrm>
            <a:off x="510638" y="1955386"/>
            <a:ext cx="2249334"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50235C"/>
                </a:solidFill>
                <a:effectLst/>
                <a:uLnTx/>
                <a:uFillTx/>
                <a:latin typeface="Arial" panose="020B0604020202020204"/>
                <a:ea typeface="+mn-ea"/>
                <a:cs typeface="+mn-cs"/>
              </a:rPr>
              <a:t>Key recommendations</a:t>
            </a:r>
          </a:p>
        </p:txBody>
      </p:sp>
      <p:sp>
        <p:nvSpPr>
          <p:cNvPr id="36" name="Rectangle 35">
            <a:extLst>
              <a:ext uri="{FF2B5EF4-FFF2-40B4-BE49-F238E27FC236}">
                <a16:creationId xmlns:a16="http://schemas.microsoft.com/office/drawing/2014/main" id="{F0613AF4-B5CC-A042-A76D-31B970DEDD1C}"/>
              </a:ext>
            </a:extLst>
          </p:cNvPr>
          <p:cNvSpPr/>
          <p:nvPr/>
        </p:nvSpPr>
        <p:spPr>
          <a:xfrm>
            <a:off x="510638" y="855283"/>
            <a:ext cx="11348270" cy="8521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200" b="1">
                <a:solidFill>
                  <a:srgbClr val="50235B"/>
                </a:solidFill>
              </a:rPr>
              <a:t>There are 4500 people in Shropshire, Telford &amp; Wrekin on the SMI register suffering from a severe mental illness. These people are more likely than the general population to become unwell with physical illness and have a resulting 13-30 year shorter life expectancy. NHS England mandates that 60% of this group should receive six physical health checks (PHCs) per year, but currently STW are only delivering all six to 28% of SMI patients. This section therefore looks to understand the barriers to delivery of PHCs and suggest tactical recommendations for improvement to support patients to manage their long term physical conditions.  </a:t>
            </a:r>
          </a:p>
        </p:txBody>
      </p:sp>
      <p:graphicFrame>
        <p:nvGraphicFramePr>
          <p:cNvPr id="17" name="Table 16">
            <a:extLst>
              <a:ext uri="{FF2B5EF4-FFF2-40B4-BE49-F238E27FC236}">
                <a16:creationId xmlns:a16="http://schemas.microsoft.com/office/drawing/2014/main" id="{7AA6C9EE-A5E6-8845-9153-F6FCC5726785}"/>
              </a:ext>
            </a:extLst>
          </p:cNvPr>
          <p:cNvGraphicFramePr>
            <a:graphicFrameLocks noGrp="1"/>
          </p:cNvGraphicFramePr>
          <p:nvPr/>
        </p:nvGraphicFramePr>
        <p:xfrm>
          <a:off x="510638" y="2274189"/>
          <a:ext cx="6181107" cy="4286534"/>
        </p:xfrm>
        <a:graphic>
          <a:graphicData uri="http://schemas.openxmlformats.org/drawingml/2006/table">
            <a:tbl>
              <a:tblPr firstRow="1" bandRow="1">
                <a:tableStyleId>{5C22544A-7EE6-4342-B048-85BDC9FD1C3A}</a:tableStyleId>
              </a:tblPr>
              <a:tblGrid>
                <a:gridCol w="818100">
                  <a:extLst>
                    <a:ext uri="{9D8B030D-6E8A-4147-A177-3AD203B41FA5}">
                      <a16:colId xmlns:a16="http://schemas.microsoft.com/office/drawing/2014/main" val="3218774346"/>
                    </a:ext>
                  </a:extLst>
                </a:gridCol>
                <a:gridCol w="1414462">
                  <a:extLst>
                    <a:ext uri="{9D8B030D-6E8A-4147-A177-3AD203B41FA5}">
                      <a16:colId xmlns:a16="http://schemas.microsoft.com/office/drawing/2014/main" val="1877035167"/>
                    </a:ext>
                  </a:extLst>
                </a:gridCol>
                <a:gridCol w="3948545">
                  <a:extLst>
                    <a:ext uri="{9D8B030D-6E8A-4147-A177-3AD203B41FA5}">
                      <a16:colId xmlns:a16="http://schemas.microsoft.com/office/drawing/2014/main" val="1879412206"/>
                    </a:ext>
                  </a:extLst>
                </a:gridCol>
              </a:tblGrid>
              <a:tr h="1026181">
                <a:tc>
                  <a:txBody>
                    <a:bodyPr/>
                    <a:lstStyle/>
                    <a:p>
                      <a:pPr algn="l"/>
                      <a:endParaRPr lang="en-GB" sz="1200" b="1">
                        <a:solidFill>
                          <a:srgbClr val="50235B"/>
                        </a:solidFill>
                        <a:latin typeface="Arial" panose="020B0604020202020204" pitchFamily="34" charset="0"/>
                        <a:cs typeface="Arial" panose="020B0604020202020204" pitchFamily="34" charset="0"/>
                      </a:endParaRPr>
                    </a:p>
                  </a:txBody>
                  <a:tcPr anchor="ctr">
                    <a:lnB w="12700" cap="flat" cmpd="sng" algn="ctr">
                      <a:solidFill>
                        <a:srgbClr val="DFD9E3"/>
                      </a:solidFill>
                      <a:prstDash val="solid"/>
                      <a:round/>
                      <a:headEnd type="none" w="med" len="med"/>
                      <a:tailEnd type="none" w="med" len="med"/>
                    </a:lnB>
                    <a:noFill/>
                  </a:tcPr>
                </a:tc>
                <a:tc>
                  <a:txBody>
                    <a:bodyPr/>
                    <a:lstStyle/>
                    <a:p>
                      <a:pPr algn="l"/>
                      <a:r>
                        <a:rPr lang="en-GB" sz="1200" b="1">
                          <a:solidFill>
                            <a:srgbClr val="50235B"/>
                          </a:solidFill>
                          <a:latin typeface="Arial" panose="020B0604020202020204" pitchFamily="34" charset="0"/>
                          <a:cs typeface="Arial" panose="020B0604020202020204" pitchFamily="34" charset="0"/>
                        </a:rPr>
                        <a:t>Admin Support</a:t>
                      </a:r>
                    </a:p>
                  </a:txBody>
                  <a:tcPr anchor="ctr">
                    <a:lnB w="12700" cap="flat" cmpd="sng" algn="ctr">
                      <a:solidFill>
                        <a:srgbClr val="DFD9E3"/>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a:solidFill>
                            <a:schemeClr val="tx1">
                              <a:lumMod val="65000"/>
                              <a:lumOff val="35000"/>
                            </a:schemeClr>
                          </a:solidFill>
                          <a:effectLst/>
                          <a:latin typeface="Arial" panose="020B0604020202020204" pitchFamily="34" charset="0"/>
                        </a:rPr>
                        <a:t>Commission one Band 4 admin staff through a secondment over the short term to support the multiple administration tasks needed to support the delivery of PHCs.</a:t>
                      </a:r>
                    </a:p>
                  </a:txBody>
                  <a:tcPr anchor="ctr">
                    <a:lnB w="12700" cap="flat" cmpd="sng" algn="ctr">
                      <a:solidFill>
                        <a:srgbClr val="DFD9E3"/>
                      </a:solidFill>
                      <a:prstDash val="solid"/>
                      <a:round/>
                      <a:headEnd type="none" w="med" len="med"/>
                      <a:tailEnd type="none" w="med" len="med"/>
                    </a:lnB>
                    <a:noFill/>
                  </a:tcPr>
                </a:tc>
                <a:extLst>
                  <a:ext uri="{0D108BD9-81ED-4DB2-BD59-A6C34878D82A}">
                    <a16:rowId xmlns:a16="http://schemas.microsoft.com/office/drawing/2014/main" val="1528731931"/>
                  </a:ext>
                </a:extLst>
              </a:tr>
              <a:tr h="1207991">
                <a:tc>
                  <a:txBody>
                    <a:bodyPr/>
                    <a:lstStyle/>
                    <a:p>
                      <a:pPr algn="l"/>
                      <a:endParaRPr lang="en-GB" sz="1200" b="1">
                        <a:solidFill>
                          <a:srgbClr val="50235B"/>
                        </a:solidFill>
                        <a:latin typeface="Arial" panose="020B0604020202020204" pitchFamily="34" charset="0"/>
                        <a:cs typeface="Arial" panose="020B0604020202020204" pitchFamily="34" charset="0"/>
                      </a:endParaRPr>
                    </a:p>
                  </a:txBody>
                  <a:tcPr anchor="ct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l"/>
                      <a:r>
                        <a:rPr lang="en-GB" sz="1200" b="1">
                          <a:solidFill>
                            <a:srgbClr val="50235B"/>
                          </a:solidFill>
                          <a:latin typeface="Arial" panose="020B0604020202020204" pitchFamily="34" charset="0"/>
                          <a:cs typeface="Arial" panose="020B0604020202020204" pitchFamily="34" charset="0"/>
                        </a:rPr>
                        <a:t>Joint Working</a:t>
                      </a:r>
                    </a:p>
                  </a:txBody>
                  <a:tcPr anchor="ct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a:solidFill>
                            <a:schemeClr val="tx1">
                              <a:lumMod val="65000"/>
                              <a:lumOff val="35000"/>
                            </a:schemeClr>
                          </a:solidFill>
                          <a:effectLst/>
                          <a:latin typeface="Arial" panose="020B0604020202020204" pitchFamily="34" charset="0"/>
                        </a:rPr>
                        <a:t>Set up an SMI collaborative working group between MPFT and Primary care to support the dissemination of information, communication and awareness to support the delivery of PHCs. This forum can also be used to raise new innovative ways of delivering SMI PHCs through other touchpoints for SMI patients and through the use of digital technology. </a:t>
                      </a:r>
                    </a:p>
                  </a:txBody>
                  <a:tcPr anchor="ct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extLst>
                  <a:ext uri="{0D108BD9-81ED-4DB2-BD59-A6C34878D82A}">
                    <a16:rowId xmlns:a16="http://schemas.microsoft.com/office/drawing/2014/main" val="2134926600"/>
                  </a:ext>
                </a:extLst>
              </a:tr>
              <a:tr h="1026181">
                <a:tc>
                  <a:txBody>
                    <a:bodyPr/>
                    <a:lstStyle/>
                    <a:p>
                      <a:pPr algn="l" rtl="0" fontAlgn="ctr"/>
                      <a:endParaRPr lang="en-GB" sz="1200" b="1" i="0" u="none" strike="noStrike">
                        <a:solidFill>
                          <a:srgbClr val="50235B"/>
                        </a:solidFill>
                        <a:effectLst/>
                        <a:latin typeface="Arial" panose="020B0604020202020204" pitchFamily="34" charset="0"/>
                        <a:cs typeface="Arial" panose="020B0604020202020204" pitchFamily="34" charset="0"/>
                      </a:endParaRPr>
                    </a:p>
                  </a:txBody>
                  <a:tcPr anchor="ct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l" rtl="0" fontAlgn="ctr"/>
                      <a:r>
                        <a:rPr lang="en-GB" sz="1200" b="1" i="0" u="none" strike="noStrike">
                          <a:solidFill>
                            <a:srgbClr val="50235B"/>
                          </a:solidFill>
                          <a:effectLst/>
                          <a:latin typeface="Arial" panose="020B0604020202020204" pitchFamily="34" charset="0"/>
                          <a:cs typeface="Arial" panose="020B0604020202020204" pitchFamily="34" charset="0"/>
                        </a:rPr>
                        <a:t>Comms and awareness campaign</a:t>
                      </a:r>
                    </a:p>
                  </a:txBody>
                  <a:tcPr anchor="ct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a:solidFill>
                            <a:schemeClr val="tx1">
                              <a:lumMod val="65000"/>
                              <a:lumOff val="35000"/>
                            </a:schemeClr>
                          </a:solidFill>
                          <a:effectLst/>
                          <a:latin typeface="Arial" panose="020B0604020202020204" pitchFamily="34" charset="0"/>
                        </a:rPr>
                        <a:t>Establish a comms and engagement campaign to raise the profile and awareness of the importance and benefits of delivering PHCs through regular messaging to primary care as well as production of coherent information leaflets to be delivered to all SMI patients to improve uptake of SMIs. </a:t>
                      </a:r>
                    </a:p>
                  </a:txBody>
                  <a:tcPr anchor="ct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extLst>
                  <a:ext uri="{0D108BD9-81ED-4DB2-BD59-A6C34878D82A}">
                    <a16:rowId xmlns:a16="http://schemas.microsoft.com/office/drawing/2014/main" val="3152551171"/>
                  </a:ext>
                </a:extLst>
              </a:tr>
              <a:tr h="1026181">
                <a:tc>
                  <a:txBody>
                    <a:bodyPr/>
                    <a:lstStyle/>
                    <a:p>
                      <a:pPr algn="l" rtl="0" fontAlgn="ctr"/>
                      <a:endParaRPr lang="en-GB" sz="1200" b="1" i="0" u="none" strike="noStrike">
                        <a:solidFill>
                          <a:srgbClr val="50235B"/>
                        </a:solidFill>
                        <a:effectLst/>
                        <a:latin typeface="Arial" panose="020B0604020202020204" pitchFamily="34" charset="0"/>
                        <a:cs typeface="Arial" panose="020B0604020202020204" pitchFamily="34" charset="0"/>
                      </a:endParaRPr>
                    </a:p>
                  </a:txBody>
                  <a:tcPr anchor="ctr">
                    <a:lnT w="12700" cap="flat" cmpd="sng" algn="ctr">
                      <a:solidFill>
                        <a:srgbClr val="DFD9E3"/>
                      </a:solidFill>
                      <a:prstDash val="solid"/>
                      <a:round/>
                      <a:headEnd type="none" w="med" len="med"/>
                      <a:tailEnd type="none" w="med" len="med"/>
                    </a:lnT>
                    <a:noFill/>
                  </a:tcPr>
                </a:tc>
                <a:tc>
                  <a:txBody>
                    <a:bodyPr/>
                    <a:lstStyle/>
                    <a:p>
                      <a:pPr algn="l" rtl="0" fontAlgn="ctr"/>
                      <a:r>
                        <a:rPr lang="en-GB" sz="1200" b="1" i="0" u="none" strike="noStrike">
                          <a:solidFill>
                            <a:srgbClr val="50235B"/>
                          </a:solidFill>
                          <a:effectLst/>
                          <a:latin typeface="Arial" panose="020B0604020202020204" pitchFamily="34" charset="0"/>
                          <a:cs typeface="Arial" panose="020B0604020202020204" pitchFamily="34" charset="0"/>
                        </a:rPr>
                        <a:t>Data sharing</a:t>
                      </a:r>
                    </a:p>
                  </a:txBody>
                  <a:tcPr anchor="ctr">
                    <a:lnT w="12700" cap="flat" cmpd="sng" algn="ctr">
                      <a:solidFill>
                        <a:srgbClr val="DFD9E3"/>
                      </a:solidFill>
                      <a:prstDash val="solid"/>
                      <a:round/>
                      <a:headEnd type="none" w="med" len="med"/>
                      <a:tailEnd type="none" w="med" len="med"/>
                    </a:lnT>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a:solidFill>
                            <a:schemeClr val="tx1">
                              <a:lumMod val="65000"/>
                              <a:lumOff val="35000"/>
                            </a:schemeClr>
                          </a:solidFill>
                          <a:effectLst/>
                          <a:latin typeface="Arial" panose="020B0604020202020204" pitchFamily="34" charset="0"/>
                        </a:rPr>
                        <a:t>Explore the use of Ardens across both primary and secondary care to streamline data sharing between RIO and EMIS. </a:t>
                      </a:r>
                    </a:p>
                  </a:txBody>
                  <a:tcPr anchor="ctr">
                    <a:lnT w="12700" cap="flat" cmpd="sng" algn="ctr">
                      <a:solidFill>
                        <a:srgbClr val="DFD9E3"/>
                      </a:solidFill>
                      <a:prstDash val="solid"/>
                      <a:round/>
                      <a:headEnd type="none" w="med" len="med"/>
                      <a:tailEnd type="none" w="med" len="med"/>
                    </a:lnT>
                    <a:noFill/>
                  </a:tcPr>
                </a:tc>
                <a:extLst>
                  <a:ext uri="{0D108BD9-81ED-4DB2-BD59-A6C34878D82A}">
                    <a16:rowId xmlns:a16="http://schemas.microsoft.com/office/drawing/2014/main" val="3038683484"/>
                  </a:ext>
                </a:extLst>
              </a:tr>
            </a:tbl>
          </a:graphicData>
        </a:graphic>
      </p:graphicFrame>
      <p:pic>
        <p:nvPicPr>
          <p:cNvPr id="4" name="Graphic 3" descr="Programmer male with solid fill">
            <a:extLst>
              <a:ext uri="{FF2B5EF4-FFF2-40B4-BE49-F238E27FC236}">
                <a16:creationId xmlns:a16="http://schemas.microsoft.com/office/drawing/2014/main" id="{B27D0968-CC00-E346-BACF-E7F5EE72FF5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2477" y="2555117"/>
            <a:ext cx="432000" cy="432000"/>
          </a:xfrm>
          <a:prstGeom prst="rect">
            <a:avLst/>
          </a:prstGeom>
        </p:spPr>
      </p:pic>
      <p:pic>
        <p:nvPicPr>
          <p:cNvPr id="6" name="Graphic 5" descr="Cheers with solid fill">
            <a:extLst>
              <a:ext uri="{FF2B5EF4-FFF2-40B4-BE49-F238E27FC236}">
                <a16:creationId xmlns:a16="http://schemas.microsoft.com/office/drawing/2014/main" id="{149790EF-2926-EC4F-88B7-AECC44C944C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52477" y="3685968"/>
            <a:ext cx="432000" cy="432000"/>
          </a:xfrm>
          <a:prstGeom prst="rect">
            <a:avLst/>
          </a:prstGeom>
        </p:spPr>
      </p:pic>
      <p:pic>
        <p:nvPicPr>
          <p:cNvPr id="8" name="Graphic 7" descr="Megaphone with solid fill">
            <a:extLst>
              <a:ext uri="{FF2B5EF4-FFF2-40B4-BE49-F238E27FC236}">
                <a16:creationId xmlns:a16="http://schemas.microsoft.com/office/drawing/2014/main" id="{CD568252-B5C7-7A43-A838-CCD2AED5C78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52477" y="4816819"/>
            <a:ext cx="432000" cy="432000"/>
          </a:xfrm>
          <a:prstGeom prst="rect">
            <a:avLst/>
          </a:prstGeom>
        </p:spPr>
      </p:pic>
      <p:pic>
        <p:nvPicPr>
          <p:cNvPr id="11" name="Graphic 10" descr="Cloud Computing with solid fill">
            <a:extLst>
              <a:ext uri="{FF2B5EF4-FFF2-40B4-BE49-F238E27FC236}">
                <a16:creationId xmlns:a16="http://schemas.microsoft.com/office/drawing/2014/main" id="{60E7DBD3-86EA-7E4B-A8CF-FF3A505DFB2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52477" y="5829693"/>
            <a:ext cx="432000" cy="432000"/>
          </a:xfrm>
          <a:prstGeom prst="rect">
            <a:avLst/>
          </a:prstGeom>
        </p:spPr>
      </p:pic>
      <p:sp>
        <p:nvSpPr>
          <p:cNvPr id="43" name="Rectangle 42">
            <a:extLst>
              <a:ext uri="{FF2B5EF4-FFF2-40B4-BE49-F238E27FC236}">
                <a16:creationId xmlns:a16="http://schemas.microsoft.com/office/drawing/2014/main" id="{9FA2E461-6303-4743-8659-4B95D1076B28}"/>
              </a:ext>
            </a:extLst>
          </p:cNvPr>
          <p:cNvSpPr/>
          <p:nvPr/>
        </p:nvSpPr>
        <p:spPr>
          <a:xfrm>
            <a:off x="7257014" y="2226360"/>
            <a:ext cx="4530455" cy="1784692"/>
          </a:xfrm>
          <a:prstGeom prst="rect">
            <a:avLst/>
          </a:prstGeom>
          <a:noFill/>
          <a:ln w="12700" cap="flat" cmpd="sng" algn="ctr">
            <a:noFill/>
            <a:prstDash val="solid"/>
            <a:miter lim="800000"/>
          </a:ln>
          <a:effectLst/>
        </p:spPr>
        <p:txBody>
          <a:bodyPr rtlCol="0" anchor="t"/>
          <a:lstStyle/>
          <a:p>
            <a:pPr lvl="0" defTabSz="685800">
              <a:spcBef>
                <a:spcPts val="300"/>
              </a:spcBef>
              <a:spcAft>
                <a:spcPts val="300"/>
              </a:spcAft>
              <a:defRPr/>
            </a:pPr>
            <a:r>
              <a:rPr lang="en-GB" sz="1100">
                <a:solidFill>
                  <a:schemeClr val="tx1">
                    <a:lumMod val="75000"/>
                    <a:lumOff val="25000"/>
                  </a:schemeClr>
                </a:solidFill>
                <a:latin typeface="Arial" panose="020B0604020202020204" pitchFamily="34" charset="0"/>
                <a:cs typeface="Arial" panose="020B0604020202020204" pitchFamily="34" charset="0"/>
              </a:rPr>
              <a:t>A journey map representing the system pathway for the delivery of SMI physical health checks was produced and analysed: </a:t>
            </a:r>
          </a:p>
          <a:p>
            <a:pPr marL="171450" lvl="0" indent="-171450" defTabSz="685800">
              <a:spcBef>
                <a:spcPts val="300"/>
              </a:spcBef>
              <a:spcAft>
                <a:spcPts val="300"/>
              </a:spcAft>
              <a:buFont typeface="Arial" panose="020B0604020202020204" pitchFamily="34" charset="0"/>
              <a:buChar char="•"/>
              <a:defRPr/>
            </a:pPr>
            <a:r>
              <a:rPr lang="en-GB" sz="1100" b="1">
                <a:solidFill>
                  <a:schemeClr val="tx1">
                    <a:lumMod val="75000"/>
                    <a:lumOff val="25000"/>
                  </a:schemeClr>
                </a:solidFill>
                <a:latin typeface="Arial" panose="020B0604020202020204" pitchFamily="34" charset="0"/>
                <a:cs typeface="Arial" panose="020B0604020202020204" pitchFamily="34" charset="0"/>
              </a:rPr>
              <a:t>8 key challenges </a:t>
            </a:r>
            <a:r>
              <a:rPr lang="en-GB" sz="1100">
                <a:solidFill>
                  <a:schemeClr val="tx1">
                    <a:lumMod val="75000"/>
                    <a:lumOff val="25000"/>
                  </a:schemeClr>
                </a:solidFill>
                <a:latin typeface="Arial" panose="020B0604020202020204" pitchFamily="34" charset="0"/>
                <a:cs typeface="Arial" panose="020B0604020202020204" pitchFamily="34" charset="0"/>
              </a:rPr>
              <a:t>were identified, covering both primary and secondary care challenges.</a:t>
            </a:r>
          </a:p>
          <a:p>
            <a:pPr marL="171450" lvl="0" indent="-171450" defTabSz="685800">
              <a:spcBef>
                <a:spcPts val="300"/>
              </a:spcBef>
              <a:spcAft>
                <a:spcPts val="300"/>
              </a:spcAft>
              <a:buFont typeface="Arial" panose="020B0604020202020204" pitchFamily="34" charset="0"/>
              <a:buChar char="•"/>
              <a:defRPr/>
            </a:pPr>
            <a:r>
              <a:rPr lang="en-GB" sz="1100">
                <a:solidFill>
                  <a:schemeClr val="tx1">
                    <a:lumMod val="75000"/>
                    <a:lumOff val="25000"/>
                  </a:schemeClr>
                </a:solidFill>
                <a:latin typeface="Arial" panose="020B0604020202020204" pitchFamily="34" charset="0"/>
                <a:cs typeface="Arial" panose="020B0604020202020204" pitchFamily="34" charset="0"/>
              </a:rPr>
              <a:t>The most common area of concern for staff in the delivery of SMI PHCs is the </a:t>
            </a:r>
            <a:r>
              <a:rPr lang="en-GB" sz="1100" b="1">
                <a:solidFill>
                  <a:schemeClr val="tx1">
                    <a:lumMod val="75000"/>
                    <a:lumOff val="25000"/>
                  </a:schemeClr>
                </a:solidFill>
                <a:latin typeface="Arial" panose="020B0604020202020204" pitchFamily="34" charset="0"/>
                <a:cs typeface="Arial" panose="020B0604020202020204" pitchFamily="34" charset="0"/>
              </a:rPr>
              <a:t>lack of resources available </a:t>
            </a:r>
            <a:r>
              <a:rPr lang="en-GB" sz="1100">
                <a:solidFill>
                  <a:schemeClr val="tx1">
                    <a:lumMod val="75000"/>
                    <a:lumOff val="25000"/>
                  </a:schemeClr>
                </a:solidFill>
                <a:latin typeface="Arial" panose="020B0604020202020204" pitchFamily="34" charset="0"/>
                <a:cs typeface="Arial" panose="020B0604020202020204" pitchFamily="34" charset="0"/>
              </a:rPr>
              <a:t>to support delivery, which cause a large number of the challenges. </a:t>
            </a:r>
          </a:p>
          <a:p>
            <a:pPr marL="171450" lvl="0" indent="-171450" defTabSz="685800">
              <a:spcBef>
                <a:spcPts val="300"/>
              </a:spcBef>
              <a:spcAft>
                <a:spcPts val="300"/>
              </a:spcAft>
              <a:buFont typeface="Arial" panose="020B0604020202020204" pitchFamily="34" charset="0"/>
              <a:buChar char="•"/>
              <a:defRPr/>
            </a:pPr>
            <a:r>
              <a:rPr lang="en-GB" sz="1100" b="1">
                <a:solidFill>
                  <a:schemeClr val="tx1">
                    <a:lumMod val="75000"/>
                    <a:lumOff val="25000"/>
                  </a:schemeClr>
                </a:solidFill>
                <a:latin typeface="Arial" panose="020B0604020202020204" pitchFamily="34" charset="0"/>
                <a:cs typeface="Arial" panose="020B0604020202020204" pitchFamily="34" charset="0"/>
              </a:rPr>
              <a:t>6 areas have been identified </a:t>
            </a:r>
            <a:r>
              <a:rPr lang="en-GB" sz="1100">
                <a:solidFill>
                  <a:schemeClr val="tx1">
                    <a:lumMod val="75000"/>
                    <a:lumOff val="25000"/>
                  </a:schemeClr>
                </a:solidFill>
                <a:latin typeface="Arial" panose="020B0604020202020204" pitchFamily="34" charset="0"/>
                <a:cs typeface="Arial" panose="020B0604020202020204" pitchFamily="34" charset="0"/>
              </a:rPr>
              <a:t>that require targeted improvement.</a:t>
            </a:r>
          </a:p>
        </p:txBody>
      </p:sp>
      <p:cxnSp>
        <p:nvCxnSpPr>
          <p:cNvPr id="44" name="Straight Connector 43">
            <a:extLst>
              <a:ext uri="{FF2B5EF4-FFF2-40B4-BE49-F238E27FC236}">
                <a16:creationId xmlns:a16="http://schemas.microsoft.com/office/drawing/2014/main" id="{0CBE68EF-8C37-444F-9ACF-F60BB8DD6EB2}"/>
              </a:ext>
            </a:extLst>
          </p:cNvPr>
          <p:cNvCxnSpPr>
            <a:cxnSpLocks/>
          </p:cNvCxnSpPr>
          <p:nvPr/>
        </p:nvCxnSpPr>
        <p:spPr>
          <a:xfrm>
            <a:off x="7111241" y="1886366"/>
            <a:ext cx="0" cy="448378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82462555-6D83-5F42-B00A-C71F74BA439F}"/>
              </a:ext>
            </a:extLst>
          </p:cNvPr>
          <p:cNvSpPr txBox="1"/>
          <p:nvPr/>
        </p:nvSpPr>
        <p:spPr>
          <a:xfrm>
            <a:off x="7257014" y="1886366"/>
            <a:ext cx="2839905"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50235C"/>
                </a:solidFill>
                <a:effectLst/>
                <a:uLnTx/>
                <a:uFillTx/>
                <a:latin typeface="Arial" panose="020B0604020202020204"/>
                <a:ea typeface="+mn-ea"/>
                <a:cs typeface="+mn-cs"/>
              </a:rPr>
              <a:t>Summary of findings</a:t>
            </a:r>
          </a:p>
        </p:txBody>
      </p:sp>
      <p:cxnSp>
        <p:nvCxnSpPr>
          <p:cNvPr id="46" name="Straight Connector 45">
            <a:extLst>
              <a:ext uri="{FF2B5EF4-FFF2-40B4-BE49-F238E27FC236}">
                <a16:creationId xmlns:a16="http://schemas.microsoft.com/office/drawing/2014/main" id="{FD48E642-115E-8748-97E3-DD8E4689B409}"/>
              </a:ext>
            </a:extLst>
          </p:cNvPr>
          <p:cNvCxnSpPr>
            <a:cxnSpLocks/>
          </p:cNvCxnSpPr>
          <p:nvPr/>
        </p:nvCxnSpPr>
        <p:spPr>
          <a:xfrm>
            <a:off x="7111241" y="4190022"/>
            <a:ext cx="456384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7C7F9D18-3DD2-8947-B99E-74744E3B4921}"/>
              </a:ext>
            </a:extLst>
          </p:cNvPr>
          <p:cNvSpPr txBox="1"/>
          <p:nvPr/>
        </p:nvSpPr>
        <p:spPr>
          <a:xfrm>
            <a:off x="7257014" y="4326633"/>
            <a:ext cx="2839905"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50235C"/>
                </a:solidFill>
                <a:effectLst/>
                <a:uLnTx/>
                <a:uFillTx/>
                <a:latin typeface="Arial" panose="020B0604020202020204"/>
                <a:ea typeface="+mn-ea"/>
                <a:cs typeface="+mn-cs"/>
              </a:rPr>
              <a:t>Next steps</a:t>
            </a:r>
          </a:p>
        </p:txBody>
      </p:sp>
      <p:sp>
        <p:nvSpPr>
          <p:cNvPr id="48" name="Rectangle 47">
            <a:extLst>
              <a:ext uri="{FF2B5EF4-FFF2-40B4-BE49-F238E27FC236}">
                <a16:creationId xmlns:a16="http://schemas.microsoft.com/office/drawing/2014/main" id="{1273F835-6474-9543-B3FA-EAC9E523486D}"/>
              </a:ext>
            </a:extLst>
          </p:cNvPr>
          <p:cNvSpPr/>
          <p:nvPr/>
        </p:nvSpPr>
        <p:spPr>
          <a:xfrm>
            <a:off x="7257013" y="4711455"/>
            <a:ext cx="4530449" cy="1573161"/>
          </a:xfrm>
          <a:prstGeom prst="rect">
            <a:avLst/>
          </a:prstGeom>
          <a:noFill/>
          <a:ln w="12700" cap="flat" cmpd="sng" algn="ctr">
            <a:noFill/>
            <a:prstDash val="solid"/>
            <a:miter lim="800000"/>
          </a:ln>
          <a:effectLst/>
        </p:spPr>
        <p:txBody>
          <a:bodyPr rtlCol="0" anchor="t"/>
          <a:lstStyle/>
          <a:p>
            <a:pPr marL="171450" marR="0" lvl="0" indent="-1714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The recommendations from this patient journey map will be integrated into the mental health roadmap that has been developed to support the ICS. </a:t>
            </a:r>
          </a:p>
          <a:p>
            <a:pPr marL="171450" marR="0" lvl="0" indent="-1714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100">
                <a:solidFill>
                  <a:schemeClr val="tx1">
                    <a:lumMod val="75000"/>
                    <a:lumOff val="25000"/>
                  </a:schemeClr>
                </a:solidFill>
                <a:latin typeface="Arial" panose="020B0604020202020204" pitchFamily="34" charset="0"/>
                <a:cs typeface="Arial" panose="020B0604020202020204" pitchFamily="34" charset="0"/>
              </a:rPr>
              <a:t>The journey map, recommendations and challenges produced will be shared with mental health and drug and alcohol teams to support the move to closer, more aligned working between teams. </a:t>
            </a:r>
            <a:endPar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graphicFrame>
        <p:nvGraphicFramePr>
          <p:cNvPr id="16" name="Table 15">
            <a:extLst>
              <a:ext uri="{FF2B5EF4-FFF2-40B4-BE49-F238E27FC236}">
                <a16:creationId xmlns:a16="http://schemas.microsoft.com/office/drawing/2014/main" id="{2F5FFB69-B118-5D47-8BE4-2AFDA670B99A}"/>
              </a:ext>
            </a:extLst>
          </p:cNvPr>
          <p:cNvGraphicFramePr>
            <a:graphicFrameLocks noGrp="1"/>
          </p:cNvGraphicFramePr>
          <p:nvPr>
            <p:extLst>
              <p:ext uri="{D42A27DB-BD31-4B8C-83A1-F6EECF244321}">
                <p14:modId xmlns:p14="http://schemas.microsoft.com/office/powerpoint/2010/main" val="3184630733"/>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A"/>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Tree>
    <p:extLst>
      <p:ext uri="{BB962C8B-B14F-4D97-AF65-F5344CB8AC3E}">
        <p14:creationId xmlns:p14="http://schemas.microsoft.com/office/powerpoint/2010/main" val="11180669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48B3020-D094-314E-A4FA-EC823FC49D30}"/>
              </a:ext>
            </a:extLst>
          </p:cNvPr>
          <p:cNvSpPr/>
          <p:nvPr/>
        </p:nvSpPr>
        <p:spPr>
          <a:xfrm>
            <a:off x="9389950" y="1919902"/>
            <a:ext cx="2358602" cy="4402872"/>
          </a:xfrm>
          <a:prstGeom prst="rect">
            <a:avLst/>
          </a:prstGeom>
          <a:solidFill>
            <a:srgbClr val="F0ECF3"/>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100"/>
              </a:spcBef>
              <a:spcAft>
                <a:spcPts val="100"/>
              </a:spcAft>
            </a:pPr>
            <a:r>
              <a:rPr lang="en-GB" sz="1070" b="1">
                <a:solidFill>
                  <a:srgbClr val="50235B"/>
                </a:solidFill>
              </a:rPr>
              <a:t>What are other areas doing?</a:t>
            </a:r>
          </a:p>
        </p:txBody>
      </p:sp>
      <p:sp>
        <p:nvSpPr>
          <p:cNvPr id="15" name="TextBox 14">
            <a:extLst>
              <a:ext uri="{FF2B5EF4-FFF2-40B4-BE49-F238E27FC236}">
                <a16:creationId xmlns:a16="http://schemas.microsoft.com/office/drawing/2014/main" id="{344024B8-4780-414B-916D-6D41148D4E98}"/>
              </a:ext>
            </a:extLst>
          </p:cNvPr>
          <p:cNvSpPr txBox="1"/>
          <p:nvPr/>
        </p:nvSpPr>
        <p:spPr>
          <a:xfrm>
            <a:off x="9389951" y="2229346"/>
            <a:ext cx="2358602" cy="4093428"/>
          </a:xfrm>
          <a:prstGeom prst="rect">
            <a:avLst/>
          </a:prstGeom>
          <a:noFill/>
        </p:spPr>
        <p:txBody>
          <a:bodyPr wrap="square" rtlCol="0">
            <a:spAutoFit/>
          </a:bodyPr>
          <a:lstStyle/>
          <a:p>
            <a:r>
              <a:rPr lang="en-GB" sz="1000">
                <a:solidFill>
                  <a:schemeClr val="tx1">
                    <a:lumMod val="75000"/>
                    <a:lumOff val="25000"/>
                  </a:schemeClr>
                </a:solidFill>
              </a:rPr>
              <a:t>	NHSE/I South East 	applied for and won 	funding by NHSX to run a pilot scheme across the region to improve the delivery of SMI PHCs across all six ICSs. This funding was used to support the deployment of project managers across each ICS to drive forward a programme of work aimed at increasing the rate of fully completed SMI PHCs from a low of 22% to a target of 40% in the space of 6 months. </a:t>
            </a:r>
          </a:p>
          <a:p>
            <a:r>
              <a:rPr lang="en-GB" sz="1000">
                <a:solidFill>
                  <a:schemeClr val="tx1">
                    <a:lumMod val="75000"/>
                    <a:lumOff val="25000"/>
                  </a:schemeClr>
                </a:solidFill>
              </a:rPr>
              <a:t>This programme produced a roadmap for each ICS consisting of key recommendations for improvement which where then implemented. These focused on key areas of:</a:t>
            </a:r>
          </a:p>
          <a:p>
            <a:pPr marL="171450" indent="-171450">
              <a:buFont typeface="Arial" panose="020B0604020202020204" pitchFamily="34" charset="0"/>
              <a:buChar char="•"/>
            </a:pPr>
            <a:r>
              <a:rPr lang="en-GB" sz="1000">
                <a:solidFill>
                  <a:schemeClr val="tx1">
                    <a:lumMod val="75000"/>
                    <a:lumOff val="25000"/>
                  </a:schemeClr>
                </a:solidFill>
              </a:rPr>
              <a:t>Raising the profile and awareness of PHCs to both patients and staff</a:t>
            </a:r>
          </a:p>
          <a:p>
            <a:pPr marL="171450" indent="-171450">
              <a:buFont typeface="Arial" panose="020B0604020202020204" pitchFamily="34" charset="0"/>
              <a:buChar char="•"/>
            </a:pPr>
            <a:r>
              <a:rPr lang="en-GB" sz="1000">
                <a:solidFill>
                  <a:schemeClr val="tx1">
                    <a:lumMod val="75000"/>
                    <a:lumOff val="25000"/>
                  </a:schemeClr>
                </a:solidFill>
              </a:rPr>
              <a:t>Delivery of PHCs in a more flexible way through the use of joined up working and digital technology</a:t>
            </a:r>
          </a:p>
          <a:p>
            <a:pPr marL="171450" indent="-171450">
              <a:buFont typeface="Arial" panose="020B0604020202020204" pitchFamily="34" charset="0"/>
              <a:buChar char="•"/>
            </a:pPr>
            <a:r>
              <a:rPr lang="en-GB" sz="1000">
                <a:solidFill>
                  <a:schemeClr val="tx1">
                    <a:lumMod val="75000"/>
                    <a:lumOff val="25000"/>
                  </a:schemeClr>
                </a:solidFill>
              </a:rPr>
              <a:t>Improvement in interoperability and data sharing between organisations. </a:t>
            </a:r>
          </a:p>
        </p:txBody>
      </p:sp>
      <p:sp>
        <p:nvSpPr>
          <p:cNvPr id="3" name="Title 2">
            <a:extLst>
              <a:ext uri="{FF2B5EF4-FFF2-40B4-BE49-F238E27FC236}">
                <a16:creationId xmlns:a16="http://schemas.microsoft.com/office/drawing/2014/main" id="{0A22AF2B-CD1C-8742-ABF2-F47A44879B64}"/>
              </a:ext>
            </a:extLst>
          </p:cNvPr>
          <p:cNvSpPr>
            <a:spLocks noGrp="1"/>
          </p:cNvSpPr>
          <p:nvPr>
            <p:ph type="title"/>
          </p:nvPr>
        </p:nvSpPr>
        <p:spPr/>
        <p:txBody>
          <a:bodyPr/>
          <a:lstStyle/>
          <a:p>
            <a:r>
              <a:rPr lang="en-GB"/>
              <a:t>SMI Physical health checks</a:t>
            </a:r>
          </a:p>
        </p:txBody>
      </p:sp>
      <p:sp>
        <p:nvSpPr>
          <p:cNvPr id="7" name="TextBox 6">
            <a:extLst>
              <a:ext uri="{FF2B5EF4-FFF2-40B4-BE49-F238E27FC236}">
                <a16:creationId xmlns:a16="http://schemas.microsoft.com/office/drawing/2014/main" id="{892E9E0C-01FC-1740-9B08-C381AC69FDD1}"/>
              </a:ext>
            </a:extLst>
          </p:cNvPr>
          <p:cNvSpPr txBox="1"/>
          <p:nvPr/>
        </p:nvSpPr>
        <p:spPr>
          <a:xfrm>
            <a:off x="510638" y="829020"/>
            <a:ext cx="10976145" cy="1015663"/>
          </a:xfrm>
          <a:prstGeom prst="rect">
            <a:avLst/>
          </a:prstGeom>
          <a:noFill/>
        </p:spPr>
        <p:txBody>
          <a:bodyPr wrap="square" rtlCol="0">
            <a:spAutoFit/>
          </a:bodyPr>
          <a:lstStyle>
            <a:defPPr>
              <a:defRPr lang="en-US"/>
            </a:defPPr>
            <a:lvl1pPr marL="285750" indent="-285750">
              <a:buFont typeface="Arial" panose="020B0604020202020204" pitchFamily="34" charset="0"/>
              <a:buChar char="•"/>
              <a:defRPr sz="1050"/>
            </a:lvl1pPr>
          </a:lstStyle>
          <a:p>
            <a:pPr marL="0" indent="0">
              <a:buNone/>
            </a:pPr>
            <a:r>
              <a:rPr lang="en-GB" sz="1200" b="1">
                <a:solidFill>
                  <a:srgbClr val="50235C"/>
                </a:solidFill>
              </a:rPr>
              <a:t>People with Severe Mental Illness experience higher excess morbidity and mortality rates than the general population. About 60% of that excess mortality is reportedly attributable to physical illness largely from premature cardiovascular disease, suicide’ a ‘mortality gap’ of between 13-30 years has been reported between SMI patients and the wider population. In addition anti-psychotic medication has been proven to cause further excess harm (morbidity and mortality. The annual cost to the NHS, assuming a prevalence of SMI of 0.9%, was estimated at £2.82 billion in 2019 terms. Conducting annual SMI Physical Health Checks is a way of targeting this high risk population in order to reduce these problems. </a:t>
            </a:r>
          </a:p>
        </p:txBody>
      </p:sp>
      <p:grpSp>
        <p:nvGrpSpPr>
          <p:cNvPr id="14" name="Group 13">
            <a:extLst>
              <a:ext uri="{FF2B5EF4-FFF2-40B4-BE49-F238E27FC236}">
                <a16:creationId xmlns:a16="http://schemas.microsoft.com/office/drawing/2014/main" id="{7E0C9EB7-7642-F546-A346-6CCC7A35A777}"/>
              </a:ext>
            </a:extLst>
          </p:cNvPr>
          <p:cNvGrpSpPr/>
          <p:nvPr/>
        </p:nvGrpSpPr>
        <p:grpSpPr>
          <a:xfrm>
            <a:off x="510636" y="1924451"/>
            <a:ext cx="8568965" cy="2317738"/>
            <a:chOff x="4782787" y="1094608"/>
            <a:chExt cx="4065938" cy="1738304"/>
          </a:xfrm>
        </p:grpSpPr>
        <p:sp>
          <p:nvSpPr>
            <p:cNvPr id="19" name="Rectangle 18">
              <a:extLst>
                <a:ext uri="{FF2B5EF4-FFF2-40B4-BE49-F238E27FC236}">
                  <a16:creationId xmlns:a16="http://schemas.microsoft.com/office/drawing/2014/main" id="{1487E005-8D68-734A-B5E9-05BC79427B74}"/>
                </a:ext>
              </a:extLst>
            </p:cNvPr>
            <p:cNvSpPr/>
            <p:nvPr/>
          </p:nvSpPr>
          <p:spPr>
            <a:xfrm>
              <a:off x="4782787" y="1094608"/>
              <a:ext cx="4065938" cy="199823"/>
            </a:xfrm>
            <a:prstGeom prst="rect">
              <a:avLst/>
            </a:prstGeom>
            <a:solidFill>
              <a:srgbClr val="F0ECF3"/>
            </a:solidFill>
            <a:ln w="9525" cap="flat" cmpd="sng" algn="ctr">
              <a:solidFill>
                <a:srgbClr val="F0ECF3"/>
              </a:solidFill>
              <a:prstDash val="solid"/>
              <a:miter lim="800000"/>
            </a:ln>
            <a:effectLst/>
          </p:spPr>
          <p:txBody>
            <a:bodyPr rtlCol="0" anchor="ctr"/>
            <a:lstStyle/>
            <a:p>
              <a:pPr defTabSz="914377">
                <a:defRPr/>
              </a:pPr>
              <a:r>
                <a:rPr lang="en-GB" sz="1067" b="1">
                  <a:solidFill>
                    <a:srgbClr val="50235B"/>
                  </a:solidFill>
                  <a:latin typeface="Arial" panose="020B0604020202020204"/>
                </a:rPr>
                <a:t>Facts and Figures</a:t>
              </a:r>
            </a:p>
          </p:txBody>
        </p:sp>
        <p:sp>
          <p:nvSpPr>
            <p:cNvPr id="20" name="Rectangle 19">
              <a:extLst>
                <a:ext uri="{FF2B5EF4-FFF2-40B4-BE49-F238E27FC236}">
                  <a16:creationId xmlns:a16="http://schemas.microsoft.com/office/drawing/2014/main" id="{F250A382-7342-3346-864D-36D4AD8152D1}"/>
                </a:ext>
              </a:extLst>
            </p:cNvPr>
            <p:cNvSpPr/>
            <p:nvPr/>
          </p:nvSpPr>
          <p:spPr>
            <a:xfrm>
              <a:off x="4782787" y="1294431"/>
              <a:ext cx="4065938" cy="1538481"/>
            </a:xfrm>
            <a:prstGeom prst="rect">
              <a:avLst/>
            </a:prstGeom>
            <a:noFill/>
            <a:ln w="3175">
              <a:solidFill>
                <a:srgbClr val="F0ECF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0" indent="-285750">
                <a:spcBef>
                  <a:spcPts val="300"/>
                </a:spcBef>
                <a:spcAft>
                  <a:spcPts val="300"/>
                </a:spcAft>
                <a:buFont typeface="Arial" panose="020B0604020202020204" pitchFamily="34" charset="0"/>
                <a:buChar char="•"/>
              </a:pPr>
              <a:r>
                <a:rPr lang="en-GB" sz="1050">
                  <a:solidFill>
                    <a:srgbClr val="000000">
                      <a:lumMod val="75000"/>
                      <a:lumOff val="25000"/>
                    </a:srgbClr>
                  </a:solidFill>
                </a:rPr>
                <a:t>Smoking is the largest avoidable cause of premature death, with more than </a:t>
              </a:r>
              <a:r>
                <a:rPr lang="en-GB" sz="1050" b="1">
                  <a:solidFill>
                    <a:srgbClr val="000000">
                      <a:lumMod val="75000"/>
                      <a:lumOff val="25000"/>
                    </a:srgbClr>
                  </a:solidFill>
                </a:rPr>
                <a:t>40% of adults with SMI smoking</a:t>
              </a:r>
              <a:r>
                <a:rPr lang="en-GB" sz="1050">
                  <a:solidFill>
                    <a:srgbClr val="000000">
                      <a:lumMod val="75000"/>
                      <a:lumOff val="25000"/>
                    </a:srgbClr>
                  </a:solidFill>
                </a:rPr>
                <a:t>. Individuals with SMI also have </a:t>
              </a:r>
              <a:r>
                <a:rPr lang="en-GB" sz="1050" b="1">
                  <a:solidFill>
                    <a:srgbClr val="000000">
                      <a:lumMod val="75000"/>
                      <a:lumOff val="25000"/>
                    </a:srgbClr>
                  </a:solidFill>
                </a:rPr>
                <a:t>double the risk of obesity and diabetes</a:t>
              </a:r>
              <a:r>
                <a:rPr lang="en-GB" sz="1050">
                  <a:solidFill>
                    <a:srgbClr val="000000">
                      <a:lumMod val="75000"/>
                      <a:lumOff val="25000"/>
                    </a:srgbClr>
                  </a:solidFill>
                </a:rPr>
                <a:t>, </a:t>
              </a:r>
              <a:r>
                <a:rPr lang="en-GB" sz="1050" b="1">
                  <a:solidFill>
                    <a:srgbClr val="000000">
                      <a:lumMod val="75000"/>
                      <a:lumOff val="25000"/>
                    </a:srgbClr>
                  </a:solidFill>
                </a:rPr>
                <a:t>three times the risk of hypertension</a:t>
              </a:r>
              <a:r>
                <a:rPr lang="en-GB" sz="1050">
                  <a:solidFill>
                    <a:srgbClr val="000000">
                      <a:lumMod val="75000"/>
                      <a:lumOff val="25000"/>
                    </a:srgbClr>
                  </a:solidFill>
                </a:rPr>
                <a:t> and metabolic syndrome, and </a:t>
              </a:r>
              <a:r>
                <a:rPr lang="en-GB" sz="1050" b="1">
                  <a:solidFill>
                    <a:srgbClr val="000000">
                      <a:lumMod val="75000"/>
                      <a:lumOff val="25000"/>
                    </a:srgbClr>
                  </a:solidFill>
                </a:rPr>
                <a:t>five times the risk of dyslipidaemia</a:t>
              </a:r>
              <a:r>
                <a:rPr lang="en-GB" sz="1050">
                  <a:solidFill>
                    <a:srgbClr val="000000">
                      <a:lumMod val="75000"/>
                      <a:lumOff val="25000"/>
                    </a:srgbClr>
                  </a:solidFill>
                </a:rPr>
                <a:t> (imbalance of lipids in the bloodstream) than the general population.</a:t>
              </a:r>
            </a:p>
            <a:p>
              <a:pPr marL="285750" lvl="0" indent="-285750">
                <a:spcBef>
                  <a:spcPts val="300"/>
                </a:spcBef>
                <a:spcAft>
                  <a:spcPts val="300"/>
                </a:spcAft>
                <a:buFont typeface="Arial" panose="020B0604020202020204" pitchFamily="34" charset="0"/>
                <a:buChar char="•"/>
              </a:pPr>
              <a:r>
                <a:rPr lang="en-GB" sz="1050">
                  <a:solidFill>
                    <a:srgbClr val="000000">
                      <a:lumMod val="75000"/>
                      <a:lumOff val="25000"/>
                    </a:srgbClr>
                  </a:solidFill>
                </a:rPr>
                <a:t>Physical health checks (PHC) </a:t>
              </a:r>
              <a:r>
                <a:rPr lang="en-GB" sz="1050" b="1">
                  <a:solidFill>
                    <a:srgbClr val="000000">
                      <a:lumMod val="75000"/>
                      <a:lumOff val="25000"/>
                    </a:srgbClr>
                  </a:solidFill>
                </a:rPr>
                <a:t>should be offered to 60% </a:t>
              </a:r>
              <a:r>
                <a:rPr lang="en-GB" sz="1050">
                  <a:solidFill>
                    <a:srgbClr val="000000">
                      <a:lumMod val="75000"/>
                      <a:lumOff val="25000"/>
                    </a:srgbClr>
                  </a:solidFill>
                </a:rPr>
                <a:t>of SMI patients however STW CCG </a:t>
              </a:r>
              <a:r>
                <a:rPr lang="en-GB" sz="1050" b="1">
                  <a:solidFill>
                    <a:srgbClr val="000000">
                      <a:lumMod val="75000"/>
                      <a:lumOff val="25000"/>
                    </a:srgbClr>
                  </a:solidFill>
                </a:rPr>
                <a:t>currently only </a:t>
              </a:r>
              <a:r>
                <a:rPr lang="en-GB" sz="1050">
                  <a:solidFill>
                    <a:srgbClr val="000000">
                      <a:lumMod val="75000"/>
                      <a:lumOff val="25000"/>
                    </a:srgbClr>
                  </a:solidFill>
                </a:rPr>
                <a:t>offers PHCs to </a:t>
              </a:r>
              <a:r>
                <a:rPr lang="en-GB" sz="1050" b="1">
                  <a:solidFill>
                    <a:srgbClr val="000000">
                      <a:lumMod val="75000"/>
                      <a:lumOff val="25000"/>
                    </a:srgbClr>
                  </a:solidFill>
                </a:rPr>
                <a:t>28% of patients.</a:t>
              </a:r>
            </a:p>
            <a:p>
              <a:pPr marL="285750" lvl="0" indent="-285750">
                <a:spcBef>
                  <a:spcPts val="300"/>
                </a:spcBef>
                <a:spcAft>
                  <a:spcPts val="300"/>
                </a:spcAft>
                <a:buFont typeface="Arial" panose="020B0604020202020204" pitchFamily="34" charset="0"/>
                <a:buChar char="•"/>
              </a:pPr>
              <a:r>
                <a:rPr lang="en-GB" sz="1050">
                  <a:solidFill>
                    <a:srgbClr val="000000">
                      <a:lumMod val="75000"/>
                      <a:lumOff val="25000"/>
                    </a:srgbClr>
                  </a:solidFill>
                </a:rPr>
                <a:t>Evidence from other areas previously indicate that a significant number of the low SMI performance numbers are down to physical health </a:t>
              </a:r>
              <a:r>
                <a:rPr lang="en-GB" sz="1050" b="1">
                  <a:solidFill>
                    <a:srgbClr val="000000">
                      <a:lumMod val="75000"/>
                      <a:lumOff val="25000"/>
                    </a:srgbClr>
                  </a:solidFill>
                </a:rPr>
                <a:t>checks not being reported correctly</a:t>
              </a:r>
              <a:r>
                <a:rPr lang="en-GB" sz="1050">
                  <a:solidFill>
                    <a:srgbClr val="000000">
                      <a:lumMod val="75000"/>
                      <a:lumOff val="25000"/>
                    </a:srgbClr>
                  </a:solidFill>
                </a:rPr>
                <a:t>, coded correctly or shared correctly with Primary Care.</a:t>
              </a:r>
            </a:p>
            <a:p>
              <a:pPr marL="285750" lvl="0" indent="-285750">
                <a:spcBef>
                  <a:spcPts val="300"/>
                </a:spcBef>
                <a:spcAft>
                  <a:spcPts val="300"/>
                </a:spcAft>
                <a:buFont typeface="Arial" panose="020B0604020202020204" pitchFamily="34" charset="0"/>
                <a:buChar char="•"/>
              </a:pPr>
              <a:r>
                <a:rPr lang="en-GB" sz="1050">
                  <a:solidFill>
                    <a:srgbClr val="000000">
                      <a:lumMod val="75000"/>
                      <a:lumOff val="25000"/>
                    </a:srgbClr>
                  </a:solidFill>
                </a:rPr>
                <a:t>Although 82.7% of GP practices allow patients to book appointments online, only 26.4% of patients are registered to manage appointments online, representing a </a:t>
              </a:r>
              <a:r>
                <a:rPr lang="en-GB" sz="1050" b="1">
                  <a:solidFill>
                    <a:srgbClr val="000000">
                      <a:lumMod val="75000"/>
                      <a:lumOff val="25000"/>
                    </a:srgbClr>
                  </a:solidFill>
                </a:rPr>
                <a:t>gap in people’s ability to manage their own SMI appointments</a:t>
              </a:r>
              <a:r>
                <a:rPr lang="en-GB" sz="1050">
                  <a:solidFill>
                    <a:srgbClr val="000000">
                      <a:lumMod val="75000"/>
                      <a:lumOff val="25000"/>
                    </a:srgbClr>
                  </a:solidFill>
                </a:rPr>
                <a:t>.</a:t>
              </a:r>
            </a:p>
            <a:p>
              <a:pPr marL="285750" lvl="0" indent="-285750">
                <a:spcBef>
                  <a:spcPts val="300"/>
                </a:spcBef>
                <a:spcAft>
                  <a:spcPts val="300"/>
                </a:spcAft>
                <a:buFont typeface="Arial" panose="020B0604020202020204" pitchFamily="34" charset="0"/>
                <a:buChar char="•"/>
              </a:pPr>
              <a:r>
                <a:rPr lang="en-GB" sz="1050">
                  <a:solidFill>
                    <a:srgbClr val="000000">
                      <a:lumMod val="75000"/>
                      <a:lumOff val="25000"/>
                    </a:srgbClr>
                  </a:solidFill>
                </a:rPr>
                <a:t>There are approximately 4500 patients in STW living with an Severe Mental Illness who are currently on the SMI register. </a:t>
              </a:r>
            </a:p>
          </p:txBody>
        </p:sp>
      </p:grpSp>
      <p:grpSp>
        <p:nvGrpSpPr>
          <p:cNvPr id="22" name="Group 21">
            <a:extLst>
              <a:ext uri="{FF2B5EF4-FFF2-40B4-BE49-F238E27FC236}">
                <a16:creationId xmlns:a16="http://schemas.microsoft.com/office/drawing/2014/main" id="{FDED7D77-F4ED-FD4A-8B1A-B87096F5A636}"/>
              </a:ext>
            </a:extLst>
          </p:cNvPr>
          <p:cNvGrpSpPr/>
          <p:nvPr/>
        </p:nvGrpSpPr>
        <p:grpSpPr>
          <a:xfrm>
            <a:off x="510636" y="4311010"/>
            <a:ext cx="8568965" cy="2011756"/>
            <a:chOff x="4782787" y="1094608"/>
            <a:chExt cx="4065938" cy="1508821"/>
          </a:xfrm>
        </p:grpSpPr>
        <p:sp>
          <p:nvSpPr>
            <p:cNvPr id="23" name="Rectangle 22">
              <a:extLst>
                <a:ext uri="{FF2B5EF4-FFF2-40B4-BE49-F238E27FC236}">
                  <a16:creationId xmlns:a16="http://schemas.microsoft.com/office/drawing/2014/main" id="{8BFA237E-7528-0642-B2F3-2659AE43B0BC}"/>
                </a:ext>
              </a:extLst>
            </p:cNvPr>
            <p:cNvSpPr/>
            <p:nvPr/>
          </p:nvSpPr>
          <p:spPr>
            <a:xfrm>
              <a:off x="4782787" y="1094608"/>
              <a:ext cx="4065938" cy="199823"/>
            </a:xfrm>
            <a:prstGeom prst="rect">
              <a:avLst/>
            </a:prstGeom>
            <a:solidFill>
              <a:srgbClr val="F0ECF3"/>
            </a:solidFill>
            <a:ln w="9525" cap="flat" cmpd="sng" algn="ctr">
              <a:solidFill>
                <a:srgbClr val="F0ECF3"/>
              </a:solidFill>
              <a:prstDash val="solid"/>
              <a:miter lim="800000"/>
            </a:ln>
            <a:effectLst/>
          </p:spPr>
          <p:txBody>
            <a:bodyPr rtlCol="0" anchor="ctr"/>
            <a:lstStyle/>
            <a:p>
              <a:pPr defTabSz="914377">
                <a:defRPr/>
              </a:pPr>
              <a:r>
                <a:rPr lang="en-GB" sz="1067" b="1">
                  <a:solidFill>
                    <a:srgbClr val="50235B"/>
                  </a:solidFill>
                  <a:latin typeface="Arial" panose="020B0604020202020204"/>
                </a:rPr>
                <a:t>Stakeholder Insights</a:t>
              </a:r>
            </a:p>
          </p:txBody>
        </p:sp>
        <p:sp>
          <p:nvSpPr>
            <p:cNvPr id="24" name="Rectangle 23">
              <a:extLst>
                <a:ext uri="{FF2B5EF4-FFF2-40B4-BE49-F238E27FC236}">
                  <a16:creationId xmlns:a16="http://schemas.microsoft.com/office/drawing/2014/main" id="{71660C57-FF23-C648-B333-F05E77884992}"/>
                </a:ext>
              </a:extLst>
            </p:cNvPr>
            <p:cNvSpPr/>
            <p:nvPr/>
          </p:nvSpPr>
          <p:spPr>
            <a:xfrm>
              <a:off x="4782787" y="1294431"/>
              <a:ext cx="4065938" cy="1308998"/>
            </a:xfrm>
            <a:prstGeom prst="rect">
              <a:avLst/>
            </a:prstGeom>
            <a:noFill/>
            <a:ln w="3175">
              <a:solidFill>
                <a:srgbClr val="F0ECF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0" indent="-285750">
                <a:spcBef>
                  <a:spcPts val="400"/>
                </a:spcBef>
                <a:spcAft>
                  <a:spcPts val="400"/>
                </a:spcAft>
                <a:buFont typeface="Arial" panose="020B0604020202020204" pitchFamily="34" charset="0"/>
                <a:buChar char="•"/>
              </a:pPr>
              <a:r>
                <a:rPr lang="en-GB" sz="1050">
                  <a:solidFill>
                    <a:srgbClr val="000000">
                      <a:lumMod val="75000"/>
                      <a:lumOff val="25000"/>
                    </a:srgbClr>
                  </a:solidFill>
                </a:rPr>
                <a:t>NHS England: “Effective primary care teams will offer a multi-disciplinary approach to improving physical healthcare for people with SMI in recognition of the need to deliver a holistic approach to care planning and follow-up”</a:t>
              </a:r>
            </a:p>
            <a:p>
              <a:pPr marL="285750" lvl="0" indent="-285750">
                <a:spcBef>
                  <a:spcPts val="400"/>
                </a:spcBef>
                <a:spcAft>
                  <a:spcPts val="400"/>
                </a:spcAft>
                <a:buFont typeface="Arial" panose="020B0604020202020204" pitchFamily="34" charset="0"/>
                <a:buChar char="•"/>
              </a:pPr>
              <a:r>
                <a:rPr lang="en-GB" sz="1050" b="1">
                  <a:solidFill>
                    <a:srgbClr val="000000">
                      <a:lumMod val="75000"/>
                      <a:lumOff val="25000"/>
                    </a:srgbClr>
                  </a:solidFill>
                </a:rPr>
                <a:t>EMIS and RIO aren’t connected </a:t>
              </a:r>
              <a:r>
                <a:rPr lang="en-GB" sz="1050">
                  <a:solidFill>
                    <a:srgbClr val="000000">
                      <a:lumMod val="75000"/>
                      <a:lumOff val="25000"/>
                    </a:srgbClr>
                  </a:solidFill>
                </a:rPr>
                <a:t>so primary care and secondary care have a limited ability to share patient information / patient records.</a:t>
              </a:r>
            </a:p>
            <a:p>
              <a:pPr marL="285750" lvl="0" indent="-285750">
                <a:spcBef>
                  <a:spcPts val="400"/>
                </a:spcBef>
                <a:spcAft>
                  <a:spcPts val="400"/>
                </a:spcAft>
                <a:buFont typeface="Arial" panose="020B0604020202020204" pitchFamily="34" charset="0"/>
                <a:buChar char="•"/>
              </a:pPr>
              <a:r>
                <a:rPr lang="en-GB" sz="1050">
                  <a:solidFill>
                    <a:srgbClr val="000000">
                      <a:lumMod val="75000"/>
                      <a:lumOff val="25000"/>
                    </a:srgbClr>
                  </a:solidFill>
                </a:rPr>
                <a:t>Primary care and mental health services have </a:t>
              </a:r>
              <a:r>
                <a:rPr lang="en-GB" sz="1050" b="1">
                  <a:solidFill>
                    <a:srgbClr val="000000">
                      <a:lumMod val="75000"/>
                      <a:lumOff val="25000"/>
                    </a:srgbClr>
                  </a:solidFill>
                </a:rPr>
                <a:t>limited lines of communication and MDT working</a:t>
              </a:r>
              <a:r>
                <a:rPr lang="en-GB" sz="1050">
                  <a:solidFill>
                    <a:srgbClr val="000000">
                      <a:lumMod val="75000"/>
                      <a:lumOff val="25000"/>
                    </a:srgbClr>
                  </a:solidFill>
                </a:rPr>
                <a:t>, meaning Primary Care clinicians have limited ability to know  what MH treatment their patient is receiving once they have been referred. </a:t>
              </a:r>
            </a:p>
            <a:p>
              <a:pPr marL="285750" lvl="0" indent="-285750">
                <a:spcBef>
                  <a:spcPts val="400"/>
                </a:spcBef>
                <a:spcAft>
                  <a:spcPts val="400"/>
                </a:spcAft>
                <a:buFont typeface="Arial" panose="020B0604020202020204" pitchFamily="34" charset="0"/>
                <a:buChar char="•"/>
              </a:pPr>
              <a:r>
                <a:rPr lang="en-GB" sz="1050" b="1">
                  <a:solidFill>
                    <a:srgbClr val="000000">
                      <a:lumMod val="75000"/>
                      <a:lumOff val="25000"/>
                    </a:srgbClr>
                  </a:solidFill>
                </a:rPr>
                <a:t>High ‘Did Not Attend’ rates </a:t>
              </a:r>
              <a:r>
                <a:rPr lang="en-GB" sz="1050">
                  <a:solidFill>
                    <a:srgbClr val="000000">
                      <a:lumMod val="75000"/>
                      <a:lumOff val="25000"/>
                    </a:srgbClr>
                  </a:solidFill>
                </a:rPr>
                <a:t>are often seen with PHC clinics due to patients forgetting or not understanding the importance of the PHC. </a:t>
              </a:r>
            </a:p>
            <a:p>
              <a:pPr marL="285750" lvl="0" indent="-285750">
                <a:spcBef>
                  <a:spcPts val="400"/>
                </a:spcBef>
                <a:spcAft>
                  <a:spcPts val="400"/>
                </a:spcAft>
                <a:buFont typeface="Arial" panose="020B0604020202020204" pitchFamily="34" charset="0"/>
                <a:buChar char="•"/>
              </a:pPr>
              <a:r>
                <a:rPr lang="en-GB" sz="1050" b="1">
                  <a:solidFill>
                    <a:srgbClr val="000000">
                      <a:lumMod val="75000"/>
                      <a:lumOff val="25000"/>
                    </a:srgbClr>
                  </a:solidFill>
                </a:rPr>
                <a:t>Staff awareness and training </a:t>
              </a:r>
              <a:r>
                <a:rPr lang="en-GB" sz="1050">
                  <a:solidFill>
                    <a:srgbClr val="000000">
                      <a:lumMod val="75000"/>
                      <a:lumOff val="25000"/>
                    </a:srgbClr>
                  </a:solidFill>
                </a:rPr>
                <a:t>of the importance of PHCs is limited across the system meaning PHC are often not seen as a priority. </a:t>
              </a:r>
            </a:p>
          </p:txBody>
        </p:sp>
      </p:grpSp>
      <p:pic>
        <p:nvPicPr>
          <p:cNvPr id="13" name="Picture 2" descr="NHS England - Allen Lane">
            <a:extLst>
              <a:ext uri="{FF2B5EF4-FFF2-40B4-BE49-F238E27FC236}">
                <a16:creationId xmlns:a16="http://schemas.microsoft.com/office/drawing/2014/main" id="{0BD19296-42F0-4A42-974E-F0C16F07BE6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9730" t="32108" r="32103" b="31591"/>
          <a:stretch/>
        </p:blipFill>
        <p:spPr bwMode="auto">
          <a:xfrm>
            <a:off x="9493245" y="2304911"/>
            <a:ext cx="418198" cy="257671"/>
          </a:xfrm>
          <a:prstGeom prst="rect">
            <a:avLst/>
          </a:prstGeom>
          <a:noFill/>
          <a:extLst>
            <a:ext uri="{909E8E84-426E-40DD-AFC4-6F175D3DCCD1}">
              <a14:hiddenFill xmlns:a14="http://schemas.microsoft.com/office/drawing/2010/main">
                <a:solidFill>
                  <a:srgbClr val="FFFFFF"/>
                </a:solidFill>
              </a14:hiddenFill>
            </a:ext>
          </a:extLst>
        </p:spPr>
      </p:pic>
      <p:pic>
        <p:nvPicPr>
          <p:cNvPr id="43012" name="Picture 4" descr="NHSX (@NHSX) / Twitter">
            <a:extLst>
              <a:ext uri="{FF2B5EF4-FFF2-40B4-BE49-F238E27FC236}">
                <a16:creationId xmlns:a16="http://schemas.microsoft.com/office/drawing/2014/main" id="{B53A4A10-45AC-734F-88F5-A5759BBD323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8492" t="35025" r="8000" b="36352"/>
          <a:stretch/>
        </p:blipFill>
        <p:spPr bwMode="auto">
          <a:xfrm>
            <a:off x="9911443" y="2539713"/>
            <a:ext cx="418199" cy="14334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6" name="Table 15">
            <a:extLst>
              <a:ext uri="{FF2B5EF4-FFF2-40B4-BE49-F238E27FC236}">
                <a16:creationId xmlns:a16="http://schemas.microsoft.com/office/drawing/2014/main" id="{848D89A5-B4C5-8747-865D-80640F24FD38}"/>
              </a:ext>
            </a:extLst>
          </p:cNvPr>
          <p:cNvGraphicFramePr>
            <a:graphicFrameLocks noGrp="1"/>
          </p:cNvGraphicFramePr>
          <p:nvPr>
            <p:extLst>
              <p:ext uri="{D42A27DB-BD31-4B8C-83A1-F6EECF244321}">
                <p14:modId xmlns:p14="http://schemas.microsoft.com/office/powerpoint/2010/main" val="3184630733"/>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A"/>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Tree>
    <p:extLst>
      <p:ext uri="{BB962C8B-B14F-4D97-AF65-F5344CB8AC3E}">
        <p14:creationId xmlns:p14="http://schemas.microsoft.com/office/powerpoint/2010/main" val="40981035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22AF2B-CD1C-8742-ABF2-F47A44879B64}"/>
              </a:ext>
            </a:extLst>
          </p:cNvPr>
          <p:cNvSpPr>
            <a:spLocks noGrp="1"/>
          </p:cNvSpPr>
          <p:nvPr>
            <p:ph type="title"/>
          </p:nvPr>
        </p:nvSpPr>
        <p:spPr/>
        <p:txBody>
          <a:bodyPr/>
          <a:lstStyle/>
          <a:p>
            <a:r>
              <a:rPr lang="en-GB"/>
              <a:t>SMI Physical health checks</a:t>
            </a:r>
          </a:p>
        </p:txBody>
      </p:sp>
      <p:pic>
        <p:nvPicPr>
          <p:cNvPr id="12" name="Picture 11">
            <a:extLst>
              <a:ext uri="{FF2B5EF4-FFF2-40B4-BE49-F238E27FC236}">
                <a16:creationId xmlns:a16="http://schemas.microsoft.com/office/drawing/2014/main" id="{7B2AC3A8-A897-724F-8A3D-A59BD8641B1D}"/>
              </a:ext>
            </a:extLst>
          </p:cNvPr>
          <p:cNvPicPr>
            <a:picLocks noChangeAspect="1"/>
          </p:cNvPicPr>
          <p:nvPr/>
        </p:nvPicPr>
        <p:blipFill>
          <a:blip r:embed="rId3">
            <a:alphaModFix amt="20000"/>
          </a:blip>
          <a:stretch>
            <a:fillRect/>
          </a:stretch>
        </p:blipFill>
        <p:spPr>
          <a:xfrm>
            <a:off x="1253796" y="1387481"/>
            <a:ext cx="10210800" cy="4498469"/>
          </a:xfrm>
          <a:prstGeom prst="rect">
            <a:avLst/>
          </a:prstGeom>
        </p:spPr>
      </p:pic>
      <p:graphicFrame>
        <p:nvGraphicFramePr>
          <p:cNvPr id="13" name="Table 24">
            <a:extLst>
              <a:ext uri="{FF2B5EF4-FFF2-40B4-BE49-F238E27FC236}">
                <a16:creationId xmlns:a16="http://schemas.microsoft.com/office/drawing/2014/main" id="{8740687C-980F-EE40-A958-868504704B5B}"/>
              </a:ext>
            </a:extLst>
          </p:cNvPr>
          <p:cNvGraphicFramePr>
            <a:graphicFrameLocks noGrp="1"/>
          </p:cNvGraphicFramePr>
          <p:nvPr/>
        </p:nvGraphicFramePr>
        <p:xfrm>
          <a:off x="277826" y="1023438"/>
          <a:ext cx="11152174" cy="5459218"/>
        </p:xfrm>
        <a:graphic>
          <a:graphicData uri="http://schemas.openxmlformats.org/drawingml/2006/table">
            <a:tbl>
              <a:tblPr/>
              <a:tblGrid>
                <a:gridCol w="967964">
                  <a:extLst>
                    <a:ext uri="{9D8B030D-6E8A-4147-A177-3AD203B41FA5}">
                      <a16:colId xmlns:a16="http://schemas.microsoft.com/office/drawing/2014/main" val="2927554375"/>
                    </a:ext>
                  </a:extLst>
                </a:gridCol>
                <a:gridCol w="10184210">
                  <a:extLst>
                    <a:ext uri="{9D8B030D-6E8A-4147-A177-3AD203B41FA5}">
                      <a16:colId xmlns:a16="http://schemas.microsoft.com/office/drawing/2014/main" val="1597772214"/>
                    </a:ext>
                  </a:extLst>
                </a:gridCol>
              </a:tblGrid>
              <a:tr h="350604">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r>
                        <a:rPr lang="en-GB" sz="1100" b="1">
                          <a:solidFill>
                            <a:srgbClr val="50235B"/>
                          </a:solidFill>
                          <a:latin typeface="Calibri"/>
                          <a:cs typeface="Calibri"/>
                        </a:rPr>
                        <a:t>Stages</a:t>
                      </a:r>
                    </a:p>
                  </a:txBody>
                  <a:tcPr marL="121920" marR="121920" marT="60960" marB="60960" anchor="ctr">
                    <a:lnL w="12700" cap="flat" cmpd="sng" algn="ctr">
                      <a:solidFill>
                        <a:srgbClr val="FFFFFF">
                          <a:lumMod val="85000"/>
                        </a:srgbClr>
                      </a:solidFill>
                      <a:prstDash val="solid"/>
                      <a:round/>
                      <a:headEnd type="none" w="med" len="med"/>
                      <a:tailEnd type="none" w="med" len="med"/>
                    </a:lnL>
                    <a:lnR w="12700" cap="flat" cmpd="sng" algn="ctr">
                      <a:solidFill>
                        <a:srgbClr val="FFFFFF">
                          <a:lumMod val="85000"/>
                        </a:srgbClr>
                      </a:solidFill>
                      <a:prstDash val="solid"/>
                      <a:round/>
                      <a:headEnd type="none" w="med" len="med"/>
                      <a:tailEnd type="none" w="med" len="med"/>
                    </a:lnR>
                    <a:lnT w="12700" cap="flat" cmpd="sng" algn="ctr">
                      <a:solidFill>
                        <a:srgbClr val="DADADA"/>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endParaRPr lang="en-GB" sz="1200" b="1">
                        <a:solidFill>
                          <a:schemeClr val="bg2"/>
                        </a:solidFill>
                        <a:latin typeface="Calibri" panose="020F0502020204030204" pitchFamily="34" charset="0"/>
                        <a:cs typeface="Calibri" panose="020F0502020204030204" pitchFamily="34" charset="0"/>
                      </a:endParaRPr>
                    </a:p>
                  </a:txBody>
                  <a:tcPr marL="121920" marR="121920" marT="60960" marB="60960">
                    <a:lnL w="12700" cap="flat" cmpd="sng" algn="ctr">
                      <a:solidFill>
                        <a:srgbClr val="FFFFFF">
                          <a:lumMod val="85000"/>
                        </a:srgbClr>
                      </a:solidFill>
                      <a:prstDash val="solid"/>
                      <a:round/>
                      <a:headEnd type="none" w="med" len="med"/>
                      <a:tailEnd type="none" w="med" len="med"/>
                    </a:lnL>
                    <a:lnR w="12700" cap="flat" cmpd="sng" algn="ctr">
                      <a:solidFill>
                        <a:srgbClr val="FFFFFF">
                          <a:lumMod val="85000"/>
                        </a:srgbClr>
                      </a:solidFill>
                      <a:prstDash val="solid"/>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423482"/>
                  </a:ext>
                </a:extLst>
              </a:tr>
              <a:tr h="578675">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r>
                        <a:rPr lang="en-GB" sz="1100" b="1">
                          <a:solidFill>
                            <a:srgbClr val="50235B"/>
                          </a:solidFill>
                          <a:latin typeface="Calibri"/>
                          <a:cs typeface="Calibri"/>
                        </a:rPr>
                        <a:t>Information Sharing</a:t>
                      </a:r>
                    </a:p>
                  </a:txBody>
                  <a:tcPr marL="121920" marR="121920" marT="60960" marB="60960" anchor="ctr">
                    <a:lnL w="12700" cap="flat" cmpd="sng" algn="ctr">
                      <a:solidFill>
                        <a:srgbClr val="FFFFFF">
                          <a:lumMod val="85000"/>
                        </a:srgbClr>
                      </a:solidFill>
                      <a:prstDash val="solid"/>
                      <a:round/>
                      <a:headEnd type="none" w="med" len="med"/>
                      <a:tailEnd type="none" w="med" len="med"/>
                    </a:lnL>
                    <a:lnR w="12700" cap="flat" cmpd="sng" algn="ctr">
                      <a:solidFill>
                        <a:srgbClr val="FFFFFF">
                          <a:lumMod val="8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endParaRPr lang="en-GB" sz="1200" b="1">
                        <a:solidFill>
                          <a:schemeClr val="bg2"/>
                        </a:solidFill>
                        <a:latin typeface="Calibri" panose="020F0502020204030204" pitchFamily="34" charset="0"/>
                        <a:cs typeface="Calibri" panose="020F0502020204030204" pitchFamily="34" charset="0"/>
                      </a:endParaRPr>
                    </a:p>
                  </a:txBody>
                  <a:tcPr marL="121920" marR="121920" marT="60960" marB="60960">
                    <a:lnL w="12700" cap="flat" cmpd="sng" algn="ctr">
                      <a:solidFill>
                        <a:srgbClr val="FFFFFF">
                          <a:lumMod val="85000"/>
                        </a:srgbClr>
                      </a:solidFill>
                      <a:prstDash val="solid"/>
                      <a:round/>
                      <a:headEnd type="none" w="med" len="med"/>
                      <a:tailEnd type="none" w="med" len="med"/>
                    </a:lnL>
                    <a:lnR w="12700" cap="flat" cmpd="sng" algn="ctr">
                      <a:solidFill>
                        <a:srgbClr val="FFFFFF">
                          <a:lumMod val="85000"/>
                        </a:srgbClr>
                      </a:solidFill>
                      <a:prstDash val="solid"/>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67430533"/>
                  </a:ext>
                </a:extLst>
              </a:tr>
              <a:tr h="3969711">
                <a:tc>
                  <a:txBody>
                    <a:bodyPr/>
                    <a:lstStyle>
                      <a:lvl1pPr marL="0"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1pPr>
                      <a:lvl2pPr marL="457051"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2pPr>
                      <a:lvl3pPr marL="914103"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3pPr>
                      <a:lvl4pPr marL="1371154"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4pPr>
                      <a:lvl5pPr marL="1828206"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5pPr>
                      <a:lvl6pPr marL="2285257"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6pPr>
                      <a:lvl7pPr marL="2742308"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7pPr>
                      <a:lvl8pPr marL="3199360"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8pPr>
                      <a:lvl9pPr marL="3656411"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9pPr>
                    </a:lstStyle>
                    <a:p>
                      <a:r>
                        <a:rPr lang="en-GB" sz="1100" b="1">
                          <a:solidFill>
                            <a:srgbClr val="50235B"/>
                          </a:solidFill>
                          <a:latin typeface="Calibri"/>
                          <a:cs typeface="Calibri"/>
                        </a:rPr>
                        <a:t>Patient Journey</a:t>
                      </a:r>
                      <a:endParaRPr lang="en-GB" sz="700" b="0">
                        <a:solidFill>
                          <a:srgbClr val="50235B"/>
                        </a:solidFill>
                        <a:latin typeface="Calibri"/>
                        <a:cs typeface="Calibri"/>
                      </a:endParaRPr>
                    </a:p>
                  </a:txBody>
                  <a:tcPr marL="121920" marR="121920" marT="60960" marB="60960" anchor="ctr">
                    <a:lnL w="12700" cap="flat" cmpd="sng" algn="ctr">
                      <a:solidFill>
                        <a:srgbClr val="FFFFFF">
                          <a:lumMod val="85000"/>
                        </a:srgbClr>
                      </a:solidFill>
                      <a:prstDash val="solid"/>
                      <a:round/>
                      <a:headEnd type="none" w="med" len="med"/>
                      <a:tailEnd type="none" w="med" len="med"/>
                    </a:lnL>
                    <a:lnR w="12700" cap="flat" cmpd="sng" algn="ctr">
                      <a:solidFill>
                        <a:srgbClr val="FFFFFF">
                          <a:lumMod val="8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1pPr>
                      <a:lvl2pPr marL="457051"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2pPr>
                      <a:lvl3pPr marL="914103"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3pPr>
                      <a:lvl4pPr marL="1371154"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4pPr>
                      <a:lvl5pPr marL="1828206"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5pPr>
                      <a:lvl6pPr marL="2285257"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6pPr>
                      <a:lvl7pPr marL="2742308"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7pPr>
                      <a:lvl8pPr marL="3199360"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8pPr>
                      <a:lvl9pPr marL="3656411" marR="0" algn="l" defTabSz="914103" rtl="0" eaLnBrk="1" latinLnBrk="0" hangingPunct="1">
                        <a:lnSpc>
                          <a:spcPct val="100000"/>
                        </a:lnSpc>
                        <a:spcBef>
                          <a:spcPts val="0"/>
                        </a:spcBef>
                        <a:spcAft>
                          <a:spcPts val="0"/>
                        </a:spcAft>
                        <a:buClr>
                          <a:srgbClr val="000000"/>
                        </a:buClr>
                        <a:buFont typeface="Arial"/>
                        <a:defRPr sz="1799" b="0" i="0" u="none" strike="noStrike" kern="1200" cap="none">
                          <a:solidFill>
                            <a:schemeClr val="dk1"/>
                          </a:solidFill>
                          <a:latin typeface="Arial"/>
                          <a:sym typeface="Arial"/>
                        </a:defRPr>
                      </a:lvl9pPr>
                    </a:lstStyle>
                    <a:p>
                      <a:endParaRPr lang="en-GB" sz="1200" b="1">
                        <a:solidFill>
                          <a:schemeClr val="tx1">
                            <a:lumMod val="65000"/>
                            <a:lumOff val="35000"/>
                          </a:schemeClr>
                        </a:solidFill>
                        <a:latin typeface="Calibri" panose="020F0502020204030204" pitchFamily="34" charset="0"/>
                        <a:cs typeface="Calibri" panose="020F0502020204030204" pitchFamily="34" charset="0"/>
                      </a:endParaRPr>
                    </a:p>
                    <a:p>
                      <a:endParaRPr lang="en-GB" sz="1200" b="1">
                        <a:solidFill>
                          <a:schemeClr val="tx1">
                            <a:lumMod val="65000"/>
                            <a:lumOff val="35000"/>
                          </a:schemeClr>
                        </a:solidFill>
                        <a:latin typeface="Calibri" panose="020F0502020204030204" pitchFamily="34" charset="0"/>
                        <a:cs typeface="Calibri" panose="020F0502020204030204" pitchFamily="34" charset="0"/>
                      </a:endParaRPr>
                    </a:p>
                    <a:p>
                      <a:endParaRPr lang="en-GB" sz="1200" b="1">
                        <a:solidFill>
                          <a:schemeClr val="tx1">
                            <a:lumMod val="65000"/>
                            <a:lumOff val="35000"/>
                          </a:schemeClr>
                        </a:solidFill>
                        <a:latin typeface="Calibri" panose="020F0502020204030204" pitchFamily="34" charset="0"/>
                        <a:cs typeface="Calibri" panose="020F0502020204030204" pitchFamily="34" charset="0"/>
                      </a:endParaRPr>
                    </a:p>
                    <a:p>
                      <a:endParaRPr lang="en-GB" sz="1200" b="1">
                        <a:solidFill>
                          <a:schemeClr val="tx1">
                            <a:lumMod val="65000"/>
                            <a:lumOff val="35000"/>
                          </a:schemeClr>
                        </a:solidFill>
                        <a:latin typeface="Calibri" panose="020F0502020204030204" pitchFamily="34" charset="0"/>
                        <a:cs typeface="Calibri" panose="020F0502020204030204" pitchFamily="34" charset="0"/>
                      </a:endParaRPr>
                    </a:p>
                    <a:p>
                      <a:endParaRPr lang="en-GB" sz="1200" b="1">
                        <a:solidFill>
                          <a:schemeClr val="tx1">
                            <a:lumMod val="65000"/>
                            <a:lumOff val="35000"/>
                          </a:schemeClr>
                        </a:solidFill>
                        <a:latin typeface="Calibri" panose="020F0502020204030204" pitchFamily="34" charset="0"/>
                        <a:cs typeface="Calibri" panose="020F0502020204030204" pitchFamily="34" charset="0"/>
                      </a:endParaRPr>
                    </a:p>
                    <a:p>
                      <a:endParaRPr lang="en-GB" sz="1200" b="1">
                        <a:solidFill>
                          <a:schemeClr val="tx1">
                            <a:lumMod val="65000"/>
                            <a:lumOff val="35000"/>
                          </a:schemeClr>
                        </a:solidFill>
                        <a:latin typeface="Calibri" panose="020F0502020204030204" pitchFamily="34" charset="0"/>
                        <a:cs typeface="Calibri" panose="020F0502020204030204" pitchFamily="34" charset="0"/>
                      </a:endParaRPr>
                    </a:p>
                    <a:p>
                      <a:endParaRPr lang="en-GB" sz="1200" b="1">
                        <a:solidFill>
                          <a:schemeClr val="tx1">
                            <a:lumMod val="65000"/>
                            <a:lumOff val="35000"/>
                          </a:schemeClr>
                        </a:solidFill>
                        <a:latin typeface="Calibri" panose="020F0502020204030204" pitchFamily="34" charset="0"/>
                        <a:cs typeface="Calibri" panose="020F0502020204030204" pitchFamily="34" charset="0"/>
                      </a:endParaRPr>
                    </a:p>
                    <a:p>
                      <a:endParaRPr lang="en-GB" sz="1200" b="1">
                        <a:solidFill>
                          <a:schemeClr val="tx1">
                            <a:lumMod val="65000"/>
                            <a:lumOff val="35000"/>
                          </a:schemeClr>
                        </a:solidFill>
                        <a:latin typeface="Calibri" panose="020F0502020204030204" pitchFamily="34" charset="0"/>
                        <a:cs typeface="Calibri" panose="020F0502020204030204" pitchFamily="34" charset="0"/>
                      </a:endParaRPr>
                    </a:p>
                    <a:p>
                      <a:endParaRPr lang="en-GB" sz="1200" b="1">
                        <a:solidFill>
                          <a:schemeClr val="tx1">
                            <a:lumMod val="65000"/>
                            <a:lumOff val="35000"/>
                          </a:schemeClr>
                        </a:solidFill>
                        <a:latin typeface="Calibri" panose="020F0502020204030204" pitchFamily="34" charset="0"/>
                        <a:cs typeface="Calibri" panose="020F0502020204030204" pitchFamily="34" charset="0"/>
                      </a:endParaRPr>
                    </a:p>
                    <a:p>
                      <a:r>
                        <a:rPr lang="en-GB" sz="1200" b="1">
                          <a:solidFill>
                            <a:schemeClr val="tx1">
                              <a:lumMod val="65000"/>
                              <a:lumOff val="35000"/>
                            </a:schemeClr>
                          </a:solidFill>
                          <a:latin typeface="Calibri"/>
                          <a:cs typeface="Calibri"/>
                        </a:rPr>
                        <a:t>Primary Care</a:t>
                      </a:r>
                    </a:p>
                    <a:p>
                      <a:endParaRPr lang="en-GB" sz="1200" b="1">
                        <a:solidFill>
                          <a:schemeClr val="bg2"/>
                        </a:solidFill>
                        <a:latin typeface="Calibri" panose="020F0502020204030204" pitchFamily="34" charset="0"/>
                        <a:cs typeface="Calibri" panose="020F0502020204030204" pitchFamily="34" charset="0"/>
                      </a:endParaRPr>
                    </a:p>
                    <a:p>
                      <a:r>
                        <a:rPr lang="en-GB" sz="1200" b="1">
                          <a:solidFill>
                            <a:schemeClr val="tx1">
                              <a:lumMod val="65000"/>
                              <a:lumOff val="35000"/>
                            </a:schemeClr>
                          </a:solidFill>
                          <a:latin typeface="Calibri"/>
                          <a:cs typeface="Calibri"/>
                        </a:rPr>
                        <a:t>Secondary Care</a:t>
                      </a:r>
                    </a:p>
                  </a:txBody>
                  <a:tcPr marL="121920" marR="121920" marT="60960" marB="60960">
                    <a:lnL w="12700" cap="flat" cmpd="sng" algn="ctr">
                      <a:solidFill>
                        <a:srgbClr val="FFFFFF">
                          <a:lumMod val="85000"/>
                        </a:srgbClr>
                      </a:solidFill>
                      <a:prstDash val="solid"/>
                      <a:round/>
                      <a:headEnd type="none" w="med" len="med"/>
                      <a:tailEnd type="none" w="med" len="med"/>
                    </a:lnL>
                    <a:lnR w="12700" cap="flat" cmpd="sng" algn="ctr">
                      <a:solidFill>
                        <a:srgbClr val="FFFFFF">
                          <a:lumMod val="85000"/>
                        </a:srgbClr>
                      </a:solidFill>
                      <a:prstDash val="solid"/>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85016580"/>
                  </a:ext>
                </a:extLst>
              </a:tr>
              <a:tr h="560228">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r>
                        <a:rPr lang="en-US" sz="1100" b="1">
                          <a:solidFill>
                            <a:srgbClr val="50235B"/>
                          </a:solidFill>
                        </a:rPr>
                        <a:t>Action required by</a:t>
                      </a:r>
                    </a:p>
                  </a:txBody>
                  <a:tcPr marL="121920" marR="121920" marT="60960" marB="60960" anchor="ctr">
                    <a:lnL w="12700" cap="flat" cmpd="sng" algn="ctr">
                      <a:solidFill>
                        <a:srgbClr val="FFFFFF">
                          <a:lumMod val="85000"/>
                        </a:srgbClr>
                      </a:solidFill>
                      <a:prstDash val="solid"/>
                      <a:round/>
                      <a:headEnd type="none" w="med" len="med"/>
                      <a:tailEnd type="none" w="med" len="med"/>
                    </a:lnL>
                    <a:lnR w="12700" cap="flat" cmpd="sng" algn="ctr">
                      <a:solidFill>
                        <a:srgbClr val="FFFFFF">
                          <a:lumMod val="8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Calibri" panose="020F0502020204030204"/>
                          <a:sym typeface="Arial"/>
                        </a:defRPr>
                      </a:lvl9pPr>
                    </a:lstStyle>
                    <a:p>
                      <a:endParaRPr lang="en-GB" sz="1200" b="1">
                        <a:solidFill>
                          <a:schemeClr val="bg2"/>
                        </a:solidFill>
                        <a:latin typeface="Calibri" panose="020F0502020204030204" pitchFamily="34" charset="0"/>
                        <a:cs typeface="Calibri" panose="020F0502020204030204" pitchFamily="34" charset="0"/>
                      </a:endParaRPr>
                    </a:p>
                  </a:txBody>
                  <a:tcPr marL="121920" marR="121920" marT="60960" marB="60960">
                    <a:lnL w="12700" cap="flat" cmpd="sng" algn="ctr">
                      <a:solidFill>
                        <a:srgbClr val="FFFFFF">
                          <a:lumMod val="85000"/>
                        </a:srgbClr>
                      </a:solidFill>
                      <a:prstDash val="solid"/>
                      <a:round/>
                      <a:headEnd type="none" w="med" len="med"/>
                      <a:tailEnd type="none" w="med" len="med"/>
                    </a:lnL>
                    <a:lnR w="12700" cap="flat" cmpd="sng" algn="ctr">
                      <a:solidFill>
                        <a:srgbClr val="FFFFFF">
                          <a:lumMod val="85000"/>
                        </a:srgbClr>
                      </a:solidFill>
                      <a:prstDash val="solid"/>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26921431"/>
                  </a:ext>
                </a:extLst>
              </a:tr>
            </a:tbl>
          </a:graphicData>
        </a:graphic>
      </p:graphicFrame>
      <p:cxnSp>
        <p:nvCxnSpPr>
          <p:cNvPr id="15" name="Curved Connector 58">
            <a:extLst>
              <a:ext uri="{FF2B5EF4-FFF2-40B4-BE49-F238E27FC236}">
                <a16:creationId xmlns:a16="http://schemas.microsoft.com/office/drawing/2014/main" id="{30314E7E-DC26-1E40-8C3A-C056EE840188}"/>
              </a:ext>
            </a:extLst>
          </p:cNvPr>
          <p:cNvCxnSpPr>
            <a:cxnSpLocks/>
            <a:stCxn id="19" idx="1"/>
          </p:cNvCxnSpPr>
          <p:nvPr/>
        </p:nvCxnSpPr>
        <p:spPr>
          <a:xfrm rot="10800000" flipH="1">
            <a:off x="1903375" y="2940020"/>
            <a:ext cx="68299" cy="533763"/>
          </a:xfrm>
          <a:prstGeom prst="curvedConnector4">
            <a:avLst>
              <a:gd name="adj1" fmla="val -334705"/>
              <a:gd name="adj2" fmla="val 69461"/>
            </a:avLst>
          </a:prstGeom>
          <a:noFill/>
          <a:ln w="57150" cap="flat" cmpd="sng" algn="ctr">
            <a:gradFill>
              <a:gsLst>
                <a:gs pos="0">
                  <a:srgbClr val="ED7D31">
                    <a:lumMod val="40000"/>
                    <a:lumOff val="60000"/>
                  </a:srgbClr>
                </a:gs>
                <a:gs pos="100000">
                  <a:srgbClr val="ED7D31">
                    <a:lumMod val="60000"/>
                    <a:lumOff val="40000"/>
                  </a:srgbClr>
                </a:gs>
              </a:gsLst>
              <a:lin ang="10800000" scaled="0"/>
            </a:gradFill>
            <a:prstDash val="solid"/>
          </a:ln>
          <a:effectLst/>
        </p:spPr>
      </p:cxnSp>
      <p:sp>
        <p:nvSpPr>
          <p:cNvPr id="16" name="Rectangle 15">
            <a:extLst>
              <a:ext uri="{FF2B5EF4-FFF2-40B4-BE49-F238E27FC236}">
                <a16:creationId xmlns:a16="http://schemas.microsoft.com/office/drawing/2014/main" id="{6B14EA42-4AAC-C645-96E0-947E8A33F6D7}"/>
              </a:ext>
            </a:extLst>
          </p:cNvPr>
          <p:cNvSpPr/>
          <p:nvPr/>
        </p:nvSpPr>
        <p:spPr>
          <a:xfrm>
            <a:off x="1424500" y="2226154"/>
            <a:ext cx="957753" cy="654957"/>
          </a:xfrm>
          <a:prstGeom prst="rect">
            <a:avLst/>
          </a:prstGeom>
          <a:noFill/>
          <a:ln w="28575" cap="flat" cmpd="sng" algn="ctr">
            <a:solidFill>
              <a:srgbClr val="4472C4">
                <a:shade val="50000"/>
              </a:srgbClr>
            </a:solidFill>
            <a:prstDash val="sysDash"/>
            <a:miter lim="800000"/>
          </a:ln>
          <a:effectLst/>
        </p:spPr>
        <p:txBody>
          <a:bodyPr rtlCol="0" anchor="t"/>
          <a:lstStyle/>
          <a:p>
            <a:pPr algn="ctr" defTabSz="914354">
              <a:defRPr/>
            </a:pPr>
            <a:r>
              <a:rPr lang="en-GB" sz="700" b="1">
                <a:solidFill>
                  <a:srgbClr val="4472C4"/>
                </a:solidFill>
                <a:latin typeface="Calibri" panose="020F0502020204030204"/>
                <a:cs typeface="Calibri" panose="020F0502020204030204" pitchFamily="34" charset="0"/>
              </a:rPr>
              <a:t>Patient identified on SMI register</a:t>
            </a:r>
          </a:p>
          <a:p>
            <a:pPr algn="ctr" defTabSz="914354">
              <a:defRPr/>
            </a:pPr>
            <a:endParaRPr lang="en-GB" sz="700" b="1">
              <a:solidFill>
                <a:srgbClr val="4472C4"/>
              </a:solidFill>
              <a:latin typeface="Calibri" panose="020F0502020204030204"/>
              <a:cs typeface="Calibri" panose="020F0502020204030204" pitchFamily="34" charset="0"/>
            </a:endParaRPr>
          </a:p>
          <a:p>
            <a:pPr algn="ctr" defTabSz="914354">
              <a:defRPr/>
            </a:pPr>
            <a:r>
              <a:rPr lang="en-GB" sz="700" b="1">
                <a:solidFill>
                  <a:srgbClr val="4472C4"/>
                </a:solidFill>
                <a:latin typeface="Calibri" panose="020F0502020204030204"/>
                <a:cs typeface="Calibri" panose="020F0502020204030204" pitchFamily="34" charset="0"/>
              </a:rPr>
              <a:t>Register is report run by primary care</a:t>
            </a:r>
            <a:endParaRPr lang="en-GB" sz="500" b="1">
              <a:solidFill>
                <a:srgbClr val="4472C4"/>
              </a:solidFill>
              <a:latin typeface="Calibri" panose="020F0502020204030204"/>
              <a:cs typeface="Calibri" panose="020F0502020204030204" pitchFamily="34" charset="0"/>
            </a:endParaRPr>
          </a:p>
        </p:txBody>
      </p:sp>
      <p:cxnSp>
        <p:nvCxnSpPr>
          <p:cNvPr id="17" name="Straight Connector 16">
            <a:extLst>
              <a:ext uri="{FF2B5EF4-FFF2-40B4-BE49-F238E27FC236}">
                <a16:creationId xmlns:a16="http://schemas.microsoft.com/office/drawing/2014/main" id="{DC94FEEC-C180-4146-8D6C-E5F6D72F73FA}"/>
              </a:ext>
            </a:extLst>
          </p:cNvPr>
          <p:cNvCxnSpPr>
            <a:cxnSpLocks/>
          </p:cNvCxnSpPr>
          <p:nvPr/>
        </p:nvCxnSpPr>
        <p:spPr>
          <a:xfrm>
            <a:off x="6935793" y="5828106"/>
            <a:ext cx="0" cy="219475"/>
          </a:xfrm>
          <a:prstGeom prst="line">
            <a:avLst/>
          </a:prstGeom>
          <a:noFill/>
          <a:ln w="19050" cap="flat" cmpd="sng" algn="ctr">
            <a:solidFill>
              <a:srgbClr val="FFB0B7"/>
            </a:solidFill>
            <a:prstDash val="solid"/>
            <a:miter lim="800000"/>
            <a:tailEnd type="oval"/>
          </a:ln>
          <a:effectLst/>
        </p:spPr>
      </p:cxnSp>
      <p:sp>
        <p:nvSpPr>
          <p:cNvPr id="18" name="Rectangle 17">
            <a:extLst>
              <a:ext uri="{FF2B5EF4-FFF2-40B4-BE49-F238E27FC236}">
                <a16:creationId xmlns:a16="http://schemas.microsoft.com/office/drawing/2014/main" id="{A7AD3592-A392-434C-AC87-76DA42B03057}"/>
              </a:ext>
            </a:extLst>
          </p:cNvPr>
          <p:cNvSpPr/>
          <p:nvPr/>
        </p:nvSpPr>
        <p:spPr>
          <a:xfrm>
            <a:off x="1329443" y="1411892"/>
            <a:ext cx="1476973" cy="436737"/>
          </a:xfrm>
          <a:prstGeom prst="rect">
            <a:avLst/>
          </a:prstGeom>
          <a:ln>
            <a:solidFill>
              <a:srgbClr val="7030A0"/>
            </a:solidFill>
          </a:ln>
        </p:spPr>
        <p:txBody>
          <a:bodyPr wrap="square" anchor="ctr">
            <a:noAutofit/>
          </a:bodyPr>
          <a:lstStyle/>
          <a:p>
            <a:pPr defTabSz="1219110"/>
            <a:r>
              <a:rPr lang="en-GB" sz="800">
                <a:solidFill>
                  <a:srgbClr val="595959"/>
                </a:solidFill>
                <a:latin typeface="Calibri" panose="020F0502020204030204"/>
                <a:cs typeface="Calibri" panose="020F0502020204030204" pitchFamily="34" charset="0"/>
              </a:rPr>
              <a:t>Patient identified on SMI register and confirmed with Secondary Care Teams for PHC  </a:t>
            </a:r>
          </a:p>
        </p:txBody>
      </p:sp>
      <p:sp>
        <p:nvSpPr>
          <p:cNvPr id="19" name="TextBox 18">
            <a:extLst>
              <a:ext uri="{FF2B5EF4-FFF2-40B4-BE49-F238E27FC236}">
                <a16:creationId xmlns:a16="http://schemas.microsoft.com/office/drawing/2014/main" id="{01913372-31FD-614E-A083-D7E155C07D03}"/>
              </a:ext>
            </a:extLst>
          </p:cNvPr>
          <p:cNvSpPr txBox="1"/>
          <p:nvPr/>
        </p:nvSpPr>
        <p:spPr>
          <a:xfrm>
            <a:off x="1903376" y="3266033"/>
            <a:ext cx="914927" cy="415498"/>
          </a:xfrm>
          <a:prstGeom prst="rect">
            <a:avLst/>
          </a:prstGeom>
          <a:noFill/>
          <a:ln>
            <a:noFill/>
          </a:ln>
        </p:spPr>
        <p:txBody>
          <a:bodyPr wrap="square" rtlCol="0">
            <a:spAutoFit/>
          </a:bodyPr>
          <a:lstStyle/>
          <a:p>
            <a:pPr defTabSz="914377"/>
            <a:r>
              <a:rPr lang="en-US" sz="700" b="1">
                <a:solidFill>
                  <a:schemeClr val="tx1">
                    <a:lumMod val="65000"/>
                    <a:lumOff val="35000"/>
                  </a:schemeClr>
                </a:solidFill>
                <a:latin typeface="Calibri" panose="020F0502020204030204" pitchFamily="34" charset="0"/>
                <a:cs typeface="Calibri" panose="020F0502020204030204" pitchFamily="34" charset="0"/>
              </a:rPr>
              <a:t>Patient assigned a primary care lead (Nurse, GP)</a:t>
            </a:r>
            <a:endParaRPr lang="en-GB" sz="700" b="1">
              <a:solidFill>
                <a:schemeClr val="tx1">
                  <a:lumMod val="65000"/>
                  <a:lumOff val="35000"/>
                </a:schemeClr>
              </a:solidFill>
              <a:latin typeface="Calibri" panose="020F0502020204030204" pitchFamily="34" charset="0"/>
              <a:cs typeface="Calibri" panose="020F0502020204030204" pitchFamily="34" charset="0"/>
            </a:endParaRPr>
          </a:p>
        </p:txBody>
      </p:sp>
      <p:cxnSp>
        <p:nvCxnSpPr>
          <p:cNvPr id="20" name="Curved Connector 115">
            <a:extLst>
              <a:ext uri="{FF2B5EF4-FFF2-40B4-BE49-F238E27FC236}">
                <a16:creationId xmlns:a16="http://schemas.microsoft.com/office/drawing/2014/main" id="{17746F0E-BB28-FF48-91A2-3240C77027B4}"/>
              </a:ext>
            </a:extLst>
          </p:cNvPr>
          <p:cNvCxnSpPr>
            <a:cxnSpLocks/>
          </p:cNvCxnSpPr>
          <p:nvPr/>
        </p:nvCxnSpPr>
        <p:spPr>
          <a:xfrm>
            <a:off x="2382253" y="2485558"/>
            <a:ext cx="492648" cy="460387"/>
          </a:xfrm>
          <a:prstGeom prst="curvedConnector3">
            <a:avLst>
              <a:gd name="adj1" fmla="val 50000"/>
            </a:avLst>
          </a:prstGeom>
          <a:noFill/>
          <a:ln w="57150" cap="flat" cmpd="sng" algn="ctr">
            <a:gradFill>
              <a:gsLst>
                <a:gs pos="0">
                  <a:srgbClr val="ED7D31">
                    <a:lumMod val="40000"/>
                    <a:lumOff val="60000"/>
                  </a:srgbClr>
                </a:gs>
                <a:gs pos="100000">
                  <a:srgbClr val="ED7D31">
                    <a:lumMod val="60000"/>
                    <a:lumOff val="40000"/>
                  </a:srgbClr>
                </a:gs>
              </a:gsLst>
              <a:lin ang="10800000" scaled="0"/>
            </a:gradFill>
            <a:prstDash val="solid"/>
          </a:ln>
          <a:effectLst/>
        </p:spPr>
      </p:cxnSp>
      <p:cxnSp>
        <p:nvCxnSpPr>
          <p:cNvPr id="21" name="Straight Connector 20">
            <a:extLst>
              <a:ext uri="{FF2B5EF4-FFF2-40B4-BE49-F238E27FC236}">
                <a16:creationId xmlns:a16="http://schemas.microsoft.com/office/drawing/2014/main" id="{A706E853-ADCE-584A-A9B7-76007F586135}"/>
              </a:ext>
            </a:extLst>
          </p:cNvPr>
          <p:cNvCxnSpPr>
            <a:cxnSpLocks/>
          </p:cNvCxnSpPr>
          <p:nvPr/>
        </p:nvCxnSpPr>
        <p:spPr>
          <a:xfrm>
            <a:off x="3809234" y="5060526"/>
            <a:ext cx="0" cy="993795"/>
          </a:xfrm>
          <a:prstGeom prst="line">
            <a:avLst/>
          </a:prstGeom>
          <a:noFill/>
          <a:ln w="19050" cap="flat" cmpd="sng" algn="ctr">
            <a:solidFill>
              <a:srgbClr val="E5F0DE"/>
            </a:solidFill>
            <a:prstDash val="solid"/>
            <a:miter lim="800000"/>
            <a:tailEnd type="oval"/>
          </a:ln>
          <a:effectLst/>
        </p:spPr>
      </p:cxnSp>
      <p:sp>
        <p:nvSpPr>
          <p:cNvPr id="22" name="TextBox 21">
            <a:extLst>
              <a:ext uri="{FF2B5EF4-FFF2-40B4-BE49-F238E27FC236}">
                <a16:creationId xmlns:a16="http://schemas.microsoft.com/office/drawing/2014/main" id="{225775B5-01C8-7548-85AB-F3BFD6283707}"/>
              </a:ext>
            </a:extLst>
          </p:cNvPr>
          <p:cNvSpPr txBox="1"/>
          <p:nvPr/>
        </p:nvSpPr>
        <p:spPr>
          <a:xfrm>
            <a:off x="10231489" y="2328224"/>
            <a:ext cx="859593" cy="415498"/>
          </a:xfrm>
          <a:prstGeom prst="rect">
            <a:avLst/>
          </a:prstGeom>
          <a:noFill/>
          <a:ln>
            <a:noFill/>
          </a:ln>
        </p:spPr>
        <p:txBody>
          <a:bodyPr wrap="square" rtlCol="0">
            <a:spAutoFit/>
          </a:bodyPr>
          <a:lstStyle/>
          <a:p>
            <a:pPr defTabSz="914377"/>
            <a:r>
              <a:rPr lang="en-US" sz="700" b="1">
                <a:solidFill>
                  <a:schemeClr val="tx1">
                    <a:lumMod val="65000"/>
                    <a:lumOff val="35000"/>
                  </a:schemeClr>
                </a:solidFill>
                <a:latin typeface="Calibri" panose="020F0502020204030204" pitchFamily="34" charset="0"/>
                <a:cs typeface="Calibri" panose="020F0502020204030204" pitchFamily="34" charset="0"/>
              </a:rPr>
              <a:t>Reports for QOF/PHC SMI CCG submissions</a:t>
            </a:r>
            <a:endParaRPr lang="en-GB" sz="700" b="1">
              <a:solidFill>
                <a:schemeClr val="tx1">
                  <a:lumMod val="65000"/>
                  <a:lumOff val="35000"/>
                </a:schemeClr>
              </a:solidFill>
              <a:latin typeface="Calibri" panose="020F0502020204030204" pitchFamily="34" charset="0"/>
              <a:cs typeface="Calibri" panose="020F0502020204030204" pitchFamily="34" charset="0"/>
            </a:endParaRPr>
          </a:p>
        </p:txBody>
      </p:sp>
      <p:sp>
        <p:nvSpPr>
          <p:cNvPr id="23" name="Pentagon 10">
            <a:extLst>
              <a:ext uri="{FF2B5EF4-FFF2-40B4-BE49-F238E27FC236}">
                <a16:creationId xmlns:a16="http://schemas.microsoft.com/office/drawing/2014/main" id="{5D39BF48-E2AC-3249-B354-6CE074634C5C}"/>
              </a:ext>
            </a:extLst>
          </p:cNvPr>
          <p:cNvSpPr/>
          <p:nvPr/>
        </p:nvSpPr>
        <p:spPr>
          <a:xfrm>
            <a:off x="9236896" y="1005603"/>
            <a:ext cx="2239576" cy="371921"/>
          </a:xfrm>
          <a:prstGeom prst="homePlate">
            <a:avLst/>
          </a:prstGeom>
          <a:solidFill>
            <a:schemeClr val="accent5">
              <a:lumMod val="40000"/>
              <a:lumOff val="60000"/>
            </a:schemeClr>
          </a:solidFill>
          <a:ln w="12700" cap="flat" cmpd="sng" algn="ctr">
            <a:noFill/>
            <a:prstDash val="solid"/>
            <a:miter lim="800000"/>
          </a:ln>
          <a:effectLst/>
        </p:spPr>
        <p:txBody>
          <a:bodyPr rtlCol="0" anchor="ctr"/>
          <a:lstStyle/>
          <a:p>
            <a:pPr algn="ctr" defTabSz="1219140">
              <a:defRPr/>
            </a:pPr>
            <a:r>
              <a:rPr lang="en-GB" sz="1000" b="1" kern="0">
                <a:solidFill>
                  <a:srgbClr val="FFFFFF"/>
                </a:solidFill>
                <a:latin typeface="Calibri" panose="020F0502020204030204" pitchFamily="34" charset="0"/>
                <a:cs typeface="Calibri" panose="020F0502020204030204" pitchFamily="34" charset="0"/>
              </a:rPr>
              <a:t>Report</a:t>
            </a:r>
          </a:p>
        </p:txBody>
      </p:sp>
      <p:sp>
        <p:nvSpPr>
          <p:cNvPr id="24" name="Pentagon 6">
            <a:extLst>
              <a:ext uri="{FF2B5EF4-FFF2-40B4-BE49-F238E27FC236}">
                <a16:creationId xmlns:a16="http://schemas.microsoft.com/office/drawing/2014/main" id="{8B223FBD-52B5-3A4E-84F2-BDAE693EECDF}"/>
              </a:ext>
            </a:extLst>
          </p:cNvPr>
          <p:cNvSpPr/>
          <p:nvPr/>
        </p:nvSpPr>
        <p:spPr>
          <a:xfrm>
            <a:off x="7990164" y="1005603"/>
            <a:ext cx="1465279" cy="371920"/>
          </a:xfrm>
          <a:prstGeom prst="homePlate">
            <a:avLst/>
          </a:prstGeom>
          <a:solidFill>
            <a:srgbClr val="5B9BD5">
              <a:lumMod val="60000"/>
              <a:lumOff val="40000"/>
            </a:srgbClr>
          </a:solidFill>
          <a:ln w="12700" cap="flat" cmpd="sng" algn="ctr">
            <a:noFill/>
            <a:prstDash val="solid"/>
            <a:miter lim="800000"/>
          </a:ln>
          <a:effectLst/>
        </p:spPr>
        <p:txBody>
          <a:bodyPr rtlCol="0" anchor="ctr"/>
          <a:lstStyle/>
          <a:p>
            <a:pPr algn="ctr" defTabSz="1219140">
              <a:defRPr/>
            </a:pPr>
            <a:r>
              <a:rPr lang="en-GB" sz="1000" b="1" kern="0">
                <a:solidFill>
                  <a:srgbClr val="FFFFFF"/>
                </a:solidFill>
                <a:latin typeface="Calibri" panose="020F0502020204030204" pitchFamily="34" charset="0"/>
                <a:cs typeface="Calibri" panose="020F0502020204030204" pitchFamily="34" charset="0"/>
              </a:rPr>
              <a:t>Record</a:t>
            </a:r>
          </a:p>
        </p:txBody>
      </p:sp>
      <p:sp>
        <p:nvSpPr>
          <p:cNvPr id="25" name="Pentagon 7">
            <a:extLst>
              <a:ext uri="{FF2B5EF4-FFF2-40B4-BE49-F238E27FC236}">
                <a16:creationId xmlns:a16="http://schemas.microsoft.com/office/drawing/2014/main" id="{C4A44DA1-C102-2B44-A48B-9AD118909CB5}"/>
              </a:ext>
            </a:extLst>
          </p:cNvPr>
          <p:cNvSpPr/>
          <p:nvPr/>
        </p:nvSpPr>
        <p:spPr>
          <a:xfrm>
            <a:off x="5418089" y="1006639"/>
            <a:ext cx="2763637" cy="360000"/>
          </a:xfrm>
          <a:prstGeom prst="homePlate">
            <a:avLst/>
          </a:prstGeom>
          <a:solidFill>
            <a:srgbClr val="5B9BD5">
              <a:lumMod val="75000"/>
            </a:srgbClr>
          </a:solidFill>
          <a:ln w="12700" cap="flat" cmpd="sng" algn="ctr">
            <a:noFill/>
            <a:prstDash val="solid"/>
            <a:miter lim="800000"/>
          </a:ln>
          <a:effectLst/>
        </p:spPr>
        <p:txBody>
          <a:bodyPr rtlCol="0" anchor="ctr"/>
          <a:lstStyle/>
          <a:p>
            <a:pPr algn="ctr" defTabSz="1219140">
              <a:defRPr/>
            </a:pPr>
            <a:r>
              <a:rPr lang="en-GB" sz="1000" b="1" kern="0">
                <a:solidFill>
                  <a:srgbClr val="FFFFFF"/>
                </a:solidFill>
                <a:latin typeface="Calibri" panose="020F0502020204030204" pitchFamily="34" charset="0"/>
                <a:cs typeface="Calibri" panose="020F0502020204030204" pitchFamily="34" charset="0"/>
              </a:rPr>
              <a:t>Treatment / Assessment</a:t>
            </a:r>
          </a:p>
        </p:txBody>
      </p:sp>
      <p:sp>
        <p:nvSpPr>
          <p:cNvPr id="26" name="Pentagon 8">
            <a:extLst>
              <a:ext uri="{FF2B5EF4-FFF2-40B4-BE49-F238E27FC236}">
                <a16:creationId xmlns:a16="http://schemas.microsoft.com/office/drawing/2014/main" id="{8C19E328-992E-FD4C-9164-E0D1FFAC79B5}"/>
              </a:ext>
            </a:extLst>
          </p:cNvPr>
          <p:cNvSpPr/>
          <p:nvPr/>
        </p:nvSpPr>
        <p:spPr>
          <a:xfrm>
            <a:off x="3429002" y="1007675"/>
            <a:ext cx="2298721" cy="360000"/>
          </a:xfrm>
          <a:prstGeom prst="homePlate">
            <a:avLst/>
          </a:prstGeom>
          <a:solidFill>
            <a:srgbClr val="5B9BD5">
              <a:lumMod val="50000"/>
            </a:srgbClr>
          </a:solidFill>
          <a:ln w="12700" cap="flat" cmpd="sng" algn="ctr">
            <a:noFill/>
            <a:prstDash val="solid"/>
            <a:miter lim="800000"/>
          </a:ln>
          <a:effectLst/>
        </p:spPr>
        <p:txBody>
          <a:bodyPr rtlCol="0" anchor="ctr"/>
          <a:lstStyle/>
          <a:p>
            <a:pPr algn="ctr" defTabSz="1219140">
              <a:defRPr/>
            </a:pPr>
            <a:r>
              <a:rPr lang="en-GB" sz="1000" b="1" kern="0">
                <a:solidFill>
                  <a:srgbClr val="FFFFFF"/>
                </a:solidFill>
                <a:latin typeface="Calibri" panose="020F0502020204030204" pitchFamily="34" charset="0"/>
                <a:cs typeface="Calibri" panose="020F0502020204030204" pitchFamily="34" charset="0"/>
              </a:rPr>
              <a:t>Schedule</a:t>
            </a:r>
          </a:p>
        </p:txBody>
      </p:sp>
      <p:sp>
        <p:nvSpPr>
          <p:cNvPr id="27" name="Pentagon 9">
            <a:extLst>
              <a:ext uri="{FF2B5EF4-FFF2-40B4-BE49-F238E27FC236}">
                <a16:creationId xmlns:a16="http://schemas.microsoft.com/office/drawing/2014/main" id="{F75DFDA9-4952-B948-9E23-CDCF8FBFA524}"/>
              </a:ext>
            </a:extLst>
          </p:cNvPr>
          <p:cNvSpPr/>
          <p:nvPr/>
        </p:nvSpPr>
        <p:spPr>
          <a:xfrm>
            <a:off x="1257229" y="1006639"/>
            <a:ext cx="2365910" cy="360000"/>
          </a:xfrm>
          <a:prstGeom prst="homePlate">
            <a:avLst/>
          </a:prstGeom>
          <a:solidFill>
            <a:srgbClr val="002060"/>
          </a:solidFill>
          <a:ln w="12700" cap="flat" cmpd="sng" algn="ctr">
            <a:noFill/>
            <a:prstDash val="solid"/>
            <a:miter lim="800000"/>
          </a:ln>
          <a:effectLst/>
        </p:spPr>
        <p:txBody>
          <a:bodyPr rtlCol="0" anchor="ctr"/>
          <a:lstStyle/>
          <a:p>
            <a:pPr algn="ctr" defTabSz="1219140"/>
            <a:r>
              <a:rPr lang="en-GB" sz="1000" b="1" kern="0">
                <a:solidFill>
                  <a:srgbClr val="FFFFFF"/>
                </a:solidFill>
                <a:latin typeface="Calibri" panose="020F0502020204030204" pitchFamily="34" charset="0"/>
                <a:cs typeface="Calibri" panose="020F0502020204030204" pitchFamily="34" charset="0"/>
              </a:rPr>
              <a:t>Identify</a:t>
            </a:r>
          </a:p>
        </p:txBody>
      </p:sp>
      <p:sp>
        <p:nvSpPr>
          <p:cNvPr id="28" name="Rectangle 27">
            <a:extLst>
              <a:ext uri="{FF2B5EF4-FFF2-40B4-BE49-F238E27FC236}">
                <a16:creationId xmlns:a16="http://schemas.microsoft.com/office/drawing/2014/main" id="{B2995436-4159-2A46-B78D-EC67E08A3FC7}"/>
              </a:ext>
            </a:extLst>
          </p:cNvPr>
          <p:cNvSpPr/>
          <p:nvPr/>
        </p:nvSpPr>
        <p:spPr>
          <a:xfrm>
            <a:off x="5418089" y="6101108"/>
            <a:ext cx="3648888" cy="299659"/>
          </a:xfrm>
          <a:prstGeom prst="rect">
            <a:avLst/>
          </a:prstGeom>
          <a:solidFill>
            <a:srgbClr val="FFB0B7"/>
          </a:solidFill>
          <a:ln w="12700" cap="flat" cmpd="sng" algn="ctr">
            <a:solidFill>
              <a:sysClr val="window" lastClr="FFFFFF">
                <a:lumMod val="75000"/>
              </a:sysClr>
            </a:solidFill>
            <a:prstDash val="solid"/>
            <a:miter lim="800000"/>
          </a:ln>
          <a:effectLst/>
        </p:spPr>
        <p:txBody>
          <a:bodyPr rtlCol="0" anchor="ctr"/>
          <a:lstStyle/>
          <a:p>
            <a:pPr algn="ctr" defTabSz="914377">
              <a:defRPr/>
            </a:pPr>
            <a:r>
              <a:rPr lang="en-GB" sz="900">
                <a:solidFill>
                  <a:prstClr val="black"/>
                </a:solidFill>
                <a:latin typeface="Calibri" panose="020F0502020204030204" pitchFamily="34" charset="0"/>
                <a:cs typeface="Calibri" panose="020F0502020204030204" pitchFamily="34" charset="0"/>
              </a:rPr>
              <a:t>Clinician – Carry out PHC, interventions and record outcomes </a:t>
            </a:r>
          </a:p>
        </p:txBody>
      </p:sp>
      <p:sp>
        <p:nvSpPr>
          <p:cNvPr id="29" name="Rectangle 28">
            <a:extLst>
              <a:ext uri="{FF2B5EF4-FFF2-40B4-BE49-F238E27FC236}">
                <a16:creationId xmlns:a16="http://schemas.microsoft.com/office/drawing/2014/main" id="{C92C09C3-4C5D-A144-8981-2D530CCB7538}"/>
              </a:ext>
            </a:extLst>
          </p:cNvPr>
          <p:cNvSpPr/>
          <p:nvPr/>
        </p:nvSpPr>
        <p:spPr>
          <a:xfrm>
            <a:off x="1329444" y="6101999"/>
            <a:ext cx="1987914" cy="299555"/>
          </a:xfrm>
          <a:prstGeom prst="rect">
            <a:avLst/>
          </a:prstGeom>
          <a:solidFill>
            <a:srgbClr val="FFB0B7"/>
          </a:solidFill>
          <a:ln w="12700" cap="flat" cmpd="sng" algn="ctr">
            <a:solidFill>
              <a:sysClr val="window" lastClr="FFFFFF">
                <a:lumMod val="75000"/>
              </a:sysClr>
            </a:solidFill>
            <a:prstDash val="solid"/>
            <a:miter lim="800000"/>
          </a:ln>
          <a:effectLst/>
        </p:spPr>
        <p:txBody>
          <a:bodyPr rtlCol="0" anchor="ctr"/>
          <a:lstStyle/>
          <a:p>
            <a:pPr algn="ctr" defTabSz="914377">
              <a:defRPr/>
            </a:pPr>
            <a:r>
              <a:rPr lang="en-GB" sz="900">
                <a:solidFill>
                  <a:prstClr val="black"/>
                </a:solidFill>
                <a:latin typeface="Calibri" panose="020F0502020204030204" pitchFamily="34" charset="0"/>
                <a:cs typeface="Calibri" panose="020F0502020204030204" pitchFamily="34" charset="0"/>
              </a:rPr>
              <a:t>Clinician – Liaison with Mental Health Services</a:t>
            </a:r>
          </a:p>
        </p:txBody>
      </p:sp>
      <p:sp>
        <p:nvSpPr>
          <p:cNvPr id="30" name="Rectangle 29">
            <a:extLst>
              <a:ext uri="{FF2B5EF4-FFF2-40B4-BE49-F238E27FC236}">
                <a16:creationId xmlns:a16="http://schemas.microsoft.com/office/drawing/2014/main" id="{01D87E91-B24A-3E4C-81FE-D9A5DFCF2F9D}"/>
              </a:ext>
            </a:extLst>
          </p:cNvPr>
          <p:cNvSpPr/>
          <p:nvPr/>
        </p:nvSpPr>
        <p:spPr>
          <a:xfrm>
            <a:off x="3429003" y="6101109"/>
            <a:ext cx="1877441" cy="299555"/>
          </a:xfrm>
          <a:prstGeom prst="rect">
            <a:avLst/>
          </a:prstGeom>
          <a:solidFill>
            <a:srgbClr val="E3F0D9"/>
          </a:solidFill>
          <a:ln w="12700" cap="flat" cmpd="sng" algn="ctr">
            <a:solidFill>
              <a:sysClr val="window" lastClr="FFFFFF">
                <a:lumMod val="75000"/>
              </a:sysClr>
            </a:solidFill>
            <a:prstDash val="solid"/>
            <a:miter lim="800000"/>
          </a:ln>
          <a:effectLst/>
        </p:spPr>
        <p:txBody>
          <a:bodyPr rtlCol="0" anchor="ctr"/>
          <a:lstStyle/>
          <a:p>
            <a:pPr algn="ctr" defTabSz="914377">
              <a:defRPr/>
            </a:pPr>
            <a:r>
              <a:rPr lang="en-GB" sz="900">
                <a:solidFill>
                  <a:prstClr val="black"/>
                </a:solidFill>
                <a:latin typeface="Calibri" panose="020F0502020204030204" pitchFamily="34" charset="0"/>
                <a:cs typeface="Calibri" panose="020F0502020204030204" pitchFamily="34" charset="0"/>
              </a:rPr>
              <a:t>Admin – Schedule PHC appointment </a:t>
            </a:r>
          </a:p>
        </p:txBody>
      </p:sp>
      <p:sp>
        <p:nvSpPr>
          <p:cNvPr id="31" name="Rectangle 30">
            <a:extLst>
              <a:ext uri="{FF2B5EF4-FFF2-40B4-BE49-F238E27FC236}">
                <a16:creationId xmlns:a16="http://schemas.microsoft.com/office/drawing/2014/main" id="{2B1FC640-4082-D54D-ADCC-52FE002E649C}"/>
              </a:ext>
            </a:extLst>
          </p:cNvPr>
          <p:cNvSpPr/>
          <p:nvPr/>
        </p:nvSpPr>
        <p:spPr>
          <a:xfrm>
            <a:off x="9178622" y="6101108"/>
            <a:ext cx="2128270" cy="299556"/>
          </a:xfrm>
          <a:prstGeom prst="rect">
            <a:avLst/>
          </a:prstGeom>
          <a:solidFill>
            <a:srgbClr val="E3F0D9"/>
          </a:solidFill>
          <a:ln w="12700" cap="flat" cmpd="sng" algn="ctr">
            <a:solidFill>
              <a:sysClr val="window" lastClr="FFFFFF">
                <a:lumMod val="75000"/>
              </a:sysClr>
            </a:solidFill>
            <a:prstDash val="solid"/>
            <a:miter lim="800000"/>
          </a:ln>
          <a:effectLst/>
        </p:spPr>
        <p:txBody>
          <a:bodyPr rtlCol="0" anchor="ctr"/>
          <a:lstStyle/>
          <a:p>
            <a:pPr algn="ctr" defTabSz="914377">
              <a:defRPr/>
            </a:pPr>
            <a:r>
              <a:rPr lang="en-GB" sz="900">
                <a:solidFill>
                  <a:prstClr val="black"/>
                </a:solidFill>
                <a:latin typeface="Calibri" panose="020F0502020204030204" pitchFamily="34" charset="0"/>
                <a:cs typeface="Calibri" panose="020F0502020204030204" pitchFamily="34" charset="0"/>
              </a:rPr>
              <a:t>Admin – Share outcomes and  run reports </a:t>
            </a:r>
          </a:p>
        </p:txBody>
      </p:sp>
      <p:sp>
        <p:nvSpPr>
          <p:cNvPr id="32" name="Rectangle 31">
            <a:extLst>
              <a:ext uri="{FF2B5EF4-FFF2-40B4-BE49-F238E27FC236}">
                <a16:creationId xmlns:a16="http://schemas.microsoft.com/office/drawing/2014/main" id="{CAE705D7-D780-784B-8FC9-FA228A9C72D8}"/>
              </a:ext>
            </a:extLst>
          </p:cNvPr>
          <p:cNvSpPr/>
          <p:nvPr/>
        </p:nvSpPr>
        <p:spPr>
          <a:xfrm>
            <a:off x="9416380" y="1422799"/>
            <a:ext cx="1712829" cy="440143"/>
          </a:xfrm>
          <a:prstGeom prst="rect">
            <a:avLst/>
          </a:prstGeom>
          <a:ln>
            <a:solidFill>
              <a:srgbClr val="7030A0"/>
            </a:solidFill>
          </a:ln>
        </p:spPr>
        <p:txBody>
          <a:bodyPr wrap="square" anchor="ctr">
            <a:noAutofit/>
          </a:bodyPr>
          <a:lstStyle/>
          <a:p>
            <a:pPr defTabSz="1219110"/>
            <a:r>
              <a:rPr lang="en-GB" sz="800">
                <a:solidFill>
                  <a:srgbClr val="595959"/>
                </a:solidFill>
                <a:latin typeface="Calibri" panose="020F0502020204030204"/>
                <a:cs typeface="Calibri" panose="020F0502020204030204" pitchFamily="34" charset="0"/>
              </a:rPr>
              <a:t>Outcomes record by Secondary Care sent back to Primary Care (subject to consent)</a:t>
            </a:r>
          </a:p>
        </p:txBody>
      </p:sp>
      <p:sp>
        <p:nvSpPr>
          <p:cNvPr id="33" name="Rectangle 32">
            <a:extLst>
              <a:ext uri="{FF2B5EF4-FFF2-40B4-BE49-F238E27FC236}">
                <a16:creationId xmlns:a16="http://schemas.microsoft.com/office/drawing/2014/main" id="{3602B9F5-D73E-EC40-B67B-898766CEA860}"/>
              </a:ext>
            </a:extLst>
          </p:cNvPr>
          <p:cNvSpPr/>
          <p:nvPr/>
        </p:nvSpPr>
        <p:spPr>
          <a:xfrm>
            <a:off x="2878607" y="1411892"/>
            <a:ext cx="1476973" cy="440143"/>
          </a:xfrm>
          <a:prstGeom prst="rect">
            <a:avLst/>
          </a:prstGeom>
          <a:ln>
            <a:solidFill>
              <a:srgbClr val="7030A0"/>
            </a:solidFill>
          </a:ln>
        </p:spPr>
        <p:txBody>
          <a:bodyPr wrap="square" anchor="ctr">
            <a:noAutofit/>
          </a:bodyPr>
          <a:lstStyle/>
          <a:p>
            <a:pPr defTabSz="1219110"/>
            <a:r>
              <a:rPr lang="en-GB" sz="800">
                <a:solidFill>
                  <a:srgbClr val="595959"/>
                </a:solidFill>
                <a:latin typeface="Calibri" panose="020F0502020204030204"/>
                <a:cs typeface="Calibri" panose="020F0502020204030204" pitchFamily="34" charset="0"/>
              </a:rPr>
              <a:t>Care Plan from Secondary Care shared with Primary Care</a:t>
            </a:r>
          </a:p>
        </p:txBody>
      </p:sp>
      <p:cxnSp>
        <p:nvCxnSpPr>
          <p:cNvPr id="34" name="Straight Connector 33">
            <a:extLst>
              <a:ext uri="{FF2B5EF4-FFF2-40B4-BE49-F238E27FC236}">
                <a16:creationId xmlns:a16="http://schemas.microsoft.com/office/drawing/2014/main" id="{E17B1102-E61E-4946-B83A-B300D046BE0B}"/>
              </a:ext>
            </a:extLst>
          </p:cNvPr>
          <p:cNvCxnSpPr>
            <a:cxnSpLocks/>
          </p:cNvCxnSpPr>
          <p:nvPr/>
        </p:nvCxnSpPr>
        <p:spPr>
          <a:xfrm>
            <a:off x="1257228" y="3939066"/>
            <a:ext cx="10151559" cy="0"/>
          </a:xfrm>
          <a:prstGeom prst="line">
            <a:avLst/>
          </a:prstGeom>
          <a:ln w="9525">
            <a:prstDash val="dash"/>
          </a:ln>
        </p:spPr>
        <p:style>
          <a:lnRef idx="1">
            <a:schemeClr val="accent1"/>
          </a:lnRef>
          <a:fillRef idx="0">
            <a:schemeClr val="accent1"/>
          </a:fillRef>
          <a:effectRef idx="0">
            <a:schemeClr val="accent1"/>
          </a:effectRef>
          <a:fontRef idx="minor">
            <a:schemeClr val="tx1"/>
          </a:fontRef>
        </p:style>
      </p:cxnSp>
      <p:pic>
        <p:nvPicPr>
          <p:cNvPr id="35" name="Graphic 34" descr="Doctor male with solid fill">
            <a:extLst>
              <a:ext uri="{FF2B5EF4-FFF2-40B4-BE49-F238E27FC236}">
                <a16:creationId xmlns:a16="http://schemas.microsoft.com/office/drawing/2014/main" id="{B7467E10-E484-7F4C-BC4E-3D73ED89766A}"/>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991453" y="3113261"/>
            <a:ext cx="234000" cy="234000"/>
          </a:xfrm>
          <a:prstGeom prst="rect">
            <a:avLst/>
          </a:prstGeom>
        </p:spPr>
      </p:pic>
      <p:cxnSp>
        <p:nvCxnSpPr>
          <p:cNvPr id="36" name="Curved Connector 115">
            <a:extLst>
              <a:ext uri="{FF2B5EF4-FFF2-40B4-BE49-F238E27FC236}">
                <a16:creationId xmlns:a16="http://schemas.microsoft.com/office/drawing/2014/main" id="{D6B25544-277B-CF4E-AD26-F18AB40AE709}"/>
              </a:ext>
            </a:extLst>
          </p:cNvPr>
          <p:cNvCxnSpPr>
            <a:cxnSpLocks/>
          </p:cNvCxnSpPr>
          <p:nvPr/>
        </p:nvCxnSpPr>
        <p:spPr>
          <a:xfrm rot="16200000" flipH="1">
            <a:off x="2319487" y="3846410"/>
            <a:ext cx="564976" cy="216771"/>
          </a:xfrm>
          <a:prstGeom prst="curvedConnector3">
            <a:avLst>
              <a:gd name="adj1" fmla="val 50000"/>
            </a:avLst>
          </a:prstGeom>
          <a:noFill/>
          <a:ln w="57150" cap="flat" cmpd="sng" algn="ctr">
            <a:gradFill>
              <a:gsLst>
                <a:gs pos="0">
                  <a:srgbClr val="ED7D31">
                    <a:lumMod val="40000"/>
                    <a:lumOff val="60000"/>
                  </a:srgbClr>
                </a:gs>
                <a:gs pos="100000">
                  <a:srgbClr val="ED7D31">
                    <a:lumMod val="60000"/>
                    <a:lumOff val="40000"/>
                  </a:srgbClr>
                </a:gs>
              </a:gsLst>
              <a:lin ang="10800000" scaled="0"/>
            </a:gradFill>
            <a:prstDash val="solid"/>
          </a:ln>
          <a:effectLst/>
        </p:spPr>
      </p:cxnSp>
      <p:pic>
        <p:nvPicPr>
          <p:cNvPr id="37" name="Graphic 36" descr="Clipboard Ticked outline">
            <a:extLst>
              <a:ext uri="{FF2B5EF4-FFF2-40B4-BE49-F238E27FC236}">
                <a16:creationId xmlns:a16="http://schemas.microsoft.com/office/drawing/2014/main" id="{FAA4668A-075F-7C4D-A9B5-99AC82033392}"/>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l="1922" r="1922"/>
          <a:stretch/>
        </p:blipFill>
        <p:spPr>
          <a:xfrm>
            <a:off x="2969622" y="2700263"/>
            <a:ext cx="240859" cy="250491"/>
          </a:xfrm>
          <a:prstGeom prst="rect">
            <a:avLst/>
          </a:prstGeom>
        </p:spPr>
      </p:pic>
      <p:sp>
        <p:nvSpPr>
          <p:cNvPr id="38" name="TextBox 37">
            <a:extLst>
              <a:ext uri="{FF2B5EF4-FFF2-40B4-BE49-F238E27FC236}">
                <a16:creationId xmlns:a16="http://schemas.microsoft.com/office/drawing/2014/main" id="{B684B759-309C-444C-8573-AEB38FCE0F86}"/>
              </a:ext>
            </a:extLst>
          </p:cNvPr>
          <p:cNvSpPr txBox="1"/>
          <p:nvPr/>
        </p:nvSpPr>
        <p:spPr>
          <a:xfrm>
            <a:off x="2783993" y="2959244"/>
            <a:ext cx="839146" cy="415498"/>
          </a:xfrm>
          <a:prstGeom prst="rect">
            <a:avLst/>
          </a:prstGeom>
          <a:noFill/>
          <a:ln>
            <a:noFill/>
          </a:ln>
        </p:spPr>
        <p:txBody>
          <a:bodyPr wrap="square" rtlCol="0">
            <a:spAutoFit/>
          </a:bodyPr>
          <a:lstStyle/>
          <a:p>
            <a:pPr defTabSz="914377"/>
            <a:r>
              <a:rPr lang="en-US" sz="700" b="1">
                <a:solidFill>
                  <a:schemeClr val="tx1">
                    <a:lumMod val="65000"/>
                    <a:lumOff val="35000"/>
                  </a:schemeClr>
                </a:solidFill>
                <a:latin typeface="Calibri" panose="020F0502020204030204" pitchFamily="34" charset="0"/>
                <a:cs typeface="Calibri" panose="020F0502020204030204" pitchFamily="34" charset="0"/>
              </a:rPr>
              <a:t>Patient flagged or identified for annual PHC</a:t>
            </a:r>
            <a:endParaRPr lang="en-GB" sz="700" b="1">
              <a:solidFill>
                <a:schemeClr val="tx1">
                  <a:lumMod val="65000"/>
                  <a:lumOff val="35000"/>
                </a:schemeClr>
              </a:solidFill>
              <a:latin typeface="Calibri" panose="020F0502020204030204" pitchFamily="34" charset="0"/>
              <a:cs typeface="Calibri" panose="020F0502020204030204" pitchFamily="34" charset="0"/>
            </a:endParaRPr>
          </a:p>
        </p:txBody>
      </p:sp>
      <p:cxnSp>
        <p:nvCxnSpPr>
          <p:cNvPr id="39" name="Straight Connector 38">
            <a:extLst>
              <a:ext uri="{FF2B5EF4-FFF2-40B4-BE49-F238E27FC236}">
                <a16:creationId xmlns:a16="http://schemas.microsoft.com/office/drawing/2014/main" id="{7D726CD2-B007-4E44-BF3E-BAAC7CB4E094}"/>
              </a:ext>
            </a:extLst>
          </p:cNvPr>
          <p:cNvCxnSpPr>
            <a:cxnSpLocks/>
          </p:cNvCxnSpPr>
          <p:nvPr/>
        </p:nvCxnSpPr>
        <p:spPr>
          <a:xfrm>
            <a:off x="2409746" y="3776611"/>
            <a:ext cx="0" cy="2241045"/>
          </a:xfrm>
          <a:prstGeom prst="line">
            <a:avLst/>
          </a:prstGeom>
          <a:noFill/>
          <a:ln w="19050" cap="flat" cmpd="sng" algn="ctr">
            <a:solidFill>
              <a:srgbClr val="FFB0B7"/>
            </a:solidFill>
            <a:prstDash val="solid"/>
            <a:miter lim="800000"/>
            <a:tailEnd type="oval"/>
          </a:ln>
          <a:effectLst/>
        </p:spPr>
      </p:cxnSp>
      <p:pic>
        <p:nvPicPr>
          <p:cNvPr id="40" name="Graphic 39" descr="Doctor female outline">
            <a:extLst>
              <a:ext uri="{FF2B5EF4-FFF2-40B4-BE49-F238E27FC236}">
                <a16:creationId xmlns:a16="http://schemas.microsoft.com/office/drawing/2014/main" id="{8C671185-8EF9-D34A-87D5-B8AF3EA04AC7}"/>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2519508" y="4246416"/>
            <a:ext cx="237600" cy="237600"/>
          </a:xfrm>
          <a:prstGeom prst="rect">
            <a:avLst/>
          </a:prstGeom>
        </p:spPr>
      </p:pic>
      <p:sp>
        <p:nvSpPr>
          <p:cNvPr id="41" name="TextBox 40">
            <a:extLst>
              <a:ext uri="{FF2B5EF4-FFF2-40B4-BE49-F238E27FC236}">
                <a16:creationId xmlns:a16="http://schemas.microsoft.com/office/drawing/2014/main" id="{1B48A817-DBAD-1346-8074-47C01AEA5F3F}"/>
              </a:ext>
            </a:extLst>
          </p:cNvPr>
          <p:cNvSpPr txBox="1"/>
          <p:nvPr/>
        </p:nvSpPr>
        <p:spPr>
          <a:xfrm>
            <a:off x="2730360" y="4090940"/>
            <a:ext cx="914927" cy="523220"/>
          </a:xfrm>
          <a:prstGeom prst="rect">
            <a:avLst/>
          </a:prstGeom>
          <a:noFill/>
          <a:ln>
            <a:noFill/>
          </a:ln>
        </p:spPr>
        <p:txBody>
          <a:bodyPr wrap="square" rtlCol="0">
            <a:spAutoFit/>
          </a:bodyPr>
          <a:lstStyle/>
          <a:p>
            <a:pPr defTabSz="914377"/>
            <a:r>
              <a:rPr lang="en-US" sz="700" b="1">
                <a:solidFill>
                  <a:schemeClr val="tx1">
                    <a:lumMod val="65000"/>
                    <a:lumOff val="35000"/>
                  </a:schemeClr>
                </a:solidFill>
                <a:latin typeface="Calibri" panose="020F0502020204030204" pitchFamily="34" charset="0"/>
                <a:cs typeface="Calibri" panose="020F0502020204030204" pitchFamily="34" charset="0"/>
              </a:rPr>
              <a:t>Liaise with secondary care (care coordinator) to discuss patient </a:t>
            </a:r>
            <a:endParaRPr lang="en-GB" sz="700" b="1">
              <a:solidFill>
                <a:schemeClr val="tx1">
                  <a:lumMod val="65000"/>
                  <a:lumOff val="35000"/>
                </a:schemeClr>
              </a:solidFill>
              <a:latin typeface="Calibri" panose="020F0502020204030204" pitchFamily="34" charset="0"/>
              <a:cs typeface="Calibri" panose="020F0502020204030204" pitchFamily="34" charset="0"/>
            </a:endParaRPr>
          </a:p>
        </p:txBody>
      </p:sp>
      <p:sp>
        <p:nvSpPr>
          <p:cNvPr id="43" name="TextBox 42">
            <a:extLst>
              <a:ext uri="{FF2B5EF4-FFF2-40B4-BE49-F238E27FC236}">
                <a16:creationId xmlns:a16="http://schemas.microsoft.com/office/drawing/2014/main" id="{5B820956-D31C-EC48-80E8-FEEE9DBFB9CA}"/>
              </a:ext>
            </a:extLst>
          </p:cNvPr>
          <p:cNvSpPr txBox="1"/>
          <p:nvPr/>
        </p:nvSpPr>
        <p:spPr>
          <a:xfrm>
            <a:off x="4135372" y="2800542"/>
            <a:ext cx="914927" cy="415498"/>
          </a:xfrm>
          <a:prstGeom prst="rect">
            <a:avLst/>
          </a:prstGeom>
          <a:noFill/>
          <a:ln>
            <a:noFill/>
          </a:ln>
        </p:spPr>
        <p:txBody>
          <a:bodyPr wrap="square" rtlCol="0">
            <a:spAutoFit/>
          </a:bodyPr>
          <a:lstStyle/>
          <a:p>
            <a:pPr defTabSz="914377"/>
            <a:r>
              <a:rPr lang="en-US" sz="700" b="1">
                <a:solidFill>
                  <a:schemeClr val="tx1">
                    <a:lumMod val="65000"/>
                    <a:lumOff val="35000"/>
                  </a:schemeClr>
                </a:solidFill>
                <a:latin typeface="Calibri" panose="020F0502020204030204" pitchFamily="34" charset="0"/>
                <a:cs typeface="Calibri" panose="020F0502020204030204" pitchFamily="34" charset="0"/>
              </a:rPr>
              <a:t>Contact patient and schedule PHC appointment</a:t>
            </a:r>
            <a:endParaRPr lang="en-GB" sz="700" b="1">
              <a:solidFill>
                <a:schemeClr val="tx1">
                  <a:lumMod val="65000"/>
                  <a:lumOff val="35000"/>
                </a:schemeClr>
              </a:solidFill>
              <a:latin typeface="Calibri" panose="020F0502020204030204" pitchFamily="34" charset="0"/>
              <a:cs typeface="Calibri" panose="020F0502020204030204" pitchFamily="34" charset="0"/>
            </a:endParaRPr>
          </a:p>
        </p:txBody>
      </p:sp>
      <p:cxnSp>
        <p:nvCxnSpPr>
          <p:cNvPr id="44" name="Curved Connector 58">
            <a:extLst>
              <a:ext uri="{FF2B5EF4-FFF2-40B4-BE49-F238E27FC236}">
                <a16:creationId xmlns:a16="http://schemas.microsoft.com/office/drawing/2014/main" id="{AED5C076-B17C-314E-9AAF-555C48689C28}"/>
              </a:ext>
            </a:extLst>
          </p:cNvPr>
          <p:cNvCxnSpPr>
            <a:cxnSpLocks/>
            <a:stCxn id="43" idx="0"/>
            <a:endCxn id="38" idx="3"/>
          </p:cNvCxnSpPr>
          <p:nvPr/>
        </p:nvCxnSpPr>
        <p:spPr>
          <a:xfrm rot="16200000" flipH="1" flipV="1">
            <a:off x="3924762" y="2498918"/>
            <a:ext cx="366451" cy="969697"/>
          </a:xfrm>
          <a:prstGeom prst="curvedConnector4">
            <a:avLst>
              <a:gd name="adj1" fmla="val -62382"/>
              <a:gd name="adj2" fmla="val 73588"/>
            </a:avLst>
          </a:prstGeom>
          <a:noFill/>
          <a:ln w="57150" cap="flat" cmpd="sng" algn="ctr">
            <a:gradFill>
              <a:gsLst>
                <a:gs pos="0">
                  <a:srgbClr val="ED7D31">
                    <a:lumMod val="40000"/>
                    <a:lumOff val="60000"/>
                  </a:srgbClr>
                </a:gs>
                <a:gs pos="100000">
                  <a:srgbClr val="ED7D31">
                    <a:lumMod val="60000"/>
                    <a:lumOff val="40000"/>
                  </a:srgbClr>
                </a:gs>
              </a:gsLst>
              <a:lin ang="10800000" scaled="0"/>
            </a:gradFill>
            <a:prstDash val="solid"/>
          </a:ln>
          <a:effectLst/>
        </p:spPr>
      </p:cxnSp>
      <p:sp>
        <p:nvSpPr>
          <p:cNvPr id="45" name="TextBox 44">
            <a:extLst>
              <a:ext uri="{FF2B5EF4-FFF2-40B4-BE49-F238E27FC236}">
                <a16:creationId xmlns:a16="http://schemas.microsoft.com/office/drawing/2014/main" id="{136F2CFC-8F9C-AF43-B6EE-201355149BD0}"/>
              </a:ext>
            </a:extLst>
          </p:cNvPr>
          <p:cNvSpPr txBox="1"/>
          <p:nvPr/>
        </p:nvSpPr>
        <p:spPr>
          <a:xfrm>
            <a:off x="3843655" y="4755330"/>
            <a:ext cx="914927" cy="415498"/>
          </a:xfrm>
          <a:prstGeom prst="rect">
            <a:avLst/>
          </a:prstGeom>
          <a:noFill/>
          <a:ln>
            <a:noFill/>
          </a:ln>
        </p:spPr>
        <p:txBody>
          <a:bodyPr wrap="square" rtlCol="0">
            <a:spAutoFit/>
          </a:bodyPr>
          <a:lstStyle/>
          <a:p>
            <a:pPr defTabSz="914377"/>
            <a:r>
              <a:rPr lang="en-US" sz="700" b="1">
                <a:solidFill>
                  <a:schemeClr val="tx1">
                    <a:lumMod val="65000"/>
                    <a:lumOff val="35000"/>
                  </a:schemeClr>
                </a:solidFill>
                <a:latin typeface="Calibri" panose="020F0502020204030204" pitchFamily="34" charset="0"/>
                <a:cs typeface="Calibri" panose="020F0502020204030204" pitchFamily="34" charset="0"/>
              </a:rPr>
              <a:t>Contact patient and schedule PHC appointment </a:t>
            </a:r>
            <a:endParaRPr lang="en-GB" sz="700" b="1">
              <a:solidFill>
                <a:schemeClr val="tx1">
                  <a:lumMod val="65000"/>
                  <a:lumOff val="35000"/>
                </a:schemeClr>
              </a:solidFill>
              <a:latin typeface="Calibri" panose="020F0502020204030204" pitchFamily="34" charset="0"/>
              <a:cs typeface="Calibri" panose="020F0502020204030204" pitchFamily="34" charset="0"/>
            </a:endParaRPr>
          </a:p>
        </p:txBody>
      </p:sp>
      <p:pic>
        <p:nvPicPr>
          <p:cNvPr id="46" name="Graphic 45" descr="Call centre with solid fill">
            <a:extLst>
              <a:ext uri="{FF2B5EF4-FFF2-40B4-BE49-F238E27FC236}">
                <a16:creationId xmlns:a16="http://schemas.microsoft.com/office/drawing/2014/main" id="{F7C80E9C-CE2F-2F4F-A9F4-A13C4F19E722}"/>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676686" y="4752218"/>
            <a:ext cx="234000" cy="234000"/>
          </a:xfrm>
          <a:prstGeom prst="rect">
            <a:avLst/>
          </a:prstGeom>
        </p:spPr>
      </p:pic>
      <p:pic>
        <p:nvPicPr>
          <p:cNvPr id="47" name="Graphic 46" descr="Call centre with solid fill">
            <a:extLst>
              <a:ext uri="{FF2B5EF4-FFF2-40B4-BE49-F238E27FC236}">
                <a16:creationId xmlns:a16="http://schemas.microsoft.com/office/drawing/2014/main" id="{89F0CEE9-CDAE-AF43-8F22-A579E3719CA5}"/>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967830" y="2843695"/>
            <a:ext cx="234000" cy="234000"/>
          </a:xfrm>
          <a:prstGeom prst="rect">
            <a:avLst/>
          </a:prstGeom>
        </p:spPr>
      </p:pic>
      <p:cxnSp>
        <p:nvCxnSpPr>
          <p:cNvPr id="54" name="Straight Arrow Connector 53">
            <a:extLst>
              <a:ext uri="{FF2B5EF4-FFF2-40B4-BE49-F238E27FC236}">
                <a16:creationId xmlns:a16="http://schemas.microsoft.com/office/drawing/2014/main" id="{25C93101-C45E-5F4A-ABEC-5F610B6BB0DF}"/>
              </a:ext>
            </a:extLst>
          </p:cNvPr>
          <p:cNvCxnSpPr>
            <a:cxnSpLocks/>
          </p:cNvCxnSpPr>
          <p:nvPr/>
        </p:nvCxnSpPr>
        <p:spPr>
          <a:xfrm>
            <a:off x="4430686" y="3283375"/>
            <a:ext cx="17245" cy="1438656"/>
          </a:xfrm>
          <a:prstGeom prst="straightConnector1">
            <a:avLst/>
          </a:prstGeom>
          <a:ln w="22225">
            <a:prstDash val="sysDot"/>
            <a:headEnd type="triangle"/>
            <a:tailEnd type="triangle"/>
          </a:ln>
        </p:spPr>
        <p:style>
          <a:lnRef idx="1">
            <a:schemeClr val="accent1"/>
          </a:lnRef>
          <a:fillRef idx="0">
            <a:schemeClr val="accent1"/>
          </a:fillRef>
          <a:effectRef idx="0">
            <a:schemeClr val="accent1"/>
          </a:effectRef>
          <a:fontRef idx="minor">
            <a:schemeClr val="tx1"/>
          </a:fontRef>
        </p:style>
      </p:cxnSp>
      <p:pic>
        <p:nvPicPr>
          <p:cNvPr id="56" name="Graphic 55" descr="Heart with pulse outline">
            <a:extLst>
              <a:ext uri="{FF2B5EF4-FFF2-40B4-BE49-F238E27FC236}">
                <a16:creationId xmlns:a16="http://schemas.microsoft.com/office/drawing/2014/main" id="{AA813ABC-1A5B-0A47-9010-B5512910EB93}"/>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6236732" y="2642674"/>
            <a:ext cx="237600" cy="237600"/>
          </a:xfrm>
          <a:prstGeom prst="rect">
            <a:avLst/>
          </a:prstGeom>
        </p:spPr>
      </p:pic>
      <p:pic>
        <p:nvPicPr>
          <p:cNvPr id="57" name="Graphic 56" descr="Signpost with solid fill">
            <a:extLst>
              <a:ext uri="{FF2B5EF4-FFF2-40B4-BE49-F238E27FC236}">
                <a16:creationId xmlns:a16="http://schemas.microsoft.com/office/drawing/2014/main" id="{7EA03614-0310-394D-91E4-EACF615395DF}"/>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997356" y="2123308"/>
            <a:ext cx="288619" cy="288619"/>
          </a:xfrm>
          <a:prstGeom prst="rect">
            <a:avLst/>
          </a:prstGeom>
        </p:spPr>
      </p:pic>
      <p:sp>
        <p:nvSpPr>
          <p:cNvPr id="58" name="TextBox 57">
            <a:extLst>
              <a:ext uri="{FF2B5EF4-FFF2-40B4-BE49-F238E27FC236}">
                <a16:creationId xmlns:a16="http://schemas.microsoft.com/office/drawing/2014/main" id="{B57949C3-F223-F547-9C5B-B49F5BEF428E}"/>
              </a:ext>
            </a:extLst>
          </p:cNvPr>
          <p:cNvSpPr txBox="1"/>
          <p:nvPr/>
        </p:nvSpPr>
        <p:spPr>
          <a:xfrm>
            <a:off x="6016869" y="2794754"/>
            <a:ext cx="914927" cy="415498"/>
          </a:xfrm>
          <a:prstGeom prst="rect">
            <a:avLst/>
          </a:prstGeom>
          <a:noFill/>
          <a:ln>
            <a:noFill/>
          </a:ln>
        </p:spPr>
        <p:txBody>
          <a:bodyPr wrap="square" rtlCol="0">
            <a:spAutoFit/>
          </a:bodyPr>
          <a:lstStyle/>
          <a:p>
            <a:pPr defTabSz="914377"/>
            <a:r>
              <a:rPr lang="en-US" sz="700" b="1">
                <a:solidFill>
                  <a:schemeClr val="tx1">
                    <a:lumMod val="65000"/>
                    <a:lumOff val="35000"/>
                  </a:schemeClr>
                </a:solidFill>
                <a:latin typeface="Calibri" panose="020F0502020204030204" pitchFamily="34" charset="0"/>
                <a:cs typeface="Calibri" panose="020F0502020204030204" pitchFamily="34" charset="0"/>
              </a:rPr>
              <a:t>Full PHC (all 6 checks) using standard form</a:t>
            </a:r>
          </a:p>
        </p:txBody>
      </p:sp>
      <p:cxnSp>
        <p:nvCxnSpPr>
          <p:cNvPr id="59" name="Curved Connector 58">
            <a:extLst>
              <a:ext uri="{FF2B5EF4-FFF2-40B4-BE49-F238E27FC236}">
                <a16:creationId xmlns:a16="http://schemas.microsoft.com/office/drawing/2014/main" id="{36C8500A-2138-444E-A653-D35FA20219B5}"/>
              </a:ext>
            </a:extLst>
          </p:cNvPr>
          <p:cNvCxnSpPr>
            <a:cxnSpLocks/>
            <a:stCxn id="56" idx="1"/>
          </p:cNvCxnSpPr>
          <p:nvPr/>
        </p:nvCxnSpPr>
        <p:spPr>
          <a:xfrm rot="10800000" flipV="1">
            <a:off x="5051704" y="2761474"/>
            <a:ext cx="1185029" cy="154860"/>
          </a:xfrm>
          <a:prstGeom prst="curvedConnector3">
            <a:avLst>
              <a:gd name="adj1" fmla="val 50000"/>
            </a:avLst>
          </a:prstGeom>
          <a:noFill/>
          <a:ln w="57150" cap="flat" cmpd="sng" algn="ctr">
            <a:gradFill>
              <a:gsLst>
                <a:gs pos="0">
                  <a:srgbClr val="ED7D31">
                    <a:lumMod val="40000"/>
                    <a:lumOff val="60000"/>
                  </a:srgbClr>
                </a:gs>
                <a:gs pos="100000">
                  <a:srgbClr val="ED7D31">
                    <a:lumMod val="60000"/>
                    <a:lumOff val="40000"/>
                  </a:srgbClr>
                </a:gs>
              </a:gsLst>
              <a:lin ang="10800000" scaled="0"/>
            </a:gradFill>
            <a:prstDash val="solid"/>
          </a:ln>
          <a:effectLst/>
        </p:spPr>
      </p:cxnSp>
      <p:sp>
        <p:nvSpPr>
          <p:cNvPr id="60" name="TextBox 59">
            <a:extLst>
              <a:ext uri="{FF2B5EF4-FFF2-40B4-BE49-F238E27FC236}">
                <a16:creationId xmlns:a16="http://schemas.microsoft.com/office/drawing/2014/main" id="{A53DDECA-94BD-1E4D-92BF-511C4BDB51E4}"/>
              </a:ext>
            </a:extLst>
          </p:cNvPr>
          <p:cNvSpPr txBox="1"/>
          <p:nvPr/>
        </p:nvSpPr>
        <p:spPr>
          <a:xfrm>
            <a:off x="6164762" y="5187582"/>
            <a:ext cx="745572" cy="415498"/>
          </a:xfrm>
          <a:prstGeom prst="rect">
            <a:avLst/>
          </a:prstGeom>
          <a:noFill/>
          <a:ln>
            <a:noFill/>
          </a:ln>
        </p:spPr>
        <p:txBody>
          <a:bodyPr wrap="square" rtlCol="0">
            <a:spAutoFit/>
          </a:bodyPr>
          <a:lstStyle/>
          <a:p>
            <a:pPr defTabSz="914377"/>
            <a:r>
              <a:rPr lang="en-US" sz="700" b="1">
                <a:solidFill>
                  <a:schemeClr val="tx1">
                    <a:lumMod val="65000"/>
                    <a:lumOff val="35000"/>
                  </a:schemeClr>
                </a:solidFill>
                <a:latin typeface="Calibri" panose="020F0502020204030204" pitchFamily="34" charset="0"/>
                <a:cs typeface="Calibri" panose="020F0502020204030204" pitchFamily="34" charset="0"/>
              </a:rPr>
              <a:t>Full PHC (all 6 checks) using standard form</a:t>
            </a:r>
          </a:p>
        </p:txBody>
      </p:sp>
      <p:cxnSp>
        <p:nvCxnSpPr>
          <p:cNvPr id="61" name="Curved Connector 58">
            <a:extLst>
              <a:ext uri="{FF2B5EF4-FFF2-40B4-BE49-F238E27FC236}">
                <a16:creationId xmlns:a16="http://schemas.microsoft.com/office/drawing/2014/main" id="{3146030A-D79B-7245-A09B-C28D456CEDE6}"/>
              </a:ext>
            </a:extLst>
          </p:cNvPr>
          <p:cNvCxnSpPr>
            <a:cxnSpLocks/>
            <a:stCxn id="45" idx="2"/>
            <a:endCxn id="62" idx="1"/>
          </p:cNvCxnSpPr>
          <p:nvPr/>
        </p:nvCxnSpPr>
        <p:spPr>
          <a:xfrm rot="16200000" flipH="1">
            <a:off x="5033886" y="4438061"/>
            <a:ext cx="225464" cy="1690998"/>
          </a:xfrm>
          <a:prstGeom prst="curvedConnector2">
            <a:avLst/>
          </a:prstGeom>
          <a:noFill/>
          <a:ln w="57150" cap="flat" cmpd="sng" algn="ctr">
            <a:gradFill>
              <a:gsLst>
                <a:gs pos="0">
                  <a:srgbClr val="ED7D31">
                    <a:lumMod val="40000"/>
                    <a:lumOff val="60000"/>
                  </a:srgbClr>
                </a:gs>
                <a:gs pos="100000">
                  <a:srgbClr val="ED7D31">
                    <a:lumMod val="60000"/>
                    <a:lumOff val="40000"/>
                  </a:srgbClr>
                </a:gs>
              </a:gsLst>
              <a:lin ang="10800000" scaled="0"/>
            </a:gradFill>
            <a:prstDash val="solid"/>
          </a:ln>
          <a:effectLst/>
        </p:spPr>
      </p:cxnSp>
      <p:pic>
        <p:nvPicPr>
          <p:cNvPr id="62" name="Graphic 61" descr="Heart with pulse outline">
            <a:extLst>
              <a:ext uri="{FF2B5EF4-FFF2-40B4-BE49-F238E27FC236}">
                <a16:creationId xmlns:a16="http://schemas.microsoft.com/office/drawing/2014/main" id="{C2EEDBD8-A083-2C43-80BD-6EDEF2F0E6C8}"/>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5992117" y="5277492"/>
            <a:ext cx="237600" cy="237600"/>
          </a:xfrm>
          <a:prstGeom prst="rect">
            <a:avLst/>
          </a:prstGeom>
        </p:spPr>
      </p:pic>
      <p:sp>
        <p:nvSpPr>
          <p:cNvPr id="63" name="TextBox 62">
            <a:extLst>
              <a:ext uri="{FF2B5EF4-FFF2-40B4-BE49-F238E27FC236}">
                <a16:creationId xmlns:a16="http://schemas.microsoft.com/office/drawing/2014/main" id="{BA822DB9-2259-194E-AB7C-BB1054F80EF9}"/>
              </a:ext>
            </a:extLst>
          </p:cNvPr>
          <p:cNvSpPr txBox="1"/>
          <p:nvPr/>
        </p:nvSpPr>
        <p:spPr>
          <a:xfrm>
            <a:off x="7226571" y="2062607"/>
            <a:ext cx="1009846" cy="415498"/>
          </a:xfrm>
          <a:prstGeom prst="rect">
            <a:avLst/>
          </a:prstGeom>
          <a:noFill/>
          <a:ln>
            <a:noFill/>
          </a:ln>
        </p:spPr>
        <p:txBody>
          <a:bodyPr wrap="square" rtlCol="0">
            <a:spAutoFit/>
          </a:bodyPr>
          <a:lstStyle/>
          <a:p>
            <a:pPr defTabSz="914377"/>
            <a:r>
              <a:rPr lang="en-US" sz="700" b="1">
                <a:solidFill>
                  <a:schemeClr val="tx1">
                    <a:lumMod val="65000"/>
                    <a:lumOff val="35000"/>
                  </a:schemeClr>
                </a:solidFill>
                <a:latin typeface="Calibri" panose="020F0502020204030204" pitchFamily="34" charset="0"/>
                <a:cs typeface="Calibri" panose="020F0502020204030204" pitchFamily="34" charset="0"/>
              </a:rPr>
              <a:t>Further Clinical Action (if interventions required)</a:t>
            </a:r>
          </a:p>
        </p:txBody>
      </p:sp>
      <p:cxnSp>
        <p:nvCxnSpPr>
          <p:cNvPr id="64" name="Straight Arrow Connector 63">
            <a:extLst>
              <a:ext uri="{FF2B5EF4-FFF2-40B4-BE49-F238E27FC236}">
                <a16:creationId xmlns:a16="http://schemas.microsoft.com/office/drawing/2014/main" id="{55228EBF-B272-E140-ACEB-3810F7CA1290}"/>
              </a:ext>
            </a:extLst>
          </p:cNvPr>
          <p:cNvCxnSpPr>
            <a:cxnSpLocks/>
          </p:cNvCxnSpPr>
          <p:nvPr/>
        </p:nvCxnSpPr>
        <p:spPr>
          <a:xfrm flipH="1">
            <a:off x="6328446" y="3266033"/>
            <a:ext cx="16365" cy="1939565"/>
          </a:xfrm>
          <a:prstGeom prst="straightConnector1">
            <a:avLst/>
          </a:prstGeom>
          <a:ln w="22225">
            <a:prstDash val="sys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66" name="Curved Connector 58">
            <a:extLst>
              <a:ext uri="{FF2B5EF4-FFF2-40B4-BE49-F238E27FC236}">
                <a16:creationId xmlns:a16="http://schemas.microsoft.com/office/drawing/2014/main" id="{4A295395-9295-5348-94E3-8414C504ED8F}"/>
              </a:ext>
            </a:extLst>
          </p:cNvPr>
          <p:cNvCxnSpPr>
            <a:cxnSpLocks/>
            <a:stCxn id="57" idx="1"/>
            <a:endCxn id="56" idx="0"/>
          </p:cNvCxnSpPr>
          <p:nvPr/>
        </p:nvCxnSpPr>
        <p:spPr>
          <a:xfrm rot="10800000" flipV="1">
            <a:off x="6355532" y="2267618"/>
            <a:ext cx="641824" cy="375056"/>
          </a:xfrm>
          <a:prstGeom prst="curvedConnector2">
            <a:avLst/>
          </a:prstGeom>
          <a:noFill/>
          <a:ln w="57150" cap="flat" cmpd="sng" algn="ctr">
            <a:gradFill>
              <a:gsLst>
                <a:gs pos="0">
                  <a:srgbClr val="ED7D31">
                    <a:lumMod val="40000"/>
                    <a:lumOff val="60000"/>
                  </a:srgbClr>
                </a:gs>
                <a:gs pos="100000">
                  <a:srgbClr val="ED7D31">
                    <a:lumMod val="60000"/>
                    <a:lumOff val="40000"/>
                  </a:srgbClr>
                </a:gs>
              </a:gsLst>
              <a:lin ang="10800000" scaled="0"/>
            </a:gradFill>
            <a:prstDash val="solid"/>
          </a:ln>
          <a:effectLst/>
        </p:spPr>
      </p:cxnSp>
      <p:sp>
        <p:nvSpPr>
          <p:cNvPr id="67" name="TextBox 66">
            <a:extLst>
              <a:ext uri="{FF2B5EF4-FFF2-40B4-BE49-F238E27FC236}">
                <a16:creationId xmlns:a16="http://schemas.microsoft.com/office/drawing/2014/main" id="{57D904D3-08AC-5741-8CA3-A8AC4B9D49EF}"/>
              </a:ext>
            </a:extLst>
          </p:cNvPr>
          <p:cNvSpPr txBox="1"/>
          <p:nvPr/>
        </p:nvSpPr>
        <p:spPr>
          <a:xfrm>
            <a:off x="7697662" y="5308935"/>
            <a:ext cx="765165" cy="523220"/>
          </a:xfrm>
          <a:prstGeom prst="rect">
            <a:avLst/>
          </a:prstGeom>
          <a:noFill/>
          <a:ln>
            <a:noFill/>
          </a:ln>
        </p:spPr>
        <p:txBody>
          <a:bodyPr wrap="square" rtlCol="0">
            <a:spAutoFit/>
          </a:bodyPr>
          <a:lstStyle/>
          <a:p>
            <a:pPr defTabSz="914377"/>
            <a:r>
              <a:rPr lang="en-US" sz="700" b="1">
                <a:solidFill>
                  <a:schemeClr val="tx1">
                    <a:lumMod val="65000"/>
                    <a:lumOff val="35000"/>
                  </a:schemeClr>
                </a:solidFill>
                <a:latin typeface="Calibri" panose="020F0502020204030204" pitchFamily="34" charset="0"/>
                <a:cs typeface="Calibri" panose="020F0502020204030204" pitchFamily="34" charset="0"/>
              </a:rPr>
              <a:t>Further Clinical Action (if interventions required)</a:t>
            </a:r>
          </a:p>
        </p:txBody>
      </p:sp>
      <p:pic>
        <p:nvPicPr>
          <p:cNvPr id="68" name="Graphic 67" descr="Signpost with solid fill">
            <a:extLst>
              <a:ext uri="{FF2B5EF4-FFF2-40B4-BE49-F238E27FC236}">
                <a16:creationId xmlns:a16="http://schemas.microsoft.com/office/drawing/2014/main" id="{FF86D61A-F45F-7A45-A963-BFB9D821163B}"/>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478472" y="5453503"/>
            <a:ext cx="288619" cy="288619"/>
          </a:xfrm>
          <a:prstGeom prst="rect">
            <a:avLst/>
          </a:prstGeom>
        </p:spPr>
      </p:pic>
      <p:cxnSp>
        <p:nvCxnSpPr>
          <p:cNvPr id="69" name="Curved Connector 58">
            <a:extLst>
              <a:ext uri="{FF2B5EF4-FFF2-40B4-BE49-F238E27FC236}">
                <a16:creationId xmlns:a16="http://schemas.microsoft.com/office/drawing/2014/main" id="{7EE14C5E-2786-AE42-8F8A-AD1EB39FA930}"/>
              </a:ext>
            </a:extLst>
          </p:cNvPr>
          <p:cNvCxnSpPr>
            <a:cxnSpLocks/>
            <a:stCxn id="60" idx="3"/>
            <a:endCxn id="68" idx="1"/>
          </p:cNvCxnSpPr>
          <p:nvPr/>
        </p:nvCxnSpPr>
        <p:spPr>
          <a:xfrm>
            <a:off x="6910334" y="5395331"/>
            <a:ext cx="568138" cy="202482"/>
          </a:xfrm>
          <a:prstGeom prst="curvedConnector3">
            <a:avLst>
              <a:gd name="adj1" fmla="val 50000"/>
            </a:avLst>
          </a:prstGeom>
          <a:noFill/>
          <a:ln w="57150" cap="flat" cmpd="sng" algn="ctr">
            <a:gradFill>
              <a:gsLst>
                <a:gs pos="0">
                  <a:srgbClr val="ED7D31">
                    <a:lumMod val="40000"/>
                    <a:lumOff val="60000"/>
                  </a:srgbClr>
                </a:gs>
                <a:gs pos="100000">
                  <a:srgbClr val="ED7D31">
                    <a:lumMod val="60000"/>
                    <a:lumOff val="40000"/>
                  </a:srgbClr>
                </a:gs>
              </a:gsLst>
              <a:lin ang="10800000" scaled="0"/>
            </a:gradFill>
            <a:prstDash val="solid"/>
          </a:ln>
          <a:effectLst/>
        </p:spPr>
      </p:cxnSp>
      <p:sp>
        <p:nvSpPr>
          <p:cNvPr id="70" name="TextBox 69">
            <a:extLst>
              <a:ext uri="{FF2B5EF4-FFF2-40B4-BE49-F238E27FC236}">
                <a16:creationId xmlns:a16="http://schemas.microsoft.com/office/drawing/2014/main" id="{1CB22706-7331-A64D-BB93-5231D974E45C}"/>
              </a:ext>
            </a:extLst>
          </p:cNvPr>
          <p:cNvSpPr txBox="1"/>
          <p:nvPr/>
        </p:nvSpPr>
        <p:spPr>
          <a:xfrm>
            <a:off x="8398597" y="4851382"/>
            <a:ext cx="914927" cy="200055"/>
          </a:xfrm>
          <a:prstGeom prst="rect">
            <a:avLst/>
          </a:prstGeom>
          <a:noFill/>
          <a:ln>
            <a:noFill/>
          </a:ln>
        </p:spPr>
        <p:txBody>
          <a:bodyPr wrap="square" rtlCol="0">
            <a:spAutoFit/>
          </a:bodyPr>
          <a:lstStyle/>
          <a:p>
            <a:pPr defTabSz="914377"/>
            <a:r>
              <a:rPr lang="en-US" sz="700" b="1">
                <a:solidFill>
                  <a:schemeClr val="tx1">
                    <a:lumMod val="65000"/>
                    <a:lumOff val="35000"/>
                  </a:schemeClr>
                </a:solidFill>
                <a:latin typeface="Calibri" panose="020F0502020204030204" pitchFamily="34" charset="0"/>
                <a:cs typeface="Calibri" panose="020F0502020204030204" pitchFamily="34" charset="0"/>
              </a:rPr>
              <a:t>Record Outcomes</a:t>
            </a:r>
            <a:endParaRPr lang="en-GB" sz="700" b="1">
              <a:solidFill>
                <a:schemeClr val="tx1">
                  <a:lumMod val="65000"/>
                  <a:lumOff val="35000"/>
                </a:schemeClr>
              </a:solidFill>
              <a:latin typeface="Calibri" panose="020F0502020204030204" pitchFamily="34" charset="0"/>
              <a:cs typeface="Calibri" panose="020F0502020204030204" pitchFamily="34" charset="0"/>
            </a:endParaRPr>
          </a:p>
        </p:txBody>
      </p:sp>
      <p:sp>
        <p:nvSpPr>
          <p:cNvPr id="71" name="TextBox 70">
            <a:extLst>
              <a:ext uri="{FF2B5EF4-FFF2-40B4-BE49-F238E27FC236}">
                <a16:creationId xmlns:a16="http://schemas.microsoft.com/office/drawing/2014/main" id="{EC72EE7E-8C8E-3D4A-9DB5-6D95294EFC7C}"/>
              </a:ext>
            </a:extLst>
          </p:cNvPr>
          <p:cNvSpPr txBox="1"/>
          <p:nvPr/>
        </p:nvSpPr>
        <p:spPr>
          <a:xfrm>
            <a:off x="9899220" y="4398358"/>
            <a:ext cx="914927" cy="307777"/>
          </a:xfrm>
          <a:prstGeom prst="rect">
            <a:avLst/>
          </a:prstGeom>
        </p:spPr>
        <p:txBody>
          <a:bodyPr wrap="square" rtlCol="0">
            <a:spAutoFit/>
          </a:bodyPr>
          <a:lstStyle>
            <a:defPPr>
              <a:defRPr lang="en-US"/>
            </a:defPPr>
            <a:lvl1pPr defTabSz="914377">
              <a:defRPr sz="700">
                <a:solidFill>
                  <a:srgbClr val="E7E6E6">
                    <a:lumMod val="75000"/>
                  </a:srgbClr>
                </a:solidFill>
                <a:latin typeface="Calibri" panose="020F0502020204030204" pitchFamily="34" charset="0"/>
                <a:cs typeface="Calibri" panose="020F0502020204030204" pitchFamily="34" charset="0"/>
              </a:defRPr>
            </a:lvl1pPr>
          </a:lstStyle>
          <a:p>
            <a:r>
              <a:rPr lang="en-US" b="1">
                <a:solidFill>
                  <a:schemeClr val="tx1">
                    <a:lumMod val="65000"/>
                    <a:lumOff val="35000"/>
                  </a:schemeClr>
                </a:solidFill>
              </a:rPr>
              <a:t>Send outcomes to primary care</a:t>
            </a:r>
            <a:endParaRPr lang="en-GB" b="1">
              <a:solidFill>
                <a:schemeClr val="tx1">
                  <a:lumMod val="65000"/>
                  <a:lumOff val="35000"/>
                </a:schemeClr>
              </a:solidFill>
            </a:endParaRPr>
          </a:p>
        </p:txBody>
      </p:sp>
      <p:pic>
        <p:nvPicPr>
          <p:cNvPr id="72" name="Graphic 71" descr="Internet with solid fill">
            <a:extLst>
              <a:ext uri="{FF2B5EF4-FFF2-40B4-BE49-F238E27FC236}">
                <a16:creationId xmlns:a16="http://schemas.microsoft.com/office/drawing/2014/main" id="{0C4B0134-8E93-CC4B-93C8-5D96D62D6451}"/>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276015" y="4710892"/>
            <a:ext cx="234000" cy="234000"/>
          </a:xfrm>
          <a:prstGeom prst="rect">
            <a:avLst/>
          </a:prstGeom>
        </p:spPr>
      </p:pic>
      <p:cxnSp>
        <p:nvCxnSpPr>
          <p:cNvPr id="73" name="Curved Connector 58">
            <a:extLst>
              <a:ext uri="{FF2B5EF4-FFF2-40B4-BE49-F238E27FC236}">
                <a16:creationId xmlns:a16="http://schemas.microsoft.com/office/drawing/2014/main" id="{62D193EC-F2B6-FD44-AAE7-A73F73FC2137}"/>
              </a:ext>
            </a:extLst>
          </p:cNvPr>
          <p:cNvCxnSpPr>
            <a:cxnSpLocks/>
            <a:stCxn id="67" idx="3"/>
            <a:endCxn id="70" idx="2"/>
          </p:cNvCxnSpPr>
          <p:nvPr/>
        </p:nvCxnSpPr>
        <p:spPr>
          <a:xfrm flipV="1">
            <a:off x="8462827" y="5051437"/>
            <a:ext cx="393234" cy="519108"/>
          </a:xfrm>
          <a:prstGeom prst="curvedConnector2">
            <a:avLst/>
          </a:prstGeom>
          <a:noFill/>
          <a:ln w="57150" cap="flat" cmpd="sng" algn="ctr">
            <a:gradFill>
              <a:gsLst>
                <a:gs pos="0">
                  <a:srgbClr val="ED7D31">
                    <a:lumMod val="40000"/>
                    <a:lumOff val="60000"/>
                  </a:srgbClr>
                </a:gs>
                <a:gs pos="100000">
                  <a:srgbClr val="ED7D31">
                    <a:lumMod val="60000"/>
                    <a:lumOff val="40000"/>
                  </a:srgbClr>
                </a:gs>
              </a:gsLst>
              <a:lin ang="10800000" scaled="0"/>
            </a:gradFill>
            <a:prstDash val="solid"/>
          </a:ln>
          <a:effectLst/>
        </p:spPr>
      </p:cxnSp>
      <p:sp>
        <p:nvSpPr>
          <p:cNvPr id="74" name="TextBox 73">
            <a:extLst>
              <a:ext uri="{FF2B5EF4-FFF2-40B4-BE49-F238E27FC236}">
                <a16:creationId xmlns:a16="http://schemas.microsoft.com/office/drawing/2014/main" id="{AE87D6E8-DB27-634A-8F62-A943B7987B9C}"/>
              </a:ext>
            </a:extLst>
          </p:cNvPr>
          <p:cNvSpPr txBox="1"/>
          <p:nvPr/>
        </p:nvSpPr>
        <p:spPr>
          <a:xfrm>
            <a:off x="8547082" y="3344711"/>
            <a:ext cx="914927" cy="200055"/>
          </a:xfrm>
          <a:prstGeom prst="rect">
            <a:avLst/>
          </a:prstGeom>
          <a:noFill/>
          <a:ln>
            <a:noFill/>
          </a:ln>
        </p:spPr>
        <p:txBody>
          <a:bodyPr wrap="square" rtlCol="0">
            <a:spAutoFit/>
          </a:bodyPr>
          <a:lstStyle/>
          <a:p>
            <a:pPr defTabSz="914377"/>
            <a:r>
              <a:rPr lang="en-US" sz="700" b="1">
                <a:solidFill>
                  <a:schemeClr val="tx1">
                    <a:lumMod val="65000"/>
                    <a:lumOff val="35000"/>
                  </a:schemeClr>
                </a:solidFill>
                <a:latin typeface="Calibri" panose="020F0502020204030204" pitchFamily="34" charset="0"/>
                <a:cs typeface="Calibri" panose="020F0502020204030204" pitchFamily="34" charset="0"/>
              </a:rPr>
              <a:t>Record Outcomes</a:t>
            </a:r>
            <a:endParaRPr lang="en-GB" sz="700" b="1">
              <a:solidFill>
                <a:schemeClr val="tx1">
                  <a:lumMod val="65000"/>
                  <a:lumOff val="35000"/>
                </a:schemeClr>
              </a:solidFill>
              <a:latin typeface="Calibri" panose="020F0502020204030204" pitchFamily="34" charset="0"/>
              <a:cs typeface="Calibri" panose="020F0502020204030204" pitchFamily="34" charset="0"/>
            </a:endParaRPr>
          </a:p>
        </p:txBody>
      </p:sp>
      <p:pic>
        <p:nvPicPr>
          <p:cNvPr id="75" name="Graphic 74" descr="Internet with solid fill">
            <a:extLst>
              <a:ext uri="{FF2B5EF4-FFF2-40B4-BE49-F238E27FC236}">
                <a16:creationId xmlns:a16="http://schemas.microsoft.com/office/drawing/2014/main" id="{1BEA4853-A103-0A4A-8D93-AA83F81560C6}"/>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521946" y="3208906"/>
            <a:ext cx="234000" cy="234000"/>
          </a:xfrm>
          <a:prstGeom prst="rect">
            <a:avLst/>
          </a:prstGeom>
        </p:spPr>
      </p:pic>
      <p:cxnSp>
        <p:nvCxnSpPr>
          <p:cNvPr id="76" name="Curved Connector 58">
            <a:extLst>
              <a:ext uri="{FF2B5EF4-FFF2-40B4-BE49-F238E27FC236}">
                <a16:creationId xmlns:a16="http://schemas.microsoft.com/office/drawing/2014/main" id="{D62CE31E-5F21-4643-BF0E-6DFFD4D31A96}"/>
              </a:ext>
            </a:extLst>
          </p:cNvPr>
          <p:cNvCxnSpPr>
            <a:cxnSpLocks/>
            <a:endCxn id="74" idx="1"/>
          </p:cNvCxnSpPr>
          <p:nvPr/>
        </p:nvCxnSpPr>
        <p:spPr>
          <a:xfrm>
            <a:off x="6710803" y="2848410"/>
            <a:ext cx="1836279" cy="596329"/>
          </a:xfrm>
          <a:prstGeom prst="curvedConnector3">
            <a:avLst>
              <a:gd name="adj1" fmla="val 50000"/>
            </a:avLst>
          </a:prstGeom>
          <a:noFill/>
          <a:ln w="57150" cap="flat" cmpd="sng" algn="ctr">
            <a:gradFill>
              <a:gsLst>
                <a:gs pos="0">
                  <a:srgbClr val="ED7D31">
                    <a:lumMod val="40000"/>
                    <a:lumOff val="60000"/>
                  </a:srgbClr>
                </a:gs>
                <a:gs pos="100000">
                  <a:srgbClr val="ED7D31">
                    <a:lumMod val="60000"/>
                    <a:lumOff val="40000"/>
                  </a:srgbClr>
                </a:gs>
              </a:gsLst>
              <a:lin ang="10800000" scaled="0"/>
            </a:gradFill>
            <a:prstDash val="solid"/>
          </a:ln>
          <a:effectLst/>
        </p:spPr>
      </p:cxnSp>
      <p:sp>
        <p:nvSpPr>
          <p:cNvPr id="77" name="TextBox 76">
            <a:extLst>
              <a:ext uri="{FF2B5EF4-FFF2-40B4-BE49-F238E27FC236}">
                <a16:creationId xmlns:a16="http://schemas.microsoft.com/office/drawing/2014/main" id="{F15C9E98-A76B-994B-B22B-B1E015A57601}"/>
              </a:ext>
            </a:extLst>
          </p:cNvPr>
          <p:cNvSpPr txBox="1"/>
          <p:nvPr/>
        </p:nvSpPr>
        <p:spPr>
          <a:xfrm>
            <a:off x="2649687" y="5131934"/>
            <a:ext cx="839146" cy="523220"/>
          </a:xfrm>
          <a:prstGeom prst="rect">
            <a:avLst/>
          </a:prstGeom>
          <a:noFill/>
          <a:ln>
            <a:noFill/>
          </a:ln>
        </p:spPr>
        <p:txBody>
          <a:bodyPr wrap="square" rtlCol="0">
            <a:spAutoFit/>
          </a:bodyPr>
          <a:lstStyle/>
          <a:p>
            <a:pPr defTabSz="914377"/>
            <a:r>
              <a:rPr lang="en-US" sz="700" b="1">
                <a:solidFill>
                  <a:schemeClr val="tx1">
                    <a:lumMod val="65000"/>
                    <a:lumOff val="35000"/>
                  </a:schemeClr>
                </a:solidFill>
                <a:latin typeface="Calibri" panose="020F0502020204030204" pitchFamily="34" charset="0"/>
                <a:cs typeface="Calibri" panose="020F0502020204030204" pitchFamily="34" charset="0"/>
              </a:rPr>
              <a:t>Patient flagged or identified for annual PHC in secondary care</a:t>
            </a:r>
            <a:endParaRPr lang="en-GB" sz="700" b="1">
              <a:solidFill>
                <a:schemeClr val="tx1">
                  <a:lumMod val="65000"/>
                  <a:lumOff val="35000"/>
                </a:schemeClr>
              </a:solidFill>
              <a:latin typeface="Calibri" panose="020F0502020204030204" pitchFamily="34" charset="0"/>
              <a:cs typeface="Calibri" panose="020F0502020204030204" pitchFamily="34" charset="0"/>
            </a:endParaRPr>
          </a:p>
        </p:txBody>
      </p:sp>
      <p:pic>
        <p:nvPicPr>
          <p:cNvPr id="78" name="Graphic 77" descr="Clipboard Ticked outline">
            <a:extLst>
              <a:ext uri="{FF2B5EF4-FFF2-40B4-BE49-F238E27FC236}">
                <a16:creationId xmlns:a16="http://schemas.microsoft.com/office/drawing/2014/main" id="{B15F2D47-8E3B-6E4B-858C-FD394F091162}"/>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l="1922" r="1922"/>
          <a:stretch/>
        </p:blipFill>
        <p:spPr>
          <a:xfrm>
            <a:off x="2467131" y="5250377"/>
            <a:ext cx="240859" cy="250491"/>
          </a:xfrm>
          <a:prstGeom prst="rect">
            <a:avLst/>
          </a:prstGeom>
        </p:spPr>
      </p:pic>
      <p:cxnSp>
        <p:nvCxnSpPr>
          <p:cNvPr id="79" name="Curved Connector 58">
            <a:extLst>
              <a:ext uri="{FF2B5EF4-FFF2-40B4-BE49-F238E27FC236}">
                <a16:creationId xmlns:a16="http://schemas.microsoft.com/office/drawing/2014/main" id="{1A0B5A47-E3C4-3F40-A2AE-B6180D3548A8}"/>
              </a:ext>
            </a:extLst>
          </p:cNvPr>
          <p:cNvCxnSpPr>
            <a:cxnSpLocks/>
          </p:cNvCxnSpPr>
          <p:nvPr/>
        </p:nvCxnSpPr>
        <p:spPr>
          <a:xfrm flipV="1">
            <a:off x="3381825" y="5052696"/>
            <a:ext cx="331183" cy="297431"/>
          </a:xfrm>
          <a:prstGeom prst="curvedConnector3">
            <a:avLst>
              <a:gd name="adj1" fmla="val 50000"/>
            </a:avLst>
          </a:prstGeom>
          <a:noFill/>
          <a:ln w="57150" cap="flat" cmpd="sng" algn="ctr">
            <a:gradFill>
              <a:gsLst>
                <a:gs pos="0">
                  <a:srgbClr val="ED7D31">
                    <a:lumMod val="40000"/>
                    <a:lumOff val="60000"/>
                  </a:srgbClr>
                </a:gs>
                <a:gs pos="100000">
                  <a:srgbClr val="ED7D31">
                    <a:lumMod val="60000"/>
                    <a:lumOff val="40000"/>
                  </a:srgbClr>
                </a:gs>
              </a:gsLst>
              <a:lin ang="10800000" scaled="0"/>
            </a:gradFill>
            <a:prstDash val="solid"/>
          </a:ln>
          <a:effectLst/>
        </p:spPr>
      </p:cxnSp>
      <p:pic>
        <p:nvPicPr>
          <p:cNvPr id="80" name="Graphic 79" descr="Research outline">
            <a:extLst>
              <a:ext uri="{FF2B5EF4-FFF2-40B4-BE49-F238E27FC236}">
                <a16:creationId xmlns:a16="http://schemas.microsoft.com/office/drawing/2014/main" id="{2A9D58E4-DEEA-394B-9A56-732070894BF0}"/>
              </a:ext>
            </a:extLst>
          </p:cNvPr>
          <p:cNvPicPr>
            <a:picLocks noChangeAspect="1"/>
          </p:cNvPicPr>
          <p:nvPr/>
        </p:nvPicPr>
        <p:blipFill rotWithShape="1">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rcRect l="5274" r="7658"/>
          <a:stretch/>
        </p:blipFill>
        <p:spPr>
          <a:xfrm>
            <a:off x="10101783" y="2433033"/>
            <a:ext cx="218100" cy="250491"/>
          </a:xfrm>
          <a:prstGeom prst="rect">
            <a:avLst/>
          </a:prstGeom>
        </p:spPr>
      </p:pic>
      <p:cxnSp>
        <p:nvCxnSpPr>
          <p:cNvPr id="81" name="Straight Arrow Connector 80">
            <a:extLst>
              <a:ext uri="{FF2B5EF4-FFF2-40B4-BE49-F238E27FC236}">
                <a16:creationId xmlns:a16="http://schemas.microsoft.com/office/drawing/2014/main" id="{D15857C5-DA82-A94D-A4A4-449B13BB6AEA}"/>
              </a:ext>
            </a:extLst>
          </p:cNvPr>
          <p:cNvCxnSpPr>
            <a:cxnSpLocks/>
          </p:cNvCxnSpPr>
          <p:nvPr/>
        </p:nvCxnSpPr>
        <p:spPr>
          <a:xfrm flipH="1">
            <a:off x="8665976" y="3544766"/>
            <a:ext cx="7374" cy="1306616"/>
          </a:xfrm>
          <a:prstGeom prst="straightConnector1">
            <a:avLst/>
          </a:prstGeom>
          <a:ln w="22225">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3" name="Curved Connector 58">
            <a:extLst>
              <a:ext uri="{FF2B5EF4-FFF2-40B4-BE49-F238E27FC236}">
                <a16:creationId xmlns:a16="http://schemas.microsoft.com/office/drawing/2014/main" id="{7AC79064-2519-5944-AAFC-A952F88E61A4}"/>
              </a:ext>
            </a:extLst>
          </p:cNvPr>
          <p:cNvCxnSpPr>
            <a:cxnSpLocks/>
            <a:stCxn id="71" idx="1"/>
            <a:endCxn id="70" idx="3"/>
          </p:cNvCxnSpPr>
          <p:nvPr/>
        </p:nvCxnSpPr>
        <p:spPr>
          <a:xfrm rot="10800000" flipV="1">
            <a:off x="9313524" y="4552246"/>
            <a:ext cx="585696" cy="399163"/>
          </a:xfrm>
          <a:prstGeom prst="curvedConnector3">
            <a:avLst>
              <a:gd name="adj1" fmla="val 50000"/>
            </a:avLst>
          </a:prstGeom>
          <a:noFill/>
          <a:ln w="57150" cap="flat" cmpd="sng" algn="ctr">
            <a:gradFill>
              <a:gsLst>
                <a:gs pos="0">
                  <a:srgbClr val="ED7D31">
                    <a:lumMod val="40000"/>
                    <a:lumOff val="60000"/>
                  </a:srgbClr>
                </a:gs>
                <a:gs pos="100000">
                  <a:srgbClr val="ED7D31">
                    <a:lumMod val="60000"/>
                    <a:lumOff val="40000"/>
                  </a:srgbClr>
                </a:gs>
              </a:gsLst>
              <a:lin ang="10800000" scaled="0"/>
            </a:gradFill>
            <a:prstDash val="solid"/>
          </a:ln>
          <a:effectLst/>
        </p:spPr>
      </p:cxnSp>
      <p:cxnSp>
        <p:nvCxnSpPr>
          <p:cNvPr id="84" name="Straight Connector 83">
            <a:extLst>
              <a:ext uri="{FF2B5EF4-FFF2-40B4-BE49-F238E27FC236}">
                <a16:creationId xmlns:a16="http://schemas.microsoft.com/office/drawing/2014/main" id="{9D32021A-DEF0-6F43-ADCB-6E70A389EDCE}"/>
              </a:ext>
            </a:extLst>
          </p:cNvPr>
          <p:cNvCxnSpPr>
            <a:cxnSpLocks/>
          </p:cNvCxnSpPr>
          <p:nvPr/>
        </p:nvCxnSpPr>
        <p:spPr>
          <a:xfrm>
            <a:off x="10289787" y="4761016"/>
            <a:ext cx="0" cy="1280439"/>
          </a:xfrm>
          <a:prstGeom prst="line">
            <a:avLst/>
          </a:prstGeom>
          <a:noFill/>
          <a:ln w="28575" cap="flat" cmpd="sng" algn="ctr">
            <a:solidFill>
              <a:srgbClr val="E5F0DE"/>
            </a:solidFill>
            <a:prstDash val="solid"/>
            <a:miter lim="800000"/>
            <a:tailEnd type="oval"/>
          </a:ln>
          <a:effectLst/>
        </p:spPr>
      </p:cxnSp>
      <p:cxnSp>
        <p:nvCxnSpPr>
          <p:cNvPr id="86" name="Curved Connector 58">
            <a:extLst>
              <a:ext uri="{FF2B5EF4-FFF2-40B4-BE49-F238E27FC236}">
                <a16:creationId xmlns:a16="http://schemas.microsoft.com/office/drawing/2014/main" id="{13BEF691-C870-494C-9B2A-A95CBBFAD08F}"/>
              </a:ext>
            </a:extLst>
          </p:cNvPr>
          <p:cNvCxnSpPr>
            <a:cxnSpLocks/>
            <a:stCxn id="80" idx="1"/>
            <a:endCxn id="74" idx="0"/>
          </p:cNvCxnSpPr>
          <p:nvPr/>
        </p:nvCxnSpPr>
        <p:spPr>
          <a:xfrm rot="10800000" flipV="1">
            <a:off x="9004547" y="2558279"/>
            <a:ext cx="1097237" cy="786432"/>
          </a:xfrm>
          <a:prstGeom prst="curvedConnector2">
            <a:avLst/>
          </a:prstGeom>
          <a:noFill/>
          <a:ln w="57150" cap="flat" cmpd="sng" algn="ctr">
            <a:gradFill>
              <a:gsLst>
                <a:gs pos="0">
                  <a:srgbClr val="ED7D31">
                    <a:lumMod val="40000"/>
                    <a:lumOff val="60000"/>
                  </a:srgbClr>
                </a:gs>
                <a:gs pos="100000">
                  <a:srgbClr val="ED7D31">
                    <a:lumMod val="60000"/>
                    <a:lumOff val="40000"/>
                  </a:srgbClr>
                </a:gs>
              </a:gsLst>
              <a:lin ang="10800000" scaled="0"/>
            </a:gradFill>
            <a:prstDash val="solid"/>
          </a:ln>
          <a:effectLst/>
        </p:spPr>
      </p:cxnSp>
      <p:sp>
        <p:nvSpPr>
          <p:cNvPr id="89" name="Rectangle 88">
            <a:extLst>
              <a:ext uri="{FF2B5EF4-FFF2-40B4-BE49-F238E27FC236}">
                <a16:creationId xmlns:a16="http://schemas.microsoft.com/office/drawing/2014/main" id="{69DCED41-0C3C-8241-8FC9-4E4FFBD5048F}"/>
              </a:ext>
            </a:extLst>
          </p:cNvPr>
          <p:cNvSpPr/>
          <p:nvPr/>
        </p:nvSpPr>
        <p:spPr>
          <a:xfrm>
            <a:off x="5931625" y="2521774"/>
            <a:ext cx="1564522" cy="3306332"/>
          </a:xfrm>
          <a:prstGeom prst="rect">
            <a:avLst/>
          </a:prstGeom>
          <a:solidFill>
            <a:srgbClr val="ED7D31">
              <a:lumMod val="40000"/>
              <a:lumOff val="60000"/>
              <a:alpha val="16863"/>
            </a:srgbClr>
          </a:solidFill>
          <a:ln w="12700" cap="flat" cmpd="sng" algn="ctr">
            <a:solidFill>
              <a:srgbClr val="4472C4">
                <a:shade val="50000"/>
              </a:srgbClr>
            </a:solidFill>
            <a:prstDash val="solid"/>
            <a:miter lim="800000"/>
          </a:ln>
          <a:effectLst/>
        </p:spPr>
        <p:txBody>
          <a:bodyPr rtlCol="0" anchor="ctr"/>
          <a:lstStyle/>
          <a:p>
            <a:pPr algn="ctr" defTabSz="914354">
              <a:defRPr/>
            </a:pPr>
            <a:endParaRPr lang="en-US" sz="800" b="1">
              <a:solidFill>
                <a:srgbClr val="4472C4"/>
              </a:solidFill>
              <a:latin typeface="Calibri" panose="020F0502020204030204"/>
            </a:endParaRPr>
          </a:p>
          <a:p>
            <a:pPr algn="ctr" defTabSz="914354">
              <a:defRPr/>
            </a:pPr>
            <a:endParaRPr lang="en-US" sz="800" b="1">
              <a:solidFill>
                <a:srgbClr val="4472C4"/>
              </a:solidFill>
              <a:latin typeface="Calibri" panose="020F0502020204030204"/>
            </a:endParaRPr>
          </a:p>
          <a:p>
            <a:pPr algn="ctr" defTabSz="914354">
              <a:defRPr/>
            </a:pPr>
            <a:endParaRPr lang="en-US" sz="800" b="1">
              <a:solidFill>
                <a:srgbClr val="4472C4"/>
              </a:solidFill>
              <a:latin typeface="Calibri" panose="020F0502020204030204"/>
            </a:endParaRPr>
          </a:p>
          <a:p>
            <a:pPr algn="ctr" defTabSz="914354">
              <a:defRPr/>
            </a:pPr>
            <a:endParaRPr lang="en-US" sz="800" b="1">
              <a:solidFill>
                <a:srgbClr val="4472C4"/>
              </a:solidFill>
              <a:latin typeface="Calibri" panose="020F0502020204030204"/>
            </a:endParaRPr>
          </a:p>
          <a:p>
            <a:pPr algn="ctr" defTabSz="914354">
              <a:defRPr/>
            </a:pPr>
            <a:endParaRPr lang="en-US" sz="800" b="1">
              <a:solidFill>
                <a:srgbClr val="4472C4"/>
              </a:solidFill>
              <a:latin typeface="Calibri" panose="020F0502020204030204"/>
            </a:endParaRPr>
          </a:p>
          <a:p>
            <a:pPr algn="ctr" defTabSz="914354">
              <a:defRPr/>
            </a:pPr>
            <a:endParaRPr lang="en-US" sz="800" b="1">
              <a:solidFill>
                <a:srgbClr val="4472C4"/>
              </a:solidFill>
              <a:latin typeface="Calibri" panose="020F0502020204030204"/>
            </a:endParaRPr>
          </a:p>
          <a:p>
            <a:pPr algn="ctr" defTabSz="914354">
              <a:defRPr/>
            </a:pPr>
            <a:endParaRPr lang="en-US" sz="800" b="1">
              <a:solidFill>
                <a:srgbClr val="4472C4"/>
              </a:solidFill>
              <a:latin typeface="Calibri" panose="020F0502020204030204"/>
            </a:endParaRPr>
          </a:p>
          <a:p>
            <a:pPr algn="ctr" defTabSz="914354">
              <a:defRPr/>
            </a:pPr>
            <a:endParaRPr lang="en-US" sz="800" b="1">
              <a:solidFill>
                <a:srgbClr val="4472C4"/>
              </a:solidFill>
              <a:latin typeface="Calibri" panose="020F0502020204030204"/>
            </a:endParaRPr>
          </a:p>
          <a:p>
            <a:pPr algn="ctr" defTabSz="914354">
              <a:defRPr/>
            </a:pPr>
            <a:endParaRPr lang="en-US" sz="800" b="1">
              <a:solidFill>
                <a:srgbClr val="4472C4"/>
              </a:solidFill>
              <a:latin typeface="Calibri" panose="020F0502020204030204"/>
            </a:endParaRPr>
          </a:p>
          <a:p>
            <a:pPr algn="ctr" defTabSz="914354">
              <a:defRPr/>
            </a:pPr>
            <a:endParaRPr lang="en-US" sz="800" b="1">
              <a:solidFill>
                <a:srgbClr val="4472C4"/>
              </a:solidFill>
              <a:latin typeface="Calibri" panose="020F0502020204030204"/>
            </a:endParaRPr>
          </a:p>
          <a:p>
            <a:pPr algn="ctr" defTabSz="914354">
              <a:defRPr/>
            </a:pPr>
            <a:endParaRPr lang="en-US" sz="800" b="1">
              <a:solidFill>
                <a:srgbClr val="4472C4"/>
              </a:solidFill>
              <a:latin typeface="Calibri" panose="020F0502020204030204"/>
            </a:endParaRPr>
          </a:p>
          <a:p>
            <a:pPr algn="ctr" defTabSz="914354">
              <a:defRPr/>
            </a:pPr>
            <a:endParaRPr lang="en-US" sz="800" b="1">
              <a:solidFill>
                <a:srgbClr val="4472C4"/>
              </a:solidFill>
              <a:latin typeface="Calibri" panose="020F0502020204030204"/>
            </a:endParaRPr>
          </a:p>
          <a:p>
            <a:pPr algn="ctr" defTabSz="914354">
              <a:defRPr/>
            </a:pPr>
            <a:endParaRPr lang="en-US" sz="800" b="1">
              <a:solidFill>
                <a:srgbClr val="4472C4"/>
              </a:solidFill>
              <a:latin typeface="Calibri" panose="020F0502020204030204"/>
            </a:endParaRPr>
          </a:p>
          <a:p>
            <a:pPr algn="ctr" defTabSz="914354">
              <a:defRPr/>
            </a:pPr>
            <a:endParaRPr lang="en-US" sz="800" b="1">
              <a:solidFill>
                <a:srgbClr val="4472C4"/>
              </a:solidFill>
              <a:latin typeface="Calibri" panose="020F0502020204030204"/>
            </a:endParaRPr>
          </a:p>
          <a:p>
            <a:pPr algn="ctr" defTabSz="914354">
              <a:defRPr/>
            </a:pPr>
            <a:endParaRPr lang="en-US" sz="800" b="1">
              <a:solidFill>
                <a:srgbClr val="4472C4"/>
              </a:solidFill>
              <a:latin typeface="Calibri" panose="020F0502020204030204"/>
            </a:endParaRPr>
          </a:p>
          <a:p>
            <a:pPr algn="ctr" defTabSz="914354">
              <a:defRPr/>
            </a:pPr>
            <a:endParaRPr lang="en-US" sz="800" b="1">
              <a:solidFill>
                <a:srgbClr val="4472C4"/>
              </a:solidFill>
              <a:latin typeface="Calibri" panose="020F0502020204030204"/>
            </a:endParaRPr>
          </a:p>
          <a:p>
            <a:pPr algn="ctr" defTabSz="914354">
              <a:defRPr/>
            </a:pPr>
            <a:endParaRPr lang="en-US" sz="800" b="1">
              <a:solidFill>
                <a:srgbClr val="4472C4"/>
              </a:solidFill>
              <a:latin typeface="Calibri" panose="020F0502020204030204"/>
            </a:endParaRPr>
          </a:p>
          <a:p>
            <a:pPr algn="ctr" defTabSz="914354">
              <a:defRPr/>
            </a:pPr>
            <a:endParaRPr lang="en-US" sz="800" b="1">
              <a:solidFill>
                <a:srgbClr val="4472C4"/>
              </a:solidFill>
              <a:latin typeface="Calibri" panose="020F0502020204030204"/>
            </a:endParaRPr>
          </a:p>
          <a:p>
            <a:pPr algn="ctr" defTabSz="914354">
              <a:defRPr/>
            </a:pPr>
            <a:endParaRPr lang="en-US" sz="800" b="1">
              <a:solidFill>
                <a:srgbClr val="4472C4"/>
              </a:solidFill>
              <a:latin typeface="Calibri" panose="020F0502020204030204"/>
            </a:endParaRPr>
          </a:p>
          <a:p>
            <a:pPr algn="ctr" defTabSz="914354">
              <a:defRPr/>
            </a:pPr>
            <a:endParaRPr lang="en-US" sz="800" b="1">
              <a:solidFill>
                <a:srgbClr val="4472C4"/>
              </a:solidFill>
              <a:latin typeface="Calibri" panose="020F0502020204030204"/>
            </a:endParaRPr>
          </a:p>
          <a:p>
            <a:pPr algn="ctr" defTabSz="914354">
              <a:defRPr/>
            </a:pPr>
            <a:endParaRPr lang="en-US" sz="800" b="1">
              <a:solidFill>
                <a:srgbClr val="4472C4"/>
              </a:solidFill>
              <a:latin typeface="Calibri" panose="020F0502020204030204"/>
            </a:endParaRPr>
          </a:p>
          <a:p>
            <a:pPr algn="ctr" defTabSz="914354">
              <a:defRPr/>
            </a:pPr>
            <a:endParaRPr lang="en-US" sz="800" b="1">
              <a:solidFill>
                <a:srgbClr val="4472C4"/>
              </a:solidFill>
              <a:latin typeface="Calibri" panose="020F0502020204030204"/>
            </a:endParaRPr>
          </a:p>
          <a:p>
            <a:pPr algn="ctr" defTabSz="914354">
              <a:defRPr/>
            </a:pPr>
            <a:endParaRPr lang="en-US" sz="800" b="1">
              <a:solidFill>
                <a:srgbClr val="4472C4"/>
              </a:solidFill>
              <a:latin typeface="Calibri" panose="020F0502020204030204"/>
            </a:endParaRPr>
          </a:p>
          <a:p>
            <a:pPr algn="ctr" defTabSz="914354">
              <a:defRPr/>
            </a:pPr>
            <a:endParaRPr lang="en-US" sz="800" b="1">
              <a:solidFill>
                <a:srgbClr val="4472C4"/>
              </a:solidFill>
              <a:latin typeface="Calibri" panose="020F0502020204030204"/>
            </a:endParaRPr>
          </a:p>
          <a:p>
            <a:pPr algn="ctr" defTabSz="914354">
              <a:defRPr/>
            </a:pPr>
            <a:endParaRPr lang="en-US" sz="800" b="1">
              <a:solidFill>
                <a:srgbClr val="4472C4"/>
              </a:solidFill>
              <a:latin typeface="Calibri" panose="020F0502020204030204"/>
            </a:endParaRPr>
          </a:p>
          <a:p>
            <a:pPr algn="ctr" defTabSz="914354">
              <a:defRPr/>
            </a:pPr>
            <a:r>
              <a:rPr lang="en-US" sz="800" b="1">
                <a:solidFill>
                  <a:srgbClr val="4472C4"/>
                </a:solidFill>
                <a:latin typeface="Calibri" panose="020F0502020204030204"/>
              </a:rPr>
              <a:t>Physical Face to Face Monitoring </a:t>
            </a:r>
          </a:p>
        </p:txBody>
      </p:sp>
      <p:sp>
        <p:nvSpPr>
          <p:cNvPr id="96" name="TextBox 95">
            <a:extLst>
              <a:ext uri="{FF2B5EF4-FFF2-40B4-BE49-F238E27FC236}">
                <a16:creationId xmlns:a16="http://schemas.microsoft.com/office/drawing/2014/main" id="{9D612680-315D-7345-9849-7D096241D08A}"/>
              </a:ext>
            </a:extLst>
          </p:cNvPr>
          <p:cNvSpPr txBox="1"/>
          <p:nvPr/>
        </p:nvSpPr>
        <p:spPr>
          <a:xfrm>
            <a:off x="2747383" y="3572157"/>
            <a:ext cx="931677" cy="415498"/>
          </a:xfrm>
          <a:prstGeom prst="rect">
            <a:avLst/>
          </a:prstGeom>
          <a:noFill/>
          <a:ln>
            <a:noFill/>
          </a:ln>
        </p:spPr>
        <p:txBody>
          <a:bodyPr wrap="square" rtlCol="0">
            <a:spAutoFit/>
          </a:bodyPr>
          <a:lstStyle>
            <a:defPPr>
              <a:defRPr lang="en-US"/>
            </a:defPPr>
            <a:lvl1pPr defTabSz="914377">
              <a:defRPr sz="700" b="1">
                <a:solidFill>
                  <a:srgbClr val="FF0000"/>
                </a:solidFill>
                <a:latin typeface="Calibri" panose="020F0502020204030204" pitchFamily="34" charset="0"/>
                <a:cs typeface="Calibri" panose="020F0502020204030204" pitchFamily="34" charset="0"/>
              </a:defRPr>
            </a:lvl1pPr>
          </a:lstStyle>
          <a:p>
            <a:r>
              <a:rPr lang="en-US"/>
              <a:t>1. Liaison with Primary care often does not occur </a:t>
            </a:r>
            <a:endParaRPr lang="en-GB"/>
          </a:p>
        </p:txBody>
      </p:sp>
      <p:pic>
        <p:nvPicPr>
          <p:cNvPr id="97" name="Graphic 96" descr="Warning with solid fill">
            <a:extLst>
              <a:ext uri="{FF2B5EF4-FFF2-40B4-BE49-F238E27FC236}">
                <a16:creationId xmlns:a16="http://schemas.microsoft.com/office/drawing/2014/main" id="{F0CF43AA-A113-7646-9BB0-493D8A305A98}"/>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67524" y="3657339"/>
            <a:ext cx="245282" cy="245282"/>
          </a:xfrm>
          <a:prstGeom prst="rect">
            <a:avLst/>
          </a:prstGeom>
        </p:spPr>
      </p:pic>
      <p:sp>
        <p:nvSpPr>
          <p:cNvPr id="98" name="TextBox 97">
            <a:extLst>
              <a:ext uri="{FF2B5EF4-FFF2-40B4-BE49-F238E27FC236}">
                <a16:creationId xmlns:a16="http://schemas.microsoft.com/office/drawing/2014/main" id="{28543C81-2EE6-074C-BA0F-67270D0960C9}"/>
              </a:ext>
            </a:extLst>
          </p:cNvPr>
          <p:cNvSpPr txBox="1"/>
          <p:nvPr/>
        </p:nvSpPr>
        <p:spPr>
          <a:xfrm>
            <a:off x="3550741" y="3902621"/>
            <a:ext cx="931677" cy="523220"/>
          </a:xfrm>
          <a:prstGeom prst="rect">
            <a:avLst/>
          </a:prstGeom>
          <a:noFill/>
          <a:ln>
            <a:noFill/>
          </a:ln>
        </p:spPr>
        <p:txBody>
          <a:bodyPr wrap="square" rtlCol="0">
            <a:spAutoFit/>
          </a:bodyPr>
          <a:lstStyle>
            <a:defPPr>
              <a:defRPr lang="en-US"/>
            </a:defPPr>
            <a:lvl1pPr defTabSz="914377">
              <a:defRPr sz="700" b="1">
                <a:solidFill>
                  <a:srgbClr val="FF0000"/>
                </a:solidFill>
                <a:latin typeface="Calibri" panose="020F0502020204030204" pitchFamily="34" charset="0"/>
                <a:cs typeface="Calibri" panose="020F0502020204030204" pitchFamily="34" charset="0"/>
              </a:defRPr>
            </a:lvl1pPr>
          </a:lstStyle>
          <a:p>
            <a:r>
              <a:rPr lang="en-US"/>
              <a:t>2. Patient scheduled for a PHC with both primary and secondary care</a:t>
            </a:r>
            <a:endParaRPr lang="en-GB"/>
          </a:p>
        </p:txBody>
      </p:sp>
      <p:pic>
        <p:nvPicPr>
          <p:cNvPr id="99" name="Graphic 98" descr="Warning with solid fill">
            <a:extLst>
              <a:ext uri="{FF2B5EF4-FFF2-40B4-BE49-F238E27FC236}">
                <a16:creationId xmlns:a16="http://schemas.microsoft.com/office/drawing/2014/main" id="{B8FAF486-0AEB-B74F-889F-6ABBF624F43F}"/>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4334810" y="4016810"/>
            <a:ext cx="245282" cy="245282"/>
          </a:xfrm>
          <a:prstGeom prst="rect">
            <a:avLst/>
          </a:prstGeom>
        </p:spPr>
      </p:pic>
      <p:pic>
        <p:nvPicPr>
          <p:cNvPr id="100" name="Graphic 99" descr="Warning with solid fill">
            <a:extLst>
              <a:ext uri="{FF2B5EF4-FFF2-40B4-BE49-F238E27FC236}">
                <a16:creationId xmlns:a16="http://schemas.microsoft.com/office/drawing/2014/main" id="{A0C7C298-19ED-7D4C-84E1-6BD739989FB8}"/>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453803" y="2713962"/>
            <a:ext cx="245282" cy="245282"/>
          </a:xfrm>
          <a:prstGeom prst="rect">
            <a:avLst/>
          </a:prstGeom>
        </p:spPr>
      </p:pic>
      <p:sp>
        <p:nvSpPr>
          <p:cNvPr id="101" name="TextBox 100">
            <a:extLst>
              <a:ext uri="{FF2B5EF4-FFF2-40B4-BE49-F238E27FC236}">
                <a16:creationId xmlns:a16="http://schemas.microsoft.com/office/drawing/2014/main" id="{DEED0291-7CB7-5C4A-85DE-108F8D77EAE2}"/>
              </a:ext>
            </a:extLst>
          </p:cNvPr>
          <p:cNvSpPr txBox="1"/>
          <p:nvPr/>
        </p:nvSpPr>
        <p:spPr>
          <a:xfrm>
            <a:off x="5082960" y="2909231"/>
            <a:ext cx="762413" cy="307777"/>
          </a:xfrm>
          <a:prstGeom prst="rect">
            <a:avLst/>
          </a:prstGeom>
          <a:noFill/>
          <a:ln>
            <a:noFill/>
          </a:ln>
        </p:spPr>
        <p:txBody>
          <a:bodyPr wrap="square" rtlCol="0">
            <a:spAutoFit/>
          </a:bodyPr>
          <a:lstStyle>
            <a:defPPr>
              <a:defRPr lang="en-US"/>
            </a:defPPr>
            <a:lvl1pPr defTabSz="914377">
              <a:defRPr sz="700" b="1">
                <a:solidFill>
                  <a:srgbClr val="FF0000"/>
                </a:solidFill>
                <a:latin typeface="Calibri" panose="020F0502020204030204" pitchFamily="34" charset="0"/>
                <a:cs typeface="Calibri" panose="020F0502020204030204" pitchFamily="34" charset="0"/>
              </a:defRPr>
            </a:lvl1pPr>
          </a:lstStyle>
          <a:p>
            <a:r>
              <a:rPr lang="en-US"/>
              <a:t>4. Regular issue of patient DNA</a:t>
            </a:r>
            <a:endParaRPr lang="en-GB"/>
          </a:p>
        </p:txBody>
      </p:sp>
      <p:pic>
        <p:nvPicPr>
          <p:cNvPr id="102" name="Graphic 101" descr="Warning with solid fill">
            <a:extLst>
              <a:ext uri="{FF2B5EF4-FFF2-40B4-BE49-F238E27FC236}">
                <a16:creationId xmlns:a16="http://schemas.microsoft.com/office/drawing/2014/main" id="{59F76350-C060-A64A-8244-AE9011662E69}"/>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280721" y="5228085"/>
            <a:ext cx="245282" cy="245282"/>
          </a:xfrm>
          <a:prstGeom prst="rect">
            <a:avLst/>
          </a:prstGeom>
        </p:spPr>
      </p:pic>
      <p:sp>
        <p:nvSpPr>
          <p:cNvPr id="103" name="TextBox 102">
            <a:extLst>
              <a:ext uri="{FF2B5EF4-FFF2-40B4-BE49-F238E27FC236}">
                <a16:creationId xmlns:a16="http://schemas.microsoft.com/office/drawing/2014/main" id="{9E5E6E86-348D-1B41-B6C0-082D783B5DCF}"/>
              </a:ext>
            </a:extLst>
          </p:cNvPr>
          <p:cNvSpPr txBox="1"/>
          <p:nvPr/>
        </p:nvSpPr>
        <p:spPr>
          <a:xfrm>
            <a:off x="5029563" y="5432718"/>
            <a:ext cx="762413" cy="307777"/>
          </a:xfrm>
          <a:prstGeom prst="rect">
            <a:avLst/>
          </a:prstGeom>
          <a:noFill/>
          <a:ln>
            <a:noFill/>
          </a:ln>
        </p:spPr>
        <p:txBody>
          <a:bodyPr wrap="square" rtlCol="0">
            <a:spAutoFit/>
          </a:bodyPr>
          <a:lstStyle>
            <a:defPPr>
              <a:defRPr lang="en-US"/>
            </a:defPPr>
            <a:lvl1pPr defTabSz="914377">
              <a:defRPr sz="700" b="1">
                <a:solidFill>
                  <a:srgbClr val="FF0000"/>
                </a:solidFill>
                <a:latin typeface="Calibri" panose="020F0502020204030204" pitchFamily="34" charset="0"/>
                <a:cs typeface="Calibri" panose="020F0502020204030204" pitchFamily="34" charset="0"/>
              </a:defRPr>
            </a:lvl1pPr>
          </a:lstStyle>
          <a:p>
            <a:r>
              <a:rPr lang="en-US"/>
              <a:t>4.Regular issue of patient DNA</a:t>
            </a:r>
            <a:endParaRPr lang="en-GB"/>
          </a:p>
        </p:txBody>
      </p:sp>
      <p:pic>
        <p:nvPicPr>
          <p:cNvPr id="104" name="Graphic 103" descr="Warning with solid fill">
            <a:extLst>
              <a:ext uri="{FF2B5EF4-FFF2-40B4-BE49-F238E27FC236}">
                <a16:creationId xmlns:a16="http://schemas.microsoft.com/office/drawing/2014/main" id="{A872BB12-28C8-F148-B982-1EA78B6821AE}"/>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6355586" y="3927662"/>
            <a:ext cx="245282" cy="245282"/>
          </a:xfrm>
          <a:prstGeom prst="rect">
            <a:avLst/>
          </a:prstGeom>
        </p:spPr>
      </p:pic>
      <p:sp>
        <p:nvSpPr>
          <p:cNvPr id="105" name="TextBox 104">
            <a:extLst>
              <a:ext uri="{FF2B5EF4-FFF2-40B4-BE49-F238E27FC236}">
                <a16:creationId xmlns:a16="http://schemas.microsoft.com/office/drawing/2014/main" id="{5362D2E9-1707-2442-8B70-9E6F79E3F150}"/>
              </a:ext>
            </a:extLst>
          </p:cNvPr>
          <p:cNvSpPr txBox="1"/>
          <p:nvPr/>
        </p:nvSpPr>
        <p:spPr>
          <a:xfrm>
            <a:off x="6565746" y="3920646"/>
            <a:ext cx="976808" cy="415498"/>
          </a:xfrm>
          <a:prstGeom prst="rect">
            <a:avLst/>
          </a:prstGeom>
          <a:noFill/>
          <a:ln>
            <a:noFill/>
          </a:ln>
        </p:spPr>
        <p:txBody>
          <a:bodyPr wrap="square" rtlCol="0">
            <a:spAutoFit/>
          </a:bodyPr>
          <a:lstStyle>
            <a:defPPr>
              <a:defRPr lang="en-US"/>
            </a:defPPr>
            <a:lvl1pPr defTabSz="914377">
              <a:defRPr sz="700" b="1">
                <a:solidFill>
                  <a:srgbClr val="FF0000"/>
                </a:solidFill>
                <a:latin typeface="Calibri" panose="020F0502020204030204" pitchFamily="34" charset="0"/>
                <a:cs typeface="Calibri" panose="020F0502020204030204" pitchFamily="34" charset="0"/>
              </a:defRPr>
            </a:lvl1pPr>
          </a:lstStyle>
          <a:p>
            <a:r>
              <a:rPr lang="en-GB"/>
              <a:t>5. Only 2 WTE available to deliver SMI PHCs</a:t>
            </a:r>
          </a:p>
        </p:txBody>
      </p:sp>
      <p:pic>
        <p:nvPicPr>
          <p:cNvPr id="106" name="Graphic 105" descr="Warning with solid fill">
            <a:extLst>
              <a:ext uri="{FF2B5EF4-FFF2-40B4-BE49-F238E27FC236}">
                <a16:creationId xmlns:a16="http://schemas.microsoft.com/office/drawing/2014/main" id="{779663F1-1471-A946-8C1C-20A5FE993746}"/>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6342981" y="4474174"/>
            <a:ext cx="245282" cy="245282"/>
          </a:xfrm>
          <a:prstGeom prst="rect">
            <a:avLst/>
          </a:prstGeom>
        </p:spPr>
      </p:pic>
      <p:sp>
        <p:nvSpPr>
          <p:cNvPr id="107" name="TextBox 106">
            <a:extLst>
              <a:ext uri="{FF2B5EF4-FFF2-40B4-BE49-F238E27FC236}">
                <a16:creationId xmlns:a16="http://schemas.microsoft.com/office/drawing/2014/main" id="{E37EE6E9-8377-4F4A-AF76-1B6092FA4226}"/>
              </a:ext>
            </a:extLst>
          </p:cNvPr>
          <p:cNvSpPr txBox="1"/>
          <p:nvPr/>
        </p:nvSpPr>
        <p:spPr>
          <a:xfrm>
            <a:off x="6580051" y="4371575"/>
            <a:ext cx="887627" cy="415498"/>
          </a:xfrm>
          <a:prstGeom prst="rect">
            <a:avLst/>
          </a:prstGeom>
          <a:noFill/>
          <a:ln>
            <a:noFill/>
          </a:ln>
        </p:spPr>
        <p:txBody>
          <a:bodyPr wrap="square" rtlCol="0">
            <a:spAutoFit/>
          </a:bodyPr>
          <a:lstStyle>
            <a:defPPr>
              <a:defRPr lang="en-US"/>
            </a:defPPr>
            <a:lvl1pPr defTabSz="914377">
              <a:defRPr sz="700" b="1">
                <a:solidFill>
                  <a:srgbClr val="FF0000"/>
                </a:solidFill>
                <a:latin typeface="Calibri" panose="020F0502020204030204" pitchFamily="34" charset="0"/>
                <a:cs typeface="Calibri" panose="020F0502020204030204" pitchFamily="34" charset="0"/>
              </a:defRPr>
            </a:lvl1pPr>
          </a:lstStyle>
          <a:p>
            <a:r>
              <a:rPr lang="en-GB"/>
              <a:t>6. Logistical issues in transferring bloods for analysis</a:t>
            </a:r>
          </a:p>
        </p:txBody>
      </p:sp>
      <p:pic>
        <p:nvPicPr>
          <p:cNvPr id="117" name="Graphic 116" descr="Warning with solid fill">
            <a:extLst>
              <a:ext uri="{FF2B5EF4-FFF2-40B4-BE49-F238E27FC236}">
                <a16:creationId xmlns:a16="http://schemas.microsoft.com/office/drawing/2014/main" id="{9B2A3411-A54E-4441-B328-1B183FE5A8DF}"/>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566009" y="4095158"/>
            <a:ext cx="245282" cy="245282"/>
          </a:xfrm>
          <a:prstGeom prst="rect">
            <a:avLst/>
          </a:prstGeom>
        </p:spPr>
      </p:pic>
      <p:sp>
        <p:nvSpPr>
          <p:cNvPr id="118" name="TextBox 117">
            <a:extLst>
              <a:ext uri="{FF2B5EF4-FFF2-40B4-BE49-F238E27FC236}">
                <a16:creationId xmlns:a16="http://schemas.microsoft.com/office/drawing/2014/main" id="{09FB084B-4A58-F047-86B3-34F342A54E74}"/>
              </a:ext>
            </a:extLst>
          </p:cNvPr>
          <p:cNvSpPr txBox="1"/>
          <p:nvPr/>
        </p:nvSpPr>
        <p:spPr>
          <a:xfrm>
            <a:off x="8733152" y="3940531"/>
            <a:ext cx="1181832" cy="523220"/>
          </a:xfrm>
          <a:prstGeom prst="rect">
            <a:avLst/>
          </a:prstGeom>
          <a:noFill/>
          <a:ln>
            <a:noFill/>
          </a:ln>
        </p:spPr>
        <p:txBody>
          <a:bodyPr wrap="square" rtlCol="0">
            <a:spAutoFit/>
          </a:bodyPr>
          <a:lstStyle>
            <a:defPPr>
              <a:defRPr lang="en-US"/>
            </a:defPPr>
            <a:lvl1pPr defTabSz="914377">
              <a:defRPr sz="700" b="1">
                <a:solidFill>
                  <a:srgbClr val="FF0000"/>
                </a:solidFill>
                <a:latin typeface="Calibri" panose="020F0502020204030204" pitchFamily="34" charset="0"/>
                <a:cs typeface="Calibri" panose="020F0502020204030204" pitchFamily="34" charset="0"/>
              </a:defRPr>
            </a:lvl1pPr>
          </a:lstStyle>
          <a:p>
            <a:r>
              <a:rPr lang="en-GB"/>
              <a:t>7. Different template used to record outcomes between primary and secondary care</a:t>
            </a:r>
          </a:p>
        </p:txBody>
      </p:sp>
      <p:cxnSp>
        <p:nvCxnSpPr>
          <p:cNvPr id="125" name="Curved Connector 58">
            <a:extLst>
              <a:ext uri="{FF2B5EF4-FFF2-40B4-BE49-F238E27FC236}">
                <a16:creationId xmlns:a16="http://schemas.microsoft.com/office/drawing/2014/main" id="{5F0D3A16-B2B3-1B4A-A61A-5A8256C918A0}"/>
              </a:ext>
            </a:extLst>
          </p:cNvPr>
          <p:cNvCxnSpPr>
            <a:cxnSpLocks/>
            <a:stCxn id="71" idx="0"/>
            <a:endCxn id="80" idx="2"/>
          </p:cNvCxnSpPr>
          <p:nvPr/>
        </p:nvCxnSpPr>
        <p:spPr>
          <a:xfrm rot="16200000" flipV="1">
            <a:off x="9426342" y="3468015"/>
            <a:ext cx="1714834" cy="145851"/>
          </a:xfrm>
          <a:prstGeom prst="curvedConnector3">
            <a:avLst>
              <a:gd name="adj1" fmla="val 50000"/>
            </a:avLst>
          </a:prstGeom>
          <a:noFill/>
          <a:ln w="57150" cap="flat" cmpd="sng" algn="ctr">
            <a:gradFill>
              <a:gsLst>
                <a:gs pos="0">
                  <a:srgbClr val="ED7D31">
                    <a:lumMod val="40000"/>
                    <a:lumOff val="60000"/>
                  </a:srgbClr>
                </a:gs>
                <a:gs pos="100000">
                  <a:srgbClr val="ED7D31">
                    <a:lumMod val="60000"/>
                    <a:lumOff val="40000"/>
                  </a:srgbClr>
                </a:gs>
              </a:gsLst>
              <a:lin ang="10800000" scaled="0"/>
            </a:gradFill>
            <a:prstDash val="solid"/>
          </a:ln>
          <a:effectLst/>
        </p:spPr>
      </p:cxnSp>
      <p:pic>
        <p:nvPicPr>
          <p:cNvPr id="128" name="Graphic 127" descr="Warning with solid fill">
            <a:extLst>
              <a:ext uri="{FF2B5EF4-FFF2-40B4-BE49-F238E27FC236}">
                <a16:creationId xmlns:a16="http://schemas.microsoft.com/office/drawing/2014/main" id="{B9B7B4AC-7C71-244B-9D55-09CC7A373A8F}"/>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0153249" y="3354424"/>
            <a:ext cx="245282" cy="245282"/>
          </a:xfrm>
          <a:prstGeom prst="rect">
            <a:avLst/>
          </a:prstGeom>
        </p:spPr>
      </p:pic>
      <p:sp>
        <p:nvSpPr>
          <p:cNvPr id="129" name="TextBox 128">
            <a:extLst>
              <a:ext uri="{FF2B5EF4-FFF2-40B4-BE49-F238E27FC236}">
                <a16:creationId xmlns:a16="http://schemas.microsoft.com/office/drawing/2014/main" id="{9F2EBE5B-D072-B747-96D1-782B835289F7}"/>
              </a:ext>
            </a:extLst>
          </p:cNvPr>
          <p:cNvSpPr txBox="1"/>
          <p:nvPr/>
        </p:nvSpPr>
        <p:spPr>
          <a:xfrm>
            <a:off x="10339912" y="3251200"/>
            <a:ext cx="1181832" cy="630942"/>
          </a:xfrm>
          <a:prstGeom prst="rect">
            <a:avLst/>
          </a:prstGeom>
          <a:noFill/>
          <a:ln>
            <a:noFill/>
          </a:ln>
        </p:spPr>
        <p:txBody>
          <a:bodyPr wrap="square" rtlCol="0">
            <a:spAutoFit/>
          </a:bodyPr>
          <a:lstStyle>
            <a:defPPr>
              <a:defRPr lang="en-US"/>
            </a:defPPr>
            <a:lvl1pPr defTabSz="914377">
              <a:defRPr sz="700" b="1">
                <a:solidFill>
                  <a:srgbClr val="FF0000"/>
                </a:solidFill>
                <a:latin typeface="Calibri" panose="020F0502020204030204" pitchFamily="34" charset="0"/>
                <a:cs typeface="Calibri" panose="020F0502020204030204" pitchFamily="34" charset="0"/>
              </a:defRPr>
            </a:lvl1pPr>
          </a:lstStyle>
          <a:p>
            <a:r>
              <a:rPr lang="en-GB"/>
              <a:t>8. RIO and EMIS not connected so reports have to be manually uploaded into EMIS by secondary care staff or admin staff</a:t>
            </a:r>
          </a:p>
        </p:txBody>
      </p:sp>
      <p:sp>
        <p:nvSpPr>
          <p:cNvPr id="131" name="TextBox 130">
            <a:extLst>
              <a:ext uri="{FF2B5EF4-FFF2-40B4-BE49-F238E27FC236}">
                <a16:creationId xmlns:a16="http://schemas.microsoft.com/office/drawing/2014/main" id="{4E01720F-502C-D64C-BCD7-220E03186A3F}"/>
              </a:ext>
            </a:extLst>
          </p:cNvPr>
          <p:cNvSpPr txBox="1"/>
          <p:nvPr/>
        </p:nvSpPr>
        <p:spPr>
          <a:xfrm>
            <a:off x="3910281" y="5443923"/>
            <a:ext cx="847876" cy="307777"/>
          </a:xfrm>
          <a:prstGeom prst="rect">
            <a:avLst/>
          </a:prstGeom>
          <a:noFill/>
          <a:ln>
            <a:noFill/>
          </a:ln>
        </p:spPr>
        <p:txBody>
          <a:bodyPr wrap="square" rtlCol="0">
            <a:spAutoFit/>
          </a:bodyPr>
          <a:lstStyle>
            <a:defPPr>
              <a:defRPr lang="en-US"/>
            </a:defPPr>
            <a:lvl1pPr defTabSz="914377">
              <a:defRPr sz="700" b="1">
                <a:solidFill>
                  <a:srgbClr val="FF0000"/>
                </a:solidFill>
                <a:latin typeface="Calibri" panose="020F0502020204030204" pitchFamily="34" charset="0"/>
                <a:cs typeface="Calibri" panose="020F0502020204030204" pitchFamily="34" charset="0"/>
              </a:defRPr>
            </a:lvl1pPr>
          </a:lstStyle>
          <a:p>
            <a:r>
              <a:rPr lang="en-US"/>
              <a:t>3. No admin support available</a:t>
            </a:r>
            <a:endParaRPr lang="en-GB"/>
          </a:p>
        </p:txBody>
      </p:sp>
      <p:pic>
        <p:nvPicPr>
          <p:cNvPr id="132" name="Graphic 131" descr="Warning with solid fill">
            <a:extLst>
              <a:ext uri="{FF2B5EF4-FFF2-40B4-BE49-F238E27FC236}">
                <a16:creationId xmlns:a16="http://schemas.microsoft.com/office/drawing/2014/main" id="{08DCBD6B-365C-0944-852F-E0D6C0362148}"/>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741069" y="5434782"/>
            <a:ext cx="245282" cy="245282"/>
          </a:xfrm>
          <a:prstGeom prst="rect">
            <a:avLst/>
          </a:prstGeom>
        </p:spPr>
      </p:pic>
      <p:graphicFrame>
        <p:nvGraphicFramePr>
          <p:cNvPr id="87" name="Table 86">
            <a:extLst>
              <a:ext uri="{FF2B5EF4-FFF2-40B4-BE49-F238E27FC236}">
                <a16:creationId xmlns:a16="http://schemas.microsoft.com/office/drawing/2014/main" id="{7E0A017E-897A-B14F-980C-4919BDC84066}"/>
              </a:ext>
            </a:extLst>
          </p:cNvPr>
          <p:cNvGraphicFramePr>
            <a:graphicFrameLocks noGrp="1"/>
          </p:cNvGraphicFramePr>
          <p:nvPr>
            <p:extLst>
              <p:ext uri="{D42A27DB-BD31-4B8C-83A1-F6EECF244321}">
                <p14:modId xmlns:p14="http://schemas.microsoft.com/office/powerpoint/2010/main" val="3184630733"/>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A"/>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Tree>
    <p:extLst>
      <p:ext uri="{BB962C8B-B14F-4D97-AF65-F5344CB8AC3E}">
        <p14:creationId xmlns:p14="http://schemas.microsoft.com/office/powerpoint/2010/main" val="187377642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22AF2B-CD1C-8742-ABF2-F47A44879B64}"/>
              </a:ext>
            </a:extLst>
          </p:cNvPr>
          <p:cNvSpPr>
            <a:spLocks noGrp="1"/>
          </p:cNvSpPr>
          <p:nvPr>
            <p:ph type="title"/>
          </p:nvPr>
        </p:nvSpPr>
        <p:spPr/>
        <p:txBody>
          <a:bodyPr/>
          <a:lstStyle/>
          <a:p>
            <a:r>
              <a:rPr lang="en-GB"/>
              <a:t>SMI Physical health checks - Challenges</a:t>
            </a:r>
          </a:p>
        </p:txBody>
      </p:sp>
      <p:graphicFrame>
        <p:nvGraphicFramePr>
          <p:cNvPr id="4" name="Table 3">
            <a:extLst>
              <a:ext uri="{FF2B5EF4-FFF2-40B4-BE49-F238E27FC236}">
                <a16:creationId xmlns:a16="http://schemas.microsoft.com/office/drawing/2014/main" id="{93D35352-A6E9-3B4E-A85E-6F9D009369E7}"/>
              </a:ext>
            </a:extLst>
          </p:cNvPr>
          <p:cNvGraphicFramePr>
            <a:graphicFrameLocks noGrp="1"/>
          </p:cNvGraphicFramePr>
          <p:nvPr>
            <p:extLst>
              <p:ext uri="{D42A27DB-BD31-4B8C-83A1-F6EECF244321}">
                <p14:modId xmlns:p14="http://schemas.microsoft.com/office/powerpoint/2010/main" val="1814982149"/>
              </p:ext>
            </p:extLst>
          </p:nvPr>
        </p:nvGraphicFramePr>
        <p:xfrm>
          <a:off x="510638" y="891442"/>
          <a:ext cx="11082648" cy="5262618"/>
        </p:xfrm>
        <a:graphic>
          <a:graphicData uri="http://schemas.openxmlformats.org/drawingml/2006/table">
            <a:tbl>
              <a:tblPr firstRow="1" bandRow="1">
                <a:tableStyleId>{5C22544A-7EE6-4342-B048-85BDC9FD1C3A}</a:tableStyleId>
              </a:tblPr>
              <a:tblGrid>
                <a:gridCol w="490848">
                  <a:extLst>
                    <a:ext uri="{9D8B030D-6E8A-4147-A177-3AD203B41FA5}">
                      <a16:colId xmlns:a16="http://schemas.microsoft.com/office/drawing/2014/main" val="2182107927"/>
                    </a:ext>
                  </a:extLst>
                </a:gridCol>
                <a:gridCol w="2514600">
                  <a:extLst>
                    <a:ext uri="{9D8B030D-6E8A-4147-A177-3AD203B41FA5}">
                      <a16:colId xmlns:a16="http://schemas.microsoft.com/office/drawing/2014/main" val="3890154832"/>
                    </a:ext>
                  </a:extLst>
                </a:gridCol>
                <a:gridCol w="8077200">
                  <a:extLst>
                    <a:ext uri="{9D8B030D-6E8A-4147-A177-3AD203B41FA5}">
                      <a16:colId xmlns:a16="http://schemas.microsoft.com/office/drawing/2014/main" val="3027385909"/>
                    </a:ext>
                  </a:extLst>
                </a:gridCol>
              </a:tblGrid>
              <a:tr h="265181">
                <a:tc gridSpan="2">
                  <a:txBody>
                    <a:bodyPr/>
                    <a:lstStyle/>
                    <a:p>
                      <a:r>
                        <a:rPr lang="en-GB" sz="1200">
                          <a:solidFill>
                            <a:srgbClr val="50235B"/>
                          </a:solidFill>
                        </a:rPr>
                        <a:t>Common challenges</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hMerge="1">
                  <a:txBody>
                    <a:bodyPr/>
                    <a:lstStyle/>
                    <a:p>
                      <a:r>
                        <a:rPr lang="en-GB" sz="1400">
                          <a:solidFill>
                            <a:srgbClr val="50235B"/>
                          </a:solidFill>
                        </a:rPr>
                        <a:t>Description</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a:txBody>
                    <a:bodyPr/>
                    <a:lstStyle/>
                    <a:p>
                      <a:r>
                        <a:rPr lang="en-GB" sz="1200">
                          <a:solidFill>
                            <a:srgbClr val="50235B"/>
                          </a:solidFill>
                        </a:rPr>
                        <a:t>Description</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extLst>
                  <a:ext uri="{0D108BD9-81ED-4DB2-BD59-A6C34878D82A}">
                    <a16:rowId xmlns:a16="http://schemas.microsoft.com/office/drawing/2014/main" val="611319891"/>
                  </a:ext>
                </a:extLst>
              </a:tr>
              <a:tr h="712614">
                <a:tc>
                  <a:txBody>
                    <a:bodyPr/>
                    <a:lstStyle/>
                    <a:p>
                      <a:pPr algn="ctr"/>
                      <a:r>
                        <a:rPr lang="en-GB" sz="1000" b="1">
                          <a:solidFill>
                            <a:srgbClr val="FF0000"/>
                          </a:solidFill>
                          <a:latin typeface="Arial" panose="020B0604020202020204" pitchFamily="34" charset="0"/>
                          <a:ea typeface="Hiragino Sans CNS W3" panose="020B0300000000000000" pitchFamily="34" charset="-128"/>
                          <a:cs typeface="Arial" panose="020B0604020202020204" pitchFamily="34" charset="0"/>
                        </a:rPr>
                        <a:t>1 &amp; 2</a:t>
                      </a:r>
                    </a:p>
                  </a:txBody>
                  <a:tcPr anchor="ctr">
                    <a:lnL w="12700" cap="flat" cmpd="sng" algn="ctr">
                      <a:solidFill>
                        <a:srgbClr val="CCBCD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a:solidFill>
                            <a:srgbClr val="50235B"/>
                          </a:solidFill>
                          <a:latin typeface="Arial" panose="020B0604020202020204" pitchFamily="34" charset="0"/>
                          <a:cs typeface="Arial" panose="020B0604020202020204" pitchFamily="34" charset="0"/>
                        </a:rPr>
                        <a:t>Liaison with Primary care often does not occur </a:t>
                      </a:r>
                    </a:p>
                  </a:txBody>
                  <a:tcPr anchor="ctr">
                    <a:lnL w="12700" cap="flat" cmpd="sng" algn="ctr">
                      <a:no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r>
                        <a:rPr lang="en-GB" sz="900">
                          <a:solidFill>
                            <a:schemeClr val="tx1">
                              <a:lumMod val="75000"/>
                              <a:lumOff val="25000"/>
                            </a:schemeClr>
                          </a:solidFill>
                          <a:latin typeface="Arial" panose="020B0604020202020204" pitchFamily="34" charset="0"/>
                          <a:cs typeface="Arial" panose="020B0604020202020204" pitchFamily="34" charset="0"/>
                        </a:rPr>
                        <a:t>Siloed working means that opportunities to communicate and collaborate between Primary and Secondary care are not fully utilised, resulting in duplication and SMI patients being invited in for physical health checks by both primary and secondary care. Inconsistent messaging around PHCs also means that patients may not realise they are going in for the same type of check up at both locations. This causes wasted staff and patient time, which could be used to complete other SMI checks. </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extLst>
                  <a:ext uri="{0D108BD9-81ED-4DB2-BD59-A6C34878D82A}">
                    <a16:rowId xmlns:a16="http://schemas.microsoft.com/office/drawing/2014/main" val="876790404"/>
                  </a:ext>
                </a:extLst>
              </a:tr>
              <a:tr h="71261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3</a:t>
                      </a:r>
                    </a:p>
                  </a:txBody>
                  <a:tcPr anchor="ctr">
                    <a:lnL w="12700" cap="flat" cmpd="sng" algn="ctr">
                      <a:solidFill>
                        <a:srgbClr val="CCBCD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a:solidFill>
                            <a:srgbClr val="50235B"/>
                          </a:solidFill>
                          <a:latin typeface="Arial" panose="020B0604020202020204" pitchFamily="34" charset="0"/>
                          <a:cs typeface="Arial" panose="020B0604020202020204" pitchFamily="34" charset="0"/>
                        </a:rPr>
                        <a:t>No Admin support available</a:t>
                      </a:r>
                    </a:p>
                  </a:txBody>
                  <a:tcPr anchor="ctr">
                    <a:lnL w="12700" cap="flat" cmpd="sng" algn="ctr">
                      <a:no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a:solidFill>
                            <a:schemeClr val="tx1">
                              <a:lumMod val="75000"/>
                              <a:lumOff val="25000"/>
                            </a:schemeClr>
                          </a:solidFill>
                          <a:latin typeface="Arial" panose="020B0604020202020204" pitchFamily="34" charset="0"/>
                          <a:cs typeface="Arial" panose="020B0604020202020204" pitchFamily="34" charset="0"/>
                        </a:rPr>
                        <a:t>The limited resources currently available for SMI PHCs across STW means that there is currently no dedicated admin support to facilitate patient booking, patient reminders, and efficient booking of slots. Evidence of staff arriving at an SMI clinic in the morning to find the only confirmed appointment is in the afternoon, meaning wasted time. Additionally when patients cancel, due to the lack of admin staff, this message often doesn’t reach the clinical staff carrying out the health checks. </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extLst>
                  <a:ext uri="{0D108BD9-81ED-4DB2-BD59-A6C34878D82A}">
                    <a16:rowId xmlns:a16="http://schemas.microsoft.com/office/drawing/2014/main" val="4026470092"/>
                  </a:ext>
                </a:extLst>
              </a:tr>
              <a:tr h="71261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4</a:t>
                      </a:r>
                    </a:p>
                  </a:txBody>
                  <a:tcPr anchor="ctr">
                    <a:lnL w="12700" cap="flat" cmpd="sng" algn="ctr">
                      <a:solidFill>
                        <a:srgbClr val="CCBCD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a:solidFill>
                            <a:srgbClr val="50235B"/>
                          </a:solidFill>
                          <a:latin typeface="Arial" panose="020B0604020202020204" pitchFamily="34" charset="0"/>
                          <a:cs typeface="Arial" panose="020B0604020202020204" pitchFamily="34" charset="0"/>
                        </a:rPr>
                        <a:t>High DNA rates</a:t>
                      </a:r>
                    </a:p>
                  </a:txBody>
                  <a:tcPr anchor="ctr">
                    <a:lnL w="12700" cap="flat" cmpd="sng" algn="ctr">
                      <a:no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a:solidFill>
                            <a:schemeClr val="tx1">
                              <a:lumMod val="75000"/>
                              <a:lumOff val="25000"/>
                            </a:schemeClr>
                          </a:solidFill>
                          <a:latin typeface="Arial" panose="020B0604020202020204" pitchFamily="34" charset="0"/>
                          <a:cs typeface="Arial" panose="020B0604020202020204" pitchFamily="34" charset="0"/>
                        </a:rPr>
                        <a:t>There are many reasons that patients do not attend appointments, which cause issues with wasted time and poor performance figures. Many patients do not attend as they do not know or understand the importance of SMI checks. Other reasons cited: forgotten appointment, some are logged as DNA as they attempt to re-arrange appointments but there is limited admin staff available to facilitate this. </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extLst>
                  <a:ext uri="{0D108BD9-81ED-4DB2-BD59-A6C34878D82A}">
                    <a16:rowId xmlns:a16="http://schemas.microsoft.com/office/drawing/2014/main" val="4226821869"/>
                  </a:ext>
                </a:extLst>
              </a:tr>
              <a:tr h="71261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5</a:t>
                      </a:r>
                    </a:p>
                  </a:txBody>
                  <a:tcPr anchor="ctr">
                    <a:lnL w="12700" cap="flat" cmpd="sng" algn="ctr">
                      <a:solidFill>
                        <a:srgbClr val="CCBCD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kern="1200">
                          <a:solidFill>
                            <a:srgbClr val="50235B"/>
                          </a:solidFill>
                          <a:latin typeface="Arial" panose="020B0604020202020204" pitchFamily="34" charset="0"/>
                          <a:ea typeface="+mn-ea"/>
                          <a:cs typeface="Arial" panose="020B0604020202020204" pitchFamily="34" charset="0"/>
                        </a:rPr>
                        <a:t>Only 2 WTE available to deliver SMI PHCs</a:t>
                      </a:r>
                    </a:p>
                  </a:txBody>
                  <a:tcPr anchor="ctr">
                    <a:lnL w="12700" cap="flat" cmpd="sng" algn="ctr">
                      <a:no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r>
                        <a:rPr lang="en-GB" sz="900">
                          <a:solidFill>
                            <a:schemeClr val="tx1">
                              <a:lumMod val="75000"/>
                              <a:lumOff val="25000"/>
                            </a:schemeClr>
                          </a:solidFill>
                          <a:latin typeface="Arial" panose="020B0604020202020204" pitchFamily="34" charset="0"/>
                          <a:cs typeface="Arial" panose="020B0604020202020204" pitchFamily="34" charset="0"/>
                        </a:rPr>
                        <a:t>Across Shropshire, Telford and Wrekin, there are currently only two WTEs dedicated to SMI physical health checks. This means low level of capacity, but also any time not spent delivering physical health checks seriously impacts the ability of the system to reach the 60% national target. Therefore when patients do not attend, or when staff need to attend training or take annual leave, a significant gap is presented in the delivery of the service, with no one available and trained to cover the work. </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extLst>
                  <a:ext uri="{0D108BD9-81ED-4DB2-BD59-A6C34878D82A}">
                    <a16:rowId xmlns:a16="http://schemas.microsoft.com/office/drawing/2014/main" val="597697564"/>
                  </a:ext>
                </a:extLst>
              </a:tr>
              <a:tr h="71261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6</a:t>
                      </a:r>
                    </a:p>
                  </a:txBody>
                  <a:tcPr anchor="ctr">
                    <a:lnL w="12700" cap="flat" cmpd="sng" algn="ctr">
                      <a:solidFill>
                        <a:srgbClr val="CCBCD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kern="1200">
                          <a:solidFill>
                            <a:srgbClr val="50235B"/>
                          </a:solidFill>
                          <a:latin typeface="Arial" panose="020B0604020202020204" pitchFamily="34" charset="0"/>
                          <a:ea typeface="+mn-ea"/>
                          <a:cs typeface="Arial" panose="020B0604020202020204" pitchFamily="34" charset="0"/>
                        </a:rPr>
                        <a:t>Logistical issues in transferring bloods for analysis</a:t>
                      </a:r>
                    </a:p>
                  </a:txBody>
                  <a:tcPr anchor="ctr">
                    <a:lnL w="12700" cap="flat" cmpd="sng" algn="ctr">
                      <a:no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r>
                        <a:rPr lang="en-GB" sz="900">
                          <a:solidFill>
                            <a:schemeClr val="tx1">
                              <a:lumMod val="75000"/>
                              <a:lumOff val="25000"/>
                            </a:schemeClr>
                          </a:solidFill>
                          <a:latin typeface="Arial" panose="020B0604020202020204" pitchFamily="34" charset="0"/>
                          <a:cs typeface="Arial" panose="020B0604020202020204" pitchFamily="34" charset="0"/>
                        </a:rPr>
                        <a:t>One of the key components of the SMI PHCs is a blood test. When GPs or other practitioners take bloods from a patient there is a logistical issue (amplified by the size and rurality of the ICS) that means that SMI staff have to drive to pick up and deliver the bloods to the trust for analysis. This results in further non productive time for staff.</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extLst>
                  <a:ext uri="{0D108BD9-81ED-4DB2-BD59-A6C34878D82A}">
                    <a16:rowId xmlns:a16="http://schemas.microsoft.com/office/drawing/2014/main" val="549323194"/>
                  </a:ext>
                </a:extLst>
              </a:tr>
              <a:tr h="71261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7</a:t>
                      </a:r>
                    </a:p>
                  </a:txBody>
                  <a:tcPr anchor="ctr">
                    <a:lnL w="12700" cap="flat" cmpd="sng" algn="ctr">
                      <a:solidFill>
                        <a:srgbClr val="CCBCD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kern="1200">
                          <a:solidFill>
                            <a:srgbClr val="50235B"/>
                          </a:solidFill>
                          <a:latin typeface="Arial" panose="020B0604020202020204" pitchFamily="34" charset="0"/>
                          <a:ea typeface="+mn-ea"/>
                          <a:cs typeface="Arial" panose="020B0604020202020204" pitchFamily="34" charset="0"/>
                        </a:rPr>
                        <a:t>Different template used to record outcomes between primary and secondary care</a:t>
                      </a:r>
                    </a:p>
                  </a:txBody>
                  <a:tcPr anchor="ctr">
                    <a:lnL w="12700" cap="flat" cmpd="sng" algn="ctr">
                      <a:no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r>
                        <a:rPr lang="en-GB" sz="900">
                          <a:solidFill>
                            <a:schemeClr val="tx1">
                              <a:lumMod val="75000"/>
                              <a:lumOff val="25000"/>
                            </a:schemeClr>
                          </a:solidFill>
                          <a:latin typeface="Arial" panose="020B0604020202020204" pitchFamily="34" charset="0"/>
                          <a:cs typeface="Arial" panose="020B0604020202020204" pitchFamily="34" charset="0"/>
                        </a:rPr>
                        <a:t>Across MPFT and primary care, differing templates are used to log the outcomes of the SMI PHCs, including uses of different SNOMED codes in some cases, this has been seen to result in some records not being uploaded properly to EMIS, meaning that even if an PHC has been carried out, it will not show as complete and will therefore not contribute towards the 60% completion target and a patient may be invited to complete another PHC.</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extLst>
                  <a:ext uri="{0D108BD9-81ED-4DB2-BD59-A6C34878D82A}">
                    <a16:rowId xmlns:a16="http://schemas.microsoft.com/office/drawing/2014/main" val="1965175342"/>
                  </a:ext>
                </a:extLst>
              </a:tr>
              <a:tr h="71261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8</a:t>
                      </a:r>
                    </a:p>
                  </a:txBody>
                  <a:tcPr anchor="ctr">
                    <a:lnL w="12700" cap="flat" cmpd="sng" algn="ctr">
                      <a:solidFill>
                        <a:srgbClr val="CCBCD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kern="1200">
                          <a:solidFill>
                            <a:srgbClr val="50235B"/>
                          </a:solidFill>
                          <a:latin typeface="Arial" panose="020B0604020202020204" pitchFamily="34" charset="0"/>
                          <a:ea typeface="+mn-ea"/>
                          <a:cs typeface="Arial" panose="020B0604020202020204" pitchFamily="34" charset="0"/>
                        </a:rPr>
                        <a:t>RIO and EMIS not connected so reports have to be manually uploaded into EMIS by secondary care staff or admin staff</a:t>
                      </a:r>
                    </a:p>
                  </a:txBody>
                  <a:tcPr anchor="ctr">
                    <a:lnL w="12700" cap="flat" cmpd="sng" algn="ctr">
                      <a:no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buFont typeface="Arial" panose="020B0604020202020204" pitchFamily="34" charset="0"/>
                        <a:buNone/>
                      </a:pPr>
                      <a:r>
                        <a:rPr lang="en-GB" sz="900">
                          <a:solidFill>
                            <a:schemeClr val="tx1">
                              <a:lumMod val="75000"/>
                              <a:lumOff val="25000"/>
                            </a:schemeClr>
                          </a:solidFill>
                          <a:latin typeface="Arial" panose="020B0604020202020204" pitchFamily="34" charset="0"/>
                          <a:cs typeface="Arial" panose="020B0604020202020204" pitchFamily="34" charset="0"/>
                        </a:rPr>
                        <a:t>RIO is used by MPFT and EMIS is used by Primary Care, this causes barriers across the system, with MPFT staff unable to access EMIS through RIO due to data sharing issues. This means that there is no ability in MPFT to see if patients have already been offered an SMI PHC by Primary care. Additionally it means that outcomes of SMI PHCs have to be sent via PDF or physical letter to GP practices, which then need to be manually coded into EMIS, this causes a significant drain on staff time.</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extLst>
                  <a:ext uri="{0D108BD9-81ED-4DB2-BD59-A6C34878D82A}">
                    <a16:rowId xmlns:a16="http://schemas.microsoft.com/office/drawing/2014/main" val="2378521350"/>
                  </a:ext>
                </a:extLst>
              </a:tr>
            </a:tbl>
          </a:graphicData>
        </a:graphic>
      </p:graphicFrame>
      <p:graphicFrame>
        <p:nvGraphicFramePr>
          <p:cNvPr id="5" name="Table 4">
            <a:extLst>
              <a:ext uri="{FF2B5EF4-FFF2-40B4-BE49-F238E27FC236}">
                <a16:creationId xmlns:a16="http://schemas.microsoft.com/office/drawing/2014/main" id="{DA8EA378-00ED-9944-B11A-A628E8C9A2F2}"/>
              </a:ext>
            </a:extLst>
          </p:cNvPr>
          <p:cNvGraphicFramePr>
            <a:graphicFrameLocks noGrp="1"/>
          </p:cNvGraphicFramePr>
          <p:nvPr>
            <p:extLst>
              <p:ext uri="{D42A27DB-BD31-4B8C-83A1-F6EECF244321}">
                <p14:modId xmlns:p14="http://schemas.microsoft.com/office/powerpoint/2010/main" val="3184630733"/>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A"/>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Tree>
    <p:extLst>
      <p:ext uri="{BB962C8B-B14F-4D97-AF65-F5344CB8AC3E}">
        <p14:creationId xmlns:p14="http://schemas.microsoft.com/office/powerpoint/2010/main" val="241639431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22AF2B-CD1C-8742-ABF2-F47A44879B64}"/>
              </a:ext>
            </a:extLst>
          </p:cNvPr>
          <p:cNvSpPr>
            <a:spLocks noGrp="1"/>
          </p:cNvSpPr>
          <p:nvPr>
            <p:ph type="title"/>
          </p:nvPr>
        </p:nvSpPr>
        <p:spPr/>
        <p:txBody>
          <a:bodyPr/>
          <a:lstStyle/>
          <a:p>
            <a:r>
              <a:rPr lang="en-GB"/>
              <a:t>SMI Physical health checks - Recommendations</a:t>
            </a:r>
          </a:p>
        </p:txBody>
      </p:sp>
      <p:graphicFrame>
        <p:nvGraphicFramePr>
          <p:cNvPr id="2" name="Table 3">
            <a:extLst>
              <a:ext uri="{FF2B5EF4-FFF2-40B4-BE49-F238E27FC236}">
                <a16:creationId xmlns:a16="http://schemas.microsoft.com/office/drawing/2014/main" id="{C936049E-4494-6547-93D5-77CC5AD22A24}"/>
              </a:ext>
            </a:extLst>
          </p:cNvPr>
          <p:cNvGraphicFramePr>
            <a:graphicFrameLocks noGrp="1"/>
          </p:cNvGraphicFramePr>
          <p:nvPr>
            <p:extLst>
              <p:ext uri="{D42A27DB-BD31-4B8C-83A1-F6EECF244321}">
                <p14:modId xmlns:p14="http://schemas.microsoft.com/office/powerpoint/2010/main" val="3992318785"/>
              </p:ext>
            </p:extLst>
          </p:nvPr>
        </p:nvGraphicFramePr>
        <p:xfrm>
          <a:off x="510638" y="891443"/>
          <a:ext cx="11215276" cy="5438955"/>
        </p:xfrm>
        <a:graphic>
          <a:graphicData uri="http://schemas.openxmlformats.org/drawingml/2006/table">
            <a:tbl>
              <a:tblPr firstRow="1" bandRow="1">
                <a:tableStyleId>{5C22544A-7EE6-4342-B048-85BDC9FD1C3A}</a:tableStyleId>
              </a:tblPr>
              <a:tblGrid>
                <a:gridCol w="2219862">
                  <a:extLst>
                    <a:ext uri="{9D8B030D-6E8A-4147-A177-3AD203B41FA5}">
                      <a16:colId xmlns:a16="http://schemas.microsoft.com/office/drawing/2014/main" val="3027385909"/>
                    </a:ext>
                  </a:extLst>
                </a:gridCol>
                <a:gridCol w="7071046">
                  <a:extLst>
                    <a:ext uri="{9D8B030D-6E8A-4147-A177-3AD203B41FA5}">
                      <a16:colId xmlns:a16="http://schemas.microsoft.com/office/drawing/2014/main" val="146490030"/>
                    </a:ext>
                  </a:extLst>
                </a:gridCol>
                <a:gridCol w="240546">
                  <a:extLst>
                    <a:ext uri="{9D8B030D-6E8A-4147-A177-3AD203B41FA5}">
                      <a16:colId xmlns:a16="http://schemas.microsoft.com/office/drawing/2014/main" val="3281156986"/>
                    </a:ext>
                  </a:extLst>
                </a:gridCol>
                <a:gridCol w="240546">
                  <a:extLst>
                    <a:ext uri="{9D8B030D-6E8A-4147-A177-3AD203B41FA5}">
                      <a16:colId xmlns:a16="http://schemas.microsoft.com/office/drawing/2014/main" val="1569768294"/>
                    </a:ext>
                  </a:extLst>
                </a:gridCol>
                <a:gridCol w="240546">
                  <a:extLst>
                    <a:ext uri="{9D8B030D-6E8A-4147-A177-3AD203B41FA5}">
                      <a16:colId xmlns:a16="http://schemas.microsoft.com/office/drawing/2014/main" val="92858432"/>
                    </a:ext>
                  </a:extLst>
                </a:gridCol>
                <a:gridCol w="240546">
                  <a:extLst>
                    <a:ext uri="{9D8B030D-6E8A-4147-A177-3AD203B41FA5}">
                      <a16:colId xmlns:a16="http://schemas.microsoft.com/office/drawing/2014/main" val="4109589781"/>
                    </a:ext>
                  </a:extLst>
                </a:gridCol>
                <a:gridCol w="240546">
                  <a:extLst>
                    <a:ext uri="{9D8B030D-6E8A-4147-A177-3AD203B41FA5}">
                      <a16:colId xmlns:a16="http://schemas.microsoft.com/office/drawing/2014/main" val="899656059"/>
                    </a:ext>
                  </a:extLst>
                </a:gridCol>
                <a:gridCol w="240546">
                  <a:extLst>
                    <a:ext uri="{9D8B030D-6E8A-4147-A177-3AD203B41FA5}">
                      <a16:colId xmlns:a16="http://schemas.microsoft.com/office/drawing/2014/main" val="3079943624"/>
                    </a:ext>
                  </a:extLst>
                </a:gridCol>
                <a:gridCol w="240546">
                  <a:extLst>
                    <a:ext uri="{9D8B030D-6E8A-4147-A177-3AD203B41FA5}">
                      <a16:colId xmlns:a16="http://schemas.microsoft.com/office/drawing/2014/main" val="3683990983"/>
                    </a:ext>
                  </a:extLst>
                </a:gridCol>
                <a:gridCol w="240546">
                  <a:extLst>
                    <a:ext uri="{9D8B030D-6E8A-4147-A177-3AD203B41FA5}">
                      <a16:colId xmlns:a16="http://schemas.microsoft.com/office/drawing/2014/main" val="1976900475"/>
                    </a:ext>
                  </a:extLst>
                </a:gridCol>
              </a:tblGrid>
              <a:tr h="278130">
                <a:tc rowSpan="2">
                  <a:txBody>
                    <a:bodyPr/>
                    <a:lstStyle/>
                    <a:p>
                      <a:r>
                        <a:rPr lang="en-GB" sz="1200">
                          <a:solidFill>
                            <a:srgbClr val="50235B"/>
                          </a:solidFill>
                        </a:rPr>
                        <a:t>Theme</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rowSpan="2">
                  <a:txBody>
                    <a:bodyPr/>
                    <a:lstStyle/>
                    <a:p>
                      <a:r>
                        <a:rPr lang="en-GB" sz="1200">
                          <a:solidFill>
                            <a:srgbClr val="50235B"/>
                          </a:solidFill>
                        </a:rPr>
                        <a:t>Recommendation</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gridSpan="8">
                  <a:txBody>
                    <a:bodyPr/>
                    <a:lstStyle/>
                    <a:p>
                      <a:r>
                        <a:rPr lang="en-GB" sz="1200">
                          <a:solidFill>
                            <a:srgbClr val="50235B"/>
                          </a:solidFill>
                        </a:rPr>
                        <a:t>Challenge targeted</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hMerge="1">
                  <a:txBody>
                    <a:bodyPr/>
                    <a:lstStyle/>
                    <a:p>
                      <a:endParaRPr lang="en-GB" sz="1400">
                        <a:solidFill>
                          <a:srgbClr val="50235B"/>
                        </a:solidFill>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hMerge="1">
                  <a:txBody>
                    <a:bodyPr/>
                    <a:lstStyle/>
                    <a:p>
                      <a:endParaRPr lang="en-GB" sz="1400">
                        <a:solidFill>
                          <a:srgbClr val="50235B"/>
                        </a:solidFill>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hMerge="1">
                  <a:txBody>
                    <a:bodyPr/>
                    <a:lstStyle/>
                    <a:p>
                      <a:endParaRPr lang="en-GB" sz="1400">
                        <a:solidFill>
                          <a:srgbClr val="50235B"/>
                        </a:solidFill>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hMerge="1">
                  <a:txBody>
                    <a:bodyPr/>
                    <a:lstStyle/>
                    <a:p>
                      <a:endParaRPr lang="en-GB" sz="1400">
                        <a:solidFill>
                          <a:srgbClr val="50235B"/>
                        </a:solidFill>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hMerge="1">
                  <a:txBody>
                    <a:bodyPr/>
                    <a:lstStyle/>
                    <a:p>
                      <a:endParaRPr lang="en-GB" sz="1400">
                        <a:solidFill>
                          <a:srgbClr val="50235B"/>
                        </a:solidFill>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hMerge="1">
                  <a:txBody>
                    <a:bodyPr/>
                    <a:lstStyle/>
                    <a:p>
                      <a:endParaRPr lang="en-GB" sz="1400">
                        <a:solidFill>
                          <a:srgbClr val="50235B"/>
                        </a:solidFill>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hMerge="1">
                  <a:txBody>
                    <a:bodyPr/>
                    <a:lstStyle/>
                    <a:p>
                      <a:endParaRPr lang="en-GB" sz="1400">
                        <a:solidFill>
                          <a:srgbClr val="50235B"/>
                        </a:solidFill>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extLst>
                  <a:ext uri="{0D108BD9-81ED-4DB2-BD59-A6C34878D82A}">
                    <a16:rowId xmlns:a16="http://schemas.microsoft.com/office/drawing/2014/main" val="1847680338"/>
                  </a:ext>
                </a:extLst>
              </a:tr>
              <a:tr h="248673">
                <a:tc vMerge="1">
                  <a:txBody>
                    <a:bodyPr/>
                    <a:lstStyle/>
                    <a:p>
                      <a:r>
                        <a:rPr lang="en-GB" sz="1400">
                          <a:solidFill>
                            <a:srgbClr val="50235B"/>
                          </a:solidFill>
                        </a:rPr>
                        <a:t>Theme</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vMerge="1">
                  <a:txBody>
                    <a:bodyPr/>
                    <a:lstStyle/>
                    <a:p>
                      <a:r>
                        <a:rPr lang="en-GB" sz="1400">
                          <a:solidFill>
                            <a:srgbClr val="50235B"/>
                          </a:solidFill>
                        </a:rPr>
                        <a:t>Recommendation</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a:txBody>
                    <a:bodyPr/>
                    <a:lstStyle/>
                    <a:p>
                      <a:pPr algn="ctr"/>
                      <a:r>
                        <a:rPr lang="en-GB" sz="1000" b="1">
                          <a:solidFill>
                            <a:srgbClr val="FF0000"/>
                          </a:solidFill>
                        </a:rPr>
                        <a:t>1</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a:txBody>
                    <a:bodyPr/>
                    <a:lstStyle/>
                    <a:p>
                      <a:pPr algn="ctr"/>
                      <a:r>
                        <a:rPr lang="en-GB" sz="1000" b="1">
                          <a:solidFill>
                            <a:srgbClr val="FF0000"/>
                          </a:solidFill>
                        </a:rPr>
                        <a:t>2</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a:txBody>
                    <a:bodyPr/>
                    <a:lstStyle/>
                    <a:p>
                      <a:pPr algn="ctr"/>
                      <a:r>
                        <a:rPr lang="en-GB" sz="1000" b="1">
                          <a:solidFill>
                            <a:srgbClr val="FF0000"/>
                          </a:solidFill>
                        </a:rPr>
                        <a:t>3</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a:txBody>
                    <a:bodyPr/>
                    <a:lstStyle/>
                    <a:p>
                      <a:pPr algn="ctr"/>
                      <a:r>
                        <a:rPr lang="en-GB" sz="1000" b="1">
                          <a:solidFill>
                            <a:srgbClr val="FF0000"/>
                          </a:solidFill>
                        </a:rPr>
                        <a:t>4</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a:txBody>
                    <a:bodyPr/>
                    <a:lstStyle/>
                    <a:p>
                      <a:pPr algn="ctr"/>
                      <a:r>
                        <a:rPr lang="en-GB" sz="1000" b="1">
                          <a:solidFill>
                            <a:srgbClr val="FF0000"/>
                          </a:solidFill>
                        </a:rPr>
                        <a:t>5</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a:txBody>
                    <a:bodyPr/>
                    <a:lstStyle/>
                    <a:p>
                      <a:pPr algn="ctr"/>
                      <a:r>
                        <a:rPr lang="en-GB" sz="1000" b="1">
                          <a:solidFill>
                            <a:srgbClr val="FF0000"/>
                          </a:solidFill>
                        </a:rPr>
                        <a:t>6</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a:txBody>
                    <a:bodyPr/>
                    <a:lstStyle/>
                    <a:p>
                      <a:pPr algn="ctr"/>
                      <a:r>
                        <a:rPr lang="en-GB" sz="1000" b="1">
                          <a:solidFill>
                            <a:srgbClr val="FF0000"/>
                          </a:solidFill>
                        </a:rPr>
                        <a:t>7</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tc>
                  <a:txBody>
                    <a:bodyPr/>
                    <a:lstStyle/>
                    <a:p>
                      <a:pPr algn="ctr"/>
                      <a:r>
                        <a:rPr lang="en-GB" sz="1000" b="1">
                          <a:solidFill>
                            <a:srgbClr val="FF0000"/>
                          </a:solidFill>
                        </a:rPr>
                        <a:t>8</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solidFill>
                      <a:srgbClr val="F0ECF3"/>
                    </a:solidFill>
                  </a:tcPr>
                </a:tc>
                <a:extLst>
                  <a:ext uri="{0D108BD9-81ED-4DB2-BD59-A6C34878D82A}">
                    <a16:rowId xmlns:a16="http://schemas.microsoft.com/office/drawing/2014/main" val="611319891"/>
                  </a:ext>
                </a:extLst>
              </a:tr>
              <a:tr h="764436">
                <a:tc>
                  <a:txBody>
                    <a:bodyPr/>
                    <a:lstStyle/>
                    <a:p>
                      <a:pPr marL="457200" lvl="1" indent="0" algn="l" defTabSz="914400" rtl="0" eaLnBrk="1" latinLnBrk="0" hangingPunct="1">
                        <a:buFont typeface="Arial" panose="020B0604020202020204" pitchFamily="34" charset="0"/>
                        <a:buNone/>
                      </a:pPr>
                      <a:r>
                        <a:rPr lang="en-GB" sz="1000" b="1" kern="1200">
                          <a:solidFill>
                            <a:srgbClr val="50235B"/>
                          </a:solidFill>
                          <a:latin typeface="Arial" panose="020B0604020202020204" pitchFamily="34" charset="0"/>
                          <a:ea typeface="+mn-ea"/>
                          <a:cs typeface="Arial" panose="020B0604020202020204" pitchFamily="34" charset="0"/>
                        </a:rPr>
                        <a:t>Joint system working</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l" defTabSz="914400" rtl="0" eaLnBrk="1" latinLnBrk="0" hangingPunct="1">
                        <a:buFont typeface="Arial" panose="020B0604020202020204" pitchFamily="34" charset="0"/>
                        <a:buNone/>
                      </a:pPr>
                      <a:r>
                        <a:rPr lang="en-GB" sz="900" kern="1200">
                          <a:solidFill>
                            <a:schemeClr val="tx1">
                              <a:lumMod val="75000"/>
                              <a:lumOff val="25000"/>
                            </a:schemeClr>
                          </a:solidFill>
                          <a:latin typeface="Arial" panose="020B0604020202020204" pitchFamily="34" charset="0"/>
                          <a:ea typeface="+mn-ea"/>
                          <a:cs typeface="Arial" panose="020B0604020202020204" pitchFamily="34" charset="0"/>
                        </a:rPr>
                        <a:t>One of the biggest barriers to completion of physical health checks is the siloed working withing individual teams and across the whole ICS. Therefore change needs to be initiated to set up collaboration working groups between MPFT and primary care to ensure the delivery of SMI PHCs is done in an efficient and effective way, ensure that all clinicians understand the full benefits of delivering all six PHCs and ensure PHCs are offered and subsequently delivered  to as many patients as possible. </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8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8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GB" sz="800" b="1">
                          <a:solidFill>
                            <a:srgbClr val="FF0000"/>
                          </a:solidFill>
                          <a:latin typeface="Arial" panose="020B0604020202020204" pitchFamily="34" charset="0"/>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8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1">
                          <a:solidFill>
                            <a:srgbClr val="FF0000"/>
                          </a:solidFill>
                          <a:latin typeface="Arial" panose="020B0604020202020204" pitchFamily="34" charset="0"/>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8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extLst>
                  <a:ext uri="{0D108BD9-81ED-4DB2-BD59-A6C34878D82A}">
                    <a16:rowId xmlns:a16="http://schemas.microsoft.com/office/drawing/2014/main" val="876790404"/>
                  </a:ext>
                </a:extLst>
              </a:tr>
              <a:tr h="764436">
                <a:tc>
                  <a:txBody>
                    <a:bodyPr/>
                    <a:lstStyle/>
                    <a:p>
                      <a:pPr marL="457200" lvl="1" indent="0" algn="l" defTabSz="914400" rtl="0" eaLnBrk="1" latinLnBrk="0" hangingPunct="1">
                        <a:buFont typeface="Arial" panose="020B0604020202020204" pitchFamily="34" charset="0"/>
                        <a:buNone/>
                      </a:pPr>
                      <a:r>
                        <a:rPr lang="en-GB" sz="1000" b="1" kern="1200">
                          <a:solidFill>
                            <a:srgbClr val="50235B"/>
                          </a:solidFill>
                          <a:latin typeface="Arial" panose="020B0604020202020204" pitchFamily="34" charset="0"/>
                          <a:ea typeface="+mn-ea"/>
                          <a:cs typeface="Arial" panose="020B0604020202020204" pitchFamily="34" charset="0"/>
                        </a:rPr>
                        <a:t>Admin suppor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l" defTabSz="914400" rtl="0" eaLnBrk="1" latinLnBrk="0" hangingPunct="1">
                        <a:buFont typeface="Arial" panose="020B0604020202020204" pitchFamily="34" charset="0"/>
                        <a:buNone/>
                      </a:pPr>
                      <a:r>
                        <a:rPr lang="en-GB" sz="900" kern="1200">
                          <a:solidFill>
                            <a:schemeClr val="tx1">
                              <a:lumMod val="75000"/>
                              <a:lumOff val="25000"/>
                            </a:schemeClr>
                          </a:solidFill>
                          <a:latin typeface="Arial" panose="020B0604020202020204" pitchFamily="34" charset="0"/>
                          <a:ea typeface="+mn-ea"/>
                          <a:cs typeface="Arial" panose="020B0604020202020204" pitchFamily="34" charset="0"/>
                        </a:rPr>
                        <a:t>The lack of admin staff to support the delivery of PHCs has been identified by stakeholders across the ICS as one of the biggest challenges to the delivery of PHCs. It is therefore recommended that a minimum of one member of admin support is deployed to support the delivery of SMI PHCs, this could be delivered in the short term through a secondment of band 4 admin staff to support patient booking, patient reminders, transfer of bloods, and uploading of records into clinical systems. This will free up significant clinical time to support the delivery of more PHCs as well as reduce the number of ‘Did Not Attend’ through additional patient reminders.</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8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8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extLst>
                  <a:ext uri="{0D108BD9-81ED-4DB2-BD59-A6C34878D82A}">
                    <a16:rowId xmlns:a16="http://schemas.microsoft.com/office/drawing/2014/main" val="3602947896"/>
                  </a:ext>
                </a:extLst>
              </a:tr>
              <a:tr h="764436">
                <a:tc>
                  <a:txBody>
                    <a:bodyPr/>
                    <a:lstStyle/>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1" kern="1200">
                          <a:solidFill>
                            <a:srgbClr val="50235B"/>
                          </a:solidFill>
                          <a:latin typeface="Arial" panose="020B0604020202020204" pitchFamily="34" charset="0"/>
                          <a:ea typeface="+mn-ea"/>
                          <a:cs typeface="Arial" panose="020B0604020202020204" pitchFamily="34" charset="0"/>
                        </a:rPr>
                        <a:t>Proactive suppor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a:solidFill>
                            <a:schemeClr val="tx1">
                              <a:lumMod val="75000"/>
                              <a:lumOff val="25000"/>
                            </a:schemeClr>
                          </a:solidFill>
                          <a:latin typeface="Arial" panose="020B0604020202020204" pitchFamily="34" charset="0"/>
                          <a:ea typeface="+mn-ea"/>
                          <a:cs typeface="Arial" panose="020B0604020202020204" pitchFamily="34" charset="0"/>
                        </a:rPr>
                        <a:t>To support the delivery of PHCs more efficiently there are opportunities to take a more proactive approach to conducting PHCs. This could include the delivery of PHCs in a more flexible manner such as gathering data that doesn’t require physical procedures (i.e. taking bloods) over phone or via text/WhatsApp, leveraging existing appointments with other services such as psychiatrists, IAPT appointments or other regular NHS health checks to conduct some tests and in the longer term there is an opportunity to explore the use of wearables to monitor and report on some non invasive metrics. </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8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8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8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8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8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extLst>
                  <a:ext uri="{0D108BD9-81ED-4DB2-BD59-A6C34878D82A}">
                    <a16:rowId xmlns:a16="http://schemas.microsoft.com/office/drawing/2014/main" val="4226821869"/>
                  </a:ext>
                </a:extLst>
              </a:tr>
              <a:tr h="834389">
                <a:tc>
                  <a:txBody>
                    <a:bodyPr/>
                    <a:lstStyle/>
                    <a:p>
                      <a:pPr marL="457200" lvl="1" indent="0" algn="l" defTabSz="914400" rtl="0" eaLnBrk="1" latinLnBrk="0" hangingPunct="1">
                        <a:buFont typeface="Arial" panose="020B0604020202020204" pitchFamily="34" charset="0"/>
                        <a:buNone/>
                      </a:pPr>
                      <a:r>
                        <a:rPr lang="en-GB" sz="1000" b="1" kern="1200">
                          <a:solidFill>
                            <a:srgbClr val="50235B"/>
                          </a:solidFill>
                          <a:latin typeface="Arial" panose="020B0604020202020204" pitchFamily="34" charset="0"/>
                          <a:ea typeface="+mn-ea"/>
                          <a:cs typeface="Arial" panose="020B0604020202020204" pitchFamily="34" charset="0"/>
                        </a:rPr>
                        <a:t>Communication &amp; awareness</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l" defTabSz="914400" rtl="0" eaLnBrk="1" latinLnBrk="0" hangingPunct="1">
                        <a:buFont typeface="Arial" panose="020B0604020202020204" pitchFamily="34" charset="0"/>
                        <a:buNone/>
                      </a:pPr>
                      <a:r>
                        <a:rPr lang="en-GB" sz="900" kern="1200">
                          <a:solidFill>
                            <a:schemeClr val="tx1">
                              <a:lumMod val="75000"/>
                              <a:lumOff val="25000"/>
                            </a:schemeClr>
                          </a:solidFill>
                          <a:latin typeface="Arial" panose="020B0604020202020204" pitchFamily="34" charset="0"/>
                          <a:ea typeface="+mn-ea"/>
                          <a:cs typeface="Arial" panose="020B0604020202020204" pitchFamily="34" charset="0"/>
                        </a:rPr>
                        <a:t>The importance of conducting PHCs is often not well understood by both patients and clinicians. It is therefore fundamental that training, awareness and comms are delivered to support the wider awareness of the importance of conducting PHCs. This could be through the publication of comms to primary care, the production of a ICS wide information sheet that is provided to all SMI patients as well as leveraging the outreach services delivered in the community by the voluntary sector. There is also an opportunity to leverage other contacts with SMI users such as regular GP appointments to raise the importance of PHCs with patients to support attendance at PHC when invited.</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1">
                          <a:solidFill>
                            <a:srgbClr val="FF0000"/>
                          </a:solidFill>
                          <a:latin typeface="Arial" panose="020B0604020202020204" pitchFamily="34" charset="0"/>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8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8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8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8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8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extLst>
                  <a:ext uri="{0D108BD9-81ED-4DB2-BD59-A6C34878D82A}">
                    <a16:rowId xmlns:a16="http://schemas.microsoft.com/office/drawing/2014/main" val="597697564"/>
                  </a:ext>
                </a:extLst>
              </a:tr>
              <a:tr h="834389">
                <a:tc>
                  <a:txBody>
                    <a:bodyPr/>
                    <a:lstStyle/>
                    <a:p>
                      <a:pPr marL="457200" lvl="1" indent="0" algn="l" defTabSz="914400" rtl="0" eaLnBrk="1" latinLnBrk="0" hangingPunct="1">
                        <a:buFont typeface="Arial" panose="020B0604020202020204" pitchFamily="34" charset="0"/>
                        <a:buNone/>
                      </a:pPr>
                      <a:r>
                        <a:rPr lang="en-GB" sz="1000" b="1" kern="1200">
                          <a:solidFill>
                            <a:srgbClr val="50235B"/>
                          </a:solidFill>
                          <a:latin typeface="Arial" panose="020B0604020202020204" pitchFamily="34" charset="0"/>
                          <a:ea typeface="+mn-ea"/>
                          <a:cs typeface="Arial" panose="020B0604020202020204" pitchFamily="34" charset="0"/>
                        </a:rPr>
                        <a:t>Data sharing</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l" defTabSz="914400" rtl="0" eaLnBrk="1" latinLnBrk="0" hangingPunct="1">
                        <a:buFont typeface="Arial" panose="020B0604020202020204" pitchFamily="34" charset="0"/>
                        <a:buNone/>
                      </a:pPr>
                      <a:r>
                        <a:rPr lang="en-GB" sz="900" kern="1200">
                          <a:solidFill>
                            <a:schemeClr val="tx1">
                              <a:lumMod val="75000"/>
                              <a:lumOff val="25000"/>
                            </a:schemeClr>
                          </a:solidFill>
                          <a:latin typeface="Arial" panose="020B0604020202020204" pitchFamily="34" charset="0"/>
                          <a:ea typeface="+mn-ea"/>
                          <a:cs typeface="Arial" panose="020B0604020202020204" pitchFamily="34" charset="0"/>
                        </a:rPr>
                        <a:t>The difficulty sharing and accessing records between organisations is a major barrier to the ICS meeting the 60% target, however there are opportunities to streamline these processes and support the improvement in the delivery of SMI PHCs. In the short term, standardised templates can be produced with the use of Ardens to support this and ensure identical SNOMED codes are used by all organisations, allowing for all PHC outputs to be stored and logged correctly. There is also an opportunity to use some of the proposed admin support to ensuring SMI registers are maintained in a consistent manner and are kept up to date to prevent any mistakes or duplication. In the longer term there is opportunity to develop a shared care record that can be used by all organisations across the ICS. </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8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1">
                          <a:solidFill>
                            <a:srgbClr val="FF0000"/>
                          </a:solidFill>
                          <a:latin typeface="Arial" panose="020B0604020202020204" pitchFamily="34" charset="0"/>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8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8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8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8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extLst>
                  <a:ext uri="{0D108BD9-81ED-4DB2-BD59-A6C34878D82A}">
                    <a16:rowId xmlns:a16="http://schemas.microsoft.com/office/drawing/2014/main" val="549323194"/>
                  </a:ext>
                </a:extLst>
              </a:tr>
              <a:tr h="764436">
                <a:tc>
                  <a:txBody>
                    <a:bodyPr/>
                    <a:lstStyle/>
                    <a:p>
                      <a:pPr marL="457200" lvl="1" indent="0" algn="l" defTabSz="914400" rtl="0" eaLnBrk="1" latinLnBrk="0" hangingPunct="1">
                        <a:buFont typeface="Arial" panose="020B0604020202020204" pitchFamily="34" charset="0"/>
                        <a:buNone/>
                      </a:pPr>
                      <a:r>
                        <a:rPr lang="en-GB" sz="1000" b="1" kern="1200">
                          <a:solidFill>
                            <a:srgbClr val="50235B"/>
                          </a:solidFill>
                          <a:latin typeface="Arial" panose="020B0604020202020204" pitchFamily="34" charset="0"/>
                          <a:ea typeface="+mn-ea"/>
                          <a:cs typeface="Arial" panose="020B0604020202020204" pitchFamily="34" charset="0"/>
                        </a:rPr>
                        <a:t>Service provision</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l" defTabSz="914400" rtl="0" eaLnBrk="1" latinLnBrk="0" hangingPunct="1">
                        <a:buFont typeface="Arial" panose="020B0604020202020204" pitchFamily="34" charset="0"/>
                        <a:buNone/>
                      </a:pPr>
                      <a:r>
                        <a:rPr lang="en-GB" sz="900" kern="1200">
                          <a:solidFill>
                            <a:schemeClr val="tx1">
                              <a:lumMod val="75000"/>
                              <a:lumOff val="25000"/>
                            </a:schemeClr>
                          </a:solidFill>
                          <a:latin typeface="Arial" panose="020B0604020202020204" pitchFamily="34" charset="0"/>
                          <a:ea typeface="+mn-ea"/>
                          <a:cs typeface="Arial" panose="020B0604020202020204" pitchFamily="34" charset="0"/>
                        </a:rPr>
                        <a:t>Across the ICS there are only two secondary care staff delivering PHCs at any time, as well as a number of GP surgeries that do not deliver PHCs. Therefore by adding additional clinical resource to deliver PHCs to SMI patients, there is an opportunity to move closer to the achievement of the PHC targe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8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8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GB" sz="800" b="1">
                          <a:solidFill>
                            <a:srgbClr val="FF0000"/>
                          </a:solidFill>
                          <a:latin typeface="Arial" panose="020B0604020202020204" pitchFamily="34" charset="0"/>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8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t>
                      </a: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8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GB" sz="800" b="1">
                        <a:solidFill>
                          <a:srgbClr val="FF0000"/>
                        </a:solidFill>
                        <a:latin typeface="Arial" panose="020B0604020202020204" pitchFamily="34" charset="0"/>
                        <a:cs typeface="Arial" panose="020B0604020202020204" pitchFamily="34" charset="0"/>
                      </a:endParaRPr>
                    </a:p>
                  </a:txBody>
                  <a:tcPr anchor="ctr">
                    <a:lnL w="12700" cap="flat" cmpd="sng" algn="ctr">
                      <a:solidFill>
                        <a:srgbClr val="CCBCD1"/>
                      </a:solid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noFill/>
                  </a:tcPr>
                </a:tc>
                <a:extLst>
                  <a:ext uri="{0D108BD9-81ED-4DB2-BD59-A6C34878D82A}">
                    <a16:rowId xmlns:a16="http://schemas.microsoft.com/office/drawing/2014/main" val="1965175342"/>
                  </a:ext>
                </a:extLst>
              </a:tr>
            </a:tbl>
          </a:graphicData>
        </a:graphic>
      </p:graphicFrame>
      <p:pic>
        <p:nvPicPr>
          <p:cNvPr id="5" name="Graphic 4" descr="Hierarchy with solid fill">
            <a:extLst>
              <a:ext uri="{FF2B5EF4-FFF2-40B4-BE49-F238E27FC236}">
                <a16:creationId xmlns:a16="http://schemas.microsoft.com/office/drawing/2014/main" id="{9CE58689-2CB1-0E49-BCED-21E4A09B62C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56455" y="1631491"/>
            <a:ext cx="324000" cy="324000"/>
          </a:xfrm>
          <a:prstGeom prst="rect">
            <a:avLst/>
          </a:prstGeom>
        </p:spPr>
      </p:pic>
      <p:pic>
        <p:nvPicPr>
          <p:cNvPr id="7" name="Graphic 6" descr="Programmer male with solid fill">
            <a:extLst>
              <a:ext uri="{FF2B5EF4-FFF2-40B4-BE49-F238E27FC236}">
                <a16:creationId xmlns:a16="http://schemas.microsoft.com/office/drawing/2014/main" id="{A5BF2A12-95B9-9347-AB79-16D3AB1FC88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56455" y="2403978"/>
            <a:ext cx="324000" cy="324000"/>
          </a:xfrm>
          <a:prstGeom prst="rect">
            <a:avLst/>
          </a:prstGeom>
        </p:spPr>
      </p:pic>
      <p:pic>
        <p:nvPicPr>
          <p:cNvPr id="9" name="Graphic 8" descr="Open hand with solid fill">
            <a:extLst>
              <a:ext uri="{FF2B5EF4-FFF2-40B4-BE49-F238E27FC236}">
                <a16:creationId xmlns:a16="http://schemas.microsoft.com/office/drawing/2014/main" id="{5D80B50E-53E0-1946-ABC2-9A9F4D7699F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56455" y="3178992"/>
            <a:ext cx="324000" cy="324000"/>
          </a:xfrm>
          <a:prstGeom prst="rect">
            <a:avLst/>
          </a:prstGeom>
        </p:spPr>
      </p:pic>
      <p:pic>
        <p:nvPicPr>
          <p:cNvPr id="11" name="Graphic 10" descr="Marketing with solid fill">
            <a:extLst>
              <a:ext uri="{FF2B5EF4-FFF2-40B4-BE49-F238E27FC236}">
                <a16:creationId xmlns:a16="http://schemas.microsoft.com/office/drawing/2014/main" id="{2970A055-B0A6-2D45-846E-DD40D85484B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56455" y="4012134"/>
            <a:ext cx="324000" cy="324000"/>
          </a:xfrm>
          <a:prstGeom prst="rect">
            <a:avLst/>
          </a:prstGeom>
        </p:spPr>
      </p:pic>
      <p:pic>
        <p:nvPicPr>
          <p:cNvPr id="12" name="Graphic 11" descr="Workflow with solid fill">
            <a:extLst>
              <a:ext uri="{FF2B5EF4-FFF2-40B4-BE49-F238E27FC236}">
                <a16:creationId xmlns:a16="http://schemas.microsoft.com/office/drawing/2014/main" id="{BACB56A0-FCE7-8241-81EB-9E877E3AEE7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56455" y="4958487"/>
            <a:ext cx="324000" cy="324000"/>
          </a:xfrm>
          <a:prstGeom prst="rect">
            <a:avLst/>
          </a:prstGeom>
        </p:spPr>
      </p:pic>
      <p:pic>
        <p:nvPicPr>
          <p:cNvPr id="15" name="Graphic 14" descr="List with solid fill">
            <a:extLst>
              <a:ext uri="{FF2B5EF4-FFF2-40B4-BE49-F238E27FC236}">
                <a16:creationId xmlns:a16="http://schemas.microsoft.com/office/drawing/2014/main" id="{4C396318-1047-1845-B112-FE3F5A122F4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6455" y="5795403"/>
            <a:ext cx="324000" cy="324000"/>
          </a:xfrm>
          <a:prstGeom prst="rect">
            <a:avLst/>
          </a:prstGeom>
        </p:spPr>
      </p:pic>
      <p:graphicFrame>
        <p:nvGraphicFramePr>
          <p:cNvPr id="10" name="Table 9">
            <a:extLst>
              <a:ext uri="{FF2B5EF4-FFF2-40B4-BE49-F238E27FC236}">
                <a16:creationId xmlns:a16="http://schemas.microsoft.com/office/drawing/2014/main" id="{91295849-69A5-4144-9762-0F2E24D165C3}"/>
              </a:ext>
            </a:extLst>
          </p:cNvPr>
          <p:cNvGraphicFramePr>
            <a:graphicFrameLocks noGrp="1"/>
          </p:cNvGraphicFramePr>
          <p:nvPr>
            <p:extLst>
              <p:ext uri="{D42A27DB-BD31-4B8C-83A1-F6EECF244321}">
                <p14:modId xmlns:p14="http://schemas.microsoft.com/office/powerpoint/2010/main" val="3184630733"/>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A"/>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Tree>
    <p:extLst>
      <p:ext uri="{BB962C8B-B14F-4D97-AF65-F5344CB8AC3E}">
        <p14:creationId xmlns:p14="http://schemas.microsoft.com/office/powerpoint/2010/main" val="206350138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3FE2F85-5478-7B4D-A181-E85728796F24}"/>
              </a:ext>
            </a:extLst>
          </p:cNvPr>
          <p:cNvSpPr>
            <a:spLocks noGrp="1"/>
          </p:cNvSpPr>
          <p:nvPr>
            <p:ph sz="quarter" idx="10"/>
          </p:nvPr>
        </p:nvSpPr>
        <p:spPr>
          <a:xfrm>
            <a:off x="1881187" y="1983582"/>
            <a:ext cx="9973355" cy="2890837"/>
          </a:xfrm>
        </p:spPr>
        <p:txBody>
          <a:bodyPr/>
          <a:lstStyle/>
          <a:p>
            <a:r>
              <a:rPr lang="en-GB" sz="6600"/>
              <a:t>Key recommendations</a:t>
            </a:r>
          </a:p>
        </p:txBody>
      </p:sp>
      <p:graphicFrame>
        <p:nvGraphicFramePr>
          <p:cNvPr id="3" name="Table 2">
            <a:extLst>
              <a:ext uri="{FF2B5EF4-FFF2-40B4-BE49-F238E27FC236}">
                <a16:creationId xmlns:a16="http://schemas.microsoft.com/office/drawing/2014/main" id="{F27F71C4-F075-1249-973D-91202A2D14F8}"/>
              </a:ext>
            </a:extLst>
          </p:cNvPr>
          <p:cNvGraphicFramePr>
            <a:graphicFrameLocks noGrp="1"/>
          </p:cNvGraphicFramePr>
          <p:nvPr>
            <p:extLst>
              <p:ext uri="{D42A27DB-BD31-4B8C-83A1-F6EECF244321}">
                <p14:modId xmlns:p14="http://schemas.microsoft.com/office/powerpoint/2010/main" val="2622048801"/>
              </p:ext>
            </p:extLst>
          </p:nvPr>
        </p:nvGraphicFramePr>
        <p:xfrm>
          <a:off x="1" y="6560723"/>
          <a:ext cx="12191998" cy="297277"/>
        </p:xfrm>
        <a:graphic>
          <a:graphicData uri="http://schemas.openxmlformats.org/drawingml/2006/table">
            <a:tbl>
              <a:tblPr>
                <a:tableStyleId>{5C22544A-7EE6-4342-B048-85BDC9FD1C3A}</a:tableStyleId>
              </a:tblPr>
              <a:tblGrid>
                <a:gridCol w="1741714">
                  <a:extLst>
                    <a:ext uri="{9D8B030D-6E8A-4147-A177-3AD203B41FA5}">
                      <a16:colId xmlns:a16="http://schemas.microsoft.com/office/drawing/2014/main" val="3508502722"/>
                    </a:ext>
                  </a:extLst>
                </a:gridCol>
                <a:gridCol w="1741714">
                  <a:extLst>
                    <a:ext uri="{9D8B030D-6E8A-4147-A177-3AD203B41FA5}">
                      <a16:colId xmlns:a16="http://schemas.microsoft.com/office/drawing/2014/main" val="1894411863"/>
                    </a:ext>
                  </a:extLst>
                </a:gridCol>
                <a:gridCol w="1741714">
                  <a:extLst>
                    <a:ext uri="{9D8B030D-6E8A-4147-A177-3AD203B41FA5}">
                      <a16:colId xmlns:a16="http://schemas.microsoft.com/office/drawing/2014/main" val="1998335409"/>
                    </a:ext>
                  </a:extLst>
                </a:gridCol>
                <a:gridCol w="1741714">
                  <a:extLst>
                    <a:ext uri="{9D8B030D-6E8A-4147-A177-3AD203B41FA5}">
                      <a16:colId xmlns:a16="http://schemas.microsoft.com/office/drawing/2014/main" val="202640554"/>
                    </a:ext>
                  </a:extLst>
                </a:gridCol>
                <a:gridCol w="1741714">
                  <a:extLst>
                    <a:ext uri="{9D8B030D-6E8A-4147-A177-3AD203B41FA5}">
                      <a16:colId xmlns:a16="http://schemas.microsoft.com/office/drawing/2014/main" val="3019704548"/>
                    </a:ext>
                  </a:extLst>
                </a:gridCol>
                <a:gridCol w="1741714">
                  <a:extLst>
                    <a:ext uri="{9D8B030D-6E8A-4147-A177-3AD203B41FA5}">
                      <a16:colId xmlns:a16="http://schemas.microsoft.com/office/drawing/2014/main" val="1364401804"/>
                    </a:ext>
                  </a:extLst>
                </a:gridCol>
                <a:gridCol w="1741714">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A"/>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Tree>
    <p:extLst>
      <p:ext uri="{BB962C8B-B14F-4D97-AF65-F5344CB8AC3E}">
        <p14:creationId xmlns:p14="http://schemas.microsoft.com/office/powerpoint/2010/main" val="206744017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22AF2B-CD1C-8742-ABF2-F47A44879B64}"/>
              </a:ext>
            </a:extLst>
          </p:cNvPr>
          <p:cNvSpPr>
            <a:spLocks noGrp="1"/>
          </p:cNvSpPr>
          <p:nvPr>
            <p:ph type="title"/>
          </p:nvPr>
        </p:nvSpPr>
        <p:spPr/>
        <p:txBody>
          <a:bodyPr/>
          <a:lstStyle/>
          <a:p>
            <a:r>
              <a:rPr lang="en-GB"/>
              <a:t>Prioritised recommendations (1 of 2)</a:t>
            </a:r>
          </a:p>
        </p:txBody>
      </p:sp>
      <p:sp>
        <p:nvSpPr>
          <p:cNvPr id="5" name="Rectangle 4">
            <a:extLst>
              <a:ext uri="{FF2B5EF4-FFF2-40B4-BE49-F238E27FC236}">
                <a16:creationId xmlns:a16="http://schemas.microsoft.com/office/drawing/2014/main" id="{869C288E-1D56-FF40-A83F-F98E1505A482}"/>
              </a:ext>
            </a:extLst>
          </p:cNvPr>
          <p:cNvSpPr/>
          <p:nvPr/>
        </p:nvSpPr>
        <p:spPr>
          <a:xfrm>
            <a:off x="510638" y="855284"/>
            <a:ext cx="11348270" cy="5214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rgbClr val="50235B"/>
                </a:solidFill>
                <a:latin typeface="Arial" panose="020B0604020202020204" pitchFamily="34" charset="0"/>
                <a:cs typeface="Arial" panose="020B0604020202020204" pitchFamily="34" charset="0"/>
              </a:rPr>
              <a:t>Recommendations have been refined and clarified to support the prioritisation of initiatives for implementation. </a:t>
            </a:r>
            <a:endParaRPr kumimoji="0" lang="en-GB" sz="1200" b="1" i="0" u="none" strike="noStrike" kern="1200" cap="none" spc="0" normalizeH="0" baseline="0" noProof="0">
              <a:ln>
                <a:noFill/>
              </a:ln>
              <a:solidFill>
                <a:srgbClr val="50235B"/>
              </a:solidFill>
              <a:effectLst/>
              <a:uLnTx/>
              <a:uFillTx/>
              <a:latin typeface="Arial" panose="020B0604020202020204" pitchFamily="34" charset="0"/>
              <a:ea typeface="+mn-ea"/>
              <a:cs typeface="Arial" panose="020B0604020202020204" pitchFamily="34" charset="0"/>
            </a:endParaRPr>
          </a:p>
        </p:txBody>
      </p:sp>
      <p:graphicFrame>
        <p:nvGraphicFramePr>
          <p:cNvPr id="7" name="Table 7">
            <a:extLst>
              <a:ext uri="{FF2B5EF4-FFF2-40B4-BE49-F238E27FC236}">
                <a16:creationId xmlns:a16="http://schemas.microsoft.com/office/drawing/2014/main" id="{B0021113-E356-744D-9441-B64074BD5786}"/>
              </a:ext>
            </a:extLst>
          </p:cNvPr>
          <p:cNvGraphicFramePr>
            <a:graphicFrameLocks noGrp="1"/>
          </p:cNvGraphicFramePr>
          <p:nvPr>
            <p:extLst>
              <p:ext uri="{D42A27DB-BD31-4B8C-83A1-F6EECF244321}">
                <p14:modId xmlns:p14="http://schemas.microsoft.com/office/powerpoint/2010/main" val="558689625"/>
              </p:ext>
            </p:extLst>
          </p:nvPr>
        </p:nvGraphicFramePr>
        <p:xfrm>
          <a:off x="510638" y="1261241"/>
          <a:ext cx="11146388" cy="5181251"/>
        </p:xfrm>
        <a:graphic>
          <a:graphicData uri="http://schemas.openxmlformats.org/drawingml/2006/table">
            <a:tbl>
              <a:tblPr firstRow="1" bandRow="1">
                <a:tableStyleId>{5C22544A-7EE6-4342-B048-85BDC9FD1C3A}</a:tableStyleId>
              </a:tblPr>
              <a:tblGrid>
                <a:gridCol w="661374">
                  <a:extLst>
                    <a:ext uri="{9D8B030D-6E8A-4147-A177-3AD203B41FA5}">
                      <a16:colId xmlns:a16="http://schemas.microsoft.com/office/drawing/2014/main" val="3561551967"/>
                    </a:ext>
                  </a:extLst>
                </a:gridCol>
                <a:gridCol w="661374">
                  <a:extLst>
                    <a:ext uri="{9D8B030D-6E8A-4147-A177-3AD203B41FA5}">
                      <a16:colId xmlns:a16="http://schemas.microsoft.com/office/drawing/2014/main" val="4083868072"/>
                    </a:ext>
                  </a:extLst>
                </a:gridCol>
                <a:gridCol w="1000796">
                  <a:extLst>
                    <a:ext uri="{9D8B030D-6E8A-4147-A177-3AD203B41FA5}">
                      <a16:colId xmlns:a16="http://schemas.microsoft.com/office/drawing/2014/main" val="116747781"/>
                    </a:ext>
                  </a:extLst>
                </a:gridCol>
                <a:gridCol w="5609429">
                  <a:extLst>
                    <a:ext uri="{9D8B030D-6E8A-4147-A177-3AD203B41FA5}">
                      <a16:colId xmlns:a16="http://schemas.microsoft.com/office/drawing/2014/main" val="921124201"/>
                    </a:ext>
                  </a:extLst>
                </a:gridCol>
                <a:gridCol w="642683">
                  <a:extLst>
                    <a:ext uri="{9D8B030D-6E8A-4147-A177-3AD203B41FA5}">
                      <a16:colId xmlns:a16="http://schemas.microsoft.com/office/drawing/2014/main" val="1229273251"/>
                    </a:ext>
                  </a:extLst>
                </a:gridCol>
                <a:gridCol w="642683">
                  <a:extLst>
                    <a:ext uri="{9D8B030D-6E8A-4147-A177-3AD203B41FA5}">
                      <a16:colId xmlns:a16="http://schemas.microsoft.com/office/drawing/2014/main" val="2294078799"/>
                    </a:ext>
                  </a:extLst>
                </a:gridCol>
                <a:gridCol w="642683">
                  <a:extLst>
                    <a:ext uri="{9D8B030D-6E8A-4147-A177-3AD203B41FA5}">
                      <a16:colId xmlns:a16="http://schemas.microsoft.com/office/drawing/2014/main" val="419684958"/>
                    </a:ext>
                  </a:extLst>
                </a:gridCol>
                <a:gridCol w="642683">
                  <a:extLst>
                    <a:ext uri="{9D8B030D-6E8A-4147-A177-3AD203B41FA5}">
                      <a16:colId xmlns:a16="http://schemas.microsoft.com/office/drawing/2014/main" val="1896777256"/>
                    </a:ext>
                  </a:extLst>
                </a:gridCol>
                <a:gridCol w="642683">
                  <a:extLst>
                    <a:ext uri="{9D8B030D-6E8A-4147-A177-3AD203B41FA5}">
                      <a16:colId xmlns:a16="http://schemas.microsoft.com/office/drawing/2014/main" val="1300270504"/>
                    </a:ext>
                  </a:extLst>
                </a:gridCol>
              </a:tblGrid>
              <a:tr h="388068">
                <a:tc>
                  <a:txBody>
                    <a:bodyPr/>
                    <a:lstStyle/>
                    <a:p>
                      <a:pPr algn="ctr" rtl="0" fontAlgn="ctr"/>
                      <a:r>
                        <a:rPr lang="en-GB" sz="1000" b="1" i="0" u="none" strike="noStrike">
                          <a:solidFill>
                            <a:srgbClr val="50235C"/>
                          </a:solidFill>
                          <a:effectLst/>
                          <a:latin typeface="Arial" panose="020B0604020202020204" pitchFamily="34" charset="0"/>
                        </a:rPr>
                        <a:t>Roadmap ref</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algn="ctr" rtl="0" fontAlgn="ctr"/>
                      <a:r>
                        <a:rPr lang="en-GB" sz="1000" b="1" i="0" u="none" strike="noStrike">
                          <a:solidFill>
                            <a:srgbClr val="50235C"/>
                          </a:solidFill>
                          <a:effectLst/>
                          <a:latin typeface="Arial" panose="020B0604020202020204" pitchFamily="34" charset="0"/>
                        </a:rPr>
                        <a:t>Patient cohort</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algn="ctr" rtl="0" fontAlgn="ctr"/>
                      <a:r>
                        <a:rPr lang="en-GB" sz="1000" b="1" i="0" u="none" strike="noStrike">
                          <a:solidFill>
                            <a:srgbClr val="50235C"/>
                          </a:solidFill>
                          <a:effectLst/>
                          <a:latin typeface="Arial" panose="020B0604020202020204" pitchFamily="34" charset="0"/>
                        </a:rPr>
                        <a:t>Theme</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algn="l" rtl="0" fontAlgn="ctr"/>
                      <a:r>
                        <a:rPr lang="en-GB" sz="1000" b="1" i="0" u="none" strike="noStrike">
                          <a:solidFill>
                            <a:srgbClr val="50235C"/>
                          </a:solidFill>
                          <a:effectLst/>
                          <a:latin typeface="Arial" panose="020B0604020202020204" pitchFamily="34" charset="0"/>
                        </a:rPr>
                        <a:t>  Recommendation</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algn="ctr" rtl="0" fontAlgn="ctr"/>
                      <a:r>
                        <a:rPr lang="en-GB" sz="800" b="1" i="0" u="none" strike="noStrike">
                          <a:solidFill>
                            <a:srgbClr val="50235C"/>
                          </a:solidFill>
                          <a:effectLst/>
                          <a:latin typeface="Arial" panose="020B0604020202020204" pitchFamily="34" charset="0"/>
                        </a:rPr>
                        <a:t>Impact</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algn="ctr" rtl="0" fontAlgn="ctr"/>
                      <a:r>
                        <a:rPr lang="en-GB" sz="800" b="1" i="0" u="none" strike="noStrike">
                          <a:solidFill>
                            <a:srgbClr val="50235C"/>
                          </a:solidFill>
                          <a:effectLst/>
                          <a:latin typeface="Arial" panose="020B0604020202020204" pitchFamily="34" charset="0"/>
                        </a:rPr>
                        <a:t>Ease</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algn="ctr" rtl="0" fontAlgn="ctr"/>
                      <a:r>
                        <a:rPr lang="en-GB" sz="800" b="1" i="0" u="none" strike="noStrike">
                          <a:solidFill>
                            <a:srgbClr val="50235C"/>
                          </a:solidFill>
                          <a:effectLst/>
                          <a:latin typeface="Arial" panose="020B0604020202020204" pitchFamily="34" charset="0"/>
                        </a:rPr>
                        <a:t>Score</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algn="ctr" rtl="0" fontAlgn="ctr"/>
                      <a:r>
                        <a:rPr lang="en-GB" sz="800" b="1" i="0" u="none" strike="noStrike">
                          <a:solidFill>
                            <a:srgbClr val="50235C"/>
                          </a:solidFill>
                          <a:effectLst/>
                          <a:latin typeface="Arial" panose="020B0604020202020204" pitchFamily="34" charset="0"/>
                        </a:rPr>
                        <a:t>Resource required</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algn="ctr" rtl="0" fontAlgn="ctr"/>
                      <a:r>
                        <a:rPr lang="en-GB" sz="800" b="1" i="0" u="none" strike="noStrike">
                          <a:solidFill>
                            <a:srgbClr val="50235C"/>
                          </a:solidFill>
                          <a:effectLst/>
                          <a:latin typeface="Arial" panose="020B0604020202020204" pitchFamily="34" charset="0"/>
                        </a:rPr>
                        <a:t>Short / </a:t>
                      </a:r>
                    </a:p>
                    <a:p>
                      <a:pPr algn="ctr" rtl="0" fontAlgn="ctr"/>
                      <a:r>
                        <a:rPr lang="en-GB" sz="800" b="1" i="0" u="none" strike="noStrike">
                          <a:solidFill>
                            <a:srgbClr val="50235C"/>
                          </a:solidFill>
                          <a:effectLst/>
                          <a:latin typeface="Arial" panose="020B0604020202020204" pitchFamily="34" charset="0"/>
                        </a:rPr>
                        <a:t>Medium / </a:t>
                      </a:r>
                    </a:p>
                    <a:p>
                      <a:pPr algn="ctr" rtl="0" fontAlgn="ctr"/>
                      <a:r>
                        <a:rPr lang="en-GB" sz="800" b="1" i="0" u="none" strike="noStrike">
                          <a:solidFill>
                            <a:srgbClr val="50235C"/>
                          </a:solidFill>
                          <a:effectLst/>
                          <a:latin typeface="Arial" panose="020B0604020202020204" pitchFamily="34" charset="0"/>
                        </a:rPr>
                        <a:t>Long</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extLst>
                  <a:ext uri="{0D108BD9-81ED-4DB2-BD59-A6C34878D82A}">
                    <a16:rowId xmlns:a16="http://schemas.microsoft.com/office/drawing/2014/main" val="1283987616"/>
                  </a:ext>
                </a:extLst>
              </a:tr>
              <a:tr h="597784">
                <a:tc>
                  <a:txBody>
                    <a:bodyPr/>
                    <a:lstStyle/>
                    <a:p>
                      <a:pPr algn="ctr" rtl="0" fontAlgn="ctr"/>
                      <a:r>
                        <a:rPr lang="en-GB" sz="950" b="1" i="0" u="none" strike="noStrike">
                          <a:solidFill>
                            <a:srgbClr val="50235C"/>
                          </a:solidFill>
                          <a:effectLst/>
                          <a:latin typeface="Arial" panose="020B0604020202020204" pitchFamily="34" charset="0"/>
                        </a:rPr>
                        <a:t>J1</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1" i="0" u="none" strike="noStrike">
                          <a:solidFill>
                            <a:srgbClr val="50235C"/>
                          </a:solidFill>
                          <a:effectLst/>
                          <a:latin typeface="Arial" panose="020B0604020202020204" pitchFamily="34" charset="0"/>
                        </a:rPr>
                        <a:t>Autism</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404040"/>
                          </a:solidFill>
                          <a:effectLst/>
                          <a:latin typeface="Arial" panose="020B0604020202020204" pitchFamily="34" charset="0"/>
                        </a:rPr>
                        <a:t>Autism Passport</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marL="171450" indent="-171450" algn="l" rtl="0" fontAlgn="ctr">
                        <a:buClr>
                          <a:srgbClr val="000000"/>
                        </a:buClr>
                        <a:buSzPts val="850"/>
                        <a:buFont typeface="Arial" panose="020B0604020202020204" pitchFamily="34" charset="0"/>
                        <a:buChar char="•"/>
                      </a:pPr>
                      <a:r>
                        <a:rPr lang="en-GB" sz="950" b="0" i="0" u="none" strike="noStrike">
                          <a:solidFill>
                            <a:srgbClr val="404040"/>
                          </a:solidFill>
                          <a:effectLst/>
                          <a:latin typeface="Arial" panose="020B0604020202020204" pitchFamily="34" charset="0"/>
                        </a:rPr>
                        <a:t>Using learnings from other systems to develop and roll out Autism passports for all health and care settings across the ICS. </a:t>
                      </a:r>
                      <a:endParaRPr lang="en-GB" sz="950" b="0" i="0" u="none" strike="noStrike">
                        <a:solidFill>
                          <a:srgbClr val="000000"/>
                        </a:solidFill>
                        <a:effectLst/>
                        <a:latin typeface="Arial" panose="020B0604020202020204" pitchFamily="34" charset="0"/>
                      </a:endParaRPr>
                    </a:p>
                  </a:txBody>
                  <a:tcPr marL="857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4</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5</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20</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Low</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Short</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extLst>
                  <a:ext uri="{0D108BD9-81ED-4DB2-BD59-A6C34878D82A}">
                    <a16:rowId xmlns:a16="http://schemas.microsoft.com/office/drawing/2014/main" val="2771873339"/>
                  </a:ext>
                </a:extLst>
              </a:tr>
              <a:tr h="597784">
                <a:tc>
                  <a:txBody>
                    <a:bodyPr/>
                    <a:lstStyle/>
                    <a:p>
                      <a:pPr algn="ctr" rtl="0" fontAlgn="ctr"/>
                      <a:r>
                        <a:rPr lang="en-GB" sz="950" b="1" i="0" u="none" strike="noStrike">
                          <a:solidFill>
                            <a:srgbClr val="50235C"/>
                          </a:solidFill>
                          <a:effectLst/>
                          <a:latin typeface="Arial" panose="020B0604020202020204" pitchFamily="34" charset="0"/>
                        </a:rPr>
                        <a:t>J2</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1" i="0" u="none" strike="noStrike">
                          <a:solidFill>
                            <a:srgbClr val="50235C"/>
                          </a:solidFill>
                          <a:effectLst/>
                          <a:latin typeface="Arial" panose="020B0604020202020204" pitchFamily="34" charset="0"/>
                        </a:rPr>
                        <a:t>SMI PHC</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404040"/>
                          </a:solidFill>
                          <a:effectLst/>
                          <a:latin typeface="Arial" panose="020B0604020202020204" pitchFamily="34" charset="0"/>
                        </a:rPr>
                        <a:t>Admin Support</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marL="171450" indent="-171450" algn="l" rtl="0" fontAlgn="ctr">
                        <a:buClr>
                          <a:srgbClr val="000000"/>
                        </a:buClr>
                        <a:buSzPts val="850"/>
                        <a:buFont typeface="Arial" panose="020B0604020202020204" pitchFamily="34" charset="0"/>
                        <a:buChar char="•"/>
                      </a:pPr>
                      <a:r>
                        <a:rPr lang="en-GB" sz="950" b="0" i="0" u="none" strike="noStrike">
                          <a:solidFill>
                            <a:srgbClr val="404040"/>
                          </a:solidFill>
                          <a:effectLst/>
                          <a:latin typeface="Arial" panose="020B0604020202020204" pitchFamily="34" charset="0"/>
                        </a:rPr>
                        <a:t>Commission one Band 4 admin staff through secondment in the short term to support the multiple administration tasks to support the delivery of PHCs.</a:t>
                      </a:r>
                      <a:endParaRPr lang="en-GB" sz="950" b="0" i="0" u="none" strike="noStrike">
                        <a:solidFill>
                          <a:srgbClr val="000000"/>
                        </a:solidFill>
                        <a:effectLst/>
                        <a:latin typeface="Arial" panose="020B0604020202020204" pitchFamily="34" charset="0"/>
                      </a:endParaRPr>
                    </a:p>
                  </a:txBody>
                  <a:tcPr marL="857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5</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4</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20</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Medium</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Short</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extLst>
                  <a:ext uri="{0D108BD9-81ED-4DB2-BD59-A6C34878D82A}">
                    <a16:rowId xmlns:a16="http://schemas.microsoft.com/office/drawing/2014/main" val="2463348858"/>
                  </a:ext>
                </a:extLst>
              </a:tr>
              <a:tr h="597784">
                <a:tc>
                  <a:txBody>
                    <a:bodyPr/>
                    <a:lstStyle/>
                    <a:p>
                      <a:pPr algn="ctr" rtl="0" fontAlgn="ctr"/>
                      <a:r>
                        <a:rPr lang="en-GB" sz="950" b="1" i="0" u="none" strike="noStrike">
                          <a:solidFill>
                            <a:srgbClr val="50235C"/>
                          </a:solidFill>
                          <a:effectLst/>
                          <a:latin typeface="Arial" panose="020B0604020202020204" pitchFamily="34" charset="0"/>
                        </a:rPr>
                        <a:t>J3</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1" i="0" u="none" strike="noStrike">
                          <a:solidFill>
                            <a:srgbClr val="50235C"/>
                          </a:solidFill>
                          <a:effectLst/>
                          <a:latin typeface="Arial" panose="020B0604020202020204" pitchFamily="34" charset="0"/>
                        </a:rPr>
                        <a:t>Autism</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404040"/>
                          </a:solidFill>
                          <a:effectLst/>
                          <a:latin typeface="Arial" panose="020B0604020202020204" pitchFamily="34" charset="0"/>
                        </a:rPr>
                        <a:t>Training</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marL="171450" indent="-171450" algn="l" rtl="0" fontAlgn="ctr">
                        <a:buClr>
                          <a:srgbClr val="000000"/>
                        </a:buClr>
                        <a:buSzPts val="850"/>
                        <a:buFont typeface="Arial" panose="020B0604020202020204" pitchFamily="34" charset="0"/>
                        <a:buChar char="•"/>
                      </a:pPr>
                      <a:r>
                        <a:rPr lang="en-GB" sz="950" b="0" i="0" u="none" strike="noStrike">
                          <a:solidFill>
                            <a:srgbClr val="404040"/>
                          </a:solidFill>
                          <a:effectLst/>
                          <a:latin typeface="Arial" panose="020B0604020202020204" pitchFamily="34" charset="0"/>
                        </a:rPr>
                        <a:t>Commission new staff training programme to make all front line staff aware of the reasonable adjustments needed to support people with Autism and upskill staff on the common signs, symptoms and presentations for people with Autism.  </a:t>
                      </a:r>
                      <a:endParaRPr lang="en-GB" sz="950" b="0" i="0" u="none" strike="noStrike">
                        <a:solidFill>
                          <a:srgbClr val="000000"/>
                        </a:solidFill>
                        <a:effectLst/>
                        <a:latin typeface="Arial" panose="020B0604020202020204" pitchFamily="34" charset="0"/>
                      </a:endParaRPr>
                    </a:p>
                  </a:txBody>
                  <a:tcPr marL="857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4</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4</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16</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Medium</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Medium</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extLst>
                  <a:ext uri="{0D108BD9-81ED-4DB2-BD59-A6C34878D82A}">
                    <a16:rowId xmlns:a16="http://schemas.microsoft.com/office/drawing/2014/main" val="3072580409"/>
                  </a:ext>
                </a:extLst>
              </a:tr>
              <a:tr h="597784">
                <a:tc>
                  <a:txBody>
                    <a:bodyPr/>
                    <a:lstStyle/>
                    <a:p>
                      <a:pPr algn="ctr" rtl="0" fontAlgn="ctr"/>
                      <a:r>
                        <a:rPr lang="en-GB" sz="950" b="1" i="0" u="none" strike="noStrike">
                          <a:solidFill>
                            <a:srgbClr val="50235C"/>
                          </a:solidFill>
                          <a:effectLst/>
                          <a:latin typeface="Arial" panose="020B0604020202020204" pitchFamily="34" charset="0"/>
                        </a:rPr>
                        <a:t>J4</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1" i="0" u="none" strike="noStrike">
                          <a:solidFill>
                            <a:srgbClr val="50235C"/>
                          </a:solidFill>
                          <a:effectLst/>
                          <a:latin typeface="Arial" panose="020B0604020202020204" pitchFamily="34" charset="0"/>
                        </a:rPr>
                        <a:t>Autism</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404040"/>
                          </a:solidFill>
                          <a:effectLst/>
                          <a:latin typeface="Arial" panose="020B0604020202020204" pitchFamily="34" charset="0"/>
                        </a:rPr>
                        <a:t>Physical care adjustments</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marL="171450" indent="-171450" algn="l" rtl="0" fontAlgn="ctr">
                        <a:buClr>
                          <a:srgbClr val="000000"/>
                        </a:buClr>
                        <a:buSzPts val="850"/>
                        <a:buFont typeface="Arial" panose="020B0604020202020204" pitchFamily="34" charset="0"/>
                        <a:buChar char="•"/>
                      </a:pPr>
                      <a:r>
                        <a:rPr lang="en-GB" sz="950" b="0" i="0" u="none" strike="noStrike">
                          <a:solidFill>
                            <a:srgbClr val="404040"/>
                          </a:solidFill>
                          <a:effectLst/>
                          <a:latin typeface="Arial" panose="020B0604020202020204" pitchFamily="34" charset="0"/>
                        </a:rPr>
                        <a:t>Invest in the instillation of light dimmers, weighted blankets, noise cancelling headphones and other items to support Autistic patients to have an improved experience in physical care settings.. </a:t>
                      </a:r>
                      <a:endParaRPr lang="en-GB" sz="950" b="0" i="0" u="none" strike="noStrike">
                        <a:solidFill>
                          <a:srgbClr val="000000"/>
                        </a:solidFill>
                        <a:effectLst/>
                        <a:latin typeface="Arial" panose="020B0604020202020204" pitchFamily="34" charset="0"/>
                      </a:endParaRPr>
                    </a:p>
                  </a:txBody>
                  <a:tcPr marL="857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4</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4</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16</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Medium</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Medium</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extLst>
                  <a:ext uri="{0D108BD9-81ED-4DB2-BD59-A6C34878D82A}">
                    <a16:rowId xmlns:a16="http://schemas.microsoft.com/office/drawing/2014/main" val="2610272970"/>
                  </a:ext>
                </a:extLst>
              </a:tr>
              <a:tr h="608695">
                <a:tc>
                  <a:txBody>
                    <a:bodyPr/>
                    <a:lstStyle/>
                    <a:p>
                      <a:pPr algn="ctr" rtl="0" fontAlgn="ctr"/>
                      <a:r>
                        <a:rPr lang="en-GB" sz="950" b="1" i="0" u="none" strike="noStrike">
                          <a:solidFill>
                            <a:srgbClr val="50235C"/>
                          </a:solidFill>
                          <a:effectLst/>
                          <a:latin typeface="Arial" panose="020B0604020202020204" pitchFamily="34" charset="0"/>
                        </a:rPr>
                        <a:t>J5</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1" i="0" u="none" strike="noStrike">
                          <a:solidFill>
                            <a:srgbClr val="50235C"/>
                          </a:solidFill>
                          <a:effectLst/>
                          <a:latin typeface="Arial" panose="020B0604020202020204" pitchFamily="34" charset="0"/>
                        </a:rPr>
                        <a:t>SMI PHC</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404040"/>
                          </a:solidFill>
                          <a:effectLst/>
                          <a:latin typeface="Arial" panose="020B0604020202020204" pitchFamily="34" charset="0"/>
                        </a:rPr>
                        <a:t>Joint Working</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marL="171450" indent="-171450" algn="l" rtl="0" fontAlgn="ctr">
                        <a:buClr>
                          <a:srgbClr val="000000"/>
                        </a:buClr>
                        <a:buSzPts val="850"/>
                        <a:buFont typeface="Arial" panose="020B0604020202020204" pitchFamily="34" charset="0"/>
                        <a:buChar char="•"/>
                      </a:pPr>
                      <a:r>
                        <a:rPr lang="en-GB" sz="950" b="0" i="0" u="none" strike="noStrike">
                          <a:solidFill>
                            <a:srgbClr val="404040"/>
                          </a:solidFill>
                          <a:effectLst/>
                          <a:latin typeface="Arial" panose="020B0604020202020204" pitchFamily="34" charset="0"/>
                        </a:rPr>
                        <a:t>Set up a SMI collaborative working group between MPFT and Primary care to support the dissemination of information, communication and awareness to support the delivery of PHCs. This forum can also be used to raise new innovative ways of delivering SMI PHCs through other touchpoints for SMI patients and through the use of digital technology. </a:t>
                      </a:r>
                      <a:endParaRPr lang="en-GB" sz="950" b="0" i="0" u="none" strike="noStrike">
                        <a:solidFill>
                          <a:srgbClr val="000000"/>
                        </a:solidFill>
                        <a:effectLst/>
                        <a:latin typeface="Arial" panose="020B0604020202020204" pitchFamily="34" charset="0"/>
                      </a:endParaRPr>
                    </a:p>
                  </a:txBody>
                  <a:tcPr marL="857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4</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4</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16</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Low</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Medium</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extLst>
                  <a:ext uri="{0D108BD9-81ED-4DB2-BD59-A6C34878D82A}">
                    <a16:rowId xmlns:a16="http://schemas.microsoft.com/office/drawing/2014/main" val="3820850341"/>
                  </a:ext>
                </a:extLst>
              </a:tr>
              <a:tr h="597784">
                <a:tc>
                  <a:txBody>
                    <a:bodyPr/>
                    <a:lstStyle/>
                    <a:p>
                      <a:pPr algn="ctr" rtl="0" fontAlgn="ctr"/>
                      <a:r>
                        <a:rPr lang="en-GB" sz="950" b="1" i="0" u="none" strike="noStrike">
                          <a:solidFill>
                            <a:srgbClr val="50235C"/>
                          </a:solidFill>
                          <a:effectLst/>
                          <a:latin typeface="Arial" panose="020B0604020202020204" pitchFamily="34" charset="0"/>
                        </a:rPr>
                        <a:t>J6</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1" i="0" u="none" strike="noStrike">
                          <a:solidFill>
                            <a:srgbClr val="50235C"/>
                          </a:solidFill>
                          <a:effectLst/>
                          <a:latin typeface="Arial" panose="020B0604020202020204" pitchFamily="34" charset="0"/>
                        </a:rPr>
                        <a:t>SMI PHC</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404040"/>
                          </a:solidFill>
                          <a:effectLst/>
                          <a:latin typeface="Arial" panose="020B0604020202020204" pitchFamily="34" charset="0"/>
                        </a:rPr>
                        <a:t>Comms and awareness campaign</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marL="171450" indent="-171450" algn="l" rtl="0" fontAlgn="ctr">
                        <a:buClr>
                          <a:srgbClr val="000000"/>
                        </a:buClr>
                        <a:buSzPts val="850"/>
                        <a:buFont typeface="Arial" panose="020B0604020202020204" pitchFamily="34" charset="0"/>
                        <a:buChar char="•"/>
                      </a:pPr>
                      <a:r>
                        <a:rPr lang="en-GB" sz="950" b="0" i="0" u="none" strike="noStrike">
                          <a:solidFill>
                            <a:srgbClr val="404040"/>
                          </a:solidFill>
                          <a:effectLst/>
                          <a:latin typeface="Arial" panose="020B0604020202020204" pitchFamily="34" charset="0"/>
                        </a:rPr>
                        <a:t>Establish a comms and engagement campaign to raise the profile and awareness of the importance and benefits of delivering PHCs through regular messaging to primary care as well as production of coherent information leaflets to be delivered to all SMI patients to improve uptake of SMIs. </a:t>
                      </a:r>
                      <a:endParaRPr lang="en-GB" sz="950" b="0" i="0" u="none" strike="noStrike">
                        <a:solidFill>
                          <a:srgbClr val="000000"/>
                        </a:solidFill>
                        <a:effectLst/>
                        <a:latin typeface="Arial" panose="020B0604020202020204" pitchFamily="34" charset="0"/>
                      </a:endParaRPr>
                    </a:p>
                  </a:txBody>
                  <a:tcPr marL="857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4</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4</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16</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Medium</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Medium</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extLst>
                  <a:ext uri="{0D108BD9-81ED-4DB2-BD59-A6C34878D82A}">
                    <a16:rowId xmlns:a16="http://schemas.microsoft.com/office/drawing/2014/main" val="1436974670"/>
                  </a:ext>
                </a:extLst>
              </a:tr>
              <a:tr h="597784">
                <a:tc>
                  <a:txBody>
                    <a:bodyPr/>
                    <a:lstStyle/>
                    <a:p>
                      <a:pPr algn="ctr" rtl="0" fontAlgn="ctr"/>
                      <a:r>
                        <a:rPr lang="en-GB" sz="950" b="1" i="0" u="none" strike="noStrike">
                          <a:solidFill>
                            <a:srgbClr val="50235C"/>
                          </a:solidFill>
                          <a:effectLst/>
                          <a:latin typeface="Arial" panose="020B0604020202020204" pitchFamily="34" charset="0"/>
                        </a:rPr>
                        <a:t>J7</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1" i="0" u="none" strike="noStrike">
                          <a:solidFill>
                            <a:srgbClr val="50235C"/>
                          </a:solidFill>
                          <a:effectLst/>
                          <a:latin typeface="Arial" panose="020B0604020202020204" pitchFamily="34" charset="0"/>
                        </a:rPr>
                        <a:t>Drug &amp; Alcohol</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404040"/>
                          </a:solidFill>
                          <a:effectLst/>
                          <a:latin typeface="Arial" panose="020B0604020202020204" pitchFamily="34" charset="0"/>
                        </a:rPr>
                        <a:t>Community support</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marL="171450" indent="-171450" algn="l" rtl="0" fontAlgn="ctr">
                        <a:buClr>
                          <a:srgbClr val="000000"/>
                        </a:buClr>
                        <a:buSzPts val="850"/>
                        <a:buFont typeface="Arial" panose="020B0604020202020204" pitchFamily="34" charset="0"/>
                        <a:buChar char="•"/>
                      </a:pPr>
                      <a:r>
                        <a:rPr lang="en-GB" sz="950" b="0" i="0" u="none" strike="noStrike">
                          <a:solidFill>
                            <a:srgbClr val="404040"/>
                          </a:solidFill>
                          <a:effectLst/>
                          <a:latin typeface="Arial" panose="020B0604020202020204" pitchFamily="34" charset="0"/>
                        </a:rPr>
                        <a:t>Invest in more community offerings for people with co-existing drug and alcohol and mental health problems, including joining up with existing drug and alcohol outreach services that are currently aimed at A&amp;E attendance prevention. </a:t>
                      </a:r>
                    </a:p>
                  </a:txBody>
                  <a:tcPr marL="857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4</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3</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12</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High</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Long</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extLst>
                  <a:ext uri="{0D108BD9-81ED-4DB2-BD59-A6C34878D82A}">
                    <a16:rowId xmlns:a16="http://schemas.microsoft.com/office/drawing/2014/main" val="2811059773"/>
                  </a:ext>
                </a:extLst>
              </a:tr>
              <a:tr h="597784">
                <a:tc>
                  <a:txBody>
                    <a:bodyPr/>
                    <a:lstStyle/>
                    <a:p>
                      <a:pPr algn="ctr" rtl="0" fontAlgn="ctr"/>
                      <a:r>
                        <a:rPr lang="en-GB" sz="950" b="1" i="0" u="none" strike="noStrike">
                          <a:solidFill>
                            <a:srgbClr val="50235C"/>
                          </a:solidFill>
                          <a:effectLst/>
                          <a:latin typeface="Arial" panose="020B0604020202020204" pitchFamily="34" charset="0"/>
                        </a:rPr>
                        <a:t>J8</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1" i="0" u="none" strike="noStrike">
                          <a:solidFill>
                            <a:srgbClr val="50235C"/>
                          </a:solidFill>
                          <a:effectLst/>
                          <a:latin typeface="Arial" panose="020B0604020202020204" pitchFamily="34" charset="0"/>
                        </a:rPr>
                        <a:t>All</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404040"/>
                          </a:solidFill>
                          <a:effectLst/>
                          <a:latin typeface="Arial" panose="020B0604020202020204" pitchFamily="34" charset="0"/>
                        </a:rPr>
                        <a:t>Data sharing</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marL="171450" indent="-171450" algn="l" rtl="0" fontAlgn="ctr">
                        <a:buClr>
                          <a:srgbClr val="000000"/>
                        </a:buClr>
                        <a:buSzPts val="850"/>
                        <a:buFont typeface="Arial" panose="020B0604020202020204" pitchFamily="34" charset="0"/>
                        <a:buChar char="•"/>
                      </a:pPr>
                      <a:r>
                        <a:rPr lang="en-GB" sz="950" b="0" i="0" u="none" strike="noStrike">
                          <a:solidFill>
                            <a:srgbClr val="404040"/>
                          </a:solidFill>
                          <a:effectLst/>
                          <a:latin typeface="Arial" panose="020B0604020202020204" pitchFamily="34" charset="0"/>
                        </a:rPr>
                        <a:t>Explore the use of Ardens across primary and secondary care to streamline data sharing between RIO and EMIS. </a:t>
                      </a:r>
                      <a:endParaRPr lang="en-GB" sz="950" b="0" i="0" u="none" strike="noStrike">
                        <a:solidFill>
                          <a:srgbClr val="000000"/>
                        </a:solidFill>
                        <a:effectLst/>
                        <a:latin typeface="Arial" panose="020B0604020202020204" pitchFamily="34" charset="0"/>
                      </a:endParaRPr>
                    </a:p>
                  </a:txBody>
                  <a:tcPr marL="857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4</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3</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12</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Medium</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Medium</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extLst>
                  <a:ext uri="{0D108BD9-81ED-4DB2-BD59-A6C34878D82A}">
                    <a16:rowId xmlns:a16="http://schemas.microsoft.com/office/drawing/2014/main" val="2625952087"/>
                  </a:ext>
                </a:extLst>
              </a:tr>
            </a:tbl>
          </a:graphicData>
        </a:graphic>
      </p:graphicFrame>
      <p:graphicFrame>
        <p:nvGraphicFramePr>
          <p:cNvPr id="6" name="Table 5">
            <a:extLst>
              <a:ext uri="{FF2B5EF4-FFF2-40B4-BE49-F238E27FC236}">
                <a16:creationId xmlns:a16="http://schemas.microsoft.com/office/drawing/2014/main" id="{31A3F8E5-1C15-E44C-B2FF-0864CF4F41DF}"/>
              </a:ext>
            </a:extLst>
          </p:cNvPr>
          <p:cNvGraphicFramePr>
            <a:graphicFrameLocks noGrp="1"/>
          </p:cNvGraphicFramePr>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A"/>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
        <p:nvSpPr>
          <p:cNvPr id="8" name="Rectangle 7">
            <a:extLst>
              <a:ext uri="{FF2B5EF4-FFF2-40B4-BE49-F238E27FC236}">
                <a16:creationId xmlns:a16="http://schemas.microsoft.com/office/drawing/2014/main" id="{EB55409D-C6DD-7440-AD53-D14B3823334B}"/>
              </a:ext>
            </a:extLst>
          </p:cNvPr>
          <p:cNvSpPr/>
          <p:nvPr/>
        </p:nvSpPr>
        <p:spPr>
          <a:xfrm>
            <a:off x="8885902" y="69604"/>
            <a:ext cx="1745707" cy="78568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panose="020B0604020202020204"/>
                <a:ea typeface="+mn-ea"/>
                <a:cs typeface="+mn-cs"/>
              </a:rPr>
              <a:t>IMPACT:        </a:t>
            </a: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1 = Low Impact </a:t>
            </a:r>
            <a:b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                       5 = High impa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panose="020B0604020202020204"/>
                <a:ea typeface="+mn-ea"/>
                <a:cs typeface="+mn-cs"/>
              </a:rPr>
              <a:t>EASE:            </a:t>
            </a: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1 = Difficult</a:t>
            </a:r>
            <a:b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                       5 = Straightforward</a:t>
            </a:r>
          </a:p>
          <a:p>
            <a:pPr>
              <a:defRPr/>
            </a:pPr>
            <a:r>
              <a:rPr lang="en-GB" sz="800" b="1">
                <a:solidFill>
                  <a:srgbClr val="000000"/>
                </a:solidFill>
              </a:rPr>
              <a:t>RESOURCE:  </a:t>
            </a:r>
            <a:r>
              <a:rPr lang="en-GB" sz="800">
                <a:solidFill>
                  <a:srgbClr val="000000"/>
                </a:solidFill>
              </a:rPr>
              <a:t>Low, Medium, High </a:t>
            </a:r>
          </a:p>
        </p:txBody>
      </p:sp>
      <p:sp>
        <p:nvSpPr>
          <p:cNvPr id="9" name="Rectangle 8">
            <a:extLst>
              <a:ext uri="{FF2B5EF4-FFF2-40B4-BE49-F238E27FC236}">
                <a16:creationId xmlns:a16="http://schemas.microsoft.com/office/drawing/2014/main" id="{1568F58D-CEE7-8D44-9AA2-B3B855369563}"/>
              </a:ext>
            </a:extLst>
          </p:cNvPr>
          <p:cNvSpPr/>
          <p:nvPr/>
        </p:nvSpPr>
        <p:spPr>
          <a:xfrm>
            <a:off x="10626054" y="69604"/>
            <a:ext cx="1442357" cy="78568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00" b="1">
                <a:solidFill>
                  <a:srgbClr val="000000"/>
                </a:solidFill>
                <a:latin typeface="Arial" panose="020B0604020202020204"/>
              </a:rPr>
              <a:t>Short</a:t>
            </a:r>
            <a:r>
              <a:rPr lang="en-GB" sz="900">
                <a:solidFill>
                  <a:srgbClr val="000000"/>
                </a:solidFill>
                <a:latin typeface="Arial" panose="020B0604020202020204"/>
              </a:rPr>
              <a:t> =      0-6 months</a:t>
            </a:r>
          </a:p>
          <a:p>
            <a:r>
              <a:rPr lang="en-GB" sz="900" b="1">
                <a:solidFill>
                  <a:srgbClr val="000000"/>
                </a:solidFill>
                <a:latin typeface="Arial" panose="020B0604020202020204"/>
              </a:rPr>
              <a:t>Medium</a:t>
            </a:r>
            <a:r>
              <a:rPr lang="en-GB" sz="900">
                <a:solidFill>
                  <a:srgbClr val="000000"/>
                </a:solidFill>
                <a:latin typeface="Arial" panose="020B0604020202020204"/>
              </a:rPr>
              <a:t> =  6-18 months</a:t>
            </a:r>
          </a:p>
          <a:p>
            <a:r>
              <a:rPr lang="en-GB" sz="900" b="1">
                <a:solidFill>
                  <a:srgbClr val="000000"/>
                </a:solidFill>
                <a:latin typeface="Arial" panose="020B0604020202020204"/>
              </a:rPr>
              <a:t>Long</a:t>
            </a:r>
            <a:r>
              <a:rPr lang="en-GB" sz="900">
                <a:solidFill>
                  <a:srgbClr val="000000"/>
                </a:solidFill>
                <a:latin typeface="Arial" panose="020B0604020202020204"/>
              </a:rPr>
              <a:t> =       18 months +</a:t>
            </a:r>
          </a:p>
        </p:txBody>
      </p:sp>
    </p:spTree>
    <p:extLst>
      <p:ext uri="{BB962C8B-B14F-4D97-AF65-F5344CB8AC3E}">
        <p14:creationId xmlns:p14="http://schemas.microsoft.com/office/powerpoint/2010/main" val="34684787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1DEC92A-C88D-F946-A1A9-8B38E6C4179D}"/>
              </a:ext>
            </a:extLst>
          </p:cNvPr>
          <p:cNvSpPr/>
          <p:nvPr/>
        </p:nvSpPr>
        <p:spPr>
          <a:xfrm>
            <a:off x="517130" y="1623206"/>
            <a:ext cx="2054331" cy="260222"/>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lish-GB" sz="1200" b="1">
                <a:solidFill>
                  <a:srgbClr val="50235C"/>
                </a:solidFill>
              </a:rPr>
              <a:t>Service </a:t>
            </a:r>
            <a:r>
              <a:rPr lang="en-GB" sz="1200" b="1">
                <a:solidFill>
                  <a:srgbClr val="50235C"/>
                </a:solidFill>
              </a:rPr>
              <a:t>m</a:t>
            </a:r>
            <a:r>
              <a:rPr lang="english-GB" sz="1200" b="1">
                <a:solidFill>
                  <a:srgbClr val="50235C"/>
                </a:solidFill>
              </a:rPr>
              <a:t>ap</a:t>
            </a:r>
            <a:r>
              <a:rPr lang="en-GB" sz="1200" b="1">
                <a:solidFill>
                  <a:srgbClr val="50235C"/>
                </a:solidFill>
              </a:rPr>
              <a:t>ping</a:t>
            </a:r>
            <a:endParaRPr lang="english-GB" sz="1200" b="1">
              <a:solidFill>
                <a:srgbClr val="50235C"/>
              </a:solidFill>
            </a:endParaRPr>
          </a:p>
        </p:txBody>
      </p:sp>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69"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800" b="0" i="0" u="none" strike="noStrike" kern="1200" cap="none" spc="0" normalizeH="0" baseline="0" noProof="0">
              <a:ln>
                <a:noFill/>
              </a:ln>
              <a:solidFill>
                <a:srgbClr val="FFFFFF"/>
              </a:solidFill>
              <a:effectLst/>
              <a:uLnTx/>
              <a:uFillTx/>
              <a:latin typeface="Arial" panose="020B0604020202020204"/>
              <a:ea typeface="+mn-ea"/>
              <a:cs typeface="+mn-cs"/>
              <a:sym typeface="Arial" panose="020B0604020202020204" pitchFamily="34" charset="0"/>
            </a:endParaRPr>
          </a:p>
        </p:txBody>
      </p:sp>
      <p:sp>
        <p:nvSpPr>
          <p:cNvPr id="2" name="Title 1"/>
          <p:cNvSpPr>
            <a:spLocks noGrp="1"/>
          </p:cNvSpPr>
          <p:nvPr>
            <p:ph type="title"/>
          </p:nvPr>
        </p:nvSpPr>
        <p:spPr>
          <a:xfrm>
            <a:off x="510638" y="297277"/>
            <a:ext cx="9321425" cy="434010"/>
          </a:xfrm>
          <a:prstGeom prst="rect">
            <a:avLst/>
          </a:prstGeom>
        </p:spPr>
        <p:txBody>
          <a:bodyPr/>
          <a:lstStyle/>
          <a:p>
            <a:r>
              <a:rPr lang="en-GB"/>
              <a:t>Executive summary: service map and gap analysis </a:t>
            </a:r>
          </a:p>
        </p:txBody>
      </p:sp>
      <p:sp>
        <p:nvSpPr>
          <p:cNvPr id="5" name="Footer Placeholder 4">
            <a:extLst>
              <a:ext uri="{FF2B5EF4-FFF2-40B4-BE49-F238E27FC236}">
                <a16:creationId xmlns:a16="http://schemas.microsoft.com/office/drawing/2014/main" id="{8378A888-C2F3-1F46-BFE9-6AED0C113342}"/>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50235C"/>
                </a:solidFill>
                <a:effectLst/>
                <a:uLnTx/>
                <a:uFillTx/>
                <a:latin typeface="Arial" panose="020B0604020202020204"/>
                <a:ea typeface="+mn-ea"/>
                <a:cs typeface="+mn-cs"/>
              </a:rPr>
              <a:t>© Moorhouse 2021 [Restricted]</a:t>
            </a:r>
          </a:p>
        </p:txBody>
      </p:sp>
      <p:sp>
        <p:nvSpPr>
          <p:cNvPr id="27" name="Rectangle 26">
            <a:extLst>
              <a:ext uri="{FF2B5EF4-FFF2-40B4-BE49-F238E27FC236}">
                <a16:creationId xmlns:a16="http://schemas.microsoft.com/office/drawing/2014/main" id="{4EFAD1A4-9034-8448-A693-CCB4220B8B5E}"/>
              </a:ext>
            </a:extLst>
          </p:cNvPr>
          <p:cNvSpPr/>
          <p:nvPr/>
        </p:nvSpPr>
        <p:spPr>
          <a:xfrm>
            <a:off x="510638" y="871696"/>
            <a:ext cx="11272233" cy="646331"/>
          </a:xfrm>
          <a:prstGeom prst="rect">
            <a:avLst/>
          </a:prstGeom>
        </p:spPr>
        <p:txBody>
          <a:bodyPr wrap="square" lIns="0">
            <a:spAutoFit/>
          </a:bodyPr>
          <a:lstStyle/>
          <a:p>
            <a:r>
              <a:rPr lang="en-GB" sz="1200" b="1">
                <a:solidFill>
                  <a:srgbClr val="50235C"/>
                </a:solidFill>
                <a:latin typeface="Arial" panose="020B0604020202020204" pitchFamily="34" charset="0"/>
                <a:cs typeface="Arial" panose="020B0604020202020204" pitchFamily="34" charset="0"/>
              </a:rPr>
              <a:t>Shropshire, Telford, and Wrekin (STW) CCG have a diverse mental health service offering, however it faces significant financial, workforce and system challenges. To help the system identify and address these key challenges a series of deliverables have been produced including a vision and implementation plan to support the long term improvement of mental health services. </a:t>
            </a:r>
          </a:p>
        </p:txBody>
      </p:sp>
      <p:sp>
        <p:nvSpPr>
          <p:cNvPr id="43" name="Rectangle 42">
            <a:extLst>
              <a:ext uri="{FF2B5EF4-FFF2-40B4-BE49-F238E27FC236}">
                <a16:creationId xmlns:a16="http://schemas.microsoft.com/office/drawing/2014/main" id="{6722C459-EA4B-9046-BFE4-5ADCCCE9822B}"/>
              </a:ext>
            </a:extLst>
          </p:cNvPr>
          <p:cNvSpPr/>
          <p:nvPr/>
        </p:nvSpPr>
        <p:spPr>
          <a:xfrm rot="16200000">
            <a:off x="-551207" y="2544797"/>
            <a:ext cx="1599739" cy="276999"/>
          </a:xfrm>
          <a:prstGeom prst="rect">
            <a:avLst/>
          </a:prstGeom>
        </p:spPr>
        <p:txBody>
          <a:bodyPr wrap="square" lIns="0">
            <a:spAutoFit/>
          </a:bodyPr>
          <a:lstStyle/>
          <a:p>
            <a:pPr algn="ctr"/>
            <a:r>
              <a:rPr lang="en-GB" sz="1200" b="1">
                <a:solidFill>
                  <a:srgbClr val="51235C"/>
                </a:solidFill>
                <a:latin typeface="Arial" panose="020B0604020202020204" pitchFamily="34" charset="0"/>
                <a:cs typeface="Arial" panose="020B0604020202020204" pitchFamily="34" charset="0"/>
              </a:rPr>
              <a:t>Approach </a:t>
            </a:r>
          </a:p>
        </p:txBody>
      </p:sp>
      <p:sp>
        <p:nvSpPr>
          <p:cNvPr id="44" name="Rectangle 43">
            <a:extLst>
              <a:ext uri="{FF2B5EF4-FFF2-40B4-BE49-F238E27FC236}">
                <a16:creationId xmlns:a16="http://schemas.microsoft.com/office/drawing/2014/main" id="{94F77078-9FB8-334E-9C10-E9F04E16BBA7}"/>
              </a:ext>
            </a:extLst>
          </p:cNvPr>
          <p:cNvSpPr/>
          <p:nvPr/>
        </p:nvSpPr>
        <p:spPr>
          <a:xfrm>
            <a:off x="0" y="4991232"/>
            <a:ext cx="12192000" cy="1568657"/>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45" name="Picture 44">
            <a:extLst>
              <a:ext uri="{FF2B5EF4-FFF2-40B4-BE49-F238E27FC236}">
                <a16:creationId xmlns:a16="http://schemas.microsoft.com/office/drawing/2014/main" id="{948F28F6-61E2-7243-997A-555466F62827}"/>
              </a:ext>
            </a:extLst>
          </p:cNvPr>
          <p:cNvPicPr>
            <a:picLocks noChangeAspect="1"/>
          </p:cNvPicPr>
          <p:nvPr/>
        </p:nvPicPr>
        <p:blipFill>
          <a:blip r:embed="rId8"/>
          <a:stretch>
            <a:fillRect/>
          </a:stretch>
        </p:blipFill>
        <p:spPr>
          <a:xfrm>
            <a:off x="1045799" y="5151516"/>
            <a:ext cx="1022878" cy="826848"/>
          </a:xfrm>
          <a:prstGeom prst="rect">
            <a:avLst/>
          </a:prstGeom>
          <a:ln>
            <a:solidFill>
              <a:srgbClr val="50235B"/>
            </a:solidFill>
          </a:ln>
          <a:effectLst>
            <a:outerShdw blurRad="50800" dist="38100" dir="8100000" algn="tr" rotWithShape="0">
              <a:prstClr val="black">
                <a:alpha val="40000"/>
              </a:prstClr>
            </a:outerShdw>
          </a:effectLst>
        </p:spPr>
      </p:pic>
      <p:pic>
        <p:nvPicPr>
          <p:cNvPr id="46" name="Picture 45">
            <a:extLst>
              <a:ext uri="{FF2B5EF4-FFF2-40B4-BE49-F238E27FC236}">
                <a16:creationId xmlns:a16="http://schemas.microsoft.com/office/drawing/2014/main" id="{6BA8DE75-D227-DB40-A572-28050B78841A}"/>
              </a:ext>
            </a:extLst>
          </p:cNvPr>
          <p:cNvPicPr>
            <a:picLocks noChangeAspect="1"/>
          </p:cNvPicPr>
          <p:nvPr/>
        </p:nvPicPr>
        <p:blipFill>
          <a:blip r:embed="rId9"/>
          <a:stretch>
            <a:fillRect/>
          </a:stretch>
        </p:blipFill>
        <p:spPr>
          <a:xfrm>
            <a:off x="3118947" y="5154837"/>
            <a:ext cx="1435258" cy="807333"/>
          </a:xfrm>
          <a:prstGeom prst="rect">
            <a:avLst/>
          </a:prstGeom>
          <a:ln>
            <a:solidFill>
              <a:srgbClr val="50235B"/>
            </a:solidFill>
          </a:ln>
          <a:effectLst>
            <a:outerShdw blurRad="50800" dist="38100" dir="8100000" algn="tr" rotWithShape="0">
              <a:prstClr val="black">
                <a:alpha val="40000"/>
              </a:prstClr>
            </a:outerShdw>
          </a:effectLst>
        </p:spPr>
      </p:pic>
      <p:sp>
        <p:nvSpPr>
          <p:cNvPr id="48" name="TextBox 47">
            <a:extLst>
              <a:ext uri="{FF2B5EF4-FFF2-40B4-BE49-F238E27FC236}">
                <a16:creationId xmlns:a16="http://schemas.microsoft.com/office/drawing/2014/main" id="{A64AE93D-4341-5940-88E2-777BF375B524}"/>
              </a:ext>
            </a:extLst>
          </p:cNvPr>
          <p:cNvSpPr txBox="1"/>
          <p:nvPr/>
        </p:nvSpPr>
        <p:spPr>
          <a:xfrm>
            <a:off x="3112971" y="6027430"/>
            <a:ext cx="1435258" cy="430887"/>
          </a:xfrm>
          <a:prstGeom prst="rect">
            <a:avLst/>
          </a:prstGeom>
          <a:noFill/>
        </p:spPr>
        <p:txBody>
          <a:bodyPr wrap="square" lIns="91440" tIns="45720" rIns="91440" bIns="45720" rtlCol="0" anchor="t">
            <a:spAutoFit/>
          </a:bodyPr>
          <a:lstStyle/>
          <a:p>
            <a:pPr marR="0" lvl="0" algn="ctr" defTabSz="914400" rtl="0" eaLnBrk="1" fontAlgn="auto" latinLnBrk="0" hangingPunct="1">
              <a:lnSpc>
                <a:spcPct val="100000"/>
              </a:lnSpc>
              <a:spcBef>
                <a:spcPts val="0"/>
              </a:spcBef>
              <a:spcAft>
                <a:spcPts val="600"/>
              </a:spcAft>
              <a:buClr>
                <a:srgbClr val="50235C"/>
              </a:buClr>
              <a:buSzTx/>
              <a:tabLst/>
              <a:defRPr/>
            </a:pPr>
            <a:r>
              <a:rPr lang="en-GB" sz="1100" spc="-5">
                <a:solidFill>
                  <a:schemeClr val="tx1">
                    <a:lumMod val="50000"/>
                    <a:lumOff val="50000"/>
                  </a:schemeClr>
                </a:solidFill>
                <a:latin typeface="Arial" panose="020B0604020202020204"/>
                <a:cs typeface="Arial"/>
              </a:rPr>
              <a:t>High-level gap analysis</a:t>
            </a:r>
            <a:endParaRPr kumimoji="0" lang="en-GB" sz="11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endParaRPr>
          </a:p>
        </p:txBody>
      </p:sp>
      <p:sp>
        <p:nvSpPr>
          <p:cNvPr id="49" name="TextBox 48">
            <a:extLst>
              <a:ext uri="{FF2B5EF4-FFF2-40B4-BE49-F238E27FC236}">
                <a16:creationId xmlns:a16="http://schemas.microsoft.com/office/drawing/2014/main" id="{EB12C5EA-D5E9-6642-B105-31F682D36F5D}"/>
              </a:ext>
            </a:extLst>
          </p:cNvPr>
          <p:cNvSpPr txBox="1"/>
          <p:nvPr/>
        </p:nvSpPr>
        <p:spPr>
          <a:xfrm>
            <a:off x="749889" y="5994302"/>
            <a:ext cx="1511221" cy="430887"/>
          </a:xfrm>
          <a:prstGeom prst="rect">
            <a:avLst/>
          </a:prstGeom>
          <a:noFill/>
        </p:spPr>
        <p:txBody>
          <a:bodyPr wrap="square" lIns="91440" tIns="45720" rIns="91440" bIns="45720" rtlCol="0" anchor="t">
            <a:spAutoFit/>
          </a:bodyPr>
          <a:lstStyle/>
          <a:p>
            <a:pPr marR="0" lvl="0" algn="ctr" defTabSz="914400" rtl="0" eaLnBrk="1" fontAlgn="auto" latinLnBrk="0" hangingPunct="1">
              <a:lnSpc>
                <a:spcPct val="100000"/>
              </a:lnSpc>
              <a:spcBef>
                <a:spcPts val="0"/>
              </a:spcBef>
              <a:spcAft>
                <a:spcPts val="600"/>
              </a:spcAft>
              <a:buClr>
                <a:srgbClr val="50235C"/>
              </a:buClr>
              <a:buSzTx/>
              <a:tabLst/>
              <a:defRPr/>
            </a:pPr>
            <a:r>
              <a:rPr kumimoji="0" lang="en-GB" sz="11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rPr>
              <a:t>As-is service mapping </a:t>
            </a:r>
          </a:p>
        </p:txBody>
      </p:sp>
      <p:sp>
        <p:nvSpPr>
          <p:cNvPr id="21" name="Rectangle 20">
            <a:extLst>
              <a:ext uri="{FF2B5EF4-FFF2-40B4-BE49-F238E27FC236}">
                <a16:creationId xmlns:a16="http://schemas.microsoft.com/office/drawing/2014/main" id="{6330D18C-34F1-924A-BF1E-ACB7585DE856}"/>
              </a:ext>
            </a:extLst>
          </p:cNvPr>
          <p:cNvSpPr/>
          <p:nvPr/>
        </p:nvSpPr>
        <p:spPr>
          <a:xfrm rot="16200000">
            <a:off x="-482278" y="4075612"/>
            <a:ext cx="1461880" cy="276998"/>
          </a:xfrm>
          <a:prstGeom prst="rect">
            <a:avLst/>
          </a:prstGeom>
        </p:spPr>
        <p:txBody>
          <a:bodyPr wrap="square" lIns="0">
            <a:spAutoFit/>
          </a:bodyPr>
          <a:lstStyle/>
          <a:p>
            <a:pPr algn="ctr"/>
            <a:r>
              <a:rPr lang="en-GB" sz="1200" b="1">
                <a:solidFill>
                  <a:srgbClr val="51235C"/>
                </a:solidFill>
                <a:latin typeface="Arial" panose="020B0604020202020204" pitchFamily="34" charset="0"/>
                <a:cs typeface="Arial" panose="020B0604020202020204" pitchFamily="34" charset="0"/>
              </a:rPr>
              <a:t>Findings</a:t>
            </a:r>
          </a:p>
        </p:txBody>
      </p:sp>
      <p:sp>
        <p:nvSpPr>
          <p:cNvPr id="23" name="Rectangle 22">
            <a:extLst>
              <a:ext uri="{FF2B5EF4-FFF2-40B4-BE49-F238E27FC236}">
                <a16:creationId xmlns:a16="http://schemas.microsoft.com/office/drawing/2014/main" id="{EDB73B83-733C-864A-9946-6F0F0076127C}"/>
              </a:ext>
            </a:extLst>
          </p:cNvPr>
          <p:cNvSpPr/>
          <p:nvPr/>
        </p:nvSpPr>
        <p:spPr>
          <a:xfrm rot="16200000">
            <a:off x="-538410" y="5568194"/>
            <a:ext cx="1567278" cy="276999"/>
          </a:xfrm>
          <a:prstGeom prst="rect">
            <a:avLst/>
          </a:prstGeom>
        </p:spPr>
        <p:txBody>
          <a:bodyPr wrap="square" lIns="0">
            <a:spAutoFit/>
          </a:bodyPr>
          <a:lstStyle/>
          <a:p>
            <a:pPr algn="ctr"/>
            <a:r>
              <a:rPr lang="en-GB" sz="1200" b="1">
                <a:solidFill>
                  <a:srgbClr val="51235C"/>
                </a:solidFill>
                <a:latin typeface="Arial" panose="020B0604020202020204" pitchFamily="34" charset="0"/>
                <a:cs typeface="Arial" panose="020B0604020202020204" pitchFamily="34" charset="0"/>
              </a:rPr>
              <a:t>Output</a:t>
            </a:r>
          </a:p>
        </p:txBody>
      </p:sp>
      <p:graphicFrame>
        <p:nvGraphicFramePr>
          <p:cNvPr id="18" name="Table 17">
            <a:extLst>
              <a:ext uri="{FF2B5EF4-FFF2-40B4-BE49-F238E27FC236}">
                <a16:creationId xmlns:a16="http://schemas.microsoft.com/office/drawing/2014/main" id="{40F8BD7B-1BFE-8143-B5D4-635B515EFECC}"/>
              </a:ext>
            </a:extLst>
          </p:cNvPr>
          <p:cNvGraphicFramePr>
            <a:graphicFrameLocks noGrp="1"/>
          </p:cNvGraphicFramePr>
          <p:nvPr>
            <p:extLst>
              <p:ext uri="{D42A27DB-BD31-4B8C-83A1-F6EECF244321}">
                <p14:modId xmlns:p14="http://schemas.microsoft.com/office/powerpoint/2010/main" val="3539409419"/>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C"/>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
        <p:nvSpPr>
          <p:cNvPr id="19" name="Rectangle 18">
            <a:extLst>
              <a:ext uri="{FF2B5EF4-FFF2-40B4-BE49-F238E27FC236}">
                <a16:creationId xmlns:a16="http://schemas.microsoft.com/office/drawing/2014/main" id="{7D5E1CC4-74C3-3F46-8E37-8DD1394DDCE1}"/>
              </a:ext>
            </a:extLst>
          </p:cNvPr>
          <p:cNvSpPr/>
          <p:nvPr/>
        </p:nvSpPr>
        <p:spPr>
          <a:xfrm>
            <a:off x="2831115" y="1623206"/>
            <a:ext cx="2054331" cy="260222"/>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a:solidFill>
                  <a:srgbClr val="50235C"/>
                </a:solidFill>
              </a:rPr>
              <a:t>Gap analysis</a:t>
            </a:r>
            <a:endParaRPr lang="english-GB" sz="1200" b="1">
              <a:solidFill>
                <a:srgbClr val="50235C"/>
              </a:solidFill>
            </a:endParaRPr>
          </a:p>
        </p:txBody>
      </p:sp>
      <p:sp>
        <p:nvSpPr>
          <p:cNvPr id="20" name="Rectangle 19">
            <a:extLst>
              <a:ext uri="{FF2B5EF4-FFF2-40B4-BE49-F238E27FC236}">
                <a16:creationId xmlns:a16="http://schemas.microsoft.com/office/drawing/2014/main" id="{11EC81B9-48F8-914D-A40C-2077FB419641}"/>
              </a:ext>
            </a:extLst>
          </p:cNvPr>
          <p:cNvSpPr/>
          <p:nvPr/>
        </p:nvSpPr>
        <p:spPr>
          <a:xfrm>
            <a:off x="5145100" y="1623206"/>
            <a:ext cx="2054331" cy="260222"/>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a:solidFill>
                  <a:srgbClr val="50235C"/>
                </a:solidFill>
              </a:rPr>
              <a:t>Patient journeys</a:t>
            </a:r>
            <a:endParaRPr lang="english-GB" sz="1200" b="1">
              <a:solidFill>
                <a:srgbClr val="50235C"/>
              </a:solidFill>
            </a:endParaRPr>
          </a:p>
        </p:txBody>
      </p:sp>
      <p:sp>
        <p:nvSpPr>
          <p:cNvPr id="24" name="Rectangle 23">
            <a:extLst>
              <a:ext uri="{FF2B5EF4-FFF2-40B4-BE49-F238E27FC236}">
                <a16:creationId xmlns:a16="http://schemas.microsoft.com/office/drawing/2014/main" id="{A08D1652-4F93-6C45-9802-7F71789C033B}"/>
              </a:ext>
            </a:extLst>
          </p:cNvPr>
          <p:cNvSpPr/>
          <p:nvPr/>
        </p:nvSpPr>
        <p:spPr>
          <a:xfrm>
            <a:off x="7459085" y="1623206"/>
            <a:ext cx="2054331" cy="260222"/>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a:solidFill>
                  <a:srgbClr val="50235C"/>
                </a:solidFill>
              </a:rPr>
              <a:t>Vision &amp; strategy</a:t>
            </a:r>
            <a:endParaRPr lang="english-GB" sz="1200" b="1">
              <a:solidFill>
                <a:srgbClr val="50235C"/>
              </a:solidFill>
            </a:endParaRPr>
          </a:p>
        </p:txBody>
      </p:sp>
      <p:sp>
        <p:nvSpPr>
          <p:cNvPr id="25" name="Rectangle 24">
            <a:extLst>
              <a:ext uri="{FF2B5EF4-FFF2-40B4-BE49-F238E27FC236}">
                <a16:creationId xmlns:a16="http://schemas.microsoft.com/office/drawing/2014/main" id="{23EAB4A1-A103-5A4E-BEFF-7A10FBF29F52}"/>
              </a:ext>
            </a:extLst>
          </p:cNvPr>
          <p:cNvSpPr/>
          <p:nvPr/>
        </p:nvSpPr>
        <p:spPr>
          <a:xfrm>
            <a:off x="9773071" y="1623206"/>
            <a:ext cx="2054331" cy="260222"/>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a:solidFill>
                  <a:srgbClr val="50235C"/>
                </a:solidFill>
              </a:rPr>
              <a:t>Roadmap</a:t>
            </a:r>
            <a:endParaRPr lang="english-GB" sz="1200" b="1">
              <a:solidFill>
                <a:srgbClr val="50235C"/>
              </a:solidFill>
            </a:endParaRPr>
          </a:p>
        </p:txBody>
      </p:sp>
      <p:cxnSp>
        <p:nvCxnSpPr>
          <p:cNvPr id="26" name="Straight Connector 25">
            <a:extLst>
              <a:ext uri="{FF2B5EF4-FFF2-40B4-BE49-F238E27FC236}">
                <a16:creationId xmlns:a16="http://schemas.microsoft.com/office/drawing/2014/main" id="{64C469A9-93DC-F442-AB59-DB059E1B50B8}"/>
              </a:ext>
            </a:extLst>
          </p:cNvPr>
          <p:cNvCxnSpPr>
            <a:cxnSpLocks/>
          </p:cNvCxnSpPr>
          <p:nvPr/>
        </p:nvCxnSpPr>
        <p:spPr>
          <a:xfrm>
            <a:off x="5021118" y="1623206"/>
            <a:ext cx="0" cy="4824171"/>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D8E1F995-A6C7-F74B-BB6E-AA630959EBAF}"/>
              </a:ext>
            </a:extLst>
          </p:cNvPr>
          <p:cNvCxnSpPr>
            <a:cxnSpLocks/>
          </p:cNvCxnSpPr>
          <p:nvPr/>
        </p:nvCxnSpPr>
        <p:spPr>
          <a:xfrm>
            <a:off x="7321866" y="1633316"/>
            <a:ext cx="0" cy="4824171"/>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8DC9F6E-4DF7-2643-97F1-A325EACAD91E}"/>
              </a:ext>
            </a:extLst>
          </p:cNvPr>
          <p:cNvCxnSpPr>
            <a:cxnSpLocks/>
          </p:cNvCxnSpPr>
          <p:nvPr/>
        </p:nvCxnSpPr>
        <p:spPr>
          <a:xfrm>
            <a:off x="9642279" y="1633316"/>
            <a:ext cx="0" cy="4824171"/>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B8AC0AA-7B8B-AC42-8223-073113E4B600}"/>
              </a:ext>
            </a:extLst>
          </p:cNvPr>
          <p:cNvCxnSpPr>
            <a:cxnSpLocks/>
          </p:cNvCxnSpPr>
          <p:nvPr/>
        </p:nvCxnSpPr>
        <p:spPr>
          <a:xfrm>
            <a:off x="6570" y="3501073"/>
            <a:ext cx="12307865" cy="0"/>
          </a:xfrm>
          <a:prstGeom prst="line">
            <a:avLst/>
          </a:prstGeom>
          <a:ln w="19050">
            <a:solidFill>
              <a:srgbClr val="F1EDF4"/>
            </a:solidFill>
            <a:prstDash val="sysDash"/>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02CADAA-5F5B-2B44-9F5D-CFC60478E069}"/>
              </a:ext>
            </a:extLst>
          </p:cNvPr>
          <p:cNvCxnSpPr>
            <a:cxnSpLocks/>
          </p:cNvCxnSpPr>
          <p:nvPr/>
        </p:nvCxnSpPr>
        <p:spPr>
          <a:xfrm>
            <a:off x="-34513" y="4981097"/>
            <a:ext cx="12307865" cy="0"/>
          </a:xfrm>
          <a:prstGeom prst="line">
            <a:avLst/>
          </a:prstGeom>
          <a:ln w="19050">
            <a:solidFill>
              <a:srgbClr val="F1EDF4"/>
            </a:solidFill>
            <a:prstDash val="sysDash"/>
          </a:ln>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AA8728F6-BE4A-A94B-B853-B20ACC057BE5}"/>
              </a:ext>
            </a:extLst>
          </p:cNvPr>
          <p:cNvPicPr>
            <a:picLocks noChangeAspect="1"/>
          </p:cNvPicPr>
          <p:nvPr/>
        </p:nvPicPr>
        <p:blipFill>
          <a:blip r:embed="rId10"/>
          <a:stretch>
            <a:fillRect/>
          </a:stretch>
        </p:blipFill>
        <p:spPr>
          <a:xfrm>
            <a:off x="7768622" y="5151515"/>
            <a:ext cx="1435261" cy="807334"/>
          </a:xfrm>
          <a:prstGeom prst="rect">
            <a:avLst/>
          </a:prstGeom>
          <a:ln>
            <a:solidFill>
              <a:srgbClr val="50235B"/>
            </a:solidFill>
          </a:ln>
          <a:effectLst>
            <a:outerShdw blurRad="50800" dist="38100" dir="8100000" algn="tr" rotWithShape="0">
              <a:prstClr val="black">
                <a:alpha val="40000"/>
              </a:prstClr>
            </a:outerShdw>
          </a:effectLst>
        </p:spPr>
      </p:pic>
      <p:pic>
        <p:nvPicPr>
          <p:cNvPr id="34" name="Picture 33">
            <a:extLst>
              <a:ext uri="{FF2B5EF4-FFF2-40B4-BE49-F238E27FC236}">
                <a16:creationId xmlns:a16="http://schemas.microsoft.com/office/drawing/2014/main" id="{58C02BF7-7D04-204F-BFED-4F955D6D5FD4}"/>
              </a:ext>
            </a:extLst>
          </p:cNvPr>
          <p:cNvPicPr>
            <a:picLocks noChangeAspect="1"/>
          </p:cNvPicPr>
          <p:nvPr/>
        </p:nvPicPr>
        <p:blipFill>
          <a:blip r:embed="rId11"/>
          <a:stretch>
            <a:fillRect/>
          </a:stretch>
        </p:blipFill>
        <p:spPr>
          <a:xfrm>
            <a:off x="5444033" y="5151516"/>
            <a:ext cx="1435255" cy="807331"/>
          </a:xfrm>
          <a:prstGeom prst="rect">
            <a:avLst/>
          </a:prstGeom>
          <a:ln>
            <a:solidFill>
              <a:srgbClr val="50235B"/>
            </a:solidFill>
          </a:ln>
          <a:effectLst>
            <a:outerShdw blurRad="50800" dist="38100" dir="8100000" algn="tr" rotWithShape="0">
              <a:prstClr val="black">
                <a:alpha val="40000"/>
              </a:prstClr>
            </a:outerShdw>
          </a:effectLst>
        </p:spPr>
      </p:pic>
      <p:pic>
        <p:nvPicPr>
          <p:cNvPr id="35" name="Picture 34">
            <a:extLst>
              <a:ext uri="{FF2B5EF4-FFF2-40B4-BE49-F238E27FC236}">
                <a16:creationId xmlns:a16="http://schemas.microsoft.com/office/drawing/2014/main" id="{BE5F0901-A583-6042-8314-B9788EC29E23}"/>
              </a:ext>
            </a:extLst>
          </p:cNvPr>
          <p:cNvPicPr>
            <a:picLocks noChangeAspect="1"/>
          </p:cNvPicPr>
          <p:nvPr/>
        </p:nvPicPr>
        <p:blipFill>
          <a:blip r:embed="rId12"/>
          <a:stretch>
            <a:fillRect/>
          </a:stretch>
        </p:blipFill>
        <p:spPr>
          <a:xfrm>
            <a:off x="10080682" y="5151515"/>
            <a:ext cx="1435258" cy="807332"/>
          </a:xfrm>
          <a:prstGeom prst="rect">
            <a:avLst/>
          </a:prstGeom>
          <a:ln>
            <a:solidFill>
              <a:srgbClr val="50235B"/>
            </a:solidFill>
          </a:ln>
          <a:effectLst>
            <a:outerShdw blurRad="50800" dist="38100" dir="8100000" algn="tr" rotWithShape="0">
              <a:prstClr val="black">
                <a:alpha val="40000"/>
              </a:prstClr>
            </a:outerShdw>
          </a:effectLst>
        </p:spPr>
      </p:pic>
      <p:sp>
        <p:nvSpPr>
          <p:cNvPr id="36" name="TextBox 35">
            <a:extLst>
              <a:ext uri="{FF2B5EF4-FFF2-40B4-BE49-F238E27FC236}">
                <a16:creationId xmlns:a16="http://schemas.microsoft.com/office/drawing/2014/main" id="{EA72B162-6661-274C-BE24-06DC87241815}"/>
              </a:ext>
            </a:extLst>
          </p:cNvPr>
          <p:cNvSpPr txBox="1"/>
          <p:nvPr/>
        </p:nvSpPr>
        <p:spPr>
          <a:xfrm>
            <a:off x="7745582" y="6024465"/>
            <a:ext cx="1435258" cy="430887"/>
          </a:xfrm>
          <a:prstGeom prst="rect">
            <a:avLst/>
          </a:prstGeom>
          <a:noFill/>
        </p:spPr>
        <p:txBody>
          <a:bodyPr wrap="square" lIns="91440" tIns="45720" rIns="91440" bIns="45720" rtlCol="0" anchor="t">
            <a:spAutoFit/>
          </a:bodyPr>
          <a:lstStyle/>
          <a:p>
            <a:pPr marR="0" lvl="0" algn="ctr" defTabSz="914400" rtl="0" eaLnBrk="1" fontAlgn="auto" latinLnBrk="0" hangingPunct="1">
              <a:lnSpc>
                <a:spcPct val="100000"/>
              </a:lnSpc>
              <a:spcBef>
                <a:spcPts val="0"/>
              </a:spcBef>
              <a:spcAft>
                <a:spcPts val="600"/>
              </a:spcAft>
              <a:buClr>
                <a:srgbClr val="50235C"/>
              </a:buClr>
              <a:buSzTx/>
              <a:tabLst/>
              <a:defRPr/>
            </a:pPr>
            <a:r>
              <a:rPr lang="en-GB" sz="1100" spc="-5">
                <a:solidFill>
                  <a:schemeClr val="tx1">
                    <a:lumMod val="50000"/>
                    <a:lumOff val="50000"/>
                  </a:schemeClr>
                </a:solidFill>
                <a:latin typeface="Arial" panose="020B0604020202020204"/>
                <a:cs typeface="Arial"/>
              </a:rPr>
              <a:t>Mental health vision &amp; strategy</a:t>
            </a:r>
            <a:endParaRPr kumimoji="0" lang="en-GB" sz="11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endParaRPr>
          </a:p>
        </p:txBody>
      </p:sp>
      <p:sp>
        <p:nvSpPr>
          <p:cNvPr id="37" name="TextBox 36">
            <a:extLst>
              <a:ext uri="{FF2B5EF4-FFF2-40B4-BE49-F238E27FC236}">
                <a16:creationId xmlns:a16="http://schemas.microsoft.com/office/drawing/2014/main" id="{5F8FFDF1-D293-F24E-9A48-1D11FA6E1BC6}"/>
              </a:ext>
            </a:extLst>
          </p:cNvPr>
          <p:cNvSpPr txBox="1"/>
          <p:nvPr/>
        </p:nvSpPr>
        <p:spPr>
          <a:xfrm>
            <a:off x="5465379" y="6024464"/>
            <a:ext cx="1435258" cy="430887"/>
          </a:xfrm>
          <a:prstGeom prst="rect">
            <a:avLst/>
          </a:prstGeom>
          <a:noFill/>
        </p:spPr>
        <p:txBody>
          <a:bodyPr wrap="square" lIns="91440" tIns="45720" rIns="91440" bIns="45720" rtlCol="0" anchor="t">
            <a:spAutoFit/>
          </a:bodyPr>
          <a:lstStyle/>
          <a:p>
            <a:pPr marR="0" lvl="0" algn="ctr" defTabSz="914400" rtl="0" eaLnBrk="1" fontAlgn="auto" latinLnBrk="0" hangingPunct="1">
              <a:lnSpc>
                <a:spcPct val="100000"/>
              </a:lnSpc>
              <a:spcBef>
                <a:spcPts val="0"/>
              </a:spcBef>
              <a:spcAft>
                <a:spcPts val="600"/>
              </a:spcAft>
              <a:buClr>
                <a:srgbClr val="50235C"/>
              </a:buClr>
              <a:buSzTx/>
              <a:tabLst/>
              <a:defRPr/>
            </a:pPr>
            <a:r>
              <a:rPr lang="en-GB" sz="1100" spc="-5">
                <a:solidFill>
                  <a:schemeClr val="tx1">
                    <a:lumMod val="50000"/>
                    <a:lumOff val="50000"/>
                  </a:schemeClr>
                </a:solidFill>
                <a:latin typeface="Arial" panose="020B0604020202020204"/>
                <a:cs typeface="Arial"/>
              </a:rPr>
              <a:t>3x patient journey maps</a:t>
            </a:r>
            <a:endParaRPr kumimoji="0" lang="en-GB" sz="11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endParaRPr>
          </a:p>
        </p:txBody>
      </p:sp>
      <p:sp>
        <p:nvSpPr>
          <p:cNvPr id="38" name="TextBox 37">
            <a:extLst>
              <a:ext uri="{FF2B5EF4-FFF2-40B4-BE49-F238E27FC236}">
                <a16:creationId xmlns:a16="http://schemas.microsoft.com/office/drawing/2014/main" id="{4C49A6F2-8130-F94B-90FE-21C8CDF5A418}"/>
              </a:ext>
            </a:extLst>
          </p:cNvPr>
          <p:cNvSpPr txBox="1"/>
          <p:nvPr/>
        </p:nvSpPr>
        <p:spPr>
          <a:xfrm>
            <a:off x="10083135" y="6024463"/>
            <a:ext cx="1435258" cy="430887"/>
          </a:xfrm>
          <a:prstGeom prst="rect">
            <a:avLst/>
          </a:prstGeom>
          <a:noFill/>
        </p:spPr>
        <p:txBody>
          <a:bodyPr wrap="square" lIns="91440" tIns="45720" rIns="91440" bIns="45720" rtlCol="0" anchor="t">
            <a:spAutoFit/>
          </a:bodyPr>
          <a:lstStyle/>
          <a:p>
            <a:pPr marR="0" lvl="0" algn="ctr" defTabSz="914400" rtl="0" eaLnBrk="1" fontAlgn="auto" latinLnBrk="0" hangingPunct="1">
              <a:lnSpc>
                <a:spcPct val="100000"/>
              </a:lnSpc>
              <a:spcBef>
                <a:spcPts val="0"/>
              </a:spcBef>
              <a:spcAft>
                <a:spcPts val="600"/>
              </a:spcAft>
              <a:buClr>
                <a:srgbClr val="50235C"/>
              </a:buClr>
              <a:buSzTx/>
              <a:tabLst/>
              <a:defRPr/>
            </a:pPr>
            <a:r>
              <a:rPr lang="en-GB" sz="1100" spc="-5">
                <a:solidFill>
                  <a:schemeClr val="tx1">
                    <a:lumMod val="50000"/>
                    <a:lumOff val="50000"/>
                  </a:schemeClr>
                </a:solidFill>
                <a:latin typeface="Arial" panose="020B0604020202020204"/>
                <a:cs typeface="Arial"/>
              </a:rPr>
              <a:t>Implementation</a:t>
            </a:r>
            <a:r>
              <a:rPr kumimoji="0" lang="en-GB" sz="11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rPr>
              <a:t> roadmap</a:t>
            </a:r>
          </a:p>
        </p:txBody>
      </p:sp>
      <p:sp>
        <p:nvSpPr>
          <p:cNvPr id="39" name="TextBox 38">
            <a:extLst>
              <a:ext uri="{FF2B5EF4-FFF2-40B4-BE49-F238E27FC236}">
                <a16:creationId xmlns:a16="http://schemas.microsoft.com/office/drawing/2014/main" id="{9DB2F3D1-178D-1B44-B0A9-5420B0D2E696}"/>
              </a:ext>
            </a:extLst>
          </p:cNvPr>
          <p:cNvSpPr txBox="1"/>
          <p:nvPr/>
        </p:nvSpPr>
        <p:spPr>
          <a:xfrm>
            <a:off x="522833" y="1966948"/>
            <a:ext cx="2053891" cy="1302921"/>
          </a:xfrm>
          <a:prstGeom prst="rect">
            <a:avLst/>
          </a:prstGeom>
          <a:noFill/>
        </p:spPr>
        <p:txBody>
          <a:bodyPr wrap="square" rtlCol="0">
            <a:spAutoFit/>
          </a:bodyPr>
          <a:lstStyle/>
          <a:p>
            <a:pPr marL="88900" lvl="0" indent="-88900">
              <a:spcBef>
                <a:spcPts val="200"/>
              </a:spcBef>
              <a:spcAft>
                <a:spcPts val="200"/>
              </a:spcAft>
              <a:buClr>
                <a:schemeClr val="tx2">
                  <a:lumMod val="65000"/>
                  <a:lumOff val="35000"/>
                </a:schemeClr>
              </a:buClr>
              <a:buFont typeface="Arial" panose="020B0604020202020204" pitchFamily="34" charset="0"/>
              <a:buChar char="•"/>
              <a:defRPr/>
            </a:pPr>
            <a:r>
              <a:rPr lang="en-GB" sz="900">
                <a:solidFill>
                  <a:schemeClr val="tx2">
                    <a:lumMod val="65000"/>
                    <a:lumOff val="35000"/>
                  </a:schemeClr>
                </a:solidFill>
                <a:latin typeface="Arial" panose="020B0604020202020204" pitchFamily="34" charset="0"/>
                <a:cs typeface="Arial" panose="020B0604020202020204" pitchFamily="34" charset="0"/>
              </a:rPr>
              <a:t>Interviews held with &gt;60 stakeholders and service users.</a:t>
            </a:r>
          </a:p>
          <a:p>
            <a:pPr marL="88900" lvl="0" indent="-88900">
              <a:spcBef>
                <a:spcPts val="200"/>
              </a:spcBef>
              <a:spcAft>
                <a:spcPts val="200"/>
              </a:spcAft>
              <a:buClr>
                <a:schemeClr val="tx2">
                  <a:lumMod val="65000"/>
                  <a:lumOff val="35000"/>
                </a:schemeClr>
              </a:buClr>
              <a:buFont typeface="Arial" panose="020B0604020202020204" pitchFamily="34" charset="0"/>
              <a:buChar char="•"/>
              <a:defRPr/>
            </a:pPr>
            <a:r>
              <a:rPr lang="en-GB" sz="900">
                <a:solidFill>
                  <a:schemeClr val="tx2">
                    <a:lumMod val="65000"/>
                    <a:lumOff val="35000"/>
                  </a:schemeClr>
                </a:solidFill>
                <a:latin typeface="Arial" panose="020B0604020202020204" pitchFamily="34" charset="0"/>
                <a:cs typeface="Arial" panose="020B0604020202020204" pitchFamily="34" charset="0"/>
              </a:rPr>
              <a:t>Map existing Mental Health services across STW into a service directory.</a:t>
            </a:r>
          </a:p>
          <a:p>
            <a:pPr marL="88900" lvl="0" indent="-88900">
              <a:spcBef>
                <a:spcPts val="200"/>
              </a:spcBef>
              <a:spcAft>
                <a:spcPts val="200"/>
              </a:spcAft>
              <a:buClr>
                <a:schemeClr val="tx2">
                  <a:lumMod val="65000"/>
                  <a:lumOff val="35000"/>
                </a:schemeClr>
              </a:buClr>
              <a:buFont typeface="Arial" panose="020B0604020202020204" pitchFamily="34" charset="0"/>
              <a:buChar char="•"/>
              <a:defRPr/>
            </a:pPr>
            <a:r>
              <a:rPr lang="en-GB" sz="900">
                <a:solidFill>
                  <a:schemeClr val="tx2">
                    <a:lumMod val="65000"/>
                    <a:lumOff val="35000"/>
                  </a:schemeClr>
                </a:solidFill>
                <a:latin typeface="Arial" panose="020B0604020202020204" pitchFamily="34" charset="0"/>
                <a:cs typeface="Arial" panose="020B0604020202020204" pitchFamily="34" charset="0"/>
              </a:rPr>
              <a:t>Analyse service directory to assess where services have gaps or capacity challenges.</a:t>
            </a:r>
          </a:p>
        </p:txBody>
      </p:sp>
      <p:sp>
        <p:nvSpPr>
          <p:cNvPr id="40" name="TextBox 39">
            <a:extLst>
              <a:ext uri="{FF2B5EF4-FFF2-40B4-BE49-F238E27FC236}">
                <a16:creationId xmlns:a16="http://schemas.microsoft.com/office/drawing/2014/main" id="{3FF8F3EC-00F9-1244-BA65-329218716879}"/>
              </a:ext>
            </a:extLst>
          </p:cNvPr>
          <p:cNvSpPr txBox="1"/>
          <p:nvPr/>
        </p:nvSpPr>
        <p:spPr>
          <a:xfrm>
            <a:off x="2836376" y="1966948"/>
            <a:ext cx="2053891" cy="1251625"/>
          </a:xfrm>
          <a:prstGeom prst="rect">
            <a:avLst/>
          </a:prstGeom>
          <a:noFill/>
        </p:spPr>
        <p:txBody>
          <a:bodyPr wrap="square" rtlCol="0">
            <a:spAutoFit/>
          </a:bodyPr>
          <a:lstStyle/>
          <a:p>
            <a:pPr marL="88900" lvl="0" indent="-88900">
              <a:spcBef>
                <a:spcPts val="200"/>
              </a:spcBef>
              <a:spcAft>
                <a:spcPts val="200"/>
              </a:spcAft>
              <a:buClr>
                <a:schemeClr val="tx2">
                  <a:lumMod val="65000"/>
                  <a:lumOff val="35000"/>
                </a:schemeClr>
              </a:buClr>
              <a:buFont typeface="Arial" panose="020B0604020202020204" pitchFamily="34" charset="0"/>
              <a:buChar char="•"/>
              <a:defRPr/>
            </a:pPr>
            <a:r>
              <a:rPr lang="en-GB" sz="900">
                <a:solidFill>
                  <a:schemeClr val="tx2">
                    <a:lumMod val="65000"/>
                    <a:lumOff val="35000"/>
                  </a:schemeClr>
                </a:solidFill>
                <a:latin typeface="Arial" panose="020B0604020202020204" pitchFamily="34" charset="0"/>
                <a:cs typeface="Arial" panose="020B0604020202020204" pitchFamily="34" charset="0"/>
              </a:rPr>
              <a:t>Stakeholder and service user interviews used to understand strengths, challenges and gaps in service provision. </a:t>
            </a:r>
          </a:p>
          <a:p>
            <a:pPr marL="88900" lvl="0" indent="-88900">
              <a:spcBef>
                <a:spcPts val="200"/>
              </a:spcBef>
              <a:spcAft>
                <a:spcPts val="200"/>
              </a:spcAft>
              <a:buClr>
                <a:schemeClr val="tx2">
                  <a:lumMod val="65000"/>
                  <a:lumOff val="35000"/>
                </a:schemeClr>
              </a:buClr>
              <a:buFont typeface="Arial" panose="020B0604020202020204" pitchFamily="34" charset="0"/>
              <a:buChar char="•"/>
              <a:defRPr/>
            </a:pPr>
            <a:r>
              <a:rPr lang="en-GB" sz="900">
                <a:solidFill>
                  <a:schemeClr val="tx2">
                    <a:lumMod val="65000"/>
                    <a:lumOff val="35000"/>
                  </a:schemeClr>
                </a:solidFill>
                <a:latin typeface="Arial" panose="020B0604020202020204" pitchFamily="34" charset="0"/>
                <a:cs typeface="Arial" panose="020B0604020202020204" pitchFamily="34" charset="0"/>
              </a:rPr>
              <a:t>Conduct a gap analysis to assess where service provision is challenged and where improvement opportunities exist. </a:t>
            </a:r>
          </a:p>
        </p:txBody>
      </p:sp>
      <p:sp>
        <p:nvSpPr>
          <p:cNvPr id="42" name="TextBox 41">
            <a:extLst>
              <a:ext uri="{FF2B5EF4-FFF2-40B4-BE49-F238E27FC236}">
                <a16:creationId xmlns:a16="http://schemas.microsoft.com/office/drawing/2014/main" id="{A2013135-99AB-344D-BFCA-6609625D6674}"/>
              </a:ext>
            </a:extLst>
          </p:cNvPr>
          <p:cNvSpPr txBox="1"/>
          <p:nvPr/>
        </p:nvSpPr>
        <p:spPr>
          <a:xfrm>
            <a:off x="522833" y="3552778"/>
            <a:ext cx="2053891" cy="1302921"/>
          </a:xfrm>
          <a:prstGeom prst="rect">
            <a:avLst/>
          </a:prstGeom>
          <a:noFill/>
        </p:spPr>
        <p:txBody>
          <a:bodyPr wrap="square" rtlCol="0">
            <a:spAutoFit/>
          </a:bodyPr>
          <a:lstStyle/>
          <a:p>
            <a:pPr marL="88900" lvl="0" indent="-88900">
              <a:spcBef>
                <a:spcPts val="200"/>
              </a:spcBef>
              <a:spcAft>
                <a:spcPts val="200"/>
              </a:spcAft>
              <a:buClr>
                <a:schemeClr val="tx2">
                  <a:lumMod val="65000"/>
                  <a:lumOff val="35000"/>
                </a:schemeClr>
              </a:buClr>
              <a:buFont typeface="Arial" panose="020B0604020202020204" pitchFamily="34" charset="0"/>
              <a:buChar char="•"/>
              <a:defRPr/>
            </a:pPr>
            <a:r>
              <a:rPr lang="en-GB" sz="900">
                <a:solidFill>
                  <a:schemeClr val="tx2">
                    <a:lumMod val="65000"/>
                    <a:lumOff val="35000"/>
                  </a:schemeClr>
                </a:solidFill>
                <a:latin typeface="Arial" panose="020B0604020202020204" pitchFamily="34" charset="0"/>
                <a:cs typeface="Arial" panose="020B0604020202020204" pitchFamily="34" charset="0"/>
              </a:rPr>
              <a:t>76 mental health services mapped across STW ICS.</a:t>
            </a:r>
          </a:p>
          <a:p>
            <a:pPr marL="88900" lvl="0" indent="-88900">
              <a:spcBef>
                <a:spcPts val="200"/>
              </a:spcBef>
              <a:spcAft>
                <a:spcPts val="200"/>
              </a:spcAft>
              <a:buClr>
                <a:schemeClr val="tx2">
                  <a:lumMod val="65000"/>
                  <a:lumOff val="35000"/>
                </a:schemeClr>
              </a:buClr>
              <a:buFont typeface="Arial" panose="020B0604020202020204" pitchFamily="34" charset="0"/>
              <a:buChar char="•"/>
              <a:defRPr/>
            </a:pPr>
            <a:r>
              <a:rPr lang="en-GB" sz="900">
                <a:solidFill>
                  <a:schemeClr val="tx2">
                    <a:lumMod val="65000"/>
                    <a:lumOff val="35000"/>
                  </a:schemeClr>
                </a:solidFill>
                <a:latin typeface="Arial" panose="020B0604020202020204" pitchFamily="34" charset="0"/>
                <a:cs typeface="Arial" panose="020B0604020202020204" pitchFamily="34" charset="0"/>
              </a:rPr>
              <a:t>34 services offered by the third sector and 35 services offered by the health sector and remaining services offered by public sector organisations. </a:t>
            </a:r>
          </a:p>
          <a:p>
            <a:pPr marL="88900" lvl="0" indent="-88900">
              <a:spcBef>
                <a:spcPts val="200"/>
              </a:spcBef>
              <a:spcAft>
                <a:spcPts val="200"/>
              </a:spcAft>
              <a:buClr>
                <a:schemeClr val="tx2">
                  <a:lumMod val="65000"/>
                  <a:lumOff val="35000"/>
                </a:schemeClr>
              </a:buClr>
              <a:buFont typeface="Arial" panose="020B0604020202020204" pitchFamily="34" charset="0"/>
              <a:buChar char="•"/>
              <a:defRPr/>
            </a:pPr>
            <a:r>
              <a:rPr lang="en-GB" sz="900">
                <a:solidFill>
                  <a:schemeClr val="tx2">
                    <a:lumMod val="65000"/>
                    <a:lumOff val="35000"/>
                  </a:schemeClr>
                </a:solidFill>
                <a:latin typeface="Arial" panose="020B0604020202020204" pitchFamily="34" charset="0"/>
                <a:cs typeface="Arial" panose="020B0604020202020204" pitchFamily="34" charset="0"/>
              </a:rPr>
              <a:t>9 services gaps identified </a:t>
            </a:r>
          </a:p>
        </p:txBody>
      </p:sp>
      <p:sp>
        <p:nvSpPr>
          <p:cNvPr id="51" name="TextBox 50">
            <a:extLst>
              <a:ext uri="{FF2B5EF4-FFF2-40B4-BE49-F238E27FC236}">
                <a16:creationId xmlns:a16="http://schemas.microsoft.com/office/drawing/2014/main" id="{9344A515-A4F0-E24B-ACA6-57E2FAC220E9}"/>
              </a:ext>
            </a:extLst>
          </p:cNvPr>
          <p:cNvSpPr txBox="1"/>
          <p:nvPr/>
        </p:nvSpPr>
        <p:spPr>
          <a:xfrm>
            <a:off x="2833545" y="3552778"/>
            <a:ext cx="2053891" cy="1390124"/>
          </a:xfrm>
          <a:prstGeom prst="rect">
            <a:avLst/>
          </a:prstGeom>
          <a:noFill/>
        </p:spPr>
        <p:txBody>
          <a:bodyPr wrap="square" rtlCol="0">
            <a:spAutoFit/>
          </a:bodyPr>
          <a:lstStyle/>
          <a:p>
            <a:pPr marL="88900" lvl="0" indent="-88900">
              <a:spcBef>
                <a:spcPts val="200"/>
              </a:spcBef>
              <a:spcAft>
                <a:spcPts val="200"/>
              </a:spcAft>
              <a:buClr>
                <a:schemeClr val="tx2">
                  <a:lumMod val="65000"/>
                  <a:lumOff val="35000"/>
                </a:schemeClr>
              </a:buClr>
              <a:buFont typeface="Arial" panose="020B0604020202020204" pitchFamily="34" charset="0"/>
              <a:buChar char="•"/>
              <a:defRPr/>
            </a:pPr>
            <a:r>
              <a:rPr lang="en-GB" sz="900">
                <a:solidFill>
                  <a:schemeClr val="tx2">
                    <a:lumMod val="65000"/>
                    <a:lumOff val="35000"/>
                  </a:schemeClr>
                </a:solidFill>
                <a:latin typeface="Arial" panose="020B0604020202020204" pitchFamily="34" charset="0"/>
                <a:cs typeface="Arial" panose="020B0604020202020204" pitchFamily="34" charset="0"/>
              </a:rPr>
              <a:t>Across existing services, four key strengths/ areas of leading practice identified and nine key challenges/ opportunities for improvement and/ or enhancement identified.  </a:t>
            </a:r>
          </a:p>
          <a:p>
            <a:pPr marL="88900" lvl="0" indent="-88900">
              <a:spcBef>
                <a:spcPts val="200"/>
              </a:spcBef>
              <a:spcAft>
                <a:spcPts val="200"/>
              </a:spcAft>
              <a:buClr>
                <a:schemeClr val="tx2">
                  <a:lumMod val="65000"/>
                  <a:lumOff val="35000"/>
                </a:schemeClr>
              </a:buClr>
              <a:buFont typeface="Arial" panose="020B0604020202020204" pitchFamily="34" charset="0"/>
              <a:buChar char="•"/>
              <a:defRPr/>
            </a:pPr>
            <a:r>
              <a:rPr lang="en-GB" sz="900">
                <a:solidFill>
                  <a:schemeClr val="tx2">
                    <a:lumMod val="65000"/>
                    <a:lumOff val="35000"/>
                  </a:schemeClr>
                </a:solidFill>
                <a:latin typeface="Arial" panose="020B0604020202020204" pitchFamily="34" charset="0"/>
                <a:cs typeface="Arial" panose="020B0604020202020204" pitchFamily="34" charset="0"/>
              </a:rPr>
              <a:t>Key challenges of limited funding and resource limitations were found across a wide range of services. </a:t>
            </a:r>
          </a:p>
        </p:txBody>
      </p:sp>
      <p:cxnSp>
        <p:nvCxnSpPr>
          <p:cNvPr id="29" name="Straight Connector 28">
            <a:extLst>
              <a:ext uri="{FF2B5EF4-FFF2-40B4-BE49-F238E27FC236}">
                <a16:creationId xmlns:a16="http://schemas.microsoft.com/office/drawing/2014/main" id="{614F206B-05A2-7C4C-95E4-28B2D9B67F64}"/>
              </a:ext>
            </a:extLst>
          </p:cNvPr>
          <p:cNvCxnSpPr>
            <a:cxnSpLocks/>
          </p:cNvCxnSpPr>
          <p:nvPr/>
        </p:nvCxnSpPr>
        <p:spPr>
          <a:xfrm>
            <a:off x="2700705" y="1623206"/>
            <a:ext cx="0" cy="4824171"/>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85B0520C-F632-E94A-8EC8-76AC2F603AF9}"/>
              </a:ext>
            </a:extLst>
          </p:cNvPr>
          <p:cNvSpPr txBox="1"/>
          <p:nvPr/>
        </p:nvSpPr>
        <p:spPr>
          <a:xfrm>
            <a:off x="5146497" y="1966948"/>
            <a:ext cx="2053891" cy="1528624"/>
          </a:xfrm>
          <a:prstGeom prst="rect">
            <a:avLst/>
          </a:prstGeom>
          <a:noFill/>
        </p:spPr>
        <p:txBody>
          <a:bodyPr wrap="square" rtlCol="0">
            <a:spAutoFit/>
          </a:bodyPr>
          <a:lstStyle/>
          <a:p>
            <a:pPr marL="88900" lvl="0" indent="-88900">
              <a:spcBef>
                <a:spcPts val="200"/>
              </a:spcBef>
              <a:spcAft>
                <a:spcPts val="200"/>
              </a:spcAft>
              <a:buClr>
                <a:schemeClr val="tx2">
                  <a:lumMod val="65000"/>
                  <a:lumOff val="35000"/>
                </a:schemeClr>
              </a:buClr>
              <a:buFont typeface="Arial" panose="020B0604020202020204" pitchFamily="34" charset="0"/>
              <a:buChar char="•"/>
              <a:defRPr/>
            </a:pPr>
            <a:r>
              <a:rPr lang="en-GB" sz="900">
                <a:solidFill>
                  <a:schemeClr val="tx2">
                    <a:lumMod val="65000"/>
                    <a:lumOff val="35000"/>
                  </a:schemeClr>
                </a:solidFill>
                <a:latin typeface="Arial" panose="020B0604020202020204" pitchFamily="34" charset="0"/>
                <a:cs typeface="Arial" panose="020B0604020202020204" pitchFamily="34" charset="0"/>
              </a:rPr>
              <a:t>Three key areas of challenge for staff and service users were assessed for gaps and challenges; Mental health and Autism; Mental health and drug and alcohol; Severe mental illness physical health checks. </a:t>
            </a:r>
          </a:p>
          <a:p>
            <a:pPr marL="88900" lvl="0" indent="-88900">
              <a:spcBef>
                <a:spcPts val="200"/>
              </a:spcBef>
              <a:spcAft>
                <a:spcPts val="200"/>
              </a:spcAft>
              <a:buClr>
                <a:schemeClr val="tx2">
                  <a:lumMod val="65000"/>
                  <a:lumOff val="35000"/>
                </a:schemeClr>
              </a:buClr>
              <a:buFont typeface="Arial" panose="020B0604020202020204" pitchFamily="34" charset="0"/>
              <a:buChar char="•"/>
              <a:defRPr/>
            </a:pPr>
            <a:r>
              <a:rPr lang="en-GB" sz="900">
                <a:solidFill>
                  <a:schemeClr val="tx2">
                    <a:lumMod val="65000"/>
                    <a:lumOff val="35000"/>
                  </a:schemeClr>
                </a:solidFill>
                <a:latin typeface="Arial" panose="020B0604020202020204" pitchFamily="34" charset="0"/>
                <a:cs typeface="Arial" panose="020B0604020202020204" pitchFamily="34" charset="0"/>
              </a:rPr>
              <a:t>For each area a journey map was produced in collaboration with front line teams and service users. </a:t>
            </a:r>
          </a:p>
        </p:txBody>
      </p:sp>
      <p:sp>
        <p:nvSpPr>
          <p:cNvPr id="55" name="TextBox 54">
            <a:extLst>
              <a:ext uri="{FF2B5EF4-FFF2-40B4-BE49-F238E27FC236}">
                <a16:creationId xmlns:a16="http://schemas.microsoft.com/office/drawing/2014/main" id="{8D965589-506A-EC4B-A4B9-129A9F44D235}"/>
              </a:ext>
            </a:extLst>
          </p:cNvPr>
          <p:cNvSpPr txBox="1"/>
          <p:nvPr/>
        </p:nvSpPr>
        <p:spPr>
          <a:xfrm>
            <a:off x="5145319" y="3549691"/>
            <a:ext cx="2053891" cy="1390124"/>
          </a:xfrm>
          <a:prstGeom prst="rect">
            <a:avLst/>
          </a:prstGeom>
          <a:noFill/>
        </p:spPr>
        <p:txBody>
          <a:bodyPr wrap="square" rtlCol="0">
            <a:spAutoFit/>
          </a:bodyPr>
          <a:lstStyle/>
          <a:p>
            <a:pPr marL="88900" lvl="0" indent="-88900">
              <a:spcBef>
                <a:spcPts val="200"/>
              </a:spcBef>
              <a:spcAft>
                <a:spcPts val="200"/>
              </a:spcAft>
              <a:buClr>
                <a:schemeClr val="tx2">
                  <a:lumMod val="65000"/>
                  <a:lumOff val="35000"/>
                </a:schemeClr>
              </a:buClr>
              <a:buFont typeface="Arial" panose="020B0604020202020204" pitchFamily="34" charset="0"/>
              <a:buChar char="•"/>
              <a:defRPr/>
            </a:pPr>
            <a:r>
              <a:rPr lang="en-GB" sz="900">
                <a:solidFill>
                  <a:schemeClr val="tx2">
                    <a:lumMod val="65000"/>
                    <a:lumOff val="35000"/>
                  </a:schemeClr>
                </a:solidFill>
                <a:latin typeface="Arial" panose="020B0604020202020204" pitchFamily="34" charset="0"/>
                <a:cs typeface="Arial" panose="020B0604020202020204" pitchFamily="34" charset="0"/>
              </a:rPr>
              <a:t>Across all three pathways, 29 challenges were identified, and 18 strategic recommendations were produced.</a:t>
            </a:r>
          </a:p>
          <a:p>
            <a:pPr marL="88900" lvl="0" indent="-88900">
              <a:spcBef>
                <a:spcPts val="200"/>
              </a:spcBef>
              <a:spcAft>
                <a:spcPts val="200"/>
              </a:spcAft>
              <a:buClr>
                <a:schemeClr val="tx2">
                  <a:lumMod val="65000"/>
                  <a:lumOff val="35000"/>
                </a:schemeClr>
              </a:buClr>
              <a:buFont typeface="Arial" panose="020B0604020202020204" pitchFamily="34" charset="0"/>
              <a:buChar char="•"/>
              <a:defRPr/>
            </a:pPr>
            <a:r>
              <a:rPr lang="en-GB" sz="900">
                <a:solidFill>
                  <a:schemeClr val="tx2">
                    <a:lumMod val="65000"/>
                    <a:lumOff val="35000"/>
                  </a:schemeClr>
                </a:solidFill>
                <a:latin typeface="Arial" panose="020B0604020202020204" pitchFamily="34" charset="0"/>
                <a:cs typeface="Arial" panose="020B0604020202020204" pitchFamily="34" charset="0"/>
              </a:rPr>
              <a:t>Recommendations were prioritised and scored based on ease and impact of implementation and assessed by resource requirement and implementation time.  </a:t>
            </a:r>
          </a:p>
        </p:txBody>
      </p:sp>
      <p:sp>
        <p:nvSpPr>
          <p:cNvPr id="56" name="TextBox 55">
            <a:extLst>
              <a:ext uri="{FF2B5EF4-FFF2-40B4-BE49-F238E27FC236}">
                <a16:creationId xmlns:a16="http://schemas.microsoft.com/office/drawing/2014/main" id="{6D60066A-6633-9642-ACF8-3BA5D5AC4875}"/>
              </a:ext>
            </a:extLst>
          </p:cNvPr>
          <p:cNvSpPr txBox="1"/>
          <p:nvPr/>
        </p:nvSpPr>
        <p:spPr>
          <a:xfrm>
            <a:off x="7466909" y="1966277"/>
            <a:ext cx="2053891" cy="1528624"/>
          </a:xfrm>
          <a:prstGeom prst="rect">
            <a:avLst/>
          </a:prstGeom>
          <a:noFill/>
        </p:spPr>
        <p:txBody>
          <a:bodyPr wrap="square" rtlCol="0">
            <a:spAutoFit/>
          </a:bodyPr>
          <a:lstStyle/>
          <a:p>
            <a:pPr marL="88900" lvl="0" indent="-88900">
              <a:spcBef>
                <a:spcPts val="200"/>
              </a:spcBef>
              <a:spcAft>
                <a:spcPts val="200"/>
              </a:spcAft>
              <a:buClr>
                <a:schemeClr val="tx2">
                  <a:lumMod val="65000"/>
                  <a:lumOff val="35000"/>
                </a:schemeClr>
              </a:buClr>
              <a:buFont typeface="Arial" panose="020B0604020202020204" pitchFamily="34" charset="0"/>
              <a:buChar char="•"/>
              <a:defRPr/>
            </a:pPr>
            <a:r>
              <a:rPr lang="en-GB" sz="900">
                <a:solidFill>
                  <a:schemeClr val="tx2">
                    <a:lumMod val="65000"/>
                    <a:lumOff val="35000"/>
                  </a:schemeClr>
                </a:solidFill>
                <a:latin typeface="Arial" panose="020B0604020202020204" pitchFamily="34" charset="0"/>
                <a:cs typeface="Arial" panose="020B0604020202020204" pitchFamily="34" charset="0"/>
              </a:rPr>
              <a:t>Workshops held with key stakeholders and service users to build a vision, high level strategy and design principles for adult mental health services.  </a:t>
            </a:r>
          </a:p>
          <a:p>
            <a:pPr marL="88900" lvl="0" indent="-88900">
              <a:spcBef>
                <a:spcPts val="200"/>
              </a:spcBef>
              <a:spcAft>
                <a:spcPts val="200"/>
              </a:spcAft>
              <a:buClr>
                <a:schemeClr val="tx2">
                  <a:lumMod val="65000"/>
                  <a:lumOff val="35000"/>
                </a:schemeClr>
              </a:buClr>
              <a:buFont typeface="Arial" panose="020B0604020202020204" pitchFamily="34" charset="0"/>
              <a:buChar char="•"/>
              <a:defRPr/>
            </a:pPr>
            <a:r>
              <a:rPr lang="en-GB" sz="900">
                <a:solidFill>
                  <a:schemeClr val="tx2">
                    <a:lumMod val="65000"/>
                    <a:lumOff val="35000"/>
                  </a:schemeClr>
                </a:solidFill>
                <a:latin typeface="Arial" panose="020B0604020202020204" pitchFamily="34" charset="0"/>
                <a:cs typeface="Arial" panose="020B0604020202020204" pitchFamily="34" charset="0"/>
              </a:rPr>
              <a:t>An additional focus group was held with service users to test the vision and strategy and ensure it resonated with those using mental health services.   </a:t>
            </a:r>
          </a:p>
        </p:txBody>
      </p:sp>
      <p:sp>
        <p:nvSpPr>
          <p:cNvPr id="59" name="TextBox 58">
            <a:extLst>
              <a:ext uri="{FF2B5EF4-FFF2-40B4-BE49-F238E27FC236}">
                <a16:creationId xmlns:a16="http://schemas.microsoft.com/office/drawing/2014/main" id="{54C0D4CF-9A84-7143-8A2D-955DDE7D0C58}"/>
              </a:ext>
            </a:extLst>
          </p:cNvPr>
          <p:cNvSpPr txBox="1"/>
          <p:nvPr/>
        </p:nvSpPr>
        <p:spPr>
          <a:xfrm>
            <a:off x="7456219" y="3549691"/>
            <a:ext cx="2053891" cy="1390124"/>
          </a:xfrm>
          <a:prstGeom prst="rect">
            <a:avLst/>
          </a:prstGeom>
          <a:noFill/>
        </p:spPr>
        <p:txBody>
          <a:bodyPr wrap="square" rtlCol="0">
            <a:spAutoFit/>
          </a:bodyPr>
          <a:lstStyle/>
          <a:p>
            <a:pPr marL="88900" lvl="0" indent="-88900">
              <a:spcBef>
                <a:spcPts val="200"/>
              </a:spcBef>
              <a:spcAft>
                <a:spcPts val="200"/>
              </a:spcAft>
              <a:buClr>
                <a:schemeClr val="tx2">
                  <a:lumMod val="65000"/>
                  <a:lumOff val="35000"/>
                </a:schemeClr>
              </a:buClr>
              <a:buFont typeface="Arial" panose="020B0604020202020204" pitchFamily="34" charset="0"/>
              <a:buChar char="•"/>
              <a:defRPr/>
            </a:pPr>
            <a:r>
              <a:rPr lang="en-GB" sz="900">
                <a:solidFill>
                  <a:schemeClr val="tx2">
                    <a:lumMod val="65000"/>
                    <a:lumOff val="35000"/>
                  </a:schemeClr>
                </a:solidFill>
                <a:latin typeface="Arial" panose="020B0604020202020204" pitchFamily="34" charset="0"/>
                <a:cs typeface="Arial" panose="020B0604020202020204" pitchFamily="34" charset="0"/>
              </a:rPr>
              <a:t>17 design principles were produced which act as a compass for the delivery of the vision and strategy. </a:t>
            </a:r>
          </a:p>
          <a:p>
            <a:pPr marL="88900" lvl="0" indent="-88900">
              <a:spcBef>
                <a:spcPts val="200"/>
              </a:spcBef>
              <a:spcAft>
                <a:spcPts val="200"/>
              </a:spcAft>
              <a:buClr>
                <a:schemeClr val="tx2">
                  <a:lumMod val="65000"/>
                  <a:lumOff val="35000"/>
                </a:schemeClr>
              </a:buClr>
              <a:buFont typeface="Arial" panose="020B0604020202020204" pitchFamily="34" charset="0"/>
              <a:buChar char="•"/>
              <a:defRPr/>
            </a:pPr>
            <a:r>
              <a:rPr lang="en-GB" sz="900">
                <a:solidFill>
                  <a:schemeClr val="tx2">
                    <a:lumMod val="65000"/>
                    <a:lumOff val="35000"/>
                  </a:schemeClr>
                </a:solidFill>
                <a:latin typeface="Arial" panose="020B0604020202020204" pitchFamily="34" charset="0"/>
                <a:cs typeface="Arial" panose="020B0604020202020204" pitchFamily="34" charset="0"/>
              </a:rPr>
              <a:t>A single overarching vision for adult mental health services was agreed upon underpinned by a high-level strategy to support its delivery.</a:t>
            </a:r>
          </a:p>
        </p:txBody>
      </p:sp>
      <p:sp>
        <p:nvSpPr>
          <p:cNvPr id="62" name="TextBox 61">
            <a:extLst>
              <a:ext uri="{FF2B5EF4-FFF2-40B4-BE49-F238E27FC236}">
                <a16:creationId xmlns:a16="http://schemas.microsoft.com/office/drawing/2014/main" id="{4EF9FCB4-840B-E64B-AEDF-66A1A15B7D7C}"/>
              </a:ext>
            </a:extLst>
          </p:cNvPr>
          <p:cNvSpPr txBox="1"/>
          <p:nvPr/>
        </p:nvSpPr>
        <p:spPr>
          <a:xfrm>
            <a:off x="9773950" y="1966277"/>
            <a:ext cx="2053891" cy="1718419"/>
          </a:xfrm>
          <a:prstGeom prst="rect">
            <a:avLst/>
          </a:prstGeom>
          <a:noFill/>
        </p:spPr>
        <p:txBody>
          <a:bodyPr wrap="square" rtlCol="0">
            <a:spAutoFit/>
          </a:bodyPr>
          <a:lstStyle/>
          <a:p>
            <a:pPr marL="88900" lvl="0" indent="-88900">
              <a:spcBef>
                <a:spcPts val="200"/>
              </a:spcBef>
              <a:spcAft>
                <a:spcPts val="200"/>
              </a:spcAft>
              <a:buClr>
                <a:schemeClr val="tx2">
                  <a:lumMod val="65000"/>
                  <a:lumOff val="35000"/>
                </a:schemeClr>
              </a:buClr>
              <a:buFont typeface="Arial" panose="020B0604020202020204" pitchFamily="34" charset="0"/>
              <a:buChar char="•"/>
              <a:defRPr/>
            </a:pPr>
            <a:r>
              <a:rPr lang="en-GB" sz="900">
                <a:solidFill>
                  <a:schemeClr val="tx2">
                    <a:lumMod val="65000"/>
                    <a:lumOff val="35000"/>
                  </a:schemeClr>
                </a:solidFill>
                <a:latin typeface="Arial" panose="020B0604020202020204" pitchFamily="34" charset="0"/>
                <a:cs typeface="Arial" panose="020B0604020202020204" pitchFamily="34" charset="0"/>
              </a:rPr>
              <a:t>Using outputs from the gap analysis, current activities across the system were identified and mapped to each strategic priority. </a:t>
            </a:r>
          </a:p>
          <a:p>
            <a:pPr marL="88900" lvl="0" indent="-88900">
              <a:spcBef>
                <a:spcPts val="200"/>
              </a:spcBef>
              <a:spcAft>
                <a:spcPts val="200"/>
              </a:spcAft>
              <a:buClr>
                <a:schemeClr val="tx2">
                  <a:lumMod val="65000"/>
                  <a:lumOff val="35000"/>
                </a:schemeClr>
              </a:buClr>
              <a:buFont typeface="Arial" panose="020B0604020202020204" pitchFamily="34" charset="0"/>
              <a:buChar char="•"/>
              <a:defRPr/>
            </a:pPr>
            <a:r>
              <a:rPr lang="en-GB" sz="900">
                <a:solidFill>
                  <a:schemeClr val="tx2">
                    <a:lumMod val="65000"/>
                    <a:lumOff val="35000"/>
                  </a:schemeClr>
                </a:solidFill>
                <a:latin typeface="Arial" panose="020B0604020202020204" pitchFamily="34" charset="0"/>
                <a:cs typeface="Arial" panose="020B0604020202020204" pitchFamily="34" charset="0"/>
              </a:rPr>
              <a:t>A prioritisation exercise was completed to assess the impact, ease, resource required and timeline of delivery, then mapped to produce a prioritised roadmap to support delivery. </a:t>
            </a:r>
          </a:p>
          <a:p>
            <a:pPr marL="88900" lvl="0" indent="-88900">
              <a:spcBef>
                <a:spcPts val="200"/>
              </a:spcBef>
              <a:spcAft>
                <a:spcPts val="200"/>
              </a:spcAft>
              <a:buClr>
                <a:schemeClr val="tx2">
                  <a:lumMod val="65000"/>
                  <a:lumOff val="35000"/>
                </a:schemeClr>
              </a:buClr>
              <a:buFont typeface="Arial" panose="020B0604020202020204" pitchFamily="34" charset="0"/>
              <a:buChar char="•"/>
              <a:defRPr/>
            </a:pPr>
            <a:endParaRPr lang="en-GB" sz="900">
              <a:solidFill>
                <a:schemeClr val="tx2">
                  <a:lumMod val="65000"/>
                  <a:lumOff val="35000"/>
                </a:schemeClr>
              </a:solidFill>
              <a:latin typeface="Arial" panose="020B0604020202020204" pitchFamily="34" charset="0"/>
              <a:cs typeface="Arial" panose="020B0604020202020204" pitchFamily="34" charset="0"/>
            </a:endParaRPr>
          </a:p>
        </p:txBody>
      </p:sp>
      <p:sp>
        <p:nvSpPr>
          <p:cNvPr id="63" name="TextBox 62">
            <a:extLst>
              <a:ext uri="{FF2B5EF4-FFF2-40B4-BE49-F238E27FC236}">
                <a16:creationId xmlns:a16="http://schemas.microsoft.com/office/drawing/2014/main" id="{90C3E5E6-1C54-114D-BC6F-3A7C14C202D4}"/>
              </a:ext>
            </a:extLst>
          </p:cNvPr>
          <p:cNvSpPr txBox="1"/>
          <p:nvPr/>
        </p:nvSpPr>
        <p:spPr>
          <a:xfrm>
            <a:off x="9771143" y="3549691"/>
            <a:ext cx="2053891" cy="1441420"/>
          </a:xfrm>
          <a:prstGeom prst="rect">
            <a:avLst/>
          </a:prstGeom>
          <a:noFill/>
        </p:spPr>
        <p:txBody>
          <a:bodyPr wrap="square" rtlCol="0">
            <a:spAutoFit/>
          </a:bodyPr>
          <a:lstStyle/>
          <a:p>
            <a:pPr marL="88900" lvl="0" indent="-88900">
              <a:spcBef>
                <a:spcPts val="200"/>
              </a:spcBef>
              <a:spcAft>
                <a:spcPts val="200"/>
              </a:spcAft>
              <a:buClr>
                <a:schemeClr val="tx2">
                  <a:lumMod val="65000"/>
                  <a:lumOff val="35000"/>
                </a:schemeClr>
              </a:buClr>
              <a:buFont typeface="Arial" panose="020B0604020202020204" pitchFamily="34" charset="0"/>
              <a:buChar char="•"/>
              <a:defRPr/>
            </a:pPr>
            <a:r>
              <a:rPr lang="en-GB" sz="900">
                <a:solidFill>
                  <a:schemeClr val="tx2">
                    <a:lumMod val="65000"/>
                    <a:lumOff val="35000"/>
                  </a:schemeClr>
                </a:solidFill>
                <a:latin typeface="Arial" panose="020B0604020202020204" pitchFamily="34" charset="0"/>
                <a:cs typeface="Arial" panose="020B0604020202020204" pitchFamily="34" charset="0"/>
              </a:rPr>
              <a:t>70 prioritised recommendations were produced.</a:t>
            </a:r>
          </a:p>
          <a:p>
            <a:pPr marL="88900" lvl="0" indent="-88900">
              <a:spcBef>
                <a:spcPts val="200"/>
              </a:spcBef>
              <a:spcAft>
                <a:spcPts val="200"/>
              </a:spcAft>
              <a:buClr>
                <a:schemeClr val="tx2">
                  <a:lumMod val="65000"/>
                  <a:lumOff val="35000"/>
                </a:schemeClr>
              </a:buClr>
              <a:buFont typeface="Arial" panose="020B0604020202020204" pitchFamily="34" charset="0"/>
              <a:buChar char="•"/>
              <a:defRPr/>
            </a:pPr>
            <a:r>
              <a:rPr lang="en-GB" sz="900">
                <a:solidFill>
                  <a:schemeClr val="tx2">
                    <a:lumMod val="65000"/>
                    <a:lumOff val="35000"/>
                  </a:schemeClr>
                </a:solidFill>
                <a:latin typeface="Arial" panose="020B0604020202020204" pitchFamily="34" charset="0"/>
                <a:cs typeface="Arial" panose="020B0604020202020204" pitchFamily="34" charset="0"/>
              </a:rPr>
              <a:t>The top 10 priority recommendations were identified along with six quick wins.</a:t>
            </a:r>
          </a:p>
          <a:p>
            <a:pPr marL="88900" lvl="0" indent="-88900">
              <a:spcBef>
                <a:spcPts val="200"/>
              </a:spcBef>
              <a:spcAft>
                <a:spcPts val="200"/>
              </a:spcAft>
              <a:buClr>
                <a:schemeClr val="tx2">
                  <a:lumMod val="65000"/>
                  <a:lumOff val="35000"/>
                </a:schemeClr>
              </a:buClr>
              <a:buFont typeface="Arial" panose="020B0604020202020204" pitchFamily="34" charset="0"/>
              <a:buChar char="•"/>
              <a:defRPr/>
            </a:pPr>
            <a:r>
              <a:rPr lang="en-GB" sz="900">
                <a:solidFill>
                  <a:schemeClr val="tx2">
                    <a:lumMod val="65000"/>
                    <a:lumOff val="35000"/>
                  </a:schemeClr>
                </a:solidFill>
                <a:latin typeface="Arial" panose="020B0604020202020204" pitchFamily="34" charset="0"/>
                <a:cs typeface="Arial" panose="020B0604020202020204" pitchFamily="34" charset="0"/>
              </a:rPr>
              <a:t>Recommendations from the journey mapping exercise were incorporated in the roadmap to support delivery.</a:t>
            </a:r>
          </a:p>
        </p:txBody>
      </p:sp>
    </p:spTree>
    <p:extLst>
      <p:ext uri="{BB962C8B-B14F-4D97-AF65-F5344CB8AC3E}">
        <p14:creationId xmlns:p14="http://schemas.microsoft.com/office/powerpoint/2010/main" val="341323852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22AF2B-CD1C-8742-ABF2-F47A44879B64}"/>
              </a:ext>
            </a:extLst>
          </p:cNvPr>
          <p:cNvSpPr>
            <a:spLocks noGrp="1"/>
          </p:cNvSpPr>
          <p:nvPr>
            <p:ph type="title"/>
          </p:nvPr>
        </p:nvSpPr>
        <p:spPr/>
        <p:txBody>
          <a:bodyPr/>
          <a:lstStyle/>
          <a:p>
            <a:r>
              <a:rPr lang="en-GB"/>
              <a:t>Prioritised recommendations (2 of 2)</a:t>
            </a:r>
          </a:p>
        </p:txBody>
      </p:sp>
      <p:graphicFrame>
        <p:nvGraphicFramePr>
          <p:cNvPr id="7" name="Table 7">
            <a:extLst>
              <a:ext uri="{FF2B5EF4-FFF2-40B4-BE49-F238E27FC236}">
                <a16:creationId xmlns:a16="http://schemas.microsoft.com/office/drawing/2014/main" id="{B0021113-E356-744D-9441-B64074BD5786}"/>
              </a:ext>
            </a:extLst>
          </p:cNvPr>
          <p:cNvGraphicFramePr>
            <a:graphicFrameLocks noGrp="1"/>
          </p:cNvGraphicFramePr>
          <p:nvPr>
            <p:extLst>
              <p:ext uri="{D42A27DB-BD31-4B8C-83A1-F6EECF244321}">
                <p14:modId xmlns:p14="http://schemas.microsoft.com/office/powerpoint/2010/main" val="3987629210"/>
              </p:ext>
            </p:extLst>
          </p:nvPr>
        </p:nvGraphicFramePr>
        <p:xfrm>
          <a:off x="510638" y="1296184"/>
          <a:ext cx="11146386" cy="4706532"/>
        </p:xfrm>
        <a:graphic>
          <a:graphicData uri="http://schemas.openxmlformats.org/drawingml/2006/table">
            <a:tbl>
              <a:tblPr firstRow="1" bandRow="1">
                <a:tableStyleId>{5C22544A-7EE6-4342-B048-85BDC9FD1C3A}</a:tableStyleId>
              </a:tblPr>
              <a:tblGrid>
                <a:gridCol w="684472">
                  <a:extLst>
                    <a:ext uri="{9D8B030D-6E8A-4147-A177-3AD203B41FA5}">
                      <a16:colId xmlns:a16="http://schemas.microsoft.com/office/drawing/2014/main" val="970440921"/>
                    </a:ext>
                  </a:extLst>
                </a:gridCol>
                <a:gridCol w="684472">
                  <a:extLst>
                    <a:ext uri="{9D8B030D-6E8A-4147-A177-3AD203B41FA5}">
                      <a16:colId xmlns:a16="http://schemas.microsoft.com/office/drawing/2014/main" val="4083868072"/>
                    </a:ext>
                  </a:extLst>
                </a:gridCol>
                <a:gridCol w="924924">
                  <a:extLst>
                    <a:ext uri="{9D8B030D-6E8A-4147-A177-3AD203B41FA5}">
                      <a16:colId xmlns:a16="http://schemas.microsoft.com/office/drawing/2014/main" val="116747781"/>
                    </a:ext>
                  </a:extLst>
                </a:gridCol>
                <a:gridCol w="5646183">
                  <a:extLst>
                    <a:ext uri="{9D8B030D-6E8A-4147-A177-3AD203B41FA5}">
                      <a16:colId xmlns:a16="http://schemas.microsoft.com/office/drawing/2014/main" val="921124201"/>
                    </a:ext>
                  </a:extLst>
                </a:gridCol>
                <a:gridCol w="641267">
                  <a:extLst>
                    <a:ext uri="{9D8B030D-6E8A-4147-A177-3AD203B41FA5}">
                      <a16:colId xmlns:a16="http://schemas.microsoft.com/office/drawing/2014/main" val="1229273251"/>
                    </a:ext>
                  </a:extLst>
                </a:gridCol>
                <a:gridCol w="641267">
                  <a:extLst>
                    <a:ext uri="{9D8B030D-6E8A-4147-A177-3AD203B41FA5}">
                      <a16:colId xmlns:a16="http://schemas.microsoft.com/office/drawing/2014/main" val="2294078799"/>
                    </a:ext>
                  </a:extLst>
                </a:gridCol>
                <a:gridCol w="641267">
                  <a:extLst>
                    <a:ext uri="{9D8B030D-6E8A-4147-A177-3AD203B41FA5}">
                      <a16:colId xmlns:a16="http://schemas.microsoft.com/office/drawing/2014/main" val="419684958"/>
                    </a:ext>
                  </a:extLst>
                </a:gridCol>
                <a:gridCol w="641267">
                  <a:extLst>
                    <a:ext uri="{9D8B030D-6E8A-4147-A177-3AD203B41FA5}">
                      <a16:colId xmlns:a16="http://schemas.microsoft.com/office/drawing/2014/main" val="2638996579"/>
                    </a:ext>
                  </a:extLst>
                </a:gridCol>
                <a:gridCol w="641267">
                  <a:extLst>
                    <a:ext uri="{9D8B030D-6E8A-4147-A177-3AD203B41FA5}">
                      <a16:colId xmlns:a16="http://schemas.microsoft.com/office/drawing/2014/main" val="1014565460"/>
                    </a:ext>
                  </a:extLst>
                </a:gridCol>
              </a:tblGrid>
              <a:tr h="458460">
                <a:tc>
                  <a:txBody>
                    <a:bodyPr/>
                    <a:lstStyle/>
                    <a:p>
                      <a:pPr algn="ctr" rtl="0" fontAlgn="ctr"/>
                      <a:r>
                        <a:rPr lang="en-GB" sz="1000" b="1" i="0" u="none" strike="noStrike">
                          <a:solidFill>
                            <a:srgbClr val="50235C"/>
                          </a:solidFill>
                          <a:effectLst/>
                          <a:latin typeface="Arial" panose="020B0604020202020204" pitchFamily="34" charset="0"/>
                        </a:rPr>
                        <a:t>Roadmap ref</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algn="ctr" rtl="0" fontAlgn="ctr"/>
                      <a:r>
                        <a:rPr lang="en-GB" sz="1000" b="1" i="0" u="none" strike="noStrike">
                          <a:solidFill>
                            <a:srgbClr val="50235C"/>
                          </a:solidFill>
                          <a:effectLst/>
                          <a:latin typeface="Arial" panose="020B0604020202020204" pitchFamily="34" charset="0"/>
                        </a:rPr>
                        <a:t>Patient cohort</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algn="ctr" rtl="0" fontAlgn="ctr"/>
                      <a:r>
                        <a:rPr lang="en-GB" sz="1000" b="1" i="0" u="none" strike="noStrike">
                          <a:solidFill>
                            <a:srgbClr val="50235C"/>
                          </a:solidFill>
                          <a:effectLst/>
                          <a:latin typeface="Arial" panose="020B0604020202020204" pitchFamily="34" charset="0"/>
                        </a:rPr>
                        <a:t>Theme</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algn="l" rtl="0" fontAlgn="ctr"/>
                      <a:r>
                        <a:rPr lang="en-GB" sz="1000" b="1" i="0" u="none" strike="noStrike">
                          <a:solidFill>
                            <a:srgbClr val="50235C"/>
                          </a:solidFill>
                          <a:effectLst/>
                          <a:latin typeface="Arial" panose="020B0604020202020204" pitchFamily="34" charset="0"/>
                        </a:rPr>
                        <a:t>  Recommendation</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algn="ctr" rtl="0" fontAlgn="ctr"/>
                      <a:r>
                        <a:rPr lang="en-GB" sz="800" b="1" i="0" u="none" strike="noStrike">
                          <a:solidFill>
                            <a:srgbClr val="50235C"/>
                          </a:solidFill>
                          <a:effectLst/>
                          <a:latin typeface="Arial" panose="020B0604020202020204" pitchFamily="34" charset="0"/>
                        </a:rPr>
                        <a:t>Impact</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algn="ctr" rtl="0" fontAlgn="ctr"/>
                      <a:r>
                        <a:rPr lang="en-GB" sz="800" b="1" i="0" u="none" strike="noStrike">
                          <a:solidFill>
                            <a:srgbClr val="50235C"/>
                          </a:solidFill>
                          <a:effectLst/>
                          <a:latin typeface="Arial" panose="020B0604020202020204" pitchFamily="34" charset="0"/>
                        </a:rPr>
                        <a:t>Ease</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algn="ctr" rtl="0" fontAlgn="ctr"/>
                      <a:r>
                        <a:rPr lang="en-GB" sz="800" b="1" i="0" u="none" strike="noStrike">
                          <a:solidFill>
                            <a:srgbClr val="50235C"/>
                          </a:solidFill>
                          <a:effectLst/>
                          <a:latin typeface="Arial" panose="020B0604020202020204" pitchFamily="34" charset="0"/>
                        </a:rPr>
                        <a:t>Score</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algn="ctr" rtl="0" fontAlgn="ctr"/>
                      <a:r>
                        <a:rPr lang="en-GB" sz="800" b="1" i="0" u="none" strike="noStrike">
                          <a:solidFill>
                            <a:srgbClr val="50235C"/>
                          </a:solidFill>
                          <a:effectLst/>
                          <a:latin typeface="Arial" panose="020B0604020202020204" pitchFamily="34" charset="0"/>
                        </a:rPr>
                        <a:t>Resource required</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algn="ctr" rtl="0" fontAlgn="ctr"/>
                      <a:r>
                        <a:rPr lang="en-GB" sz="800" b="1" i="0" u="none" strike="noStrike">
                          <a:solidFill>
                            <a:srgbClr val="50235C"/>
                          </a:solidFill>
                          <a:effectLst/>
                          <a:latin typeface="Arial" panose="020B0604020202020204" pitchFamily="34" charset="0"/>
                        </a:rPr>
                        <a:t>Short / </a:t>
                      </a:r>
                    </a:p>
                    <a:p>
                      <a:pPr algn="ctr" rtl="0" fontAlgn="ctr"/>
                      <a:r>
                        <a:rPr lang="en-GB" sz="800" b="1" i="0" u="none" strike="noStrike">
                          <a:solidFill>
                            <a:srgbClr val="50235C"/>
                          </a:solidFill>
                          <a:effectLst/>
                          <a:latin typeface="Arial" panose="020B0604020202020204" pitchFamily="34" charset="0"/>
                        </a:rPr>
                        <a:t>Medium / </a:t>
                      </a:r>
                    </a:p>
                    <a:p>
                      <a:pPr algn="ctr" rtl="0" fontAlgn="ctr"/>
                      <a:r>
                        <a:rPr lang="en-GB" sz="800" b="1" i="0" u="none" strike="noStrike">
                          <a:solidFill>
                            <a:srgbClr val="50235C"/>
                          </a:solidFill>
                          <a:effectLst/>
                          <a:latin typeface="Arial" panose="020B0604020202020204" pitchFamily="34" charset="0"/>
                        </a:rPr>
                        <a:t>Long</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extLst>
                  <a:ext uri="{0D108BD9-81ED-4DB2-BD59-A6C34878D82A}">
                    <a16:rowId xmlns:a16="http://schemas.microsoft.com/office/drawing/2014/main" val="1283987616"/>
                  </a:ext>
                </a:extLst>
              </a:tr>
              <a:tr h="708012">
                <a:tc>
                  <a:txBody>
                    <a:bodyPr/>
                    <a:lstStyle/>
                    <a:p>
                      <a:pPr algn="ctr" rtl="0" fontAlgn="ctr"/>
                      <a:r>
                        <a:rPr lang="en-GB" sz="950" b="1" i="0" u="none" strike="noStrike">
                          <a:solidFill>
                            <a:srgbClr val="50235C"/>
                          </a:solidFill>
                          <a:effectLst/>
                          <a:latin typeface="Arial" panose="020B0604020202020204" pitchFamily="34" charset="0"/>
                        </a:rPr>
                        <a:t>J9</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1" i="0" u="none" strike="noStrike">
                          <a:solidFill>
                            <a:srgbClr val="50235C"/>
                          </a:solidFill>
                          <a:effectLst/>
                          <a:latin typeface="Arial" panose="020B0604020202020204" pitchFamily="34" charset="0"/>
                        </a:rPr>
                        <a:t>Drug &amp; Alcohol</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404040"/>
                          </a:solidFill>
                          <a:effectLst/>
                          <a:latin typeface="Arial" panose="020B0604020202020204" pitchFamily="34" charset="0"/>
                        </a:rPr>
                        <a:t>Training &amp; Awareness</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marL="171450" indent="-171450" algn="l" rtl="0" fontAlgn="ctr">
                        <a:buClr>
                          <a:srgbClr val="000000"/>
                        </a:buClr>
                        <a:buSzPts val="850"/>
                        <a:buFont typeface="Arial" panose="020B0604020202020204" pitchFamily="34" charset="0"/>
                        <a:buChar char="•"/>
                      </a:pPr>
                      <a:r>
                        <a:rPr lang="en-GB" sz="950" b="0" i="0" u="none" strike="noStrike">
                          <a:solidFill>
                            <a:srgbClr val="404040"/>
                          </a:solidFill>
                          <a:effectLst/>
                          <a:latin typeface="Arial" panose="020B0604020202020204" pitchFamily="34" charset="0"/>
                        </a:rPr>
                        <a:t>Run a staff training and awareness campaign aimed at front line staff to reduce the stigma surrounding drug and alcohol addiction. </a:t>
                      </a:r>
                      <a:endParaRPr lang="en-GB" sz="950" b="0" i="0" u="none" strike="noStrike">
                        <a:solidFill>
                          <a:srgbClr val="000000"/>
                        </a:solidFill>
                        <a:effectLst/>
                        <a:latin typeface="Arial" panose="020B0604020202020204" pitchFamily="34" charset="0"/>
                      </a:endParaRPr>
                    </a:p>
                  </a:txBody>
                  <a:tcPr marL="857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3</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4</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12</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Medium</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Long</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extLst>
                  <a:ext uri="{0D108BD9-81ED-4DB2-BD59-A6C34878D82A}">
                    <a16:rowId xmlns:a16="http://schemas.microsoft.com/office/drawing/2014/main" val="3687653481"/>
                  </a:ext>
                </a:extLst>
              </a:tr>
              <a:tr h="708012">
                <a:tc>
                  <a:txBody>
                    <a:bodyPr/>
                    <a:lstStyle/>
                    <a:p>
                      <a:pPr algn="ctr" rtl="0" fontAlgn="ctr"/>
                      <a:r>
                        <a:rPr lang="en-GB" sz="950" b="1" i="0" u="none" strike="noStrike">
                          <a:solidFill>
                            <a:srgbClr val="50235C"/>
                          </a:solidFill>
                          <a:effectLst/>
                          <a:latin typeface="Arial" panose="020B0604020202020204" pitchFamily="34" charset="0"/>
                        </a:rPr>
                        <a:t>J10</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1" i="0" u="none" strike="noStrike">
                          <a:solidFill>
                            <a:srgbClr val="50235C"/>
                          </a:solidFill>
                          <a:effectLst/>
                          <a:latin typeface="Arial" panose="020B0604020202020204" pitchFamily="34" charset="0"/>
                        </a:rPr>
                        <a:t>Drug &amp; Alcohol</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404040"/>
                          </a:solidFill>
                          <a:effectLst/>
                          <a:latin typeface="Arial" panose="020B0604020202020204" pitchFamily="34" charset="0"/>
                        </a:rPr>
                        <a:t>Joint Working</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marL="171450" indent="-171450" algn="l" rtl="0" fontAlgn="ctr">
                        <a:buClr>
                          <a:srgbClr val="000000"/>
                        </a:buClr>
                        <a:buSzPts val="850"/>
                        <a:buFont typeface="Arial" panose="020B0604020202020204" pitchFamily="34" charset="0"/>
                        <a:buChar char="•"/>
                      </a:pPr>
                      <a:r>
                        <a:rPr lang="en-GB" sz="950" b="0" i="0" u="none" strike="noStrike">
                          <a:solidFill>
                            <a:srgbClr val="404040"/>
                          </a:solidFill>
                          <a:effectLst/>
                          <a:latin typeface="Arial" panose="020B0604020202020204" pitchFamily="34" charset="0"/>
                        </a:rPr>
                        <a:t>Establish a collaborative forum between mental health and drug and alcohol teams to support joint working and collaboration in the delivery of care for service users. </a:t>
                      </a:r>
                      <a:endParaRPr lang="en-GB" sz="950" b="0" i="0" u="none" strike="noStrike">
                        <a:solidFill>
                          <a:srgbClr val="000000"/>
                        </a:solidFill>
                        <a:effectLst/>
                        <a:latin typeface="Arial" panose="020B0604020202020204" pitchFamily="34" charset="0"/>
                      </a:endParaRPr>
                    </a:p>
                  </a:txBody>
                  <a:tcPr marL="857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3</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4</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12</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Medium</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Medium</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extLst>
                  <a:ext uri="{0D108BD9-81ED-4DB2-BD59-A6C34878D82A}">
                    <a16:rowId xmlns:a16="http://schemas.microsoft.com/office/drawing/2014/main" val="2745620401"/>
                  </a:ext>
                </a:extLst>
              </a:tr>
              <a:tr h="708012">
                <a:tc>
                  <a:txBody>
                    <a:bodyPr/>
                    <a:lstStyle/>
                    <a:p>
                      <a:pPr algn="ctr" rtl="0" fontAlgn="ctr"/>
                      <a:r>
                        <a:rPr lang="en-GB" sz="950" b="1" i="0" u="none" strike="noStrike">
                          <a:solidFill>
                            <a:srgbClr val="50235C"/>
                          </a:solidFill>
                          <a:effectLst/>
                          <a:latin typeface="Arial" panose="020B0604020202020204" pitchFamily="34" charset="0"/>
                        </a:rPr>
                        <a:t>J11</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1" i="0" u="none" strike="noStrike">
                          <a:solidFill>
                            <a:srgbClr val="50235C"/>
                          </a:solidFill>
                          <a:effectLst/>
                          <a:latin typeface="Arial" panose="020B0604020202020204" pitchFamily="34" charset="0"/>
                        </a:rPr>
                        <a:t>Autism</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404040"/>
                          </a:solidFill>
                          <a:effectLst/>
                          <a:latin typeface="Arial" panose="020B0604020202020204" pitchFamily="34" charset="0"/>
                        </a:rPr>
                        <a:t>Accessibility</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marL="171450" indent="-171450" algn="l" rtl="0" fontAlgn="ctr">
                        <a:buClr>
                          <a:srgbClr val="000000"/>
                        </a:buClr>
                        <a:buSzPts val="850"/>
                        <a:buFont typeface="Arial" panose="020B0604020202020204" pitchFamily="34" charset="0"/>
                        <a:buChar char="•"/>
                      </a:pPr>
                      <a:r>
                        <a:rPr lang="en-GB" sz="950" b="0" i="0" u="none" strike="noStrike">
                          <a:solidFill>
                            <a:srgbClr val="404040"/>
                          </a:solidFill>
                          <a:effectLst/>
                          <a:latin typeface="Arial" panose="020B0604020202020204" pitchFamily="34" charset="0"/>
                        </a:rPr>
                        <a:t>Conduct accessibility assessments of current entry routes into mental health services – then implement any recommendations. </a:t>
                      </a:r>
                      <a:endParaRPr lang="en-GB" sz="950" b="0" i="0" u="none" strike="noStrike">
                        <a:solidFill>
                          <a:srgbClr val="000000"/>
                        </a:solidFill>
                        <a:effectLst/>
                        <a:latin typeface="Arial" panose="020B0604020202020204" pitchFamily="34" charset="0"/>
                      </a:endParaRPr>
                    </a:p>
                  </a:txBody>
                  <a:tcPr marL="857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3</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3</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9</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Medium</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Medium</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extLst>
                  <a:ext uri="{0D108BD9-81ED-4DB2-BD59-A6C34878D82A}">
                    <a16:rowId xmlns:a16="http://schemas.microsoft.com/office/drawing/2014/main" val="481041893"/>
                  </a:ext>
                </a:extLst>
              </a:tr>
              <a:tr h="708012">
                <a:tc>
                  <a:txBody>
                    <a:bodyPr/>
                    <a:lstStyle/>
                    <a:p>
                      <a:pPr algn="ctr" rtl="0" fontAlgn="ctr"/>
                      <a:r>
                        <a:rPr lang="en-GB" sz="950" b="1" i="0" u="none" strike="noStrike">
                          <a:solidFill>
                            <a:srgbClr val="50235C"/>
                          </a:solidFill>
                          <a:effectLst/>
                          <a:latin typeface="Arial" panose="020B0604020202020204" pitchFamily="34" charset="0"/>
                        </a:rPr>
                        <a:t>J12</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1" i="0" u="none" strike="noStrike">
                          <a:solidFill>
                            <a:srgbClr val="50235C"/>
                          </a:solidFill>
                          <a:effectLst/>
                          <a:latin typeface="Arial" panose="020B0604020202020204" pitchFamily="34" charset="0"/>
                        </a:rPr>
                        <a:t>Autism</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404040"/>
                          </a:solidFill>
                          <a:effectLst/>
                          <a:latin typeface="Arial" panose="020B0604020202020204" pitchFamily="34" charset="0"/>
                        </a:rPr>
                        <a:t>Community care</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marL="171450" indent="-171450" algn="l" rtl="0" fontAlgn="ctr">
                        <a:buClr>
                          <a:srgbClr val="000000"/>
                        </a:buClr>
                        <a:buSzPts val="850"/>
                        <a:buFont typeface="Arial" panose="020B0604020202020204" pitchFamily="34" charset="0"/>
                        <a:buChar char="•"/>
                      </a:pPr>
                      <a:r>
                        <a:rPr lang="en-GB" sz="950" b="0" i="0" u="none" strike="noStrike">
                          <a:solidFill>
                            <a:srgbClr val="404040"/>
                          </a:solidFill>
                          <a:effectLst/>
                          <a:latin typeface="Arial" panose="020B0604020202020204" pitchFamily="34" charset="0"/>
                        </a:rPr>
                        <a:t>Commission an Autism specific community support offering to support people with Autism avoid admission and provide them with additional support.</a:t>
                      </a:r>
                      <a:endParaRPr lang="en-GB" sz="950" b="0" i="0" u="none" strike="noStrike">
                        <a:solidFill>
                          <a:srgbClr val="000000"/>
                        </a:solidFill>
                        <a:effectLst/>
                        <a:latin typeface="Arial" panose="020B0604020202020204" pitchFamily="34" charset="0"/>
                      </a:endParaRPr>
                    </a:p>
                  </a:txBody>
                  <a:tcPr marL="857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4</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2</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8</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High</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Long</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extLst>
                  <a:ext uri="{0D108BD9-81ED-4DB2-BD59-A6C34878D82A}">
                    <a16:rowId xmlns:a16="http://schemas.microsoft.com/office/drawing/2014/main" val="316546248"/>
                  </a:ext>
                </a:extLst>
              </a:tr>
              <a:tr h="708012">
                <a:tc>
                  <a:txBody>
                    <a:bodyPr/>
                    <a:lstStyle/>
                    <a:p>
                      <a:pPr algn="ctr" rtl="0" fontAlgn="ctr"/>
                      <a:r>
                        <a:rPr lang="en-GB" sz="950" b="1" i="0" u="none" strike="noStrike">
                          <a:solidFill>
                            <a:srgbClr val="50235C"/>
                          </a:solidFill>
                          <a:effectLst/>
                          <a:latin typeface="Arial" panose="020B0604020202020204" pitchFamily="34" charset="0"/>
                        </a:rPr>
                        <a:t>J13</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1" i="0" u="none" strike="noStrike">
                          <a:solidFill>
                            <a:srgbClr val="50235C"/>
                          </a:solidFill>
                          <a:effectLst/>
                          <a:latin typeface="Arial" panose="020B0604020202020204" pitchFamily="34" charset="0"/>
                        </a:rPr>
                        <a:t>Autism</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404040"/>
                          </a:solidFill>
                          <a:effectLst/>
                          <a:latin typeface="Arial" panose="020B0604020202020204" pitchFamily="34" charset="0"/>
                        </a:rPr>
                        <a:t>Provision</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marL="171450" indent="-171450" algn="l" rtl="0" fontAlgn="ctr">
                        <a:buClr>
                          <a:srgbClr val="000000"/>
                        </a:buClr>
                        <a:buSzPts val="850"/>
                        <a:buFont typeface="Arial" panose="020B0604020202020204" pitchFamily="34" charset="0"/>
                        <a:buChar char="•"/>
                      </a:pPr>
                      <a:r>
                        <a:rPr lang="en-GB" sz="950" b="0" i="0" u="none" strike="noStrike">
                          <a:solidFill>
                            <a:srgbClr val="404040"/>
                          </a:solidFill>
                          <a:effectLst/>
                          <a:latin typeface="Arial" panose="020B0604020202020204" pitchFamily="34" charset="0"/>
                        </a:rPr>
                        <a:t>Commission Autism specific services guided by the Autism hub team, these can include Autism specific entry routes into mental health services as well as the deployment of Autism specialists to work within mental health teams to ensure that reasonable adjustments can be made across the board.</a:t>
                      </a:r>
                      <a:endParaRPr lang="en-GB" sz="950" b="0" i="0" u="none" strike="noStrike">
                        <a:solidFill>
                          <a:srgbClr val="000000"/>
                        </a:solidFill>
                        <a:effectLst/>
                        <a:latin typeface="Arial" panose="020B0604020202020204" pitchFamily="34" charset="0"/>
                      </a:endParaRPr>
                    </a:p>
                  </a:txBody>
                  <a:tcPr marL="857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5</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1</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5</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High</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Long</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extLst>
                  <a:ext uri="{0D108BD9-81ED-4DB2-BD59-A6C34878D82A}">
                    <a16:rowId xmlns:a16="http://schemas.microsoft.com/office/drawing/2014/main" val="916802628"/>
                  </a:ext>
                </a:extLst>
              </a:tr>
              <a:tr h="708012">
                <a:tc>
                  <a:txBody>
                    <a:bodyPr/>
                    <a:lstStyle/>
                    <a:p>
                      <a:pPr algn="ctr" rtl="0" fontAlgn="ctr"/>
                      <a:r>
                        <a:rPr lang="en-GB" sz="950" b="1" i="0" u="none" strike="noStrike">
                          <a:solidFill>
                            <a:srgbClr val="50235C"/>
                          </a:solidFill>
                          <a:effectLst/>
                          <a:latin typeface="Arial" panose="020B0604020202020204" pitchFamily="34" charset="0"/>
                        </a:rPr>
                        <a:t>J14</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1" i="0" u="none" strike="noStrike">
                          <a:solidFill>
                            <a:srgbClr val="50235C"/>
                          </a:solidFill>
                          <a:effectLst/>
                          <a:latin typeface="Arial" panose="020B0604020202020204" pitchFamily="34" charset="0"/>
                        </a:rPr>
                        <a:t>All</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404040"/>
                          </a:solidFill>
                          <a:effectLst/>
                          <a:latin typeface="Arial" panose="020B0604020202020204" pitchFamily="34" charset="0"/>
                        </a:rPr>
                        <a:t>Data sharing</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marL="171450" indent="-171450" algn="l" rtl="0" fontAlgn="ctr">
                        <a:buClr>
                          <a:srgbClr val="000000"/>
                        </a:buClr>
                        <a:buSzPts val="850"/>
                        <a:buFont typeface="Arial" panose="020B0604020202020204" pitchFamily="34" charset="0"/>
                        <a:buChar char="•"/>
                      </a:pPr>
                      <a:r>
                        <a:rPr lang="en-GB" sz="950" b="0" i="0" u="none" strike="noStrike">
                          <a:solidFill>
                            <a:srgbClr val="404040"/>
                          </a:solidFill>
                          <a:effectLst/>
                          <a:latin typeface="Arial" panose="020B0604020202020204" pitchFamily="34" charset="0"/>
                        </a:rPr>
                        <a:t>Begin the establishment of a shared care record for the whole ICS to support joint working, collaboration and improved patient outcomes. </a:t>
                      </a:r>
                      <a:endParaRPr lang="en-GB" sz="950" b="0" i="0" u="none" strike="noStrike">
                        <a:solidFill>
                          <a:srgbClr val="000000"/>
                        </a:solidFill>
                        <a:effectLst/>
                        <a:latin typeface="Arial" panose="020B0604020202020204" pitchFamily="34" charset="0"/>
                      </a:endParaRPr>
                    </a:p>
                  </a:txBody>
                  <a:tcPr marL="857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5</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1</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5</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High</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Long</a:t>
                      </a:r>
                    </a:p>
                  </a:txBody>
                  <a:tcPr marL="9525" marR="9525" marT="9525" marB="0" anchor="ctr">
                    <a:lnL w="12700" cap="flat" cmpd="sng" algn="ctr">
                      <a:solidFill>
                        <a:srgbClr val="DFD9E3"/>
                      </a:solidFill>
                      <a:prstDash val="solid"/>
                      <a:round/>
                      <a:headEnd type="none" w="med" len="med"/>
                      <a:tailEnd type="none" w="med" len="med"/>
                    </a:lnL>
                    <a:lnR w="12700" cap="flat" cmpd="sng" algn="ctr">
                      <a:solidFill>
                        <a:srgbClr val="DFD9E3"/>
                      </a:solidFill>
                      <a:prstDash val="solid"/>
                      <a:round/>
                      <a:headEnd type="none" w="med" len="med"/>
                      <a:tailEnd type="none" w="med" len="med"/>
                    </a:lnR>
                    <a:lnT w="12700" cap="flat" cmpd="sng" algn="ctr">
                      <a:solidFill>
                        <a:srgbClr val="DFD9E3"/>
                      </a:solidFill>
                      <a:prstDash val="solid"/>
                      <a:round/>
                      <a:headEnd type="none" w="med" len="med"/>
                      <a:tailEnd type="none" w="med" len="med"/>
                    </a:lnT>
                    <a:lnB w="12700" cap="flat" cmpd="sng" algn="ctr">
                      <a:solidFill>
                        <a:srgbClr val="DFD9E3"/>
                      </a:solidFill>
                      <a:prstDash val="solid"/>
                      <a:round/>
                      <a:headEnd type="none" w="med" len="med"/>
                      <a:tailEnd type="none" w="med" len="med"/>
                    </a:lnB>
                    <a:noFill/>
                  </a:tcPr>
                </a:tc>
                <a:extLst>
                  <a:ext uri="{0D108BD9-81ED-4DB2-BD59-A6C34878D82A}">
                    <a16:rowId xmlns:a16="http://schemas.microsoft.com/office/drawing/2014/main" val="284049925"/>
                  </a:ext>
                </a:extLst>
              </a:tr>
            </a:tbl>
          </a:graphicData>
        </a:graphic>
      </p:graphicFrame>
      <p:graphicFrame>
        <p:nvGraphicFramePr>
          <p:cNvPr id="8" name="Table 7">
            <a:extLst>
              <a:ext uri="{FF2B5EF4-FFF2-40B4-BE49-F238E27FC236}">
                <a16:creationId xmlns:a16="http://schemas.microsoft.com/office/drawing/2014/main" id="{7D01DB08-0E4C-B545-AAAB-75C10C54BF52}"/>
              </a:ext>
            </a:extLst>
          </p:cNvPr>
          <p:cNvGraphicFramePr>
            <a:graphicFrameLocks noGrp="1"/>
          </p:cNvGraphicFramePr>
          <p:nvPr>
            <p:extLst>
              <p:ext uri="{D42A27DB-BD31-4B8C-83A1-F6EECF244321}">
                <p14:modId xmlns:p14="http://schemas.microsoft.com/office/powerpoint/2010/main" val="3184630733"/>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A"/>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
        <p:nvSpPr>
          <p:cNvPr id="9" name="Rectangle 8">
            <a:extLst>
              <a:ext uri="{FF2B5EF4-FFF2-40B4-BE49-F238E27FC236}">
                <a16:creationId xmlns:a16="http://schemas.microsoft.com/office/drawing/2014/main" id="{945080C0-5942-4041-B3E6-FDFEEC398F73}"/>
              </a:ext>
            </a:extLst>
          </p:cNvPr>
          <p:cNvSpPr/>
          <p:nvPr/>
        </p:nvSpPr>
        <p:spPr>
          <a:xfrm>
            <a:off x="8885902" y="69604"/>
            <a:ext cx="1745707" cy="78568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panose="020B0604020202020204"/>
                <a:ea typeface="+mn-ea"/>
                <a:cs typeface="+mn-cs"/>
              </a:rPr>
              <a:t>IMPACT:        </a:t>
            </a: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1 = Low Impact </a:t>
            </a:r>
            <a:b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                       5 = High impa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panose="020B0604020202020204"/>
                <a:ea typeface="+mn-ea"/>
                <a:cs typeface="+mn-cs"/>
              </a:rPr>
              <a:t>EASE:            </a:t>
            </a: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1 = Difficult</a:t>
            </a:r>
            <a:b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                       5 = Straightforward</a:t>
            </a:r>
          </a:p>
          <a:p>
            <a:pPr>
              <a:defRPr/>
            </a:pPr>
            <a:r>
              <a:rPr lang="en-GB" sz="800" b="1">
                <a:solidFill>
                  <a:srgbClr val="000000"/>
                </a:solidFill>
              </a:rPr>
              <a:t>RESOURCE:  </a:t>
            </a:r>
            <a:r>
              <a:rPr lang="en-GB" sz="800">
                <a:solidFill>
                  <a:srgbClr val="000000"/>
                </a:solidFill>
              </a:rPr>
              <a:t>Low, Medium, High </a:t>
            </a:r>
          </a:p>
        </p:txBody>
      </p:sp>
      <p:sp>
        <p:nvSpPr>
          <p:cNvPr id="10" name="Rectangle 9">
            <a:extLst>
              <a:ext uri="{FF2B5EF4-FFF2-40B4-BE49-F238E27FC236}">
                <a16:creationId xmlns:a16="http://schemas.microsoft.com/office/drawing/2014/main" id="{5068027D-2BC3-7C47-919D-9AEE6B304F2D}"/>
              </a:ext>
            </a:extLst>
          </p:cNvPr>
          <p:cNvSpPr/>
          <p:nvPr/>
        </p:nvSpPr>
        <p:spPr>
          <a:xfrm>
            <a:off x="10626054" y="69604"/>
            <a:ext cx="1442357" cy="78568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00" b="1">
                <a:solidFill>
                  <a:srgbClr val="000000"/>
                </a:solidFill>
                <a:latin typeface="Arial" panose="020B0604020202020204"/>
              </a:rPr>
              <a:t>Short</a:t>
            </a:r>
            <a:r>
              <a:rPr lang="en-GB" sz="900">
                <a:solidFill>
                  <a:srgbClr val="000000"/>
                </a:solidFill>
                <a:latin typeface="Arial" panose="020B0604020202020204"/>
              </a:rPr>
              <a:t> =      0-6 months</a:t>
            </a:r>
          </a:p>
          <a:p>
            <a:r>
              <a:rPr lang="en-GB" sz="900" b="1">
                <a:solidFill>
                  <a:srgbClr val="000000"/>
                </a:solidFill>
                <a:latin typeface="Arial" panose="020B0604020202020204"/>
              </a:rPr>
              <a:t>Medium</a:t>
            </a:r>
            <a:r>
              <a:rPr lang="en-GB" sz="900">
                <a:solidFill>
                  <a:srgbClr val="000000"/>
                </a:solidFill>
                <a:latin typeface="Arial" panose="020B0604020202020204"/>
              </a:rPr>
              <a:t> =  6-18 months</a:t>
            </a:r>
          </a:p>
          <a:p>
            <a:r>
              <a:rPr lang="en-GB" sz="900" b="1">
                <a:solidFill>
                  <a:srgbClr val="000000"/>
                </a:solidFill>
                <a:latin typeface="Arial" panose="020B0604020202020204"/>
              </a:rPr>
              <a:t>Long</a:t>
            </a:r>
            <a:r>
              <a:rPr lang="en-GB" sz="900">
                <a:solidFill>
                  <a:srgbClr val="000000"/>
                </a:solidFill>
                <a:latin typeface="Arial" panose="020B0604020202020204"/>
              </a:rPr>
              <a:t> =       18 months +</a:t>
            </a:r>
          </a:p>
        </p:txBody>
      </p:sp>
      <p:sp>
        <p:nvSpPr>
          <p:cNvPr id="11" name="Rectangle 10">
            <a:extLst>
              <a:ext uri="{FF2B5EF4-FFF2-40B4-BE49-F238E27FC236}">
                <a16:creationId xmlns:a16="http://schemas.microsoft.com/office/drawing/2014/main" id="{7136B0C3-021F-3345-BDC4-7F008A951B67}"/>
              </a:ext>
            </a:extLst>
          </p:cNvPr>
          <p:cNvSpPr/>
          <p:nvPr/>
        </p:nvSpPr>
        <p:spPr>
          <a:xfrm>
            <a:off x="510638" y="855284"/>
            <a:ext cx="11348270" cy="5214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rgbClr val="50235B"/>
                </a:solidFill>
                <a:latin typeface="Arial" panose="020B0604020202020204" pitchFamily="34" charset="0"/>
                <a:cs typeface="Arial" panose="020B0604020202020204" pitchFamily="34" charset="0"/>
              </a:rPr>
              <a:t>Recommendations have been refined and clarified to support the prioritisation of initiatives for implementation. </a:t>
            </a:r>
            <a:endParaRPr kumimoji="0" lang="en-GB" sz="1200" b="1" i="0" u="none" strike="noStrike" kern="1200" cap="none" spc="0" normalizeH="0" baseline="0" noProof="0">
              <a:ln>
                <a:noFill/>
              </a:ln>
              <a:solidFill>
                <a:srgbClr val="50235B"/>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70578974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7DF49F5-76E4-D045-9AE5-C5DFB0E4B946}"/>
              </a:ext>
            </a:extLst>
          </p:cNvPr>
          <p:cNvSpPr>
            <a:spLocks noGrp="1"/>
          </p:cNvSpPr>
          <p:nvPr>
            <p:ph sz="quarter" idx="10"/>
          </p:nvPr>
        </p:nvSpPr>
        <p:spPr/>
        <p:txBody>
          <a:bodyPr/>
          <a:lstStyle/>
          <a:p>
            <a:r>
              <a:rPr lang="en-GB"/>
              <a:t>Vision &amp; strategy</a:t>
            </a:r>
          </a:p>
        </p:txBody>
      </p:sp>
      <p:graphicFrame>
        <p:nvGraphicFramePr>
          <p:cNvPr id="7" name="Table 6">
            <a:extLst>
              <a:ext uri="{FF2B5EF4-FFF2-40B4-BE49-F238E27FC236}">
                <a16:creationId xmlns:a16="http://schemas.microsoft.com/office/drawing/2014/main" id="{55491300-71DD-9D4D-9A39-2ECB09F71D19}"/>
              </a:ext>
            </a:extLst>
          </p:cNvPr>
          <p:cNvGraphicFramePr>
            <a:graphicFrameLocks noGrp="1"/>
          </p:cNvGraphicFramePr>
          <p:nvPr>
            <p:extLst>
              <p:ext uri="{D42A27DB-BD31-4B8C-83A1-F6EECF244321}">
                <p14:modId xmlns:p14="http://schemas.microsoft.com/office/powerpoint/2010/main" val="3750004658"/>
              </p:ext>
            </p:extLst>
          </p:nvPr>
        </p:nvGraphicFramePr>
        <p:xfrm>
          <a:off x="1" y="6560723"/>
          <a:ext cx="12191998" cy="297277"/>
        </p:xfrm>
        <a:graphic>
          <a:graphicData uri="http://schemas.openxmlformats.org/drawingml/2006/table">
            <a:tbl>
              <a:tblPr>
                <a:tableStyleId>{5C22544A-7EE6-4342-B048-85BDC9FD1C3A}</a:tableStyleId>
              </a:tblPr>
              <a:tblGrid>
                <a:gridCol w="1741714">
                  <a:extLst>
                    <a:ext uri="{9D8B030D-6E8A-4147-A177-3AD203B41FA5}">
                      <a16:colId xmlns:a16="http://schemas.microsoft.com/office/drawing/2014/main" val="3508502722"/>
                    </a:ext>
                  </a:extLst>
                </a:gridCol>
                <a:gridCol w="1741714">
                  <a:extLst>
                    <a:ext uri="{9D8B030D-6E8A-4147-A177-3AD203B41FA5}">
                      <a16:colId xmlns:a16="http://schemas.microsoft.com/office/drawing/2014/main" val="1894411863"/>
                    </a:ext>
                  </a:extLst>
                </a:gridCol>
                <a:gridCol w="1741714">
                  <a:extLst>
                    <a:ext uri="{9D8B030D-6E8A-4147-A177-3AD203B41FA5}">
                      <a16:colId xmlns:a16="http://schemas.microsoft.com/office/drawing/2014/main" val="1998335409"/>
                    </a:ext>
                  </a:extLst>
                </a:gridCol>
                <a:gridCol w="1741714">
                  <a:extLst>
                    <a:ext uri="{9D8B030D-6E8A-4147-A177-3AD203B41FA5}">
                      <a16:colId xmlns:a16="http://schemas.microsoft.com/office/drawing/2014/main" val="202640554"/>
                    </a:ext>
                  </a:extLst>
                </a:gridCol>
                <a:gridCol w="1741714">
                  <a:extLst>
                    <a:ext uri="{9D8B030D-6E8A-4147-A177-3AD203B41FA5}">
                      <a16:colId xmlns:a16="http://schemas.microsoft.com/office/drawing/2014/main" val="3019704548"/>
                    </a:ext>
                  </a:extLst>
                </a:gridCol>
                <a:gridCol w="1741714">
                  <a:extLst>
                    <a:ext uri="{9D8B030D-6E8A-4147-A177-3AD203B41FA5}">
                      <a16:colId xmlns:a16="http://schemas.microsoft.com/office/drawing/2014/main" val="1364401804"/>
                    </a:ext>
                  </a:extLst>
                </a:gridCol>
                <a:gridCol w="1741714">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A"/>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Tree>
    <p:extLst>
      <p:ext uri="{BB962C8B-B14F-4D97-AF65-F5344CB8AC3E}">
        <p14:creationId xmlns:p14="http://schemas.microsoft.com/office/powerpoint/2010/main" val="186787501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1DEC92A-C88D-F946-A1A9-8B38E6C4179D}"/>
              </a:ext>
            </a:extLst>
          </p:cNvPr>
          <p:cNvSpPr/>
          <p:nvPr/>
        </p:nvSpPr>
        <p:spPr>
          <a:xfrm>
            <a:off x="517131" y="1623206"/>
            <a:ext cx="3162458" cy="260222"/>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lish-GB" sz="1200" b="1">
                <a:solidFill>
                  <a:srgbClr val="50235C"/>
                </a:solidFill>
              </a:rPr>
              <a:t>Approach &amp; Output</a:t>
            </a:r>
          </a:p>
        </p:txBody>
      </p:sp>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8177"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800" b="0" i="0" u="none" strike="noStrike" kern="1200" cap="none" spc="0" normalizeH="0" baseline="0" noProof="0">
              <a:ln>
                <a:noFill/>
              </a:ln>
              <a:solidFill>
                <a:srgbClr val="FFFFFF"/>
              </a:solidFill>
              <a:effectLst/>
              <a:uLnTx/>
              <a:uFillTx/>
              <a:latin typeface="Arial" panose="020B0604020202020204"/>
              <a:ea typeface="+mn-ea"/>
              <a:cs typeface="+mn-cs"/>
              <a:sym typeface="Arial" panose="020B0604020202020204" pitchFamily="34" charset="0"/>
            </a:endParaRPr>
          </a:p>
        </p:txBody>
      </p:sp>
      <p:sp>
        <p:nvSpPr>
          <p:cNvPr id="2" name="Title 1"/>
          <p:cNvSpPr>
            <a:spLocks noGrp="1"/>
          </p:cNvSpPr>
          <p:nvPr>
            <p:ph type="title"/>
          </p:nvPr>
        </p:nvSpPr>
        <p:spPr>
          <a:xfrm>
            <a:off x="510638" y="297277"/>
            <a:ext cx="9321425" cy="434010"/>
          </a:xfrm>
          <a:prstGeom prst="rect">
            <a:avLst/>
          </a:prstGeom>
        </p:spPr>
        <p:txBody>
          <a:bodyPr/>
          <a:lstStyle/>
          <a:p>
            <a:r>
              <a:rPr lang="en-GB"/>
              <a:t>Executive summary: Vision and strategy</a:t>
            </a:r>
          </a:p>
        </p:txBody>
      </p:sp>
      <p:sp>
        <p:nvSpPr>
          <p:cNvPr id="5" name="Footer Placeholder 4">
            <a:extLst>
              <a:ext uri="{FF2B5EF4-FFF2-40B4-BE49-F238E27FC236}">
                <a16:creationId xmlns:a16="http://schemas.microsoft.com/office/drawing/2014/main" id="{8378A888-C2F3-1F46-BFE9-6AED0C113342}"/>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50235C"/>
                </a:solidFill>
                <a:effectLst/>
                <a:uLnTx/>
                <a:uFillTx/>
                <a:latin typeface="Arial" panose="020B0604020202020204"/>
                <a:ea typeface="+mn-ea"/>
                <a:cs typeface="+mn-cs"/>
              </a:rPr>
              <a:t>© Moorhouse 2021 [Restricted]</a:t>
            </a:r>
          </a:p>
        </p:txBody>
      </p:sp>
      <p:sp>
        <p:nvSpPr>
          <p:cNvPr id="27" name="Rectangle 26">
            <a:extLst>
              <a:ext uri="{FF2B5EF4-FFF2-40B4-BE49-F238E27FC236}">
                <a16:creationId xmlns:a16="http://schemas.microsoft.com/office/drawing/2014/main" id="{4EFAD1A4-9034-8448-A693-CCB4220B8B5E}"/>
              </a:ext>
            </a:extLst>
          </p:cNvPr>
          <p:cNvSpPr/>
          <p:nvPr/>
        </p:nvSpPr>
        <p:spPr>
          <a:xfrm>
            <a:off x="510638" y="871696"/>
            <a:ext cx="11272233" cy="461665"/>
          </a:xfrm>
          <a:prstGeom prst="rect">
            <a:avLst/>
          </a:prstGeom>
        </p:spPr>
        <p:txBody>
          <a:bodyPr wrap="square" lIns="0">
            <a:spAutoFit/>
          </a:bodyPr>
          <a:lstStyle/>
          <a:p>
            <a:r>
              <a:rPr lang="en-GB" sz="1200" b="1">
                <a:solidFill>
                  <a:srgbClr val="51235C"/>
                </a:solidFill>
                <a:latin typeface="Arial" panose="020B0604020202020204" pitchFamily="34" charset="0"/>
                <a:cs typeface="Arial" panose="020B0604020202020204" pitchFamily="34" charset="0"/>
              </a:rPr>
              <a:t>A clear and co-designed vision and strategy has been developed to support the improvement, alignment and rationalisation of mental health services across STW. This is intended to be easy to understand and resonate with all users of adult mental health services. </a:t>
            </a:r>
          </a:p>
        </p:txBody>
      </p:sp>
      <p:cxnSp>
        <p:nvCxnSpPr>
          <p:cNvPr id="29" name="Straight Connector 28">
            <a:extLst>
              <a:ext uri="{FF2B5EF4-FFF2-40B4-BE49-F238E27FC236}">
                <a16:creationId xmlns:a16="http://schemas.microsoft.com/office/drawing/2014/main" id="{614F206B-05A2-7C4C-95E4-28B2D9B67F64}"/>
              </a:ext>
            </a:extLst>
          </p:cNvPr>
          <p:cNvCxnSpPr>
            <a:cxnSpLocks/>
          </p:cNvCxnSpPr>
          <p:nvPr/>
        </p:nvCxnSpPr>
        <p:spPr>
          <a:xfrm>
            <a:off x="4114360" y="1999792"/>
            <a:ext cx="0" cy="4207845"/>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762DF57-84A7-E447-9663-FFF81F2335B2}"/>
              </a:ext>
            </a:extLst>
          </p:cNvPr>
          <p:cNvCxnSpPr>
            <a:cxnSpLocks/>
          </p:cNvCxnSpPr>
          <p:nvPr/>
        </p:nvCxnSpPr>
        <p:spPr>
          <a:xfrm>
            <a:off x="8071378" y="1999792"/>
            <a:ext cx="0" cy="4207845"/>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5831CEDB-D38E-1343-BE9C-83F0EFBBD13F}"/>
              </a:ext>
            </a:extLst>
          </p:cNvPr>
          <p:cNvSpPr txBox="1"/>
          <p:nvPr/>
        </p:nvSpPr>
        <p:spPr>
          <a:xfrm>
            <a:off x="4491059" y="1623206"/>
            <a:ext cx="3162467" cy="276999"/>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2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b="1">
                <a:solidFill>
                  <a:srgbClr val="50235C"/>
                </a:solidFill>
              </a:rPr>
              <a:t>Findings</a:t>
            </a:r>
          </a:p>
        </p:txBody>
      </p:sp>
      <p:sp>
        <p:nvSpPr>
          <p:cNvPr id="40" name="TextBox 39">
            <a:extLst>
              <a:ext uri="{FF2B5EF4-FFF2-40B4-BE49-F238E27FC236}">
                <a16:creationId xmlns:a16="http://schemas.microsoft.com/office/drawing/2014/main" id="{E1C0E2C8-7B47-E548-A07D-68D7A4F22BA7}"/>
              </a:ext>
            </a:extLst>
          </p:cNvPr>
          <p:cNvSpPr txBox="1"/>
          <p:nvPr/>
        </p:nvSpPr>
        <p:spPr>
          <a:xfrm>
            <a:off x="8464995" y="1623206"/>
            <a:ext cx="3162467" cy="276999"/>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2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b="1">
                <a:solidFill>
                  <a:srgbClr val="50235C"/>
                </a:solidFill>
              </a:rPr>
              <a:t>Recommendations &amp; next steps</a:t>
            </a:r>
          </a:p>
        </p:txBody>
      </p:sp>
      <p:sp>
        <p:nvSpPr>
          <p:cNvPr id="43" name="Rectangle 42">
            <a:extLst>
              <a:ext uri="{FF2B5EF4-FFF2-40B4-BE49-F238E27FC236}">
                <a16:creationId xmlns:a16="http://schemas.microsoft.com/office/drawing/2014/main" id="{6722C459-EA4B-9046-BFE4-5ADCCCE9822B}"/>
              </a:ext>
            </a:extLst>
          </p:cNvPr>
          <p:cNvSpPr/>
          <p:nvPr/>
        </p:nvSpPr>
        <p:spPr>
          <a:xfrm rot="16200000">
            <a:off x="-581795" y="5503934"/>
            <a:ext cx="1668641" cy="276999"/>
          </a:xfrm>
          <a:prstGeom prst="rect">
            <a:avLst/>
          </a:prstGeom>
        </p:spPr>
        <p:txBody>
          <a:bodyPr wrap="square" lIns="0">
            <a:spAutoFit/>
          </a:bodyPr>
          <a:lstStyle/>
          <a:p>
            <a:pPr algn="ctr"/>
            <a:r>
              <a:rPr lang="en-GB" sz="1200" b="1">
                <a:solidFill>
                  <a:srgbClr val="51235C"/>
                </a:solidFill>
                <a:latin typeface="Arial" panose="020B0604020202020204" pitchFamily="34" charset="0"/>
                <a:cs typeface="Arial" panose="020B0604020202020204" pitchFamily="34" charset="0"/>
              </a:rPr>
              <a:t>Output</a:t>
            </a:r>
          </a:p>
        </p:txBody>
      </p:sp>
      <p:sp>
        <p:nvSpPr>
          <p:cNvPr id="44" name="Rectangle 43">
            <a:extLst>
              <a:ext uri="{FF2B5EF4-FFF2-40B4-BE49-F238E27FC236}">
                <a16:creationId xmlns:a16="http://schemas.microsoft.com/office/drawing/2014/main" id="{94F77078-9FB8-334E-9C10-E9F04E16BBA7}"/>
              </a:ext>
            </a:extLst>
          </p:cNvPr>
          <p:cNvSpPr/>
          <p:nvPr/>
        </p:nvSpPr>
        <p:spPr>
          <a:xfrm>
            <a:off x="510638" y="4892082"/>
            <a:ext cx="3162457" cy="1448773"/>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9" name="TextBox 48">
            <a:extLst>
              <a:ext uri="{FF2B5EF4-FFF2-40B4-BE49-F238E27FC236}">
                <a16:creationId xmlns:a16="http://schemas.microsoft.com/office/drawing/2014/main" id="{EB12C5EA-D5E9-6642-B105-31F682D36F5D}"/>
              </a:ext>
            </a:extLst>
          </p:cNvPr>
          <p:cNvSpPr txBox="1"/>
          <p:nvPr/>
        </p:nvSpPr>
        <p:spPr>
          <a:xfrm>
            <a:off x="757262" y="5874324"/>
            <a:ext cx="1079645" cy="400110"/>
          </a:xfrm>
          <a:prstGeom prst="rect">
            <a:avLst/>
          </a:prstGeom>
          <a:noFill/>
        </p:spPr>
        <p:txBody>
          <a:bodyPr wrap="square" lIns="91440" tIns="45720" rIns="91440" bIns="45720" rtlCol="0" anchor="t">
            <a:spAutoFit/>
          </a:bodyPr>
          <a:lstStyle/>
          <a:p>
            <a:pPr marR="0" lvl="0" algn="ctr" defTabSz="914400" rtl="0" eaLnBrk="1" fontAlgn="auto" latinLnBrk="0" hangingPunct="1">
              <a:lnSpc>
                <a:spcPct val="100000"/>
              </a:lnSpc>
              <a:spcBef>
                <a:spcPts val="0"/>
              </a:spcBef>
              <a:spcAft>
                <a:spcPts val="600"/>
              </a:spcAft>
              <a:buClr>
                <a:srgbClr val="50235C"/>
              </a:buClr>
              <a:buSzTx/>
              <a:tabLst/>
              <a:defRPr/>
            </a:pPr>
            <a:r>
              <a:rPr kumimoji="0" lang="en-GB" sz="10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rPr>
              <a:t>Vision and strategy</a:t>
            </a:r>
          </a:p>
        </p:txBody>
      </p:sp>
      <p:sp>
        <p:nvSpPr>
          <p:cNvPr id="51" name="TextBox 50">
            <a:extLst>
              <a:ext uri="{FF2B5EF4-FFF2-40B4-BE49-F238E27FC236}">
                <a16:creationId xmlns:a16="http://schemas.microsoft.com/office/drawing/2014/main" id="{390FA1DD-16DF-2E48-8A6B-AA33E10B0B14}"/>
              </a:ext>
            </a:extLst>
          </p:cNvPr>
          <p:cNvSpPr txBox="1"/>
          <p:nvPr/>
        </p:nvSpPr>
        <p:spPr>
          <a:xfrm>
            <a:off x="510638" y="2093538"/>
            <a:ext cx="3162457" cy="2631490"/>
          </a:xfrm>
          <a:prstGeom prst="rect">
            <a:avLst/>
          </a:prstGeom>
          <a:noFill/>
        </p:spPr>
        <p:txBody>
          <a:bodyPr wrap="square" rtlCol="0">
            <a:spAutoFit/>
          </a:bodyPr>
          <a:lstStyle/>
          <a:p>
            <a:pPr marL="171450" indent="-171450">
              <a:spcBef>
                <a:spcPts val="300"/>
              </a:spcBef>
              <a:spcAft>
                <a:spcPts val="300"/>
              </a:spcAft>
              <a:buFont typeface="Arial" panose="020B0604020202020204" pitchFamily="34" charset="0"/>
              <a:buChar char="•"/>
            </a:pPr>
            <a:r>
              <a:rPr lang="en-GB" sz="1000" b="1">
                <a:solidFill>
                  <a:schemeClr val="tx2">
                    <a:lumMod val="65000"/>
                    <a:lumOff val="35000"/>
                  </a:schemeClr>
                </a:solidFill>
              </a:rPr>
              <a:t>To produce the vision, a tried and tested method was used</a:t>
            </a:r>
            <a:r>
              <a:rPr lang="en-GB" sz="1000">
                <a:solidFill>
                  <a:schemeClr val="tx2">
                    <a:lumMod val="65000"/>
                    <a:lumOff val="35000"/>
                  </a:schemeClr>
                </a:solidFill>
              </a:rPr>
              <a:t> to formulate the vision and strategy for STW mental health services, structured through;</a:t>
            </a:r>
          </a:p>
          <a:p>
            <a:pPr marL="317500" lvl="1" indent="-177800">
              <a:spcBef>
                <a:spcPts val="300"/>
              </a:spcBef>
              <a:spcAft>
                <a:spcPts val="300"/>
              </a:spcAft>
              <a:buFont typeface="Arial" panose="020B0604020202020204" pitchFamily="34" charset="0"/>
              <a:buChar char="•"/>
            </a:pPr>
            <a:r>
              <a:rPr lang="en-GB" sz="1000">
                <a:solidFill>
                  <a:schemeClr val="tx2">
                    <a:lumMod val="65000"/>
                    <a:lumOff val="35000"/>
                  </a:schemeClr>
                </a:solidFill>
              </a:rPr>
              <a:t>A series of workshops to build the </a:t>
            </a:r>
            <a:r>
              <a:rPr lang="en-GB" sz="1000" b="1">
                <a:solidFill>
                  <a:schemeClr val="tx2">
                    <a:lumMod val="65000"/>
                    <a:lumOff val="35000"/>
                  </a:schemeClr>
                </a:solidFill>
              </a:rPr>
              <a:t>vision, high level strategy and design principles </a:t>
            </a:r>
            <a:r>
              <a:rPr lang="en-GB" sz="1000">
                <a:solidFill>
                  <a:schemeClr val="tx2">
                    <a:lumMod val="65000"/>
                    <a:lumOff val="35000"/>
                  </a:schemeClr>
                </a:solidFill>
              </a:rPr>
              <a:t>and agree upon a single vision for mental health services. </a:t>
            </a:r>
          </a:p>
          <a:p>
            <a:pPr marL="317500" lvl="1" indent="-177800">
              <a:spcBef>
                <a:spcPts val="300"/>
              </a:spcBef>
              <a:spcAft>
                <a:spcPts val="300"/>
              </a:spcAft>
              <a:buFont typeface="Arial" panose="020B0604020202020204" pitchFamily="34" charset="0"/>
              <a:buChar char="•"/>
            </a:pPr>
            <a:r>
              <a:rPr lang="en-GB" sz="1000" b="1">
                <a:solidFill>
                  <a:schemeClr val="tx2">
                    <a:lumMod val="65000"/>
                    <a:lumOff val="35000"/>
                  </a:schemeClr>
                </a:solidFill>
              </a:rPr>
              <a:t>Service users </a:t>
            </a:r>
            <a:r>
              <a:rPr lang="en-GB" sz="1000">
                <a:solidFill>
                  <a:schemeClr val="tx2">
                    <a:lumMod val="65000"/>
                    <a:lumOff val="35000"/>
                  </a:schemeClr>
                </a:solidFill>
              </a:rPr>
              <a:t>were involved in workshops to ensure that the service user voice and perspective was captured and reflected.</a:t>
            </a:r>
          </a:p>
          <a:p>
            <a:pPr marL="317500" lvl="1" indent="-177800">
              <a:spcBef>
                <a:spcPts val="300"/>
              </a:spcBef>
              <a:spcAft>
                <a:spcPts val="300"/>
              </a:spcAft>
              <a:buFont typeface="Arial" panose="020B0604020202020204" pitchFamily="34" charset="0"/>
              <a:buChar char="•"/>
            </a:pPr>
            <a:r>
              <a:rPr lang="en-GB" sz="1000">
                <a:solidFill>
                  <a:schemeClr val="tx2">
                    <a:lumMod val="65000"/>
                    <a:lumOff val="35000"/>
                  </a:schemeClr>
                </a:solidFill>
              </a:rPr>
              <a:t>An </a:t>
            </a:r>
            <a:r>
              <a:rPr lang="en-GB" sz="1000" b="1">
                <a:solidFill>
                  <a:schemeClr val="tx2">
                    <a:lumMod val="65000"/>
                    <a:lumOff val="35000"/>
                  </a:schemeClr>
                </a:solidFill>
              </a:rPr>
              <a:t>additional focus group </a:t>
            </a:r>
            <a:r>
              <a:rPr lang="en-GB" sz="1000">
                <a:solidFill>
                  <a:schemeClr val="tx2">
                    <a:lumMod val="65000"/>
                    <a:lumOff val="35000"/>
                  </a:schemeClr>
                </a:solidFill>
              </a:rPr>
              <a:t>was held with a small group of service users to test the vision and strategy and ensure it resonated with those using mental health services</a:t>
            </a:r>
            <a:r>
              <a:rPr lang="en-GB" sz="1000">
                <a:solidFill>
                  <a:schemeClr val="tx1">
                    <a:lumMod val="75000"/>
                    <a:lumOff val="25000"/>
                  </a:schemeClr>
                </a:solidFill>
              </a:rPr>
              <a:t>. </a:t>
            </a:r>
          </a:p>
        </p:txBody>
      </p:sp>
      <p:sp>
        <p:nvSpPr>
          <p:cNvPr id="21" name="TextBox 20">
            <a:extLst>
              <a:ext uri="{FF2B5EF4-FFF2-40B4-BE49-F238E27FC236}">
                <a16:creationId xmlns:a16="http://schemas.microsoft.com/office/drawing/2014/main" id="{A304E711-3C9F-5048-87C2-367B868CA4C9}"/>
              </a:ext>
            </a:extLst>
          </p:cNvPr>
          <p:cNvSpPr txBox="1"/>
          <p:nvPr/>
        </p:nvSpPr>
        <p:spPr>
          <a:xfrm>
            <a:off x="4491069" y="2093538"/>
            <a:ext cx="3162457" cy="4247317"/>
          </a:xfrm>
          <a:prstGeom prst="rect">
            <a:avLst/>
          </a:prstGeom>
          <a:noFill/>
        </p:spPr>
        <p:txBody>
          <a:bodyPr wrap="square" rtlCol="0">
            <a:spAutoFit/>
          </a:bodyPr>
          <a:lstStyle/>
          <a:p>
            <a:pPr marL="171450" lvl="0" indent="-171450" defTabSz="685800">
              <a:spcBef>
                <a:spcPts val="300"/>
              </a:spcBef>
              <a:spcAft>
                <a:spcPts val="300"/>
              </a:spcAft>
              <a:buFont typeface="Arial" panose="020B0604020202020204" pitchFamily="34" charset="0"/>
              <a:buChar char="•"/>
              <a:defRPr/>
            </a:pPr>
            <a:r>
              <a:rPr lang="en-GB" sz="1000">
                <a:solidFill>
                  <a:schemeClr val="tx1">
                    <a:lumMod val="65000"/>
                    <a:lumOff val="35000"/>
                  </a:schemeClr>
                </a:solidFill>
                <a:latin typeface="Arial" panose="020B0604020202020204" pitchFamily="34" charset="0"/>
                <a:cs typeface="Arial" panose="020B0604020202020204" pitchFamily="34" charset="0"/>
              </a:rPr>
              <a:t>Through a series of collaborative workshops, </a:t>
            </a:r>
            <a:r>
              <a:rPr lang="en-GB" sz="1000" b="1">
                <a:solidFill>
                  <a:schemeClr val="tx1">
                    <a:lumMod val="65000"/>
                    <a:lumOff val="35000"/>
                  </a:schemeClr>
                </a:solidFill>
                <a:latin typeface="Arial" panose="020B0604020202020204" pitchFamily="34" charset="0"/>
                <a:cs typeface="Arial" panose="020B0604020202020204" pitchFamily="34" charset="0"/>
              </a:rPr>
              <a:t>17 design principles</a:t>
            </a:r>
            <a:r>
              <a:rPr lang="en-GB" sz="1000">
                <a:solidFill>
                  <a:schemeClr val="tx1">
                    <a:lumMod val="65000"/>
                    <a:lumOff val="35000"/>
                  </a:schemeClr>
                </a:solidFill>
                <a:latin typeface="Arial" panose="020B0604020202020204" pitchFamily="34" charset="0"/>
                <a:cs typeface="Arial" panose="020B0604020202020204" pitchFamily="34" charset="0"/>
              </a:rPr>
              <a:t> were identified covering </a:t>
            </a:r>
            <a:r>
              <a:rPr lang="en-GB" sz="1000" b="1">
                <a:solidFill>
                  <a:schemeClr val="tx1">
                    <a:lumMod val="65000"/>
                    <a:lumOff val="35000"/>
                  </a:schemeClr>
                </a:solidFill>
                <a:latin typeface="Arial" panose="020B0604020202020204" pitchFamily="34" charset="0"/>
                <a:cs typeface="Arial" panose="020B0604020202020204" pitchFamily="34" charset="0"/>
              </a:rPr>
              <a:t>five key themes:</a:t>
            </a:r>
          </a:p>
          <a:p>
            <a:pPr marL="466725" lvl="1" indent="-228600" defTabSz="685800">
              <a:spcBef>
                <a:spcPts val="300"/>
              </a:spcBef>
              <a:spcAft>
                <a:spcPts val="300"/>
              </a:spcAft>
              <a:buFont typeface="+mj-lt"/>
              <a:buAutoNum type="arabicPeriod"/>
              <a:defRPr/>
            </a:pPr>
            <a:r>
              <a:rPr lang="en-GB" sz="1000">
                <a:solidFill>
                  <a:schemeClr val="tx1">
                    <a:lumMod val="65000"/>
                    <a:lumOff val="35000"/>
                  </a:schemeClr>
                </a:solidFill>
                <a:latin typeface="Arial" panose="020B0604020202020204" pitchFamily="34" charset="0"/>
                <a:cs typeface="Arial" panose="020B0604020202020204" pitchFamily="34" charset="0"/>
              </a:rPr>
              <a:t>Patient Journey</a:t>
            </a:r>
          </a:p>
          <a:p>
            <a:pPr marL="466725" lvl="1" indent="-228600" defTabSz="685800">
              <a:spcBef>
                <a:spcPts val="300"/>
              </a:spcBef>
              <a:spcAft>
                <a:spcPts val="300"/>
              </a:spcAft>
              <a:buFont typeface="+mj-lt"/>
              <a:buAutoNum type="arabicPeriod"/>
              <a:defRPr/>
            </a:pPr>
            <a:r>
              <a:rPr lang="en-GB" sz="1000">
                <a:solidFill>
                  <a:schemeClr val="tx1">
                    <a:lumMod val="65000"/>
                    <a:lumOff val="35000"/>
                  </a:schemeClr>
                </a:solidFill>
                <a:latin typeface="Arial" panose="020B0604020202020204" pitchFamily="34" charset="0"/>
                <a:cs typeface="Arial" panose="020B0604020202020204" pitchFamily="34" charset="0"/>
              </a:rPr>
              <a:t>Culture</a:t>
            </a:r>
          </a:p>
          <a:p>
            <a:pPr marL="466725" lvl="1" indent="-228600" defTabSz="685800">
              <a:spcBef>
                <a:spcPts val="300"/>
              </a:spcBef>
              <a:spcAft>
                <a:spcPts val="300"/>
              </a:spcAft>
              <a:buFont typeface="+mj-lt"/>
              <a:buAutoNum type="arabicPeriod"/>
              <a:defRPr/>
            </a:pPr>
            <a:r>
              <a:rPr lang="en-GB" sz="1000">
                <a:solidFill>
                  <a:schemeClr val="tx1">
                    <a:lumMod val="65000"/>
                    <a:lumOff val="35000"/>
                  </a:schemeClr>
                </a:solidFill>
                <a:latin typeface="Arial" panose="020B0604020202020204" pitchFamily="34" charset="0"/>
                <a:cs typeface="Arial" panose="020B0604020202020204" pitchFamily="34" charset="0"/>
              </a:rPr>
              <a:t>Collaboration</a:t>
            </a:r>
          </a:p>
          <a:p>
            <a:pPr marL="466725" lvl="1" indent="-228600" defTabSz="685800">
              <a:spcBef>
                <a:spcPts val="300"/>
              </a:spcBef>
              <a:spcAft>
                <a:spcPts val="300"/>
              </a:spcAft>
              <a:buFont typeface="+mj-lt"/>
              <a:buAutoNum type="arabicPeriod"/>
              <a:defRPr/>
            </a:pPr>
            <a:r>
              <a:rPr lang="en-GB" sz="1000">
                <a:solidFill>
                  <a:schemeClr val="tx1">
                    <a:lumMod val="65000"/>
                    <a:lumOff val="35000"/>
                  </a:schemeClr>
                </a:solidFill>
                <a:latin typeface="Arial" panose="020B0604020202020204" pitchFamily="34" charset="0"/>
                <a:cs typeface="Arial" panose="020B0604020202020204" pitchFamily="34" charset="0"/>
              </a:rPr>
              <a:t>Patient centred care</a:t>
            </a:r>
          </a:p>
          <a:p>
            <a:pPr marL="466725" lvl="1" indent="-228600" defTabSz="685800">
              <a:spcBef>
                <a:spcPts val="300"/>
              </a:spcBef>
              <a:spcAft>
                <a:spcPts val="300"/>
              </a:spcAft>
              <a:buFont typeface="+mj-lt"/>
              <a:buAutoNum type="arabicPeriod"/>
              <a:defRPr/>
            </a:pPr>
            <a:r>
              <a:rPr lang="en-GB" sz="1000">
                <a:solidFill>
                  <a:schemeClr val="tx1">
                    <a:lumMod val="65000"/>
                    <a:lumOff val="35000"/>
                  </a:schemeClr>
                </a:solidFill>
                <a:latin typeface="Arial" panose="020B0604020202020204" pitchFamily="34" charset="0"/>
                <a:cs typeface="Arial" panose="020B0604020202020204" pitchFamily="34" charset="0"/>
              </a:rPr>
              <a:t>Equal Access</a:t>
            </a:r>
            <a:endParaRPr lang="en-GB" sz="1000">
              <a:solidFill>
                <a:schemeClr val="tx1">
                  <a:lumMod val="75000"/>
                  <a:lumOff val="25000"/>
                </a:schemeClr>
              </a:solidFill>
              <a:latin typeface="Arial" panose="020B0604020202020204" pitchFamily="34" charset="0"/>
              <a:cs typeface="Arial" panose="020B0604020202020204" pitchFamily="34" charset="0"/>
            </a:endParaRPr>
          </a:p>
          <a:p>
            <a:pPr marL="171450" lvl="0" indent="-171450" defTabSz="685800">
              <a:spcBef>
                <a:spcPts val="300"/>
              </a:spcBef>
              <a:spcAft>
                <a:spcPts val="300"/>
              </a:spcAft>
              <a:buFont typeface="Arial" panose="020B0604020202020204" pitchFamily="34" charset="0"/>
              <a:buChar char="•"/>
              <a:defRPr/>
            </a:pPr>
            <a:r>
              <a:rPr lang="en-GB" sz="1000">
                <a:solidFill>
                  <a:srgbClr val="000000">
                    <a:lumMod val="65000"/>
                    <a:lumOff val="35000"/>
                  </a:srgbClr>
                </a:solidFill>
                <a:latin typeface="Arial" panose="020B0604020202020204" pitchFamily="34" charset="0"/>
                <a:cs typeface="Arial" panose="020B0604020202020204" pitchFamily="34" charset="0"/>
              </a:rPr>
              <a:t>The vision for mental health services was defined as:</a:t>
            </a:r>
          </a:p>
          <a:p>
            <a:pPr marL="404813" lvl="1" indent="-166688" defTabSz="685800">
              <a:spcBef>
                <a:spcPts val="300"/>
              </a:spcBef>
              <a:spcAft>
                <a:spcPts val="300"/>
              </a:spcAft>
              <a:buFont typeface="Arial" panose="020B0604020202020204" pitchFamily="34" charset="0"/>
              <a:buChar char="•"/>
              <a:defRPr/>
            </a:pPr>
            <a:r>
              <a:rPr lang="en-GB" sz="1000" i="1">
                <a:solidFill>
                  <a:srgbClr val="000000">
                    <a:lumMod val="65000"/>
                    <a:lumOff val="35000"/>
                  </a:srgbClr>
                </a:solidFill>
                <a:latin typeface="Arial" panose="020B0604020202020204" pitchFamily="34" charset="0"/>
                <a:cs typeface="Arial" panose="020B0604020202020204" pitchFamily="34" charset="0"/>
              </a:rPr>
              <a:t>“</a:t>
            </a:r>
            <a:r>
              <a:rPr lang="en-GB" sz="1000" b="1" i="1">
                <a:solidFill>
                  <a:srgbClr val="000000">
                    <a:lumMod val="65000"/>
                    <a:lumOff val="35000"/>
                  </a:srgbClr>
                </a:solidFill>
                <a:latin typeface="Arial" panose="020B0604020202020204" pitchFamily="34" charset="0"/>
                <a:cs typeface="Arial" panose="020B0604020202020204" pitchFamily="34" charset="0"/>
              </a:rPr>
              <a:t>Our vision: residents of Shropshire, Telford and Wrekin experience their best mental health and wellbeing, and have easy access to the right treatment and support services, which are underpinned by hope and optimism.</a:t>
            </a:r>
            <a:r>
              <a:rPr lang="en-GB" sz="1000" i="1">
                <a:solidFill>
                  <a:srgbClr val="000000">
                    <a:lumMod val="65000"/>
                    <a:lumOff val="35000"/>
                  </a:srgbClr>
                </a:solidFill>
                <a:latin typeface="Arial" panose="020B0604020202020204" pitchFamily="34" charset="0"/>
                <a:cs typeface="Arial" panose="020B0604020202020204" pitchFamily="34" charset="0"/>
              </a:rPr>
              <a:t>”</a:t>
            </a:r>
          </a:p>
          <a:p>
            <a:pPr marL="171450" lvl="0" indent="-171450" defTabSz="685800">
              <a:spcBef>
                <a:spcPts val="300"/>
              </a:spcBef>
              <a:spcAft>
                <a:spcPts val="300"/>
              </a:spcAft>
              <a:buFont typeface="Arial" panose="020B0604020202020204" pitchFamily="34" charset="0"/>
              <a:buChar char="•"/>
              <a:defRPr/>
            </a:pPr>
            <a:r>
              <a:rPr lang="en-GB" sz="1000">
                <a:solidFill>
                  <a:srgbClr val="000000">
                    <a:lumMod val="65000"/>
                    <a:lumOff val="35000"/>
                  </a:srgbClr>
                </a:solidFill>
                <a:latin typeface="Arial" panose="020B0604020202020204" pitchFamily="34" charset="0"/>
                <a:cs typeface="Arial" panose="020B0604020202020204" pitchFamily="34" charset="0"/>
              </a:rPr>
              <a:t>Four ‘why’ statements were developed representing the reasons for the vision.</a:t>
            </a:r>
          </a:p>
          <a:p>
            <a:pPr marL="171450" lvl="0" indent="-171450" defTabSz="685800">
              <a:spcBef>
                <a:spcPts val="300"/>
              </a:spcBef>
              <a:spcAft>
                <a:spcPts val="300"/>
              </a:spcAft>
              <a:buFont typeface="Arial" panose="020B0604020202020204" pitchFamily="34" charset="0"/>
              <a:buChar char="•"/>
              <a:defRPr/>
            </a:pPr>
            <a:r>
              <a:rPr lang="en-GB" sz="1000">
                <a:solidFill>
                  <a:srgbClr val="000000">
                    <a:lumMod val="65000"/>
                    <a:lumOff val="35000"/>
                  </a:srgbClr>
                </a:solidFill>
                <a:latin typeface="Arial" panose="020B0604020202020204" pitchFamily="34" charset="0"/>
                <a:cs typeface="Arial" panose="020B0604020202020204" pitchFamily="34" charset="0"/>
              </a:rPr>
              <a:t>Eight ‘How’ statements were produced, forming the building blocks for the strategy to implement the vision.</a:t>
            </a:r>
            <a:endParaRPr lang="en-GB" sz="1000">
              <a:solidFill>
                <a:schemeClr val="tx1">
                  <a:lumMod val="75000"/>
                  <a:lumOff val="25000"/>
                </a:schemeClr>
              </a:solidFill>
              <a:latin typeface="Arial" panose="020B0604020202020204" pitchFamily="34" charset="0"/>
              <a:cs typeface="Arial" panose="020B0604020202020204" pitchFamily="34" charset="0"/>
            </a:endParaRPr>
          </a:p>
          <a:p>
            <a:pPr marL="628650" lvl="1" indent="-171450" defTabSz="685800">
              <a:spcBef>
                <a:spcPts val="300"/>
              </a:spcBef>
              <a:spcAft>
                <a:spcPts val="300"/>
              </a:spcAft>
              <a:buFont typeface="Arial" panose="020B0604020202020204" pitchFamily="34" charset="0"/>
              <a:buChar char="•"/>
              <a:defRPr/>
            </a:pPr>
            <a:endParaRPr lang="en-GB" sz="1000">
              <a:solidFill>
                <a:schemeClr val="tx1">
                  <a:lumMod val="65000"/>
                  <a:lumOff val="35000"/>
                </a:schemeClr>
              </a:solidFill>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6B47840B-56F0-5440-A0A4-30994039B249}"/>
              </a:ext>
            </a:extLst>
          </p:cNvPr>
          <p:cNvSpPr txBox="1"/>
          <p:nvPr/>
        </p:nvSpPr>
        <p:spPr>
          <a:xfrm>
            <a:off x="8448086" y="2093537"/>
            <a:ext cx="3162457" cy="3836948"/>
          </a:xfrm>
          <a:prstGeom prst="rect">
            <a:avLst/>
          </a:prstGeom>
          <a:noFill/>
        </p:spPr>
        <p:txBody>
          <a:bodyPr wrap="square" rtlCol="0">
            <a:spAutoFit/>
          </a:bodyPr>
          <a:lstStyle/>
          <a:p>
            <a:pPr marL="171450" lvl="0" indent="-171450" defTabSz="685800">
              <a:spcBef>
                <a:spcPts val="600"/>
              </a:spcBef>
              <a:spcAft>
                <a:spcPts val="600"/>
              </a:spcAft>
              <a:buFont typeface="Arial" panose="020B0604020202020204" pitchFamily="34" charset="0"/>
              <a:buChar char="•"/>
              <a:defRPr/>
            </a:pPr>
            <a:r>
              <a:rPr lang="en-GB" sz="1000">
                <a:solidFill>
                  <a:schemeClr val="tx1">
                    <a:lumMod val="65000"/>
                    <a:lumOff val="35000"/>
                  </a:schemeClr>
                </a:solidFill>
                <a:latin typeface="Arial" panose="020B0604020202020204" pitchFamily="34" charset="0"/>
                <a:cs typeface="Arial" panose="020B0604020202020204" pitchFamily="34" charset="0"/>
              </a:rPr>
              <a:t>To support the implementation of the vision and strategy for mental health services, a high-level roadmap has been developed. </a:t>
            </a:r>
          </a:p>
          <a:p>
            <a:pPr marL="171450" lvl="0" indent="-171450" defTabSz="685800">
              <a:spcBef>
                <a:spcPts val="600"/>
              </a:spcBef>
              <a:spcAft>
                <a:spcPts val="600"/>
              </a:spcAft>
              <a:buFont typeface="Arial" panose="020B0604020202020204" pitchFamily="34" charset="0"/>
              <a:buChar char="•"/>
              <a:defRPr/>
            </a:pPr>
            <a:r>
              <a:rPr lang="en-GB" sz="1000">
                <a:solidFill>
                  <a:schemeClr val="tx1">
                    <a:lumMod val="65000"/>
                    <a:lumOff val="35000"/>
                  </a:schemeClr>
                </a:solidFill>
                <a:latin typeface="Arial" panose="020B0604020202020204" pitchFamily="34" charset="0"/>
                <a:cs typeface="Arial" panose="020B0604020202020204" pitchFamily="34" charset="0"/>
              </a:rPr>
              <a:t>The roadmap is comprised of eight key strategic priorities;</a:t>
            </a:r>
          </a:p>
          <a:p>
            <a:pPr marL="503238" lvl="1" indent="-228600" defTabSz="685800">
              <a:spcBef>
                <a:spcPts val="400"/>
              </a:spcBef>
              <a:spcAft>
                <a:spcPts val="400"/>
              </a:spcAft>
              <a:buFont typeface="+mj-lt"/>
              <a:buAutoNum type="arabicPeriod"/>
              <a:defRPr/>
            </a:pPr>
            <a:r>
              <a:rPr lang="en-US" sz="1000">
                <a:solidFill>
                  <a:schemeClr val="tx2">
                    <a:lumMod val="65000"/>
                    <a:lumOff val="35000"/>
                  </a:schemeClr>
                </a:solidFill>
                <a:latin typeface="Arial" panose="020B0604020202020204" pitchFamily="34" charset="0"/>
                <a:cs typeface="Arial" panose="020B0604020202020204" pitchFamily="34" charset="0"/>
              </a:rPr>
              <a:t>Raise the profile and awareness of Mental Health</a:t>
            </a:r>
            <a:endParaRPr lang="en-GB" sz="1000">
              <a:solidFill>
                <a:schemeClr val="tx2">
                  <a:lumMod val="65000"/>
                  <a:lumOff val="35000"/>
                </a:schemeClr>
              </a:solidFill>
              <a:latin typeface="Arial" panose="020B0604020202020204" pitchFamily="34" charset="0"/>
              <a:cs typeface="Arial" panose="020B0604020202020204" pitchFamily="34" charset="0"/>
            </a:endParaRPr>
          </a:p>
          <a:p>
            <a:pPr marL="503238" lvl="1" indent="-228600" defTabSz="685800">
              <a:spcBef>
                <a:spcPts val="400"/>
              </a:spcBef>
              <a:spcAft>
                <a:spcPts val="400"/>
              </a:spcAft>
              <a:buFont typeface="+mj-lt"/>
              <a:buAutoNum type="arabicPeriod"/>
              <a:defRPr/>
            </a:pPr>
            <a:r>
              <a:rPr lang="en-GB" sz="1000">
                <a:solidFill>
                  <a:schemeClr val="tx2">
                    <a:lumMod val="65000"/>
                    <a:lumOff val="35000"/>
                  </a:schemeClr>
                </a:solidFill>
                <a:latin typeface="Arial" panose="020B0604020202020204" pitchFamily="34" charset="0"/>
                <a:cs typeface="Arial" panose="020B0604020202020204" pitchFamily="34" charset="0"/>
              </a:rPr>
              <a:t>Proactive prevention </a:t>
            </a:r>
          </a:p>
          <a:p>
            <a:pPr marL="503238" lvl="1" indent="-228600" defTabSz="685800">
              <a:spcBef>
                <a:spcPts val="400"/>
              </a:spcBef>
              <a:spcAft>
                <a:spcPts val="400"/>
              </a:spcAft>
              <a:buFont typeface="+mj-lt"/>
              <a:buAutoNum type="arabicPeriod"/>
              <a:defRPr/>
            </a:pPr>
            <a:r>
              <a:rPr lang="en-GB" sz="1000">
                <a:solidFill>
                  <a:schemeClr val="tx2">
                    <a:lumMod val="65000"/>
                    <a:lumOff val="35000"/>
                  </a:schemeClr>
                </a:solidFill>
                <a:latin typeface="Arial" panose="020B0604020202020204" pitchFamily="34" charset="0"/>
                <a:cs typeface="Arial" panose="020B0604020202020204" pitchFamily="34" charset="0"/>
              </a:rPr>
              <a:t>Easy access to support and services </a:t>
            </a:r>
          </a:p>
          <a:p>
            <a:pPr marL="503238" lvl="1" indent="-228600" defTabSz="685800">
              <a:spcBef>
                <a:spcPts val="400"/>
              </a:spcBef>
              <a:spcAft>
                <a:spcPts val="400"/>
              </a:spcAft>
              <a:buFont typeface="+mj-lt"/>
              <a:buAutoNum type="arabicPeriod"/>
              <a:defRPr/>
            </a:pPr>
            <a:r>
              <a:rPr lang="en-GB" sz="1000">
                <a:solidFill>
                  <a:schemeClr val="tx2">
                    <a:lumMod val="65000"/>
                    <a:lumOff val="35000"/>
                  </a:schemeClr>
                </a:solidFill>
                <a:latin typeface="Arial" panose="020B0604020202020204" pitchFamily="34" charset="0"/>
                <a:cs typeface="Arial" panose="020B0604020202020204" pitchFamily="34" charset="0"/>
              </a:rPr>
              <a:t>Act as one integrated system </a:t>
            </a:r>
          </a:p>
          <a:p>
            <a:pPr marL="503238" lvl="1" indent="-228600" defTabSz="685800">
              <a:spcBef>
                <a:spcPts val="400"/>
              </a:spcBef>
              <a:spcAft>
                <a:spcPts val="400"/>
              </a:spcAft>
              <a:buFont typeface="+mj-lt"/>
              <a:buAutoNum type="arabicPeriod"/>
              <a:defRPr/>
            </a:pPr>
            <a:r>
              <a:rPr lang="en-GB" sz="1000">
                <a:solidFill>
                  <a:schemeClr val="tx2">
                    <a:lumMod val="65000"/>
                    <a:lumOff val="35000"/>
                  </a:schemeClr>
                </a:solidFill>
                <a:latin typeface="Arial" panose="020B0604020202020204" pitchFamily="34" charset="0"/>
                <a:cs typeface="Arial" panose="020B0604020202020204" pitchFamily="34" charset="0"/>
              </a:rPr>
              <a:t>Focus on health inequalities </a:t>
            </a:r>
          </a:p>
          <a:p>
            <a:pPr marL="503238" lvl="1" indent="-228600" defTabSz="685800">
              <a:spcBef>
                <a:spcPts val="400"/>
              </a:spcBef>
              <a:spcAft>
                <a:spcPts val="400"/>
              </a:spcAft>
              <a:buFont typeface="+mj-lt"/>
              <a:buAutoNum type="arabicPeriod"/>
              <a:defRPr/>
            </a:pPr>
            <a:r>
              <a:rPr lang="en-GB" sz="1000">
                <a:solidFill>
                  <a:schemeClr val="tx2">
                    <a:lumMod val="65000"/>
                    <a:lumOff val="35000"/>
                  </a:schemeClr>
                </a:solidFill>
                <a:latin typeface="Arial" panose="020B0604020202020204" pitchFamily="34" charset="0"/>
                <a:cs typeface="Arial" panose="020B0604020202020204" pitchFamily="34" charset="0"/>
              </a:rPr>
              <a:t>Build community resources </a:t>
            </a:r>
          </a:p>
          <a:p>
            <a:pPr marL="503238" lvl="1" indent="-228600" defTabSz="685800">
              <a:spcBef>
                <a:spcPts val="400"/>
              </a:spcBef>
              <a:spcAft>
                <a:spcPts val="400"/>
              </a:spcAft>
              <a:buFont typeface="+mj-lt"/>
              <a:buAutoNum type="arabicPeriod"/>
              <a:defRPr/>
            </a:pPr>
            <a:r>
              <a:rPr lang="en-GB" sz="1000">
                <a:solidFill>
                  <a:schemeClr val="tx2">
                    <a:lumMod val="65000"/>
                    <a:lumOff val="35000"/>
                  </a:schemeClr>
                </a:solidFill>
                <a:latin typeface="Arial" panose="020B0604020202020204" pitchFamily="34" charset="0"/>
                <a:cs typeface="Arial" panose="020B0604020202020204" pitchFamily="34" charset="0"/>
              </a:rPr>
              <a:t>Support the workforce and their wellbeing</a:t>
            </a:r>
          </a:p>
          <a:p>
            <a:pPr marL="503238" lvl="1" indent="-228600" defTabSz="685800">
              <a:spcBef>
                <a:spcPts val="400"/>
              </a:spcBef>
              <a:spcAft>
                <a:spcPts val="400"/>
              </a:spcAft>
              <a:buFont typeface="+mj-lt"/>
              <a:buAutoNum type="arabicPeriod"/>
              <a:defRPr/>
            </a:pPr>
            <a:r>
              <a:rPr lang="en-GB" sz="1000">
                <a:solidFill>
                  <a:schemeClr val="tx2">
                    <a:lumMod val="65000"/>
                    <a:lumOff val="35000"/>
                  </a:schemeClr>
                </a:solidFill>
                <a:latin typeface="Arial" panose="020B0604020202020204" pitchFamily="34" charset="0"/>
                <a:cs typeface="Arial" panose="020B0604020202020204" pitchFamily="34" charset="0"/>
              </a:rPr>
              <a:t>Supported transition from services</a:t>
            </a:r>
          </a:p>
          <a:p>
            <a:pPr marL="182563" lvl="1" indent="-165100" defTabSz="685800">
              <a:spcBef>
                <a:spcPts val="600"/>
              </a:spcBef>
              <a:spcAft>
                <a:spcPts val="600"/>
              </a:spcAft>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These strategic priorities form the basis of the prioritised roadmap of future activity for STW mental health services. </a:t>
            </a:r>
          </a:p>
        </p:txBody>
      </p:sp>
      <p:sp>
        <p:nvSpPr>
          <p:cNvPr id="26" name="TextBox 25">
            <a:extLst>
              <a:ext uri="{FF2B5EF4-FFF2-40B4-BE49-F238E27FC236}">
                <a16:creationId xmlns:a16="http://schemas.microsoft.com/office/drawing/2014/main" id="{27A44249-673A-9A48-BCCB-06257C40F871}"/>
              </a:ext>
            </a:extLst>
          </p:cNvPr>
          <p:cNvSpPr txBox="1"/>
          <p:nvPr/>
        </p:nvSpPr>
        <p:spPr>
          <a:xfrm>
            <a:off x="2272939" y="5942194"/>
            <a:ext cx="1191280" cy="246221"/>
          </a:xfrm>
          <a:prstGeom prst="rect">
            <a:avLst/>
          </a:prstGeom>
          <a:noFill/>
        </p:spPr>
        <p:txBody>
          <a:bodyPr wrap="square" lIns="91440" tIns="45720" rIns="91440" bIns="45720" rtlCol="0" anchor="t">
            <a:spAutoFit/>
          </a:bodyPr>
          <a:lstStyle/>
          <a:p>
            <a:pPr marR="0" lvl="0" algn="ctr" defTabSz="914400" rtl="0" eaLnBrk="1" fontAlgn="auto" latinLnBrk="0" hangingPunct="1">
              <a:lnSpc>
                <a:spcPct val="100000"/>
              </a:lnSpc>
              <a:spcBef>
                <a:spcPts val="0"/>
              </a:spcBef>
              <a:spcAft>
                <a:spcPts val="600"/>
              </a:spcAft>
              <a:buClr>
                <a:srgbClr val="50235C"/>
              </a:buClr>
              <a:buSzTx/>
              <a:tabLst/>
              <a:defRPr/>
            </a:pPr>
            <a:r>
              <a:rPr lang="en-GB" sz="1000" spc="-5">
                <a:solidFill>
                  <a:schemeClr val="tx1">
                    <a:lumMod val="50000"/>
                    <a:lumOff val="50000"/>
                  </a:schemeClr>
                </a:solidFill>
                <a:latin typeface="Arial" panose="020B0604020202020204"/>
                <a:cs typeface="Arial"/>
              </a:rPr>
              <a:t>Design principles</a:t>
            </a:r>
            <a:endParaRPr kumimoji="0" lang="en-GB" sz="10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endParaRPr>
          </a:p>
        </p:txBody>
      </p:sp>
      <p:pic>
        <p:nvPicPr>
          <p:cNvPr id="24" name="Picture 23">
            <a:extLst>
              <a:ext uri="{FF2B5EF4-FFF2-40B4-BE49-F238E27FC236}">
                <a16:creationId xmlns:a16="http://schemas.microsoft.com/office/drawing/2014/main" id="{E4EC5E62-0674-1D4E-AD21-7CCA08CAB0A2}"/>
              </a:ext>
            </a:extLst>
          </p:cNvPr>
          <p:cNvPicPr>
            <a:picLocks noChangeAspect="1"/>
          </p:cNvPicPr>
          <p:nvPr/>
        </p:nvPicPr>
        <p:blipFill>
          <a:blip r:embed="rId8"/>
          <a:stretch>
            <a:fillRect/>
          </a:stretch>
        </p:blipFill>
        <p:spPr>
          <a:xfrm>
            <a:off x="705485" y="5137998"/>
            <a:ext cx="1200028" cy="675016"/>
          </a:xfrm>
          <a:prstGeom prst="rect">
            <a:avLst/>
          </a:prstGeom>
          <a:ln>
            <a:solidFill>
              <a:srgbClr val="50235C"/>
            </a:solidFill>
          </a:ln>
          <a:effectLst>
            <a:outerShdw blurRad="50800" dist="38100" dir="2700000" algn="tl" rotWithShape="0">
              <a:prstClr val="black">
                <a:alpha val="40000"/>
              </a:prstClr>
            </a:outerShdw>
          </a:effectLst>
        </p:spPr>
      </p:pic>
      <p:pic>
        <p:nvPicPr>
          <p:cNvPr id="25" name="Picture 24">
            <a:extLst>
              <a:ext uri="{FF2B5EF4-FFF2-40B4-BE49-F238E27FC236}">
                <a16:creationId xmlns:a16="http://schemas.microsoft.com/office/drawing/2014/main" id="{A5BE0438-DEFC-F341-A9E8-148205E3A022}"/>
              </a:ext>
            </a:extLst>
          </p:cNvPr>
          <p:cNvPicPr>
            <a:picLocks noChangeAspect="1"/>
          </p:cNvPicPr>
          <p:nvPr/>
        </p:nvPicPr>
        <p:blipFill>
          <a:blip r:embed="rId9"/>
          <a:stretch>
            <a:fillRect/>
          </a:stretch>
        </p:blipFill>
        <p:spPr>
          <a:xfrm>
            <a:off x="2264191" y="5137998"/>
            <a:ext cx="1200028" cy="675016"/>
          </a:xfrm>
          <a:prstGeom prst="rect">
            <a:avLst/>
          </a:prstGeom>
          <a:ln>
            <a:solidFill>
              <a:srgbClr val="50235C"/>
            </a:solidFill>
          </a:ln>
          <a:effectLst>
            <a:outerShdw blurRad="50800" dist="38100" dir="2700000" algn="tl" rotWithShape="0">
              <a:prstClr val="black">
                <a:alpha val="40000"/>
              </a:prstClr>
            </a:outerShdw>
          </a:effectLst>
        </p:spPr>
      </p:pic>
      <p:graphicFrame>
        <p:nvGraphicFramePr>
          <p:cNvPr id="28" name="Table 27">
            <a:extLst>
              <a:ext uri="{FF2B5EF4-FFF2-40B4-BE49-F238E27FC236}">
                <a16:creationId xmlns:a16="http://schemas.microsoft.com/office/drawing/2014/main" id="{56874D02-E3C8-AA49-9C14-12271406F470}"/>
              </a:ext>
            </a:extLst>
          </p:cNvPr>
          <p:cNvGraphicFramePr>
            <a:graphicFrameLocks noGrp="1"/>
          </p:cNvGraphicFramePr>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A"/>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Tree>
    <p:extLst>
      <p:ext uri="{BB962C8B-B14F-4D97-AF65-F5344CB8AC3E}">
        <p14:creationId xmlns:p14="http://schemas.microsoft.com/office/powerpoint/2010/main" val="231972450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C1911D-A553-CA48-B7BE-8213EBDB7BE2}"/>
              </a:ext>
            </a:extLst>
          </p:cNvPr>
          <p:cNvSpPr>
            <a:spLocks noGrp="1"/>
          </p:cNvSpPr>
          <p:nvPr>
            <p:ph type="title"/>
          </p:nvPr>
        </p:nvSpPr>
        <p:spPr/>
        <p:txBody>
          <a:bodyPr/>
          <a:lstStyle/>
          <a:p>
            <a:r>
              <a:rPr lang="en-GB"/>
              <a:t>Underpinning design principles</a:t>
            </a:r>
          </a:p>
        </p:txBody>
      </p:sp>
      <p:sp>
        <p:nvSpPr>
          <p:cNvPr id="5" name="Footer Placeholder 4">
            <a:extLst>
              <a:ext uri="{FF2B5EF4-FFF2-40B4-BE49-F238E27FC236}">
                <a16:creationId xmlns:a16="http://schemas.microsoft.com/office/drawing/2014/main" id="{68F55BC7-8D5A-E643-B883-789527B0BD23}"/>
              </a:ext>
            </a:extLst>
          </p:cNvPr>
          <p:cNvSpPr>
            <a:spLocks noGrp="1"/>
          </p:cNvSpPr>
          <p:nvPr>
            <p:ph type="ftr" sz="quarter" idx="13"/>
          </p:nvPr>
        </p:nvSpPr>
        <p:spPr/>
        <p:txBody>
          <a:bodyPr/>
          <a:lstStyle/>
          <a:p>
            <a:r>
              <a:rPr lang="en-GB"/>
              <a:t>© Moorhouse 2021</a:t>
            </a:r>
          </a:p>
        </p:txBody>
      </p:sp>
      <p:sp>
        <p:nvSpPr>
          <p:cNvPr id="8" name="Text Placeholder 7">
            <a:extLst>
              <a:ext uri="{FF2B5EF4-FFF2-40B4-BE49-F238E27FC236}">
                <a16:creationId xmlns:a16="http://schemas.microsoft.com/office/drawing/2014/main" id="{F1C83EA9-5794-4990-80E0-DF214A10237B}"/>
              </a:ext>
            </a:extLst>
          </p:cNvPr>
          <p:cNvSpPr>
            <a:spLocks noGrp="1"/>
          </p:cNvSpPr>
          <p:nvPr>
            <p:ph type="body" sz="quarter" idx="12"/>
          </p:nvPr>
        </p:nvSpPr>
        <p:spPr>
          <a:xfrm>
            <a:off x="510637" y="851055"/>
            <a:ext cx="11129675" cy="729234"/>
          </a:xfrm>
        </p:spPr>
        <p:txBody>
          <a:bodyPr/>
          <a:lstStyle/>
          <a:p>
            <a:r>
              <a:rPr lang="en-GB" sz="1200" b="1"/>
              <a:t>Design principles are a set of values and aims that act as a compass for the vision statement. Once agreed upon, they act as signposts that keeps the team on the same path as they move through the process of creating the overarching vision. Throughout the vision and strategy development workshops, 17 design principles have been identified. </a:t>
            </a:r>
          </a:p>
        </p:txBody>
      </p:sp>
      <p:graphicFrame>
        <p:nvGraphicFramePr>
          <p:cNvPr id="44" name="Table 43">
            <a:extLst>
              <a:ext uri="{FF2B5EF4-FFF2-40B4-BE49-F238E27FC236}">
                <a16:creationId xmlns:a16="http://schemas.microsoft.com/office/drawing/2014/main" id="{FBC141D1-68F1-8E40-B6FF-3F22D1C7733B}"/>
              </a:ext>
            </a:extLst>
          </p:cNvPr>
          <p:cNvGraphicFramePr>
            <a:graphicFrameLocks noGrp="1"/>
          </p:cNvGraphicFramePr>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A"/>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graphicFrame>
        <p:nvGraphicFramePr>
          <p:cNvPr id="4" name="Table 3">
            <a:extLst>
              <a:ext uri="{FF2B5EF4-FFF2-40B4-BE49-F238E27FC236}">
                <a16:creationId xmlns:a16="http://schemas.microsoft.com/office/drawing/2014/main" id="{5B85875E-159E-C242-A11A-2F415E56E063}"/>
              </a:ext>
            </a:extLst>
          </p:cNvPr>
          <p:cNvGraphicFramePr>
            <a:graphicFrameLocks noGrp="1"/>
          </p:cNvGraphicFramePr>
          <p:nvPr>
            <p:extLst>
              <p:ext uri="{D42A27DB-BD31-4B8C-83A1-F6EECF244321}">
                <p14:modId xmlns:p14="http://schemas.microsoft.com/office/powerpoint/2010/main" val="3381609008"/>
              </p:ext>
            </p:extLst>
          </p:nvPr>
        </p:nvGraphicFramePr>
        <p:xfrm>
          <a:off x="586395" y="2087339"/>
          <a:ext cx="11019210" cy="3641408"/>
        </p:xfrm>
        <a:graphic>
          <a:graphicData uri="http://schemas.openxmlformats.org/drawingml/2006/table">
            <a:tbl>
              <a:tblPr firstRow="1" bandRow="1">
                <a:tableStyleId>{5C22544A-7EE6-4342-B048-85BDC9FD1C3A}</a:tableStyleId>
              </a:tblPr>
              <a:tblGrid>
                <a:gridCol w="2203842">
                  <a:extLst>
                    <a:ext uri="{9D8B030D-6E8A-4147-A177-3AD203B41FA5}">
                      <a16:colId xmlns:a16="http://schemas.microsoft.com/office/drawing/2014/main" val="3295494681"/>
                    </a:ext>
                  </a:extLst>
                </a:gridCol>
                <a:gridCol w="2203842">
                  <a:extLst>
                    <a:ext uri="{9D8B030D-6E8A-4147-A177-3AD203B41FA5}">
                      <a16:colId xmlns:a16="http://schemas.microsoft.com/office/drawing/2014/main" val="304628148"/>
                    </a:ext>
                  </a:extLst>
                </a:gridCol>
                <a:gridCol w="2203842">
                  <a:extLst>
                    <a:ext uri="{9D8B030D-6E8A-4147-A177-3AD203B41FA5}">
                      <a16:colId xmlns:a16="http://schemas.microsoft.com/office/drawing/2014/main" val="3801450841"/>
                    </a:ext>
                  </a:extLst>
                </a:gridCol>
                <a:gridCol w="2203842">
                  <a:extLst>
                    <a:ext uri="{9D8B030D-6E8A-4147-A177-3AD203B41FA5}">
                      <a16:colId xmlns:a16="http://schemas.microsoft.com/office/drawing/2014/main" val="3043013315"/>
                    </a:ext>
                  </a:extLst>
                </a:gridCol>
                <a:gridCol w="2203842">
                  <a:extLst>
                    <a:ext uri="{9D8B030D-6E8A-4147-A177-3AD203B41FA5}">
                      <a16:colId xmlns:a16="http://schemas.microsoft.com/office/drawing/2014/main" val="4148585678"/>
                    </a:ext>
                  </a:extLst>
                </a:gridCol>
              </a:tblGrid>
              <a:tr h="940423">
                <a:tc>
                  <a:txBody>
                    <a:bodyPr/>
                    <a:lstStyle/>
                    <a:p>
                      <a:pPr algn="ctr"/>
                      <a:endParaRPr lang="en-GB" sz="1000" noProof="0">
                        <a:solidFill>
                          <a:srgbClr val="50235C"/>
                        </a:solidFill>
                        <a:latin typeface="Arial" panose="020B0604020202020204" pitchFamily="34" charset="0"/>
                        <a:cs typeface="Arial" panose="020B0604020202020204" pitchFamily="34" charset="0"/>
                      </a:endParaRPr>
                    </a:p>
                  </a:txBody>
                  <a:tcPr marL="108000" marR="108000" marT="108000" marB="108000" anchor="ctr">
                    <a:lnL w="12700" cmpd="sng">
                      <a:noFill/>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000" noProof="0">
                        <a:solidFill>
                          <a:srgbClr val="50235C"/>
                        </a:solidFill>
                        <a:latin typeface="Arial" panose="020B0604020202020204" pitchFamily="34" charset="0"/>
                        <a:cs typeface="Arial" panose="020B0604020202020204" pitchFamily="34" charset="0"/>
                      </a:endParaRPr>
                    </a:p>
                  </a:txBody>
                  <a:tcPr marL="108000" marR="108000" marT="108000" marB="10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000" noProof="0">
                        <a:solidFill>
                          <a:srgbClr val="50235C"/>
                        </a:solidFill>
                        <a:latin typeface="Arial" panose="020B0604020202020204" pitchFamily="34" charset="0"/>
                        <a:cs typeface="Arial" panose="020B0604020202020204" pitchFamily="34" charset="0"/>
                      </a:endParaRPr>
                    </a:p>
                  </a:txBody>
                  <a:tcPr marL="108000" marR="108000" marT="108000" marB="10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000" noProof="0">
                        <a:solidFill>
                          <a:srgbClr val="50235C"/>
                        </a:solidFill>
                        <a:latin typeface="Arial" panose="020B0604020202020204" pitchFamily="34" charset="0"/>
                        <a:cs typeface="Arial" panose="020B0604020202020204" pitchFamily="34" charset="0"/>
                      </a:endParaRPr>
                    </a:p>
                  </a:txBody>
                  <a:tcPr marL="108000" marR="108000" marT="108000" marB="10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000" noProof="0">
                        <a:solidFill>
                          <a:srgbClr val="50235C"/>
                        </a:solidFill>
                        <a:latin typeface="Arial" panose="020B0604020202020204" pitchFamily="34" charset="0"/>
                        <a:cs typeface="Arial" panose="020B0604020202020204" pitchFamily="34" charset="0"/>
                      </a:endParaRPr>
                    </a:p>
                  </a:txBody>
                  <a:tcPr marL="108000" marR="108000" marT="108000" marB="108000" anchor="ctr">
                    <a:lnL w="12700" cap="flat" cmpd="sng" algn="ctr">
                      <a:solidFill>
                        <a:schemeClr val="bg1">
                          <a:lumMod val="85000"/>
                        </a:schemeClr>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81218454"/>
                  </a:ext>
                </a:extLst>
              </a:tr>
              <a:tr h="327360">
                <a:tc>
                  <a:txBody>
                    <a:bodyPr/>
                    <a:lstStyle/>
                    <a:p>
                      <a:pPr algn="ctr"/>
                      <a:r>
                        <a:rPr lang="en-GB" sz="1050" b="1" noProof="0">
                          <a:solidFill>
                            <a:srgbClr val="50235C"/>
                          </a:solidFill>
                          <a:latin typeface="Arial" panose="020B0604020202020204" pitchFamily="34" charset="0"/>
                          <a:cs typeface="Arial" panose="020B0604020202020204" pitchFamily="34" charset="0"/>
                        </a:rPr>
                        <a:t>Patient Journey </a:t>
                      </a:r>
                    </a:p>
                  </a:txBody>
                  <a:tcPr marL="108000" marR="108000" marT="108000" marB="108000" anchor="ctr">
                    <a:lnL w="12700" cmpd="sng">
                      <a:noFill/>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1" noProof="0">
                          <a:solidFill>
                            <a:srgbClr val="50235C"/>
                          </a:solidFill>
                          <a:latin typeface="Arial" panose="020B0604020202020204" pitchFamily="34" charset="0"/>
                          <a:cs typeface="Arial" panose="020B0604020202020204" pitchFamily="34" charset="0"/>
                        </a:rPr>
                        <a:t>Culture </a:t>
                      </a:r>
                    </a:p>
                  </a:txBody>
                  <a:tcPr marL="108000" marR="108000" marT="108000" marB="10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1" noProof="0">
                          <a:solidFill>
                            <a:srgbClr val="50235C"/>
                          </a:solidFill>
                          <a:latin typeface="Arial" panose="020B0604020202020204" pitchFamily="34" charset="0"/>
                          <a:cs typeface="Arial" panose="020B0604020202020204" pitchFamily="34" charset="0"/>
                        </a:rPr>
                        <a:t>Collaboration </a:t>
                      </a:r>
                    </a:p>
                  </a:txBody>
                  <a:tcPr marL="108000" marR="108000" marT="108000" marB="10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1" noProof="0">
                          <a:solidFill>
                            <a:srgbClr val="50235C"/>
                          </a:solidFill>
                          <a:latin typeface="Arial" panose="020B0604020202020204" pitchFamily="34" charset="0"/>
                          <a:cs typeface="Arial" panose="020B0604020202020204" pitchFamily="34" charset="0"/>
                        </a:rPr>
                        <a:t>Patient Centred </a:t>
                      </a:r>
                    </a:p>
                  </a:txBody>
                  <a:tcPr marL="108000" marR="108000" marT="108000" marB="10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1" noProof="0">
                          <a:solidFill>
                            <a:srgbClr val="50235C"/>
                          </a:solidFill>
                          <a:latin typeface="Arial" panose="020B0604020202020204" pitchFamily="34" charset="0"/>
                          <a:cs typeface="Arial" panose="020B0604020202020204" pitchFamily="34" charset="0"/>
                        </a:rPr>
                        <a:t>Equal Access </a:t>
                      </a:r>
                    </a:p>
                  </a:txBody>
                  <a:tcPr marL="108000" marR="108000" marT="108000" marB="108000" anchor="ctr">
                    <a:lnL w="12700" cap="flat" cmpd="sng" algn="ctr">
                      <a:solidFill>
                        <a:schemeClr val="bg1">
                          <a:lumMod val="85000"/>
                        </a:schemeClr>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0737541"/>
                  </a:ext>
                </a:extLst>
              </a:tr>
              <a:tr h="2324965">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noProof="0">
                          <a:solidFill>
                            <a:schemeClr val="tx2">
                              <a:lumMod val="65000"/>
                              <a:lumOff val="35000"/>
                            </a:schemeClr>
                          </a:solidFill>
                          <a:latin typeface="+mn-lt"/>
                          <a:ea typeface="+mn-ea"/>
                          <a:cs typeface="+mn-cs"/>
                        </a:rPr>
                        <a:t>Easy and timely support to services, advice and informa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00" kern="1200" noProof="0">
                        <a:solidFill>
                          <a:schemeClr val="tx2">
                            <a:lumMod val="65000"/>
                            <a:lumOff val="35000"/>
                          </a:schemeClr>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a:solidFill>
                            <a:schemeClr val="tx2">
                              <a:lumMod val="65000"/>
                              <a:lumOff val="35000"/>
                            </a:schemeClr>
                          </a:solidFill>
                          <a:latin typeface="+mn-lt"/>
                          <a:ea typeface="+mn-ea"/>
                          <a:cs typeface="+mn-cs"/>
                        </a:rPr>
                        <a:t>Strength based conversations / approach at every sta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00" kern="1200" noProof="0">
                        <a:solidFill>
                          <a:schemeClr val="tx2">
                            <a:lumMod val="65000"/>
                            <a:lumOff val="35000"/>
                          </a:schemeClr>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a:solidFill>
                            <a:schemeClr val="tx2">
                              <a:lumMod val="65000"/>
                              <a:lumOff val="35000"/>
                            </a:schemeClr>
                          </a:solidFill>
                          <a:latin typeface="+mn-lt"/>
                          <a:ea typeface="+mn-ea"/>
                          <a:cs typeface="+mn-cs"/>
                        </a:rPr>
                        <a:t>Soft landing out of services – peer support, step down care and suppor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00" kern="1200" noProof="0">
                        <a:solidFill>
                          <a:schemeClr val="tx2">
                            <a:lumMod val="65000"/>
                            <a:lumOff val="35000"/>
                          </a:schemeClr>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a:solidFill>
                            <a:schemeClr val="tx2">
                              <a:lumMod val="65000"/>
                              <a:lumOff val="35000"/>
                            </a:schemeClr>
                          </a:solidFill>
                          <a:latin typeface="+mn-lt"/>
                          <a:ea typeface="+mn-ea"/>
                          <a:cs typeface="+mn-cs"/>
                        </a:rPr>
                        <a:t>Next steps / journey / integrated pathway is clear and dynami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00" kern="1200" noProof="0">
                        <a:solidFill>
                          <a:schemeClr val="tx2">
                            <a:lumMod val="65000"/>
                            <a:lumOff val="35000"/>
                          </a:schemeClr>
                        </a:solidFill>
                        <a:latin typeface="+mn-lt"/>
                        <a:ea typeface="+mn-ea"/>
                        <a:cs typeface="+mn-cs"/>
                      </a:endParaRPr>
                    </a:p>
                  </a:txBody>
                  <a:tcPr>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a:solidFill>
                            <a:schemeClr val="tx2">
                              <a:lumMod val="65000"/>
                              <a:lumOff val="35000"/>
                            </a:schemeClr>
                          </a:solidFill>
                          <a:latin typeface="+mn-lt"/>
                          <a:ea typeface="+mn-ea"/>
                          <a:cs typeface="+mn-cs"/>
                        </a:rPr>
                        <a:t>Professional curiosity – Easy in / Easy out – Assertive Outreach</a:t>
                      </a:r>
                      <a:endParaRPr lang="english-GB" sz="1000" kern="1200">
                        <a:solidFill>
                          <a:schemeClr val="tx2">
                            <a:lumMod val="65000"/>
                            <a:lumOff val="35000"/>
                          </a:schemeClr>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00" kern="1200" noProof="0">
                        <a:solidFill>
                          <a:schemeClr val="tx2">
                            <a:lumMod val="65000"/>
                            <a:lumOff val="35000"/>
                          </a:schemeClr>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a:solidFill>
                            <a:schemeClr val="tx2">
                              <a:lumMod val="65000"/>
                              <a:lumOff val="35000"/>
                            </a:schemeClr>
                          </a:solidFill>
                          <a:latin typeface="+mn-lt"/>
                          <a:ea typeface="+mn-ea"/>
                          <a:cs typeface="+mn-cs"/>
                        </a:rPr>
                        <a:t>Actively encourage innovation / culture of harnessing and encouraging innovation</a:t>
                      </a:r>
                      <a:endParaRPr lang="english-GB" sz="1000" kern="1200">
                        <a:solidFill>
                          <a:schemeClr val="tx2">
                            <a:lumMod val="65000"/>
                            <a:lumOff val="35000"/>
                          </a:schemeClr>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00" kern="1200" noProof="0">
                        <a:solidFill>
                          <a:schemeClr val="tx2">
                            <a:lumMod val="65000"/>
                            <a:lumOff val="35000"/>
                          </a:schemeClr>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a:solidFill>
                            <a:schemeClr val="tx2">
                              <a:lumMod val="65000"/>
                              <a:lumOff val="35000"/>
                            </a:schemeClr>
                          </a:solidFill>
                          <a:latin typeface="+mn-lt"/>
                          <a:ea typeface="+mn-ea"/>
                          <a:cs typeface="+mn-cs"/>
                        </a:rPr>
                        <a:t>Culture of ownership or high trust across the system and positive risk taking</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000" kern="1200">
                          <a:solidFill>
                            <a:schemeClr val="tx2">
                              <a:lumMod val="65000"/>
                              <a:lumOff val="35000"/>
                            </a:schemeClr>
                          </a:solidFill>
                          <a:latin typeface="+mn-lt"/>
                          <a:ea typeface="+mn-ea"/>
                          <a:cs typeface="+mn-cs"/>
                        </a:rPr>
                        <a:t>Wrapping a team around the worker to support an individual</a:t>
                      </a:r>
                      <a:endParaRPr lang="en-GB" sz="1000" kern="1200" noProof="0">
                        <a:solidFill>
                          <a:schemeClr val="tx2">
                            <a:lumMod val="65000"/>
                            <a:lumOff val="35000"/>
                          </a:schemeClr>
                        </a:solidFill>
                        <a:latin typeface="+mn-lt"/>
                        <a:ea typeface="+mn-ea"/>
                        <a:cs typeface="+mn-cs"/>
                      </a:endParaRP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000" kern="1200">
                          <a:solidFill>
                            <a:schemeClr val="tx2">
                              <a:lumMod val="65000"/>
                              <a:lumOff val="35000"/>
                            </a:schemeClr>
                          </a:solidFill>
                          <a:latin typeface="+mn-lt"/>
                          <a:ea typeface="+mn-ea"/>
                          <a:cs typeface="+mn-cs"/>
                        </a:rPr>
                        <a:t>Lessons learnt are shared and utilised promptly</a:t>
                      </a:r>
                      <a:endParaRPr lang="en-GB" sz="1000" kern="1200" noProof="0">
                        <a:solidFill>
                          <a:schemeClr val="tx2">
                            <a:lumMod val="65000"/>
                            <a:lumOff val="35000"/>
                          </a:schemeClr>
                        </a:solidFill>
                        <a:latin typeface="+mn-lt"/>
                        <a:ea typeface="+mn-ea"/>
                        <a:cs typeface="+mn-cs"/>
                      </a:endParaRP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000" kern="1200">
                          <a:solidFill>
                            <a:schemeClr val="tx2">
                              <a:lumMod val="65000"/>
                              <a:lumOff val="35000"/>
                            </a:schemeClr>
                          </a:solidFill>
                          <a:latin typeface="+mn-lt"/>
                          <a:ea typeface="+mn-ea"/>
                          <a:cs typeface="+mn-cs"/>
                        </a:rPr>
                        <a:t>Collaboration across the system</a:t>
                      </a:r>
                      <a:endParaRPr lang="en-GB" sz="1000" kern="1200" noProof="0">
                        <a:solidFill>
                          <a:schemeClr val="tx2">
                            <a:lumMod val="65000"/>
                            <a:lumOff val="35000"/>
                          </a:schemeClr>
                        </a:solidFill>
                        <a:latin typeface="+mn-lt"/>
                        <a:ea typeface="+mn-ea"/>
                        <a:cs typeface="+mn-cs"/>
                      </a:endParaRP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lish-GB" sz="1000" kern="1200">
                          <a:solidFill>
                            <a:schemeClr val="tx2">
                              <a:lumMod val="65000"/>
                              <a:lumOff val="35000"/>
                            </a:schemeClr>
                          </a:solidFill>
                          <a:latin typeface="+mn-lt"/>
                          <a:ea typeface="+mn-ea"/>
                          <a:cs typeface="+mn-cs"/>
                        </a:rPr>
                        <a:t>Able to share information </a:t>
                      </a:r>
                      <a:r>
                        <a:rPr lang="en-GB" sz="1000" kern="1200">
                          <a:solidFill>
                            <a:schemeClr val="tx2">
                              <a:lumMod val="65000"/>
                              <a:lumOff val="35000"/>
                            </a:schemeClr>
                          </a:solidFill>
                          <a:latin typeface="+mn-lt"/>
                          <a:ea typeface="+mn-ea"/>
                          <a:cs typeface="+mn-cs"/>
                        </a:rPr>
                        <a:t>and risk </a:t>
                      </a:r>
                      <a:r>
                        <a:rPr lang="english-GB" sz="1000" kern="1200">
                          <a:solidFill>
                            <a:schemeClr val="tx2">
                              <a:lumMod val="65000"/>
                              <a:lumOff val="35000"/>
                            </a:schemeClr>
                          </a:solidFill>
                          <a:latin typeface="+mn-lt"/>
                          <a:ea typeface="+mn-ea"/>
                          <a:cs typeface="+mn-cs"/>
                        </a:rPr>
                        <a:t>freely across orgs, across IC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00" kern="1200" noProof="0">
                        <a:solidFill>
                          <a:schemeClr val="tx2">
                            <a:lumMod val="65000"/>
                            <a:lumOff val="35000"/>
                          </a:schemeClr>
                        </a:solidFill>
                        <a:latin typeface="+mn-lt"/>
                        <a:ea typeface="+mn-ea"/>
                        <a:cs typeface="+mn-c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a:solidFill>
                            <a:schemeClr val="tx2">
                              <a:lumMod val="65000"/>
                              <a:lumOff val="35000"/>
                            </a:schemeClr>
                          </a:solidFill>
                          <a:latin typeface="+mn-lt"/>
                          <a:ea typeface="+mn-ea"/>
                          <a:cs typeface="+mn-cs"/>
                        </a:rPr>
                        <a:t>Keeping service users, families and carers at the heart of the syste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00" kern="1200" noProof="0">
                        <a:solidFill>
                          <a:schemeClr val="tx2">
                            <a:lumMod val="65000"/>
                            <a:lumOff val="35000"/>
                          </a:schemeClr>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a:solidFill>
                            <a:schemeClr val="tx2">
                              <a:lumMod val="65000"/>
                              <a:lumOff val="35000"/>
                            </a:schemeClr>
                          </a:solidFill>
                          <a:latin typeface="+mn-lt"/>
                          <a:ea typeface="+mn-ea"/>
                          <a:cs typeface="+mn-cs"/>
                        </a:rPr>
                        <a:t>Intervention is focused on recovery / living your best life (individually dependa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00" kern="1200" noProof="0">
                        <a:solidFill>
                          <a:schemeClr val="tx2">
                            <a:lumMod val="65000"/>
                            <a:lumOff val="35000"/>
                          </a:schemeClr>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a:solidFill>
                            <a:schemeClr val="tx2">
                              <a:lumMod val="65000"/>
                              <a:lumOff val="35000"/>
                            </a:schemeClr>
                          </a:solidFill>
                          <a:latin typeface="+mn-lt"/>
                          <a:ea typeface="+mn-ea"/>
                          <a:cs typeface="+mn-cs"/>
                        </a:rPr>
                        <a:t>Holistic care – integration of physical and mental health</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a:solidFill>
                            <a:schemeClr val="tx2">
                              <a:lumMod val="65000"/>
                              <a:lumOff val="35000"/>
                            </a:schemeClr>
                          </a:solidFill>
                          <a:latin typeface="+mn-lt"/>
                          <a:ea typeface="+mn-ea"/>
                          <a:cs typeface="+mn-cs"/>
                        </a:rPr>
                        <a:t>Health inequalities are taken into accou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00" kern="1200" noProof="0">
                        <a:solidFill>
                          <a:schemeClr val="tx2">
                            <a:lumMod val="65000"/>
                            <a:lumOff val="35000"/>
                          </a:schemeClr>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a:solidFill>
                            <a:schemeClr val="tx2">
                              <a:lumMod val="65000"/>
                              <a:lumOff val="35000"/>
                            </a:schemeClr>
                          </a:solidFill>
                          <a:latin typeface="+mn-lt"/>
                          <a:ea typeface="+mn-ea"/>
                          <a:cs typeface="+mn-cs"/>
                        </a:rPr>
                        <a:t>Mental Health services that are easy to understand and acc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00" kern="1200" noProof="0">
                        <a:solidFill>
                          <a:schemeClr val="tx2">
                            <a:lumMod val="65000"/>
                            <a:lumOff val="35000"/>
                          </a:schemeClr>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noProof="0">
                          <a:solidFill>
                            <a:schemeClr val="tx2">
                              <a:lumMod val="65000"/>
                              <a:lumOff val="35000"/>
                            </a:schemeClr>
                          </a:solidFill>
                          <a:latin typeface="+mn-lt"/>
                          <a:ea typeface="+mn-ea"/>
                          <a:cs typeface="+mn-cs"/>
                        </a:rPr>
                        <a:t>Services are accessible and easy to reach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000" kern="1200" noProof="0">
                        <a:solidFill>
                          <a:schemeClr val="tx2">
                            <a:lumMod val="65000"/>
                            <a:lumOff val="35000"/>
                          </a:schemeClr>
                        </a:solidFill>
                        <a:latin typeface="+mn-lt"/>
                        <a:ea typeface="+mn-ea"/>
                        <a:cs typeface="+mn-cs"/>
                      </a:endParaRPr>
                    </a:p>
                  </a:txBody>
                  <a:tcPr>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5786550"/>
                  </a:ext>
                </a:extLst>
              </a:tr>
            </a:tbl>
          </a:graphicData>
        </a:graphic>
      </p:graphicFrame>
      <p:pic>
        <p:nvPicPr>
          <p:cNvPr id="9" name="Graphic 8" descr="Playbook with solid fill">
            <a:extLst>
              <a:ext uri="{FF2B5EF4-FFF2-40B4-BE49-F238E27FC236}">
                <a16:creationId xmlns:a16="http://schemas.microsoft.com/office/drawing/2014/main" id="{C52C5537-8FA3-7F40-8860-85BD2527055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64227" y="2203165"/>
            <a:ext cx="720000" cy="720000"/>
          </a:xfrm>
          <a:prstGeom prst="rect">
            <a:avLst/>
          </a:prstGeom>
        </p:spPr>
      </p:pic>
      <p:pic>
        <p:nvPicPr>
          <p:cNvPr id="11" name="Graphic 10" descr="Cheers with solid fill">
            <a:extLst>
              <a:ext uri="{FF2B5EF4-FFF2-40B4-BE49-F238E27FC236}">
                <a16:creationId xmlns:a16="http://schemas.microsoft.com/office/drawing/2014/main" id="{23E9FCDA-7BD4-814F-B879-050A8C23BF5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714916" y="2203165"/>
            <a:ext cx="720000" cy="720000"/>
          </a:xfrm>
          <a:prstGeom prst="rect">
            <a:avLst/>
          </a:prstGeom>
        </p:spPr>
      </p:pic>
      <p:pic>
        <p:nvPicPr>
          <p:cNvPr id="13" name="Graphic 12" descr="Dance with solid fill">
            <a:extLst>
              <a:ext uri="{FF2B5EF4-FFF2-40B4-BE49-F238E27FC236}">
                <a16:creationId xmlns:a16="http://schemas.microsoft.com/office/drawing/2014/main" id="{386C8D35-BD52-E947-B04B-73A043C4158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489571" y="2203165"/>
            <a:ext cx="720000" cy="720000"/>
          </a:xfrm>
          <a:prstGeom prst="rect">
            <a:avLst/>
          </a:prstGeom>
        </p:spPr>
      </p:pic>
      <p:pic>
        <p:nvPicPr>
          <p:cNvPr id="15" name="Graphic 14" descr="Care with solid fill">
            <a:extLst>
              <a:ext uri="{FF2B5EF4-FFF2-40B4-BE49-F238E27FC236}">
                <a16:creationId xmlns:a16="http://schemas.microsoft.com/office/drawing/2014/main" id="{84D16891-B25B-1642-8501-499BFF32386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940260" y="2203165"/>
            <a:ext cx="720000" cy="720000"/>
          </a:xfrm>
          <a:prstGeom prst="rect">
            <a:avLst/>
          </a:prstGeom>
        </p:spPr>
      </p:pic>
      <p:pic>
        <p:nvPicPr>
          <p:cNvPr id="17" name="Graphic 16" descr="Cycle with people with solid fill">
            <a:extLst>
              <a:ext uri="{FF2B5EF4-FFF2-40B4-BE49-F238E27FC236}">
                <a16:creationId xmlns:a16="http://schemas.microsoft.com/office/drawing/2014/main" id="{22490EBC-C193-E14C-BB54-A4D508A8C2E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165604" y="2203165"/>
            <a:ext cx="720000" cy="720000"/>
          </a:xfrm>
          <a:prstGeom prst="rect">
            <a:avLst/>
          </a:prstGeom>
        </p:spPr>
      </p:pic>
    </p:spTree>
    <p:extLst>
      <p:ext uri="{BB962C8B-B14F-4D97-AF65-F5344CB8AC3E}">
        <p14:creationId xmlns:p14="http://schemas.microsoft.com/office/powerpoint/2010/main" val="357493204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273"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en-IN" sz="2800">
              <a:solidFill>
                <a:srgbClr val="FFFFFF"/>
              </a:solidFill>
              <a:sym typeface="Arial" panose="020B0604020202020204" pitchFamily="34" charset="0"/>
            </a:endParaRPr>
          </a:p>
        </p:txBody>
      </p:sp>
      <p:sp>
        <p:nvSpPr>
          <p:cNvPr id="2" name="Title 1"/>
          <p:cNvSpPr>
            <a:spLocks noGrp="1"/>
          </p:cNvSpPr>
          <p:nvPr>
            <p:ph type="title"/>
          </p:nvPr>
        </p:nvSpPr>
        <p:spPr>
          <a:prstGeom prst="rect">
            <a:avLst/>
          </a:prstGeom>
        </p:spPr>
        <p:txBody>
          <a:bodyPr/>
          <a:lstStyle/>
          <a:p>
            <a:r>
              <a:rPr lang="en-US"/>
              <a:t>Defining the Mental Health vision</a:t>
            </a:r>
            <a:endParaRPr lang="en-IN"/>
          </a:p>
        </p:txBody>
      </p:sp>
      <p:sp>
        <p:nvSpPr>
          <p:cNvPr id="9" name="Rectangle 8">
            <a:extLst>
              <a:ext uri="{FF2B5EF4-FFF2-40B4-BE49-F238E27FC236}">
                <a16:creationId xmlns:a16="http://schemas.microsoft.com/office/drawing/2014/main" id="{830963B0-EC21-6844-B457-D76C8A955C49}"/>
              </a:ext>
            </a:extLst>
          </p:cNvPr>
          <p:cNvSpPr/>
          <p:nvPr/>
        </p:nvSpPr>
        <p:spPr>
          <a:xfrm>
            <a:off x="510638" y="1264314"/>
            <a:ext cx="11093532" cy="830865"/>
          </a:xfrm>
          <a:prstGeom prst="rect">
            <a:avLst/>
          </a:prstGeom>
          <a:solidFill>
            <a:schemeClr val="bg1"/>
          </a:solidFill>
          <a:ln w="12700" cap="flat" cmpd="sng" algn="ctr">
            <a:solidFill>
              <a:schemeClr val="accent1"/>
            </a:solidFill>
            <a:prstDash val="solid"/>
            <a:miter lim="800000"/>
          </a:ln>
          <a:effectLst/>
        </p:spPr>
        <p:txBody>
          <a:bodyPr rtlCol="0" anchor="ctr"/>
          <a:lstStyle/>
          <a:p>
            <a:pPr algn="ctr" defTabSz="685800">
              <a:defRPr/>
            </a:pPr>
            <a:r>
              <a:rPr lang="en-US" sz="1200" b="1">
                <a:solidFill>
                  <a:srgbClr val="50235B"/>
                </a:solidFill>
                <a:latin typeface="Arial" panose="020B0604020202020204" pitchFamily="34" charset="0"/>
                <a:cs typeface="Arial" panose="020B0604020202020204" pitchFamily="34" charset="0"/>
              </a:rPr>
              <a:t>Our vision: residents of Shropshire, Telford and Wrekin experience their best mental health and wellbeing and have easy access to the right treatment and support services, which are underpinned by hope and optimism.</a:t>
            </a:r>
          </a:p>
        </p:txBody>
      </p:sp>
      <p:sp>
        <p:nvSpPr>
          <p:cNvPr id="13" name="Rectangle 12">
            <a:extLst>
              <a:ext uri="{FF2B5EF4-FFF2-40B4-BE49-F238E27FC236}">
                <a16:creationId xmlns:a16="http://schemas.microsoft.com/office/drawing/2014/main" id="{07E3E143-5154-A646-87A3-08C21A5C36E8}"/>
              </a:ext>
            </a:extLst>
          </p:cNvPr>
          <p:cNvSpPr/>
          <p:nvPr/>
        </p:nvSpPr>
        <p:spPr>
          <a:xfrm>
            <a:off x="6167866" y="4503828"/>
            <a:ext cx="1193377" cy="1253473"/>
          </a:xfrm>
          <a:prstGeom prst="rect">
            <a:avLst/>
          </a:prstGeom>
          <a:solidFill>
            <a:schemeClr val="bg1"/>
          </a:solidFill>
          <a:ln w="12700" cap="flat" cmpd="sng" algn="ctr">
            <a:solidFill>
              <a:srgbClr val="50235B"/>
            </a:solidFill>
            <a:prstDash val="solid"/>
            <a:miter lim="800000"/>
          </a:ln>
          <a:effectLst/>
        </p:spPr>
        <p:txBody>
          <a:bodyPr rtlCol="0" anchor="ctr"/>
          <a:lstStyle/>
          <a:p>
            <a:pPr algn="ctr" defTabSz="685800">
              <a:defRPr/>
            </a:pPr>
            <a:r>
              <a:rPr lang="en-GB" sz="1200">
                <a:solidFill>
                  <a:srgbClr val="50235B"/>
                </a:solidFill>
              </a:rPr>
              <a:t>Focus on health inequalities</a:t>
            </a:r>
          </a:p>
        </p:txBody>
      </p:sp>
      <p:sp>
        <p:nvSpPr>
          <p:cNvPr id="15" name="Rectangle 14">
            <a:extLst>
              <a:ext uri="{FF2B5EF4-FFF2-40B4-BE49-F238E27FC236}">
                <a16:creationId xmlns:a16="http://schemas.microsoft.com/office/drawing/2014/main" id="{B9ED7676-D75E-CD4C-AEC6-C56A164704ED}"/>
              </a:ext>
            </a:extLst>
          </p:cNvPr>
          <p:cNvSpPr/>
          <p:nvPr/>
        </p:nvSpPr>
        <p:spPr>
          <a:xfrm>
            <a:off x="8996480" y="4510825"/>
            <a:ext cx="1193377" cy="1253473"/>
          </a:xfrm>
          <a:prstGeom prst="rect">
            <a:avLst/>
          </a:prstGeom>
          <a:solidFill>
            <a:schemeClr val="bg1"/>
          </a:solidFill>
          <a:ln w="12700" cap="flat" cmpd="sng" algn="ctr">
            <a:solidFill>
              <a:srgbClr val="50235B"/>
            </a:solidFill>
            <a:prstDash val="solid"/>
            <a:miter lim="800000"/>
          </a:ln>
          <a:effectLst/>
        </p:spPr>
        <p:txBody>
          <a:bodyPr rtlCol="0" anchor="ctr"/>
          <a:lstStyle/>
          <a:p>
            <a:pPr algn="ctr"/>
            <a:r>
              <a:rPr lang="en-GB" sz="1200">
                <a:solidFill>
                  <a:srgbClr val="50235B"/>
                </a:solidFill>
              </a:rPr>
              <a:t>Support the workforce and their wellbeing</a:t>
            </a:r>
          </a:p>
        </p:txBody>
      </p:sp>
      <p:sp>
        <p:nvSpPr>
          <p:cNvPr id="16" name="Rectangle 15">
            <a:extLst>
              <a:ext uri="{FF2B5EF4-FFF2-40B4-BE49-F238E27FC236}">
                <a16:creationId xmlns:a16="http://schemas.microsoft.com/office/drawing/2014/main" id="{31C5E5D2-FFD8-E746-BB5C-961B37795212}"/>
              </a:ext>
            </a:extLst>
          </p:cNvPr>
          <p:cNvSpPr/>
          <p:nvPr/>
        </p:nvSpPr>
        <p:spPr>
          <a:xfrm>
            <a:off x="510638" y="4507625"/>
            <a:ext cx="1193377" cy="1253473"/>
          </a:xfrm>
          <a:prstGeom prst="rect">
            <a:avLst/>
          </a:prstGeom>
          <a:solidFill>
            <a:schemeClr val="bg1"/>
          </a:solidFill>
          <a:ln w="12700" cap="flat" cmpd="sng" algn="ctr">
            <a:solidFill>
              <a:srgbClr val="50235B"/>
            </a:solidFill>
            <a:prstDash val="solid"/>
            <a:miter lim="800000"/>
          </a:ln>
          <a:effectLst/>
        </p:spPr>
        <p:txBody>
          <a:bodyPr rtlCol="0" anchor="ctr"/>
          <a:lstStyle/>
          <a:p>
            <a:pPr lvl="0" algn="ctr" defTabSz="685800">
              <a:defRPr/>
            </a:pPr>
            <a:r>
              <a:rPr lang="en-GB" sz="1200">
                <a:solidFill>
                  <a:srgbClr val="50235B"/>
                </a:solidFill>
                <a:latin typeface="Arial" panose="020B0604020202020204" pitchFamily="34" charset="0"/>
                <a:cs typeface="Arial" panose="020B0604020202020204" pitchFamily="34" charset="0"/>
              </a:rPr>
              <a:t>Raise the profile and awareness of Mental Health</a:t>
            </a:r>
          </a:p>
        </p:txBody>
      </p:sp>
      <p:sp>
        <p:nvSpPr>
          <p:cNvPr id="17" name="Rectangle 16">
            <a:extLst>
              <a:ext uri="{FF2B5EF4-FFF2-40B4-BE49-F238E27FC236}">
                <a16:creationId xmlns:a16="http://schemas.microsoft.com/office/drawing/2014/main" id="{8F40B7A4-92EF-1C4F-9A1E-FC9FB344D392}"/>
              </a:ext>
            </a:extLst>
          </p:cNvPr>
          <p:cNvSpPr/>
          <p:nvPr/>
        </p:nvSpPr>
        <p:spPr>
          <a:xfrm>
            <a:off x="1924945" y="4503828"/>
            <a:ext cx="1193377" cy="1253474"/>
          </a:xfrm>
          <a:prstGeom prst="rect">
            <a:avLst/>
          </a:prstGeom>
          <a:solidFill>
            <a:schemeClr val="bg1"/>
          </a:solidFill>
          <a:ln w="12700" cap="flat" cmpd="sng" algn="ctr">
            <a:solidFill>
              <a:srgbClr val="50235B"/>
            </a:solidFill>
            <a:prstDash val="solid"/>
            <a:miter lim="800000"/>
          </a:ln>
          <a:effectLst/>
        </p:spPr>
        <p:txBody>
          <a:bodyPr rtlCol="0" anchor="ctr"/>
          <a:lstStyle/>
          <a:p>
            <a:pPr lvl="0" algn="ctr" defTabSz="685800">
              <a:defRPr/>
            </a:pPr>
            <a:r>
              <a:rPr lang="en-GB" sz="1200">
                <a:solidFill>
                  <a:srgbClr val="50235B"/>
                </a:solidFill>
                <a:latin typeface="Arial" panose="020B0604020202020204" pitchFamily="34" charset="0"/>
                <a:cs typeface="Arial" panose="020B0604020202020204" pitchFamily="34" charset="0"/>
              </a:rPr>
              <a:t>Proactive prevention</a:t>
            </a:r>
          </a:p>
        </p:txBody>
      </p:sp>
      <p:sp>
        <p:nvSpPr>
          <p:cNvPr id="18" name="Shape 1554">
            <a:extLst>
              <a:ext uri="{FF2B5EF4-FFF2-40B4-BE49-F238E27FC236}">
                <a16:creationId xmlns:a16="http://schemas.microsoft.com/office/drawing/2014/main" id="{D54C0A8D-B585-F947-B1C1-8FBC376E832E}"/>
              </a:ext>
            </a:extLst>
          </p:cNvPr>
          <p:cNvSpPr/>
          <p:nvPr/>
        </p:nvSpPr>
        <p:spPr>
          <a:xfrm>
            <a:off x="510638" y="4080443"/>
            <a:ext cx="11093531" cy="315684"/>
          </a:xfrm>
          <a:prstGeom prst="rect">
            <a:avLst/>
          </a:prstGeom>
          <a:solidFill>
            <a:schemeClr val="accent1"/>
          </a:solidFill>
          <a:ln w="9525" cap="flat" cmpd="sng">
            <a:noFill/>
            <a:prstDash val="solid"/>
            <a:miter lim="800000"/>
            <a:headEnd type="none" w="sm" len="sm"/>
            <a:tailEnd type="none" w="sm" len="sm"/>
          </a:ln>
        </p:spPr>
        <p:txBody>
          <a:bodyPr spcFirstLastPara="1" lIns="91425" tIns="45694" rIns="91425" bIns="45694" anchor="ctr"/>
          <a:lstStyle/>
          <a:p>
            <a:pPr algn="ctr">
              <a:defRPr/>
            </a:pPr>
            <a:r>
              <a:rPr lang="en-GB" sz="1100" b="1" i="1">
                <a:solidFill>
                  <a:schemeClr val="bg1"/>
                </a:solidFill>
                <a:latin typeface="Arial" panose="020B0604020202020204" pitchFamily="34" charset="0"/>
                <a:cs typeface="Arial" panose="020B0604020202020204" pitchFamily="34" charset="0"/>
              </a:rPr>
              <a:t>How this vision will be achieved</a:t>
            </a:r>
          </a:p>
        </p:txBody>
      </p:sp>
      <p:sp>
        <p:nvSpPr>
          <p:cNvPr id="19" name="Shape 1554">
            <a:extLst>
              <a:ext uri="{FF2B5EF4-FFF2-40B4-BE49-F238E27FC236}">
                <a16:creationId xmlns:a16="http://schemas.microsoft.com/office/drawing/2014/main" id="{FFED9F2A-CA37-494A-BFE0-FB9D9F9AC70D}"/>
              </a:ext>
            </a:extLst>
          </p:cNvPr>
          <p:cNvSpPr/>
          <p:nvPr/>
        </p:nvSpPr>
        <p:spPr>
          <a:xfrm>
            <a:off x="510639" y="2164643"/>
            <a:ext cx="11093532" cy="315684"/>
          </a:xfrm>
          <a:prstGeom prst="rect">
            <a:avLst/>
          </a:prstGeom>
          <a:solidFill>
            <a:schemeClr val="accent1"/>
          </a:solidFill>
          <a:ln w="9525" cap="flat" cmpd="sng">
            <a:noFill/>
            <a:prstDash val="solid"/>
            <a:miter lim="800000"/>
            <a:headEnd type="none" w="sm" len="sm"/>
            <a:tailEnd type="none" w="sm" len="sm"/>
          </a:ln>
        </p:spPr>
        <p:txBody>
          <a:bodyPr spcFirstLastPara="1" lIns="91425" tIns="45694" rIns="91425" bIns="45694" anchor="ctr"/>
          <a:lstStyle/>
          <a:p>
            <a:pPr algn="ctr">
              <a:defRPr/>
            </a:pPr>
            <a:r>
              <a:rPr lang="en-GB" sz="1100" b="1" i="1">
                <a:solidFill>
                  <a:schemeClr val="bg1"/>
                </a:solidFill>
                <a:latin typeface="Arial" panose="020B0604020202020204" pitchFamily="34" charset="0"/>
                <a:cs typeface="Arial" panose="020B0604020202020204" pitchFamily="34" charset="0"/>
              </a:rPr>
              <a:t>Why the team is trying to achieve this</a:t>
            </a:r>
          </a:p>
        </p:txBody>
      </p:sp>
      <p:sp>
        <p:nvSpPr>
          <p:cNvPr id="20" name="Shape 1554">
            <a:extLst>
              <a:ext uri="{FF2B5EF4-FFF2-40B4-BE49-F238E27FC236}">
                <a16:creationId xmlns:a16="http://schemas.microsoft.com/office/drawing/2014/main" id="{402E6269-6E43-284C-994C-53753D65F08A}"/>
              </a:ext>
            </a:extLst>
          </p:cNvPr>
          <p:cNvSpPr/>
          <p:nvPr/>
        </p:nvSpPr>
        <p:spPr>
          <a:xfrm>
            <a:off x="510639" y="880875"/>
            <a:ext cx="11093533" cy="310480"/>
          </a:xfrm>
          <a:prstGeom prst="rect">
            <a:avLst/>
          </a:prstGeom>
          <a:solidFill>
            <a:schemeClr val="accent1"/>
          </a:solidFill>
          <a:ln w="9525" cap="flat" cmpd="sng">
            <a:noFill/>
            <a:prstDash val="solid"/>
            <a:miter lim="800000"/>
            <a:headEnd type="none" w="sm" len="sm"/>
            <a:tailEnd type="none" w="sm" len="sm"/>
          </a:ln>
        </p:spPr>
        <p:txBody>
          <a:bodyPr spcFirstLastPara="1" lIns="91425" tIns="45694" rIns="91425" bIns="45694" anchor="ctr"/>
          <a:lstStyle/>
          <a:p>
            <a:pPr algn="ctr">
              <a:defRPr/>
            </a:pPr>
            <a:r>
              <a:rPr lang="en-GB" sz="1100" b="1" i="1">
                <a:solidFill>
                  <a:schemeClr val="bg1"/>
                </a:solidFill>
                <a:latin typeface="Arial" panose="020B0604020202020204" pitchFamily="34" charset="0"/>
                <a:cs typeface="Arial" panose="020B0604020202020204" pitchFamily="34" charset="0"/>
              </a:rPr>
              <a:t>What is the vision for Mental Health services across STW?</a:t>
            </a:r>
          </a:p>
        </p:txBody>
      </p:sp>
      <p:sp>
        <p:nvSpPr>
          <p:cNvPr id="21" name="TextBox 20">
            <a:extLst>
              <a:ext uri="{FF2B5EF4-FFF2-40B4-BE49-F238E27FC236}">
                <a16:creationId xmlns:a16="http://schemas.microsoft.com/office/drawing/2014/main" id="{BDEDC1B4-4EAF-6E44-8678-C93206F31AAC}"/>
              </a:ext>
            </a:extLst>
          </p:cNvPr>
          <p:cNvSpPr txBox="1"/>
          <p:nvPr/>
        </p:nvSpPr>
        <p:spPr>
          <a:xfrm>
            <a:off x="10152517" y="996888"/>
            <a:ext cx="184731" cy="369332"/>
          </a:xfrm>
          <a:prstGeom prst="rect">
            <a:avLst/>
          </a:prstGeom>
          <a:noFill/>
        </p:spPr>
        <p:txBody>
          <a:bodyPr wrap="square" rtlCol="0">
            <a:spAutoFit/>
          </a:bodyPr>
          <a:lstStyle/>
          <a:p>
            <a:endParaRPr lang="en-GB"/>
          </a:p>
        </p:txBody>
      </p:sp>
      <p:sp>
        <p:nvSpPr>
          <p:cNvPr id="12" name="Rectangle 11">
            <a:extLst>
              <a:ext uri="{FF2B5EF4-FFF2-40B4-BE49-F238E27FC236}">
                <a16:creationId xmlns:a16="http://schemas.microsoft.com/office/drawing/2014/main" id="{0B514D86-AD76-1A4D-94B9-37EEA1E6BAF5}"/>
              </a:ext>
            </a:extLst>
          </p:cNvPr>
          <p:cNvSpPr/>
          <p:nvPr/>
        </p:nvSpPr>
        <p:spPr>
          <a:xfrm>
            <a:off x="6156629" y="2970297"/>
            <a:ext cx="1188167" cy="1012047"/>
          </a:xfrm>
          <a:prstGeom prst="rect">
            <a:avLst/>
          </a:prstGeom>
          <a:solidFill>
            <a:schemeClr val="bg1"/>
          </a:solidFill>
          <a:ln w="12700" cap="flat" cmpd="sng" algn="ctr">
            <a:solidFill>
              <a:srgbClr val="50235B"/>
            </a:solidFill>
            <a:prstDash val="solid"/>
            <a:miter lim="800000"/>
          </a:ln>
          <a:effectLst/>
        </p:spPr>
        <p:txBody>
          <a:bodyPr rtlCol="0" anchor="ctr"/>
          <a:lstStyle/>
          <a:p>
            <a:pPr lvl="0" algn="ctr" defTabSz="685800">
              <a:defRPr/>
            </a:pPr>
            <a:r>
              <a:rPr lang="en-GB" sz="1200">
                <a:solidFill>
                  <a:srgbClr val="50235B"/>
                </a:solidFill>
                <a:latin typeface="Arial" panose="020B0604020202020204" pitchFamily="34" charset="0"/>
                <a:cs typeface="Arial" panose="020B0604020202020204" pitchFamily="34" charset="0"/>
              </a:rPr>
              <a:t>To improve health outcomes</a:t>
            </a:r>
          </a:p>
        </p:txBody>
      </p:sp>
      <p:sp>
        <p:nvSpPr>
          <p:cNvPr id="34" name="Rounded Rectangular Callout 33">
            <a:extLst>
              <a:ext uri="{FF2B5EF4-FFF2-40B4-BE49-F238E27FC236}">
                <a16:creationId xmlns:a16="http://schemas.microsoft.com/office/drawing/2014/main" id="{C7B4C74E-B074-E44F-8C83-59DA5CD2D3FA}"/>
              </a:ext>
            </a:extLst>
          </p:cNvPr>
          <p:cNvSpPr/>
          <p:nvPr/>
        </p:nvSpPr>
        <p:spPr>
          <a:xfrm>
            <a:off x="7453769" y="2526471"/>
            <a:ext cx="1327403" cy="1012047"/>
          </a:xfrm>
          <a:prstGeom prst="wedgeRoundRectCallout">
            <a:avLst>
              <a:gd name="adj1" fmla="val -56949"/>
              <a:gd name="adj2" fmla="val 71021"/>
              <a:gd name="adj3" fmla="val 16667"/>
            </a:avLst>
          </a:prstGeom>
          <a:solidFill>
            <a:srgbClr val="DFD9E3"/>
          </a:solidFill>
          <a:ln>
            <a:solidFill>
              <a:srgbClr val="50235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a:solidFill>
                  <a:srgbClr val="50235B"/>
                </a:solidFill>
              </a:rPr>
              <a:t>I feel healthier all round when I am supported with my mental health</a:t>
            </a:r>
          </a:p>
        </p:txBody>
      </p:sp>
      <p:sp>
        <p:nvSpPr>
          <p:cNvPr id="36" name="Rectangle 35">
            <a:extLst>
              <a:ext uri="{FF2B5EF4-FFF2-40B4-BE49-F238E27FC236}">
                <a16:creationId xmlns:a16="http://schemas.microsoft.com/office/drawing/2014/main" id="{4EEC3B5D-60E2-4840-BF55-2759035A708B}"/>
              </a:ext>
            </a:extLst>
          </p:cNvPr>
          <p:cNvSpPr/>
          <p:nvPr/>
        </p:nvSpPr>
        <p:spPr>
          <a:xfrm>
            <a:off x="3339252" y="4505576"/>
            <a:ext cx="1193377" cy="1253474"/>
          </a:xfrm>
          <a:prstGeom prst="rect">
            <a:avLst/>
          </a:prstGeom>
          <a:solidFill>
            <a:schemeClr val="bg1"/>
          </a:solidFill>
          <a:ln w="12700" cap="flat" cmpd="sng" algn="ctr">
            <a:solidFill>
              <a:srgbClr val="50235B"/>
            </a:solidFill>
            <a:prstDash val="solid"/>
            <a:miter lim="800000"/>
          </a:ln>
          <a:effectLst/>
        </p:spPr>
        <p:txBody>
          <a:bodyPr rtlCol="0" anchor="ctr"/>
          <a:lstStyle/>
          <a:p>
            <a:pPr algn="ctr"/>
            <a:r>
              <a:rPr lang="en-GB" sz="1200">
                <a:solidFill>
                  <a:srgbClr val="50235B"/>
                </a:solidFill>
              </a:rPr>
              <a:t>Easy and timely access to support and services</a:t>
            </a:r>
          </a:p>
        </p:txBody>
      </p:sp>
      <p:sp>
        <p:nvSpPr>
          <p:cNvPr id="38" name="Rectangle 37">
            <a:extLst>
              <a:ext uri="{FF2B5EF4-FFF2-40B4-BE49-F238E27FC236}">
                <a16:creationId xmlns:a16="http://schemas.microsoft.com/office/drawing/2014/main" id="{9451E953-DDBA-304B-A8F4-C16709E44AE3}"/>
              </a:ext>
            </a:extLst>
          </p:cNvPr>
          <p:cNvSpPr/>
          <p:nvPr/>
        </p:nvSpPr>
        <p:spPr>
          <a:xfrm>
            <a:off x="7582173" y="4507625"/>
            <a:ext cx="1193377" cy="1253473"/>
          </a:xfrm>
          <a:prstGeom prst="rect">
            <a:avLst/>
          </a:prstGeom>
          <a:solidFill>
            <a:schemeClr val="bg1"/>
          </a:solidFill>
          <a:ln w="12700" cap="flat" cmpd="sng" algn="ctr">
            <a:solidFill>
              <a:srgbClr val="50235B"/>
            </a:solidFill>
            <a:prstDash val="solid"/>
            <a:miter lim="800000"/>
          </a:ln>
          <a:effectLst/>
        </p:spPr>
        <p:txBody>
          <a:bodyPr rtlCol="0" anchor="ctr"/>
          <a:lstStyle/>
          <a:p>
            <a:pPr algn="ctr"/>
            <a:r>
              <a:rPr lang="en-GB" sz="1200">
                <a:solidFill>
                  <a:srgbClr val="50235B"/>
                </a:solidFill>
              </a:rPr>
              <a:t>Build community resources</a:t>
            </a:r>
          </a:p>
        </p:txBody>
      </p:sp>
      <p:sp>
        <p:nvSpPr>
          <p:cNvPr id="10" name="Rectangle 9">
            <a:extLst>
              <a:ext uri="{FF2B5EF4-FFF2-40B4-BE49-F238E27FC236}">
                <a16:creationId xmlns:a16="http://schemas.microsoft.com/office/drawing/2014/main" id="{AA4B3751-6FF3-874A-8E5D-223CB4CE2C1E}"/>
              </a:ext>
            </a:extLst>
          </p:cNvPr>
          <p:cNvSpPr/>
          <p:nvPr/>
        </p:nvSpPr>
        <p:spPr>
          <a:xfrm>
            <a:off x="8990618" y="2970296"/>
            <a:ext cx="1188167" cy="1012048"/>
          </a:xfrm>
          <a:prstGeom prst="rect">
            <a:avLst/>
          </a:prstGeom>
          <a:solidFill>
            <a:schemeClr val="bg1"/>
          </a:solidFill>
          <a:ln w="12700" cap="flat" cmpd="sng" algn="ctr">
            <a:solidFill>
              <a:srgbClr val="50235B"/>
            </a:solidFill>
            <a:prstDash val="solid"/>
            <a:miter lim="800000"/>
          </a:ln>
          <a:effectLst/>
        </p:spPr>
        <p:txBody>
          <a:bodyPr rtlCol="0" anchor="ctr"/>
          <a:lstStyle/>
          <a:p>
            <a:pPr algn="ctr" defTabSz="685800">
              <a:defRPr/>
            </a:pPr>
            <a:r>
              <a:rPr lang="en-GB" sz="1200">
                <a:solidFill>
                  <a:srgbClr val="50235B"/>
                </a:solidFill>
              </a:rPr>
              <a:t>To reduce health inequalities</a:t>
            </a:r>
          </a:p>
        </p:txBody>
      </p:sp>
      <p:sp>
        <p:nvSpPr>
          <p:cNvPr id="39" name="Rounded Rectangular Callout 38">
            <a:extLst>
              <a:ext uri="{FF2B5EF4-FFF2-40B4-BE49-F238E27FC236}">
                <a16:creationId xmlns:a16="http://schemas.microsoft.com/office/drawing/2014/main" id="{C28C593A-B50A-0E4A-88B3-22558DF03A33}"/>
              </a:ext>
            </a:extLst>
          </p:cNvPr>
          <p:cNvSpPr/>
          <p:nvPr/>
        </p:nvSpPr>
        <p:spPr>
          <a:xfrm>
            <a:off x="10276764" y="2535430"/>
            <a:ext cx="1327403" cy="1012048"/>
          </a:xfrm>
          <a:prstGeom prst="wedgeRoundRectCallout">
            <a:avLst>
              <a:gd name="adj1" fmla="val -54488"/>
              <a:gd name="adj2" fmla="val 77474"/>
              <a:gd name="adj3" fmla="val 16667"/>
            </a:avLst>
          </a:prstGeom>
          <a:solidFill>
            <a:srgbClr val="DFD9E3"/>
          </a:solidFill>
          <a:ln>
            <a:solidFill>
              <a:srgbClr val="50235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a:solidFill>
                  <a:srgbClr val="50235B"/>
                </a:solidFill>
              </a:rPr>
              <a:t>I can get the care and support I need no matter who I am or where I live</a:t>
            </a:r>
          </a:p>
        </p:txBody>
      </p:sp>
      <p:sp>
        <p:nvSpPr>
          <p:cNvPr id="11" name="Rectangle 10">
            <a:extLst>
              <a:ext uri="{FF2B5EF4-FFF2-40B4-BE49-F238E27FC236}">
                <a16:creationId xmlns:a16="http://schemas.microsoft.com/office/drawing/2014/main" id="{2268E45F-6B0F-9E49-A688-899F2496CF6B}"/>
              </a:ext>
            </a:extLst>
          </p:cNvPr>
          <p:cNvSpPr/>
          <p:nvPr/>
        </p:nvSpPr>
        <p:spPr>
          <a:xfrm>
            <a:off x="3308352" y="2965701"/>
            <a:ext cx="1188167" cy="1001497"/>
          </a:xfrm>
          <a:prstGeom prst="rect">
            <a:avLst/>
          </a:prstGeom>
          <a:solidFill>
            <a:schemeClr val="bg1"/>
          </a:solidFill>
          <a:ln w="12700" cap="flat" cmpd="sng" algn="ctr">
            <a:solidFill>
              <a:srgbClr val="50235B"/>
            </a:solidFill>
            <a:prstDash val="solid"/>
            <a:miter lim="800000"/>
          </a:ln>
          <a:effectLst/>
        </p:spPr>
        <p:txBody>
          <a:bodyPr rtlCol="0" anchor="ctr"/>
          <a:lstStyle/>
          <a:p>
            <a:pPr algn="ctr" defTabSz="685800">
              <a:defRPr/>
            </a:pPr>
            <a:r>
              <a:rPr lang="en-GB" sz="1200">
                <a:solidFill>
                  <a:srgbClr val="50235B"/>
                </a:solidFill>
              </a:rPr>
              <a:t>To increase wellbeing and independence</a:t>
            </a:r>
          </a:p>
        </p:txBody>
      </p:sp>
      <p:sp>
        <p:nvSpPr>
          <p:cNvPr id="40" name="Rounded Rectangular Callout 39">
            <a:extLst>
              <a:ext uri="{FF2B5EF4-FFF2-40B4-BE49-F238E27FC236}">
                <a16:creationId xmlns:a16="http://schemas.microsoft.com/office/drawing/2014/main" id="{551DA18D-B257-704C-9B01-981ED0BFCCE0}"/>
              </a:ext>
            </a:extLst>
          </p:cNvPr>
          <p:cNvSpPr/>
          <p:nvPr/>
        </p:nvSpPr>
        <p:spPr>
          <a:xfrm>
            <a:off x="4619780" y="2535430"/>
            <a:ext cx="1327403" cy="1012047"/>
          </a:xfrm>
          <a:prstGeom prst="wedgeRoundRectCallout">
            <a:avLst>
              <a:gd name="adj1" fmla="val -56948"/>
              <a:gd name="adj2" fmla="val 74247"/>
              <a:gd name="adj3" fmla="val 16667"/>
            </a:avLst>
          </a:prstGeom>
          <a:solidFill>
            <a:srgbClr val="DFD9E3"/>
          </a:solidFill>
          <a:ln>
            <a:solidFill>
              <a:srgbClr val="50235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a:solidFill>
                  <a:srgbClr val="50235B"/>
                </a:solidFill>
              </a:rPr>
              <a:t>My wellbeing is supported and I am able to live as independently as possible​</a:t>
            </a:r>
          </a:p>
        </p:txBody>
      </p:sp>
      <p:sp>
        <p:nvSpPr>
          <p:cNvPr id="33" name="Rectangle 32">
            <a:extLst>
              <a:ext uri="{FF2B5EF4-FFF2-40B4-BE49-F238E27FC236}">
                <a16:creationId xmlns:a16="http://schemas.microsoft.com/office/drawing/2014/main" id="{DC26EBA0-F03D-114A-BE3F-18DDFB6D24C7}"/>
              </a:ext>
            </a:extLst>
          </p:cNvPr>
          <p:cNvSpPr/>
          <p:nvPr/>
        </p:nvSpPr>
        <p:spPr>
          <a:xfrm>
            <a:off x="509031" y="2975240"/>
            <a:ext cx="1188168" cy="984885"/>
          </a:xfrm>
          <a:prstGeom prst="rect">
            <a:avLst/>
          </a:prstGeom>
          <a:solidFill>
            <a:schemeClr val="bg1"/>
          </a:solidFill>
          <a:ln w="12700" cap="flat" cmpd="sng" algn="ctr">
            <a:solidFill>
              <a:srgbClr val="50235B"/>
            </a:solidFill>
            <a:prstDash val="solid"/>
            <a:miter lim="800000"/>
          </a:ln>
          <a:effectLst/>
        </p:spPr>
        <p:txBody>
          <a:bodyPr rtlCol="0" anchor="ctr"/>
          <a:lstStyle/>
          <a:p>
            <a:pPr algn="ctr"/>
            <a:r>
              <a:rPr lang="en-GB" sz="1200">
                <a:solidFill>
                  <a:srgbClr val="50235B"/>
                </a:solidFill>
              </a:rPr>
              <a:t>To ensure people have a positive support experience</a:t>
            </a:r>
          </a:p>
        </p:txBody>
      </p:sp>
      <p:sp>
        <p:nvSpPr>
          <p:cNvPr id="42" name="Rounded Rectangular Callout 41">
            <a:extLst>
              <a:ext uri="{FF2B5EF4-FFF2-40B4-BE49-F238E27FC236}">
                <a16:creationId xmlns:a16="http://schemas.microsoft.com/office/drawing/2014/main" id="{08601101-FA62-104A-A08A-5797E34F9ED6}"/>
              </a:ext>
            </a:extLst>
          </p:cNvPr>
          <p:cNvSpPr/>
          <p:nvPr/>
        </p:nvSpPr>
        <p:spPr>
          <a:xfrm>
            <a:off x="1812760" y="2526471"/>
            <a:ext cx="1327403" cy="1012047"/>
          </a:xfrm>
          <a:prstGeom prst="wedgeRoundRectCallout">
            <a:avLst>
              <a:gd name="adj1" fmla="val -56948"/>
              <a:gd name="adj2" fmla="val 74247"/>
              <a:gd name="adj3" fmla="val 16667"/>
            </a:avLst>
          </a:prstGeom>
          <a:solidFill>
            <a:srgbClr val="DFD9E3"/>
          </a:solidFill>
          <a:ln>
            <a:solidFill>
              <a:srgbClr val="50235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a:solidFill>
                  <a:srgbClr val="50235B"/>
                </a:solidFill>
              </a:rPr>
              <a:t>Friendly and approachable staff support me throughout my care journey</a:t>
            </a:r>
          </a:p>
        </p:txBody>
      </p:sp>
      <p:sp>
        <p:nvSpPr>
          <p:cNvPr id="27" name="Rectangle 26">
            <a:extLst>
              <a:ext uri="{FF2B5EF4-FFF2-40B4-BE49-F238E27FC236}">
                <a16:creationId xmlns:a16="http://schemas.microsoft.com/office/drawing/2014/main" id="{8A7ED0D4-851F-9C41-AA1B-B59BF341AA0D}"/>
              </a:ext>
            </a:extLst>
          </p:cNvPr>
          <p:cNvSpPr/>
          <p:nvPr/>
        </p:nvSpPr>
        <p:spPr>
          <a:xfrm>
            <a:off x="4753559" y="4504424"/>
            <a:ext cx="1193377" cy="1253474"/>
          </a:xfrm>
          <a:prstGeom prst="rect">
            <a:avLst/>
          </a:prstGeom>
          <a:solidFill>
            <a:schemeClr val="bg1"/>
          </a:solidFill>
          <a:ln w="12700" cap="flat" cmpd="sng" algn="ctr">
            <a:solidFill>
              <a:srgbClr val="50235B"/>
            </a:solidFill>
            <a:prstDash val="solid"/>
            <a:miter lim="800000"/>
          </a:ln>
          <a:effectLst/>
        </p:spPr>
        <p:txBody>
          <a:bodyPr rtlCol="0" anchor="ctr"/>
          <a:lstStyle/>
          <a:p>
            <a:pPr algn="ctr"/>
            <a:r>
              <a:rPr lang="en-GB" sz="1200">
                <a:solidFill>
                  <a:srgbClr val="50235B"/>
                </a:solidFill>
              </a:rPr>
              <a:t>Act as one integrated system</a:t>
            </a:r>
            <a:endParaRPr lang="en-GB" sz="1200" b="1">
              <a:solidFill>
                <a:srgbClr val="50235B"/>
              </a:solidFill>
            </a:endParaRPr>
          </a:p>
        </p:txBody>
      </p:sp>
      <p:sp>
        <p:nvSpPr>
          <p:cNvPr id="31" name="Left-right Arrow 30">
            <a:extLst>
              <a:ext uri="{FF2B5EF4-FFF2-40B4-BE49-F238E27FC236}">
                <a16:creationId xmlns:a16="http://schemas.microsoft.com/office/drawing/2014/main" id="{E4D90DAF-1445-3540-9BF7-751D7147172A}"/>
              </a:ext>
            </a:extLst>
          </p:cNvPr>
          <p:cNvSpPr/>
          <p:nvPr/>
        </p:nvSpPr>
        <p:spPr>
          <a:xfrm>
            <a:off x="910749" y="5872596"/>
            <a:ext cx="10693419" cy="315684"/>
          </a:xfrm>
          <a:prstGeom prst="leftRightArrow">
            <a:avLst/>
          </a:prstGeom>
          <a:solidFill>
            <a:srgbClr val="DFD9E3"/>
          </a:solidFill>
          <a:ln w="12700" cap="flat" cmpd="sng" algn="ctr">
            <a:noFill/>
            <a:prstDash val="solid"/>
            <a:miter lim="800000"/>
          </a:ln>
          <a:effectLst/>
        </p:spPr>
        <p:txBody>
          <a:bodyPr lIns="36000" rIns="36000" rtlCol="0" anchor="ctr"/>
          <a:lstStyle/>
          <a:p>
            <a:pPr algn="ctr" defTabSz="685800">
              <a:defRPr/>
            </a:pPr>
            <a:r>
              <a:rPr lang="en-GB" sz="1050">
                <a:solidFill>
                  <a:srgbClr val="50235B"/>
                </a:solidFill>
                <a:latin typeface="Arial" panose="020B0604020202020204" pitchFamily="34" charset="0"/>
                <a:cs typeface="Arial" panose="020B0604020202020204" pitchFamily="34" charset="0"/>
              </a:rPr>
              <a:t>Patient Safety</a:t>
            </a:r>
          </a:p>
        </p:txBody>
      </p:sp>
      <p:sp>
        <p:nvSpPr>
          <p:cNvPr id="32" name="Left-right Arrow 31">
            <a:extLst>
              <a:ext uri="{FF2B5EF4-FFF2-40B4-BE49-F238E27FC236}">
                <a16:creationId xmlns:a16="http://schemas.microsoft.com/office/drawing/2014/main" id="{DCA2AF9B-2F13-0A47-8335-9A9507521FEC}"/>
              </a:ext>
            </a:extLst>
          </p:cNvPr>
          <p:cNvSpPr/>
          <p:nvPr/>
        </p:nvSpPr>
        <p:spPr>
          <a:xfrm>
            <a:off x="910748" y="6177557"/>
            <a:ext cx="10693419" cy="315684"/>
          </a:xfrm>
          <a:prstGeom prst="leftRightArrow">
            <a:avLst/>
          </a:prstGeom>
          <a:solidFill>
            <a:srgbClr val="DFD9E3"/>
          </a:solidFill>
          <a:ln w="12700" cap="flat" cmpd="sng" algn="ctr">
            <a:noFill/>
            <a:prstDash val="solid"/>
            <a:miter lim="800000"/>
          </a:ln>
          <a:effectLst/>
        </p:spPr>
        <p:txBody>
          <a:bodyPr lIns="36000" rIns="36000" rtlCol="0" anchor="ctr"/>
          <a:lstStyle/>
          <a:p>
            <a:pPr algn="ctr" defTabSz="685800">
              <a:defRPr/>
            </a:pPr>
            <a:r>
              <a:rPr lang="en-GB" sz="1050">
                <a:solidFill>
                  <a:srgbClr val="50235B"/>
                </a:solidFill>
                <a:latin typeface="Arial" panose="020B0604020202020204" pitchFamily="34" charset="0"/>
                <a:cs typeface="Arial" panose="020B0604020202020204" pitchFamily="34" charset="0"/>
              </a:rPr>
              <a:t>Positive risk taking</a:t>
            </a:r>
          </a:p>
        </p:txBody>
      </p:sp>
      <p:sp>
        <p:nvSpPr>
          <p:cNvPr id="35" name="Left-right Arrow 34">
            <a:extLst>
              <a:ext uri="{FF2B5EF4-FFF2-40B4-BE49-F238E27FC236}">
                <a16:creationId xmlns:a16="http://schemas.microsoft.com/office/drawing/2014/main" id="{19C6468E-F4CB-4B47-95DB-368B01CD4FA6}"/>
              </a:ext>
            </a:extLst>
          </p:cNvPr>
          <p:cNvSpPr/>
          <p:nvPr/>
        </p:nvSpPr>
        <p:spPr>
          <a:xfrm>
            <a:off x="910748" y="6482517"/>
            <a:ext cx="10693419" cy="315684"/>
          </a:xfrm>
          <a:prstGeom prst="leftRightArrow">
            <a:avLst/>
          </a:prstGeom>
          <a:solidFill>
            <a:srgbClr val="DFD9E3"/>
          </a:solidFill>
          <a:ln w="12700" cap="flat" cmpd="sng" algn="ctr">
            <a:noFill/>
            <a:prstDash val="solid"/>
            <a:miter lim="800000"/>
          </a:ln>
          <a:effectLst/>
        </p:spPr>
        <p:txBody>
          <a:bodyPr lIns="36000" rIns="36000" rtlCol="0" anchor="ctr"/>
          <a:lstStyle/>
          <a:p>
            <a:pPr algn="ctr" defTabSz="685800">
              <a:defRPr/>
            </a:pPr>
            <a:r>
              <a:rPr lang="en-GB" sz="1050">
                <a:solidFill>
                  <a:srgbClr val="50235B"/>
                </a:solidFill>
                <a:latin typeface="Arial" panose="020B0604020202020204" pitchFamily="34" charset="0"/>
                <a:cs typeface="Arial" panose="020B0604020202020204" pitchFamily="34" charset="0"/>
              </a:rPr>
              <a:t>Appropriate levels of funding</a:t>
            </a:r>
          </a:p>
        </p:txBody>
      </p:sp>
      <p:sp>
        <p:nvSpPr>
          <p:cNvPr id="7" name="TextBox 6">
            <a:extLst>
              <a:ext uri="{FF2B5EF4-FFF2-40B4-BE49-F238E27FC236}">
                <a16:creationId xmlns:a16="http://schemas.microsoft.com/office/drawing/2014/main" id="{4E5F52BF-C941-9C41-BEBD-3E19F5FA1276}"/>
              </a:ext>
            </a:extLst>
          </p:cNvPr>
          <p:cNvSpPr txBox="1"/>
          <p:nvPr/>
        </p:nvSpPr>
        <p:spPr>
          <a:xfrm rot="16200000">
            <a:off x="212800" y="6100253"/>
            <a:ext cx="995786" cy="400110"/>
          </a:xfrm>
          <a:prstGeom prst="rect">
            <a:avLst/>
          </a:prstGeom>
          <a:solidFill>
            <a:srgbClr val="50235B"/>
          </a:solidFill>
        </p:spPr>
        <p:txBody>
          <a:bodyPr wrap="none" rtlCol="0">
            <a:spAutoFit/>
          </a:bodyPr>
          <a:lstStyle/>
          <a:p>
            <a:pPr algn="ctr"/>
            <a:r>
              <a:rPr lang="en-GB" sz="1000" b="1">
                <a:solidFill>
                  <a:schemeClr val="bg1"/>
                </a:solidFill>
              </a:rPr>
              <a:t>Core</a:t>
            </a:r>
          </a:p>
          <a:p>
            <a:pPr algn="ctr"/>
            <a:r>
              <a:rPr lang="en-GB" sz="1000" b="1">
                <a:solidFill>
                  <a:schemeClr val="bg1"/>
                </a:solidFill>
              </a:rPr>
              <a:t>Assumptions</a:t>
            </a:r>
          </a:p>
        </p:txBody>
      </p:sp>
      <p:sp>
        <p:nvSpPr>
          <p:cNvPr id="29" name="Rectangle 28">
            <a:extLst>
              <a:ext uri="{FF2B5EF4-FFF2-40B4-BE49-F238E27FC236}">
                <a16:creationId xmlns:a16="http://schemas.microsoft.com/office/drawing/2014/main" id="{76739A09-28BB-8D4C-973E-BDE6FCD0BE69}"/>
              </a:ext>
            </a:extLst>
          </p:cNvPr>
          <p:cNvSpPr/>
          <p:nvPr/>
        </p:nvSpPr>
        <p:spPr>
          <a:xfrm>
            <a:off x="10410790" y="4507928"/>
            <a:ext cx="1193377" cy="1253473"/>
          </a:xfrm>
          <a:prstGeom prst="rect">
            <a:avLst/>
          </a:prstGeom>
          <a:solidFill>
            <a:schemeClr val="bg1"/>
          </a:solidFill>
          <a:ln w="12700" cap="flat" cmpd="sng" algn="ctr">
            <a:solidFill>
              <a:srgbClr val="50235B"/>
            </a:solidFill>
            <a:prstDash val="solid"/>
            <a:miter lim="800000"/>
          </a:ln>
          <a:effectLst/>
        </p:spPr>
        <p:txBody>
          <a:bodyPr rtlCol="0" anchor="ctr"/>
          <a:lstStyle/>
          <a:p>
            <a:pPr algn="ctr"/>
            <a:r>
              <a:rPr lang="en-GB" sz="1200">
                <a:solidFill>
                  <a:srgbClr val="50235B"/>
                </a:solidFill>
              </a:rPr>
              <a:t>Supported transition from services</a:t>
            </a:r>
          </a:p>
        </p:txBody>
      </p:sp>
    </p:spTree>
    <p:extLst>
      <p:ext uri="{BB962C8B-B14F-4D97-AF65-F5344CB8AC3E}">
        <p14:creationId xmlns:p14="http://schemas.microsoft.com/office/powerpoint/2010/main" val="408269130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7DF49F5-76E4-D045-9AE5-C5DFB0E4B946}"/>
              </a:ext>
            </a:extLst>
          </p:cNvPr>
          <p:cNvSpPr>
            <a:spLocks noGrp="1"/>
          </p:cNvSpPr>
          <p:nvPr>
            <p:ph sz="quarter" idx="10"/>
          </p:nvPr>
        </p:nvSpPr>
        <p:spPr/>
        <p:txBody>
          <a:bodyPr/>
          <a:lstStyle/>
          <a:p>
            <a:r>
              <a:rPr lang="en-GB"/>
              <a:t>Roadmap</a:t>
            </a:r>
          </a:p>
        </p:txBody>
      </p:sp>
      <p:graphicFrame>
        <p:nvGraphicFramePr>
          <p:cNvPr id="7" name="Table 6">
            <a:extLst>
              <a:ext uri="{FF2B5EF4-FFF2-40B4-BE49-F238E27FC236}">
                <a16:creationId xmlns:a16="http://schemas.microsoft.com/office/drawing/2014/main" id="{55491300-71DD-9D4D-9A39-2ECB09F71D19}"/>
              </a:ext>
            </a:extLst>
          </p:cNvPr>
          <p:cNvGraphicFramePr>
            <a:graphicFrameLocks noGrp="1"/>
          </p:cNvGraphicFramePr>
          <p:nvPr>
            <p:extLst>
              <p:ext uri="{D42A27DB-BD31-4B8C-83A1-F6EECF244321}">
                <p14:modId xmlns:p14="http://schemas.microsoft.com/office/powerpoint/2010/main" val="2920792319"/>
              </p:ext>
            </p:extLst>
          </p:nvPr>
        </p:nvGraphicFramePr>
        <p:xfrm>
          <a:off x="1" y="6560723"/>
          <a:ext cx="12191998" cy="297277"/>
        </p:xfrm>
        <a:graphic>
          <a:graphicData uri="http://schemas.openxmlformats.org/drawingml/2006/table">
            <a:tbl>
              <a:tblPr>
                <a:tableStyleId>{5C22544A-7EE6-4342-B048-85BDC9FD1C3A}</a:tableStyleId>
              </a:tblPr>
              <a:tblGrid>
                <a:gridCol w="1741714">
                  <a:extLst>
                    <a:ext uri="{9D8B030D-6E8A-4147-A177-3AD203B41FA5}">
                      <a16:colId xmlns:a16="http://schemas.microsoft.com/office/drawing/2014/main" val="3508502722"/>
                    </a:ext>
                  </a:extLst>
                </a:gridCol>
                <a:gridCol w="1741714">
                  <a:extLst>
                    <a:ext uri="{9D8B030D-6E8A-4147-A177-3AD203B41FA5}">
                      <a16:colId xmlns:a16="http://schemas.microsoft.com/office/drawing/2014/main" val="1894411863"/>
                    </a:ext>
                  </a:extLst>
                </a:gridCol>
                <a:gridCol w="1741714">
                  <a:extLst>
                    <a:ext uri="{9D8B030D-6E8A-4147-A177-3AD203B41FA5}">
                      <a16:colId xmlns:a16="http://schemas.microsoft.com/office/drawing/2014/main" val="1998335409"/>
                    </a:ext>
                  </a:extLst>
                </a:gridCol>
                <a:gridCol w="1741714">
                  <a:extLst>
                    <a:ext uri="{9D8B030D-6E8A-4147-A177-3AD203B41FA5}">
                      <a16:colId xmlns:a16="http://schemas.microsoft.com/office/drawing/2014/main" val="202640554"/>
                    </a:ext>
                  </a:extLst>
                </a:gridCol>
                <a:gridCol w="1741714">
                  <a:extLst>
                    <a:ext uri="{9D8B030D-6E8A-4147-A177-3AD203B41FA5}">
                      <a16:colId xmlns:a16="http://schemas.microsoft.com/office/drawing/2014/main" val="3019704548"/>
                    </a:ext>
                  </a:extLst>
                </a:gridCol>
                <a:gridCol w="1741714">
                  <a:extLst>
                    <a:ext uri="{9D8B030D-6E8A-4147-A177-3AD203B41FA5}">
                      <a16:colId xmlns:a16="http://schemas.microsoft.com/office/drawing/2014/main" val="1364401804"/>
                    </a:ext>
                  </a:extLst>
                </a:gridCol>
                <a:gridCol w="1741714">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C"/>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Tree>
    <p:extLst>
      <p:ext uri="{BB962C8B-B14F-4D97-AF65-F5344CB8AC3E}">
        <p14:creationId xmlns:p14="http://schemas.microsoft.com/office/powerpoint/2010/main" val="92060176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1DEC92A-C88D-F946-A1A9-8B38E6C4179D}"/>
              </a:ext>
            </a:extLst>
          </p:cNvPr>
          <p:cNvSpPr/>
          <p:nvPr/>
        </p:nvSpPr>
        <p:spPr>
          <a:xfrm>
            <a:off x="517131" y="1623206"/>
            <a:ext cx="3162458" cy="260222"/>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lish-GB" sz="1200" b="1">
                <a:solidFill>
                  <a:srgbClr val="50235C"/>
                </a:solidFill>
              </a:rPr>
              <a:t>Approach &amp; </a:t>
            </a:r>
            <a:r>
              <a:rPr lang="en-GB" sz="1200" b="1">
                <a:solidFill>
                  <a:srgbClr val="50235C"/>
                </a:solidFill>
              </a:rPr>
              <a:t>o</a:t>
            </a:r>
            <a:r>
              <a:rPr lang="english-GB" sz="1200" b="1">
                <a:solidFill>
                  <a:srgbClr val="50235C"/>
                </a:solidFill>
              </a:rPr>
              <a:t>utput</a:t>
            </a:r>
          </a:p>
        </p:txBody>
      </p:sp>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345"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800" b="0" i="0" u="none" strike="noStrike" kern="1200" cap="none" spc="0" normalizeH="0" baseline="0" noProof="0">
              <a:ln>
                <a:noFill/>
              </a:ln>
              <a:solidFill>
                <a:srgbClr val="FFFFFF"/>
              </a:solidFill>
              <a:effectLst/>
              <a:uLnTx/>
              <a:uFillTx/>
              <a:latin typeface="Arial" panose="020B0604020202020204"/>
              <a:ea typeface="+mn-ea"/>
              <a:cs typeface="+mn-cs"/>
              <a:sym typeface="Arial" panose="020B0604020202020204" pitchFamily="34" charset="0"/>
            </a:endParaRPr>
          </a:p>
        </p:txBody>
      </p:sp>
      <p:sp>
        <p:nvSpPr>
          <p:cNvPr id="2" name="Title 1"/>
          <p:cNvSpPr>
            <a:spLocks noGrp="1"/>
          </p:cNvSpPr>
          <p:nvPr>
            <p:ph type="title"/>
          </p:nvPr>
        </p:nvSpPr>
        <p:spPr>
          <a:xfrm>
            <a:off x="510638" y="297277"/>
            <a:ext cx="9321425" cy="434010"/>
          </a:xfrm>
          <a:prstGeom prst="rect">
            <a:avLst/>
          </a:prstGeom>
        </p:spPr>
        <p:txBody>
          <a:bodyPr/>
          <a:lstStyle/>
          <a:p>
            <a:r>
              <a:rPr lang="en-GB"/>
              <a:t>Executive summary: Roadmap</a:t>
            </a:r>
          </a:p>
        </p:txBody>
      </p:sp>
      <p:sp>
        <p:nvSpPr>
          <p:cNvPr id="5" name="Footer Placeholder 4">
            <a:extLst>
              <a:ext uri="{FF2B5EF4-FFF2-40B4-BE49-F238E27FC236}">
                <a16:creationId xmlns:a16="http://schemas.microsoft.com/office/drawing/2014/main" id="{8378A888-C2F3-1F46-BFE9-6AED0C113342}"/>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50235C"/>
                </a:solidFill>
                <a:effectLst/>
                <a:uLnTx/>
                <a:uFillTx/>
                <a:latin typeface="Arial" panose="020B0604020202020204"/>
                <a:ea typeface="+mn-ea"/>
                <a:cs typeface="+mn-cs"/>
              </a:rPr>
              <a:t>© Moorhouse 2021 [Restricted]</a:t>
            </a:r>
          </a:p>
        </p:txBody>
      </p:sp>
      <p:sp>
        <p:nvSpPr>
          <p:cNvPr id="27" name="Rectangle 26">
            <a:extLst>
              <a:ext uri="{FF2B5EF4-FFF2-40B4-BE49-F238E27FC236}">
                <a16:creationId xmlns:a16="http://schemas.microsoft.com/office/drawing/2014/main" id="{4EFAD1A4-9034-8448-A693-CCB4220B8B5E}"/>
              </a:ext>
            </a:extLst>
          </p:cNvPr>
          <p:cNvSpPr/>
          <p:nvPr/>
        </p:nvSpPr>
        <p:spPr>
          <a:xfrm>
            <a:off x="510638" y="871696"/>
            <a:ext cx="11272233" cy="461665"/>
          </a:xfrm>
          <a:prstGeom prst="rect">
            <a:avLst/>
          </a:prstGeom>
        </p:spPr>
        <p:txBody>
          <a:bodyPr wrap="square" lIns="0">
            <a:spAutoFit/>
          </a:bodyPr>
          <a:lstStyle/>
          <a:p>
            <a:r>
              <a:rPr lang="en-GB" sz="1200" b="1">
                <a:solidFill>
                  <a:srgbClr val="51235C"/>
                </a:solidFill>
                <a:latin typeface="Arial" panose="020B0604020202020204" pitchFamily="34" charset="0"/>
                <a:cs typeface="Arial" panose="020B0604020202020204" pitchFamily="34" charset="0"/>
              </a:rPr>
              <a:t>A roadmap for the implementation of the vision and strategy for mental health services was created to support the system to prioritise and drive forward a series of recommendations. </a:t>
            </a:r>
          </a:p>
        </p:txBody>
      </p:sp>
      <p:cxnSp>
        <p:nvCxnSpPr>
          <p:cNvPr id="29" name="Straight Connector 28">
            <a:extLst>
              <a:ext uri="{FF2B5EF4-FFF2-40B4-BE49-F238E27FC236}">
                <a16:creationId xmlns:a16="http://schemas.microsoft.com/office/drawing/2014/main" id="{614F206B-05A2-7C4C-95E4-28B2D9B67F64}"/>
              </a:ext>
            </a:extLst>
          </p:cNvPr>
          <p:cNvCxnSpPr>
            <a:cxnSpLocks/>
          </p:cNvCxnSpPr>
          <p:nvPr/>
        </p:nvCxnSpPr>
        <p:spPr>
          <a:xfrm>
            <a:off x="4114360" y="1999792"/>
            <a:ext cx="0" cy="4207845"/>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762DF57-84A7-E447-9663-FFF81F2335B2}"/>
              </a:ext>
            </a:extLst>
          </p:cNvPr>
          <p:cNvCxnSpPr>
            <a:cxnSpLocks/>
          </p:cNvCxnSpPr>
          <p:nvPr/>
        </p:nvCxnSpPr>
        <p:spPr>
          <a:xfrm>
            <a:off x="8071378" y="1999792"/>
            <a:ext cx="0" cy="4207845"/>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5831CEDB-D38E-1343-BE9C-83F0EFBBD13F}"/>
              </a:ext>
            </a:extLst>
          </p:cNvPr>
          <p:cNvSpPr txBox="1"/>
          <p:nvPr/>
        </p:nvSpPr>
        <p:spPr>
          <a:xfrm>
            <a:off x="4491059" y="1623206"/>
            <a:ext cx="3162467" cy="276999"/>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2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b="1">
                <a:solidFill>
                  <a:srgbClr val="50235C"/>
                </a:solidFill>
              </a:rPr>
              <a:t>Findings</a:t>
            </a:r>
          </a:p>
        </p:txBody>
      </p:sp>
      <p:sp>
        <p:nvSpPr>
          <p:cNvPr id="40" name="TextBox 39">
            <a:extLst>
              <a:ext uri="{FF2B5EF4-FFF2-40B4-BE49-F238E27FC236}">
                <a16:creationId xmlns:a16="http://schemas.microsoft.com/office/drawing/2014/main" id="{E1C0E2C8-7B47-E548-A07D-68D7A4F22BA7}"/>
              </a:ext>
            </a:extLst>
          </p:cNvPr>
          <p:cNvSpPr txBox="1"/>
          <p:nvPr/>
        </p:nvSpPr>
        <p:spPr>
          <a:xfrm>
            <a:off x="8464995" y="1623206"/>
            <a:ext cx="3162467" cy="276999"/>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2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b="1">
                <a:solidFill>
                  <a:srgbClr val="50235C"/>
                </a:solidFill>
              </a:rPr>
              <a:t>Recommendations &amp; next steps</a:t>
            </a:r>
          </a:p>
        </p:txBody>
      </p:sp>
      <p:sp>
        <p:nvSpPr>
          <p:cNvPr id="43" name="Rectangle 42">
            <a:extLst>
              <a:ext uri="{FF2B5EF4-FFF2-40B4-BE49-F238E27FC236}">
                <a16:creationId xmlns:a16="http://schemas.microsoft.com/office/drawing/2014/main" id="{6722C459-EA4B-9046-BFE4-5ADCCCE9822B}"/>
              </a:ext>
            </a:extLst>
          </p:cNvPr>
          <p:cNvSpPr/>
          <p:nvPr/>
        </p:nvSpPr>
        <p:spPr>
          <a:xfrm rot="16200000">
            <a:off x="-531889" y="5494598"/>
            <a:ext cx="1668641" cy="276999"/>
          </a:xfrm>
          <a:prstGeom prst="rect">
            <a:avLst/>
          </a:prstGeom>
        </p:spPr>
        <p:txBody>
          <a:bodyPr wrap="square" lIns="0">
            <a:spAutoFit/>
          </a:bodyPr>
          <a:lstStyle/>
          <a:p>
            <a:pPr algn="ctr"/>
            <a:r>
              <a:rPr lang="en-GB" sz="1200" b="1">
                <a:solidFill>
                  <a:srgbClr val="51235C"/>
                </a:solidFill>
                <a:latin typeface="Arial" panose="020B0604020202020204" pitchFamily="34" charset="0"/>
                <a:cs typeface="Arial" panose="020B0604020202020204" pitchFamily="34" charset="0"/>
              </a:rPr>
              <a:t>Output</a:t>
            </a:r>
          </a:p>
        </p:txBody>
      </p:sp>
      <p:sp>
        <p:nvSpPr>
          <p:cNvPr id="44" name="Rectangle 43">
            <a:extLst>
              <a:ext uri="{FF2B5EF4-FFF2-40B4-BE49-F238E27FC236}">
                <a16:creationId xmlns:a16="http://schemas.microsoft.com/office/drawing/2014/main" id="{94F77078-9FB8-334E-9C10-E9F04E16BBA7}"/>
              </a:ext>
            </a:extLst>
          </p:cNvPr>
          <p:cNvSpPr/>
          <p:nvPr/>
        </p:nvSpPr>
        <p:spPr>
          <a:xfrm>
            <a:off x="517131" y="4892082"/>
            <a:ext cx="3162457" cy="1448773"/>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9" name="TextBox 48">
            <a:extLst>
              <a:ext uri="{FF2B5EF4-FFF2-40B4-BE49-F238E27FC236}">
                <a16:creationId xmlns:a16="http://schemas.microsoft.com/office/drawing/2014/main" id="{EB12C5EA-D5E9-6642-B105-31F682D36F5D}"/>
              </a:ext>
            </a:extLst>
          </p:cNvPr>
          <p:cNvSpPr txBox="1"/>
          <p:nvPr/>
        </p:nvSpPr>
        <p:spPr>
          <a:xfrm>
            <a:off x="681507" y="5932876"/>
            <a:ext cx="1079645" cy="246221"/>
          </a:xfrm>
          <a:prstGeom prst="rect">
            <a:avLst/>
          </a:prstGeom>
          <a:noFill/>
        </p:spPr>
        <p:txBody>
          <a:bodyPr wrap="square" lIns="91440" tIns="45720" rIns="91440" bIns="45720" rtlCol="0" anchor="t">
            <a:spAutoFit/>
          </a:bodyPr>
          <a:lstStyle/>
          <a:p>
            <a:pPr marR="0" lvl="0" algn="ctr" defTabSz="914400" rtl="0" eaLnBrk="1" fontAlgn="auto" latinLnBrk="0" hangingPunct="1">
              <a:lnSpc>
                <a:spcPct val="100000"/>
              </a:lnSpc>
              <a:spcBef>
                <a:spcPts val="0"/>
              </a:spcBef>
              <a:spcAft>
                <a:spcPts val="600"/>
              </a:spcAft>
              <a:buClr>
                <a:srgbClr val="50235C"/>
              </a:buClr>
              <a:buSzTx/>
              <a:tabLst/>
              <a:defRPr/>
            </a:pPr>
            <a:r>
              <a:rPr kumimoji="0" lang="en-GB" sz="10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rPr>
              <a:t>Roadmap</a:t>
            </a:r>
          </a:p>
        </p:txBody>
      </p:sp>
      <p:sp>
        <p:nvSpPr>
          <p:cNvPr id="51" name="TextBox 50">
            <a:extLst>
              <a:ext uri="{FF2B5EF4-FFF2-40B4-BE49-F238E27FC236}">
                <a16:creationId xmlns:a16="http://schemas.microsoft.com/office/drawing/2014/main" id="{390FA1DD-16DF-2E48-8A6B-AA33E10B0B14}"/>
              </a:ext>
            </a:extLst>
          </p:cNvPr>
          <p:cNvSpPr txBox="1"/>
          <p:nvPr/>
        </p:nvSpPr>
        <p:spPr>
          <a:xfrm>
            <a:off x="510638" y="2093538"/>
            <a:ext cx="3162457" cy="2554545"/>
          </a:xfrm>
          <a:prstGeom prst="rect">
            <a:avLst/>
          </a:prstGeom>
          <a:noFill/>
        </p:spPr>
        <p:txBody>
          <a:bodyPr wrap="square" rtlCol="0">
            <a:spAutoFit/>
          </a:bodyPr>
          <a:lstStyle/>
          <a:p>
            <a:pPr marL="171450" lvl="0" indent="-171450" defTabSz="685800">
              <a:spcBef>
                <a:spcPts val="600"/>
              </a:spcBef>
              <a:spcAft>
                <a:spcPts val="600"/>
              </a:spcAft>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Using the outputs from the gap analysis, the</a:t>
            </a:r>
            <a:r>
              <a:rPr lang="en-GB" sz="1000" b="1">
                <a:solidFill>
                  <a:schemeClr val="tx2">
                    <a:lumMod val="65000"/>
                    <a:lumOff val="35000"/>
                  </a:schemeClr>
                </a:solidFill>
                <a:latin typeface="Arial" panose="020B0604020202020204" pitchFamily="34" charset="0"/>
                <a:cs typeface="Arial" panose="020B0604020202020204" pitchFamily="34" charset="0"/>
              </a:rPr>
              <a:t> current activities across the system were identified and mapped </a:t>
            </a:r>
            <a:r>
              <a:rPr lang="en-GB" sz="1000">
                <a:solidFill>
                  <a:schemeClr val="tx2">
                    <a:lumMod val="65000"/>
                    <a:lumOff val="35000"/>
                  </a:schemeClr>
                </a:solidFill>
                <a:latin typeface="Arial" panose="020B0604020202020204" pitchFamily="34" charset="0"/>
                <a:cs typeface="Arial" panose="020B0604020202020204" pitchFamily="34" charset="0"/>
              </a:rPr>
              <a:t>to each strategic priority. </a:t>
            </a:r>
          </a:p>
          <a:p>
            <a:pPr marL="171450" lvl="0" indent="-171450" defTabSz="685800">
              <a:spcBef>
                <a:spcPts val="600"/>
              </a:spcBef>
              <a:spcAft>
                <a:spcPts val="600"/>
              </a:spcAft>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Next, a series of workshops were held, co-producing </a:t>
            </a:r>
            <a:r>
              <a:rPr lang="en-GB" sz="1000" b="1">
                <a:solidFill>
                  <a:schemeClr val="tx2">
                    <a:lumMod val="65000"/>
                    <a:lumOff val="35000"/>
                  </a:schemeClr>
                </a:solidFill>
                <a:latin typeface="Arial" panose="020B0604020202020204" pitchFamily="34" charset="0"/>
                <a:cs typeface="Arial" panose="020B0604020202020204" pitchFamily="34" charset="0"/>
              </a:rPr>
              <a:t>70 recommendations </a:t>
            </a:r>
            <a:r>
              <a:rPr lang="en-GB" sz="1000">
                <a:solidFill>
                  <a:schemeClr val="tx2">
                    <a:lumMod val="65000"/>
                    <a:lumOff val="35000"/>
                  </a:schemeClr>
                </a:solidFill>
                <a:latin typeface="Arial" panose="020B0604020202020204" pitchFamily="34" charset="0"/>
                <a:cs typeface="Arial" panose="020B0604020202020204" pitchFamily="34" charset="0"/>
              </a:rPr>
              <a:t>with the ICS leadership,</a:t>
            </a:r>
            <a:r>
              <a:rPr lang="en-GB" sz="1000" b="1">
                <a:solidFill>
                  <a:schemeClr val="tx2">
                    <a:lumMod val="65000"/>
                    <a:lumOff val="35000"/>
                  </a:schemeClr>
                </a:solidFill>
                <a:latin typeface="Arial" panose="020B0604020202020204" pitchFamily="34" charset="0"/>
                <a:cs typeface="Arial" panose="020B0604020202020204" pitchFamily="34" charset="0"/>
              </a:rPr>
              <a:t> </a:t>
            </a:r>
            <a:r>
              <a:rPr lang="en-GB" sz="1000">
                <a:solidFill>
                  <a:schemeClr val="tx2">
                    <a:lumMod val="65000"/>
                    <a:lumOff val="35000"/>
                  </a:schemeClr>
                </a:solidFill>
                <a:latin typeface="Arial" panose="020B0604020202020204" pitchFamily="34" charset="0"/>
                <a:cs typeface="Arial" panose="020B0604020202020204" pitchFamily="34" charset="0"/>
              </a:rPr>
              <a:t>to support the delivery of each of the priority areas. </a:t>
            </a:r>
          </a:p>
          <a:p>
            <a:pPr marL="171450" lvl="0" indent="-171450" defTabSz="685800">
              <a:spcBef>
                <a:spcPts val="600"/>
              </a:spcBef>
              <a:spcAft>
                <a:spcPts val="600"/>
              </a:spcAft>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A </a:t>
            </a:r>
            <a:r>
              <a:rPr lang="en-GB" sz="1000" b="1">
                <a:solidFill>
                  <a:schemeClr val="tx2">
                    <a:lumMod val="65000"/>
                    <a:lumOff val="35000"/>
                  </a:schemeClr>
                </a:solidFill>
                <a:latin typeface="Arial" panose="020B0604020202020204" pitchFamily="34" charset="0"/>
                <a:cs typeface="Arial" panose="020B0604020202020204" pitchFamily="34" charset="0"/>
              </a:rPr>
              <a:t>prioritisation exercise </a:t>
            </a:r>
            <a:r>
              <a:rPr lang="en-GB" sz="1000">
                <a:solidFill>
                  <a:schemeClr val="tx2">
                    <a:lumMod val="65000"/>
                    <a:lumOff val="35000"/>
                  </a:schemeClr>
                </a:solidFill>
                <a:latin typeface="Arial" panose="020B0604020202020204" pitchFamily="34" charset="0"/>
                <a:cs typeface="Arial" panose="020B0604020202020204" pitchFamily="34" charset="0"/>
              </a:rPr>
              <a:t>was completed with key stakeholders to assess the impact, ease, resource required and timeline of delivery. </a:t>
            </a:r>
          </a:p>
          <a:p>
            <a:pPr marL="171450" lvl="0" indent="-171450" defTabSz="685800">
              <a:spcBef>
                <a:spcPts val="600"/>
              </a:spcBef>
              <a:spcAft>
                <a:spcPts val="600"/>
              </a:spcAft>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These </a:t>
            </a:r>
            <a:r>
              <a:rPr lang="en-GB" sz="1000" b="1">
                <a:solidFill>
                  <a:schemeClr val="tx2">
                    <a:lumMod val="65000"/>
                    <a:lumOff val="35000"/>
                  </a:schemeClr>
                </a:solidFill>
                <a:latin typeface="Arial" panose="020B0604020202020204" pitchFamily="34" charset="0"/>
                <a:cs typeface="Arial" panose="020B0604020202020204" pitchFamily="34" charset="0"/>
              </a:rPr>
              <a:t>recommendations were then mapped to produce a prioritised roadmap </a:t>
            </a:r>
            <a:r>
              <a:rPr lang="en-GB" sz="1000">
                <a:solidFill>
                  <a:schemeClr val="tx2">
                    <a:lumMod val="65000"/>
                    <a:lumOff val="35000"/>
                  </a:schemeClr>
                </a:solidFill>
                <a:latin typeface="Arial" panose="020B0604020202020204" pitchFamily="34" charset="0"/>
                <a:cs typeface="Arial" panose="020B0604020202020204" pitchFamily="34" charset="0"/>
              </a:rPr>
              <a:t>to support delivery. </a:t>
            </a:r>
          </a:p>
        </p:txBody>
      </p:sp>
      <p:sp>
        <p:nvSpPr>
          <p:cNvPr id="21" name="TextBox 20">
            <a:extLst>
              <a:ext uri="{FF2B5EF4-FFF2-40B4-BE49-F238E27FC236}">
                <a16:creationId xmlns:a16="http://schemas.microsoft.com/office/drawing/2014/main" id="{A304E711-3C9F-5048-87C2-367B868CA4C9}"/>
              </a:ext>
            </a:extLst>
          </p:cNvPr>
          <p:cNvSpPr txBox="1"/>
          <p:nvPr/>
        </p:nvSpPr>
        <p:spPr>
          <a:xfrm>
            <a:off x="4403144" y="2093538"/>
            <a:ext cx="3384911" cy="4555093"/>
          </a:xfrm>
          <a:prstGeom prst="rect">
            <a:avLst/>
          </a:prstGeom>
          <a:noFill/>
        </p:spPr>
        <p:txBody>
          <a:bodyPr wrap="square" rtlCol="0">
            <a:spAutoFit/>
          </a:bodyPr>
          <a:lstStyle/>
          <a:p>
            <a:pPr marL="17463" lvl="1" defTabSz="685800">
              <a:spcBef>
                <a:spcPts val="200"/>
              </a:spcBef>
              <a:spcAft>
                <a:spcPts val="200"/>
              </a:spcAft>
              <a:tabLst>
                <a:tab pos="2116138" algn="l"/>
              </a:tabLst>
              <a:defRPr/>
            </a:pPr>
            <a:r>
              <a:rPr lang="en-GB" sz="1000">
                <a:solidFill>
                  <a:schemeClr val="tx2">
                    <a:lumMod val="65000"/>
                    <a:lumOff val="35000"/>
                  </a:schemeClr>
                </a:solidFill>
                <a:latin typeface="Arial" panose="020B0604020202020204" pitchFamily="34" charset="0"/>
                <a:cs typeface="Arial" panose="020B0604020202020204" pitchFamily="34" charset="0"/>
              </a:rPr>
              <a:t>For each strategic priority a series of prioritised recommendations were produced:</a:t>
            </a:r>
          </a:p>
          <a:p>
            <a:pPr marL="188913" lvl="1" indent="-171450" defTabSz="685800">
              <a:spcBef>
                <a:spcPts val="200"/>
              </a:spcBef>
              <a:spcAft>
                <a:spcPts val="200"/>
              </a:spcAft>
              <a:buFont typeface="Arial" panose="020B0604020202020204" pitchFamily="34" charset="0"/>
              <a:buChar char="•"/>
              <a:defRPr/>
            </a:pPr>
            <a:r>
              <a:rPr lang="en-GB" sz="1000" b="1">
                <a:solidFill>
                  <a:schemeClr val="tx2">
                    <a:lumMod val="65000"/>
                    <a:lumOff val="35000"/>
                  </a:schemeClr>
                </a:solidFill>
                <a:latin typeface="Arial" panose="020B0604020202020204" pitchFamily="34" charset="0"/>
                <a:cs typeface="Arial" panose="020B0604020202020204" pitchFamily="34" charset="0"/>
              </a:rPr>
              <a:t>Raise the profile and awareness of Mental Health </a:t>
            </a:r>
            <a:r>
              <a:rPr lang="en-GB" sz="1000">
                <a:solidFill>
                  <a:schemeClr val="tx2">
                    <a:lumMod val="65000"/>
                    <a:lumOff val="35000"/>
                  </a:schemeClr>
                </a:solidFill>
                <a:latin typeface="Arial" panose="020B0604020202020204" pitchFamily="34" charset="0"/>
                <a:cs typeface="Arial" panose="020B0604020202020204" pitchFamily="34" charset="0"/>
              </a:rPr>
              <a:t>– eight recommendations were produced including one quick win. </a:t>
            </a:r>
          </a:p>
          <a:p>
            <a:pPr marL="188913" lvl="1" indent="-171450" defTabSz="685800">
              <a:spcBef>
                <a:spcPts val="200"/>
              </a:spcBef>
              <a:spcAft>
                <a:spcPts val="200"/>
              </a:spcAft>
              <a:buFont typeface="Arial" panose="020B0604020202020204" pitchFamily="34" charset="0"/>
              <a:buChar char="•"/>
              <a:defRPr/>
            </a:pPr>
            <a:r>
              <a:rPr lang="en-GB" sz="1000" b="1">
                <a:solidFill>
                  <a:schemeClr val="tx2">
                    <a:lumMod val="65000"/>
                    <a:lumOff val="35000"/>
                  </a:schemeClr>
                </a:solidFill>
                <a:latin typeface="Arial" panose="020B0604020202020204" pitchFamily="34" charset="0"/>
                <a:cs typeface="Arial" panose="020B0604020202020204" pitchFamily="34" charset="0"/>
              </a:rPr>
              <a:t>Proactive prevention </a:t>
            </a:r>
            <a:r>
              <a:rPr lang="en-GB" sz="1000">
                <a:solidFill>
                  <a:schemeClr val="tx2">
                    <a:lumMod val="65000"/>
                    <a:lumOff val="35000"/>
                  </a:schemeClr>
                </a:solidFill>
                <a:latin typeface="Arial" panose="020B0604020202020204" pitchFamily="34" charset="0"/>
                <a:cs typeface="Arial" panose="020B0604020202020204" pitchFamily="34" charset="0"/>
              </a:rPr>
              <a:t>– 10 recommendations were produced with delivery focused over the medium to long term. </a:t>
            </a:r>
          </a:p>
          <a:p>
            <a:pPr marL="188913" lvl="1" indent="-171450" defTabSz="685800">
              <a:spcBef>
                <a:spcPts val="200"/>
              </a:spcBef>
              <a:spcAft>
                <a:spcPts val="200"/>
              </a:spcAft>
              <a:buFont typeface="Arial" panose="020B0604020202020204" pitchFamily="34" charset="0"/>
              <a:buChar char="•"/>
              <a:defRPr/>
            </a:pPr>
            <a:r>
              <a:rPr lang="en-GB" sz="1000" b="1">
                <a:solidFill>
                  <a:schemeClr val="tx2">
                    <a:lumMod val="65000"/>
                    <a:lumOff val="35000"/>
                  </a:schemeClr>
                </a:solidFill>
                <a:latin typeface="Arial" panose="020B0604020202020204" pitchFamily="34" charset="0"/>
                <a:cs typeface="Arial" panose="020B0604020202020204" pitchFamily="34" charset="0"/>
              </a:rPr>
              <a:t>Easy access to support and services </a:t>
            </a:r>
            <a:r>
              <a:rPr lang="en-GB" sz="1000">
                <a:solidFill>
                  <a:schemeClr val="tx2">
                    <a:lumMod val="65000"/>
                    <a:lumOff val="35000"/>
                  </a:schemeClr>
                </a:solidFill>
                <a:latin typeface="Arial" panose="020B0604020202020204" pitchFamily="34" charset="0"/>
                <a:cs typeface="Arial" panose="020B0604020202020204" pitchFamily="34" charset="0"/>
              </a:rPr>
              <a:t>– 10 recommendations were produced with a focus on awareness of and access to the front door. </a:t>
            </a:r>
          </a:p>
          <a:p>
            <a:pPr marL="188913" lvl="1" indent="-171450" defTabSz="685800">
              <a:spcBef>
                <a:spcPts val="200"/>
              </a:spcBef>
              <a:spcAft>
                <a:spcPts val="200"/>
              </a:spcAft>
              <a:buFont typeface="Arial" panose="020B0604020202020204" pitchFamily="34" charset="0"/>
              <a:buChar char="•"/>
              <a:defRPr/>
            </a:pPr>
            <a:r>
              <a:rPr lang="en-GB" sz="1000" b="1">
                <a:solidFill>
                  <a:schemeClr val="tx2">
                    <a:lumMod val="65000"/>
                    <a:lumOff val="35000"/>
                  </a:schemeClr>
                </a:solidFill>
                <a:latin typeface="Arial" panose="020B0604020202020204" pitchFamily="34" charset="0"/>
                <a:cs typeface="Arial" panose="020B0604020202020204" pitchFamily="34" charset="0"/>
              </a:rPr>
              <a:t>Act as one integrated system </a:t>
            </a:r>
            <a:r>
              <a:rPr lang="en-GB" sz="1000">
                <a:solidFill>
                  <a:schemeClr val="tx2">
                    <a:lumMod val="65000"/>
                    <a:lumOff val="35000"/>
                  </a:schemeClr>
                </a:solidFill>
                <a:latin typeface="Arial" panose="020B0604020202020204" pitchFamily="34" charset="0"/>
                <a:cs typeface="Arial" panose="020B0604020202020204" pitchFamily="34" charset="0"/>
              </a:rPr>
              <a:t>– eight recommendations were produced including one quick win focused on place-based leadership. </a:t>
            </a:r>
          </a:p>
          <a:p>
            <a:pPr marL="188913" lvl="1" indent="-171450" defTabSz="685800">
              <a:spcBef>
                <a:spcPts val="200"/>
              </a:spcBef>
              <a:spcAft>
                <a:spcPts val="200"/>
              </a:spcAft>
              <a:buFont typeface="Arial" panose="020B0604020202020204" pitchFamily="34" charset="0"/>
              <a:buChar char="•"/>
              <a:defRPr/>
            </a:pPr>
            <a:r>
              <a:rPr lang="en-GB" sz="1000" b="1">
                <a:solidFill>
                  <a:schemeClr val="tx2">
                    <a:lumMod val="65000"/>
                    <a:lumOff val="35000"/>
                  </a:schemeClr>
                </a:solidFill>
                <a:latin typeface="Arial" panose="020B0604020202020204" pitchFamily="34" charset="0"/>
                <a:cs typeface="Arial" panose="020B0604020202020204" pitchFamily="34" charset="0"/>
              </a:rPr>
              <a:t>Focus on health inequalities </a:t>
            </a:r>
            <a:r>
              <a:rPr lang="en-GB" sz="1000">
                <a:solidFill>
                  <a:schemeClr val="tx2">
                    <a:lumMod val="65000"/>
                    <a:lumOff val="35000"/>
                  </a:schemeClr>
                </a:solidFill>
                <a:latin typeface="Arial" panose="020B0604020202020204" pitchFamily="34" charset="0"/>
                <a:cs typeface="Arial" panose="020B0604020202020204" pitchFamily="34" charset="0"/>
              </a:rPr>
              <a:t>– 11 key recommendations were identified that thread through all areas of focus. </a:t>
            </a:r>
          </a:p>
          <a:p>
            <a:pPr marL="188913" lvl="1" indent="-171450" defTabSz="685800">
              <a:spcBef>
                <a:spcPts val="200"/>
              </a:spcBef>
              <a:spcAft>
                <a:spcPts val="200"/>
              </a:spcAft>
              <a:buFont typeface="Arial" panose="020B0604020202020204" pitchFamily="34" charset="0"/>
              <a:buChar char="•"/>
              <a:defRPr/>
            </a:pPr>
            <a:r>
              <a:rPr lang="en-GB" sz="1000" b="1">
                <a:solidFill>
                  <a:schemeClr val="tx2">
                    <a:lumMod val="65000"/>
                    <a:lumOff val="35000"/>
                  </a:schemeClr>
                </a:solidFill>
                <a:latin typeface="Arial" panose="020B0604020202020204" pitchFamily="34" charset="0"/>
                <a:cs typeface="Arial" panose="020B0604020202020204" pitchFamily="34" charset="0"/>
              </a:rPr>
              <a:t>Build community resources </a:t>
            </a:r>
            <a:r>
              <a:rPr lang="en-GB" sz="1000">
                <a:solidFill>
                  <a:schemeClr val="tx2">
                    <a:lumMod val="65000"/>
                    <a:lumOff val="35000"/>
                  </a:schemeClr>
                </a:solidFill>
                <a:latin typeface="Arial" panose="020B0604020202020204" pitchFamily="34" charset="0"/>
                <a:cs typeface="Arial" panose="020B0604020202020204" pitchFamily="34" charset="0"/>
              </a:rPr>
              <a:t>– eight recommendations produced focused on supporting people outside of hospital. </a:t>
            </a:r>
          </a:p>
          <a:p>
            <a:pPr marL="188913" lvl="1" indent="-171450" defTabSz="685800">
              <a:spcBef>
                <a:spcPts val="200"/>
              </a:spcBef>
              <a:spcAft>
                <a:spcPts val="200"/>
              </a:spcAft>
              <a:buFont typeface="Arial" panose="020B0604020202020204" pitchFamily="34" charset="0"/>
              <a:buChar char="•"/>
              <a:defRPr/>
            </a:pPr>
            <a:r>
              <a:rPr lang="en-GB" sz="1000" b="1">
                <a:solidFill>
                  <a:schemeClr val="tx2">
                    <a:lumMod val="65000"/>
                    <a:lumOff val="35000"/>
                  </a:schemeClr>
                </a:solidFill>
                <a:latin typeface="Arial" panose="020B0604020202020204" pitchFamily="34" charset="0"/>
                <a:cs typeface="Arial" panose="020B0604020202020204" pitchFamily="34" charset="0"/>
              </a:rPr>
              <a:t>Support the workforce and their wellbeing </a:t>
            </a:r>
            <a:r>
              <a:rPr lang="en-GB" sz="1000">
                <a:solidFill>
                  <a:schemeClr val="tx2">
                    <a:lumMod val="65000"/>
                    <a:lumOff val="35000"/>
                  </a:schemeClr>
                </a:solidFill>
                <a:latin typeface="Arial" panose="020B0604020202020204" pitchFamily="34" charset="0"/>
                <a:cs typeface="Arial" panose="020B0604020202020204" pitchFamily="34" charset="0"/>
              </a:rPr>
              <a:t>– eight recommendations produced to support the front-line workforce. </a:t>
            </a:r>
          </a:p>
          <a:p>
            <a:pPr marL="188913" lvl="1" indent="-171450" defTabSz="685800">
              <a:spcBef>
                <a:spcPts val="200"/>
              </a:spcBef>
              <a:spcAft>
                <a:spcPts val="200"/>
              </a:spcAft>
              <a:buFont typeface="Arial" panose="020B0604020202020204" pitchFamily="34" charset="0"/>
              <a:buChar char="•"/>
              <a:defRPr/>
            </a:pPr>
            <a:r>
              <a:rPr lang="en-GB" sz="1000" b="1">
                <a:solidFill>
                  <a:schemeClr val="tx2">
                    <a:lumMod val="65000"/>
                    <a:lumOff val="35000"/>
                  </a:schemeClr>
                </a:solidFill>
                <a:latin typeface="Arial" panose="020B0604020202020204" pitchFamily="34" charset="0"/>
                <a:cs typeface="Arial" panose="020B0604020202020204" pitchFamily="34" charset="0"/>
              </a:rPr>
              <a:t>Supported transition from services </a:t>
            </a:r>
            <a:r>
              <a:rPr lang="en-GB" sz="1000">
                <a:solidFill>
                  <a:schemeClr val="tx2">
                    <a:lumMod val="65000"/>
                    <a:lumOff val="35000"/>
                  </a:schemeClr>
                </a:solidFill>
                <a:latin typeface="Arial" panose="020B0604020202020204" pitchFamily="34" charset="0"/>
                <a:cs typeface="Arial" panose="020B0604020202020204" pitchFamily="34" charset="0"/>
              </a:rPr>
              <a:t>– five recommendations produced through the workshops. </a:t>
            </a:r>
          </a:p>
          <a:p>
            <a:pPr lvl="1" defTabSz="685800">
              <a:spcBef>
                <a:spcPts val="200"/>
              </a:spcBef>
              <a:spcAft>
                <a:spcPts val="200"/>
              </a:spcAft>
              <a:defRPr/>
            </a:pPr>
            <a:endParaRPr lang="en-GB" sz="1000">
              <a:solidFill>
                <a:schemeClr val="tx1">
                  <a:lumMod val="65000"/>
                  <a:lumOff val="35000"/>
                </a:schemeClr>
              </a:solidFill>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6B47840B-56F0-5440-A0A4-30994039B249}"/>
              </a:ext>
            </a:extLst>
          </p:cNvPr>
          <p:cNvSpPr txBox="1"/>
          <p:nvPr/>
        </p:nvSpPr>
        <p:spPr>
          <a:xfrm>
            <a:off x="8448086" y="2093537"/>
            <a:ext cx="3162457" cy="3170099"/>
          </a:xfrm>
          <a:prstGeom prst="rect">
            <a:avLst/>
          </a:prstGeom>
          <a:noFill/>
        </p:spPr>
        <p:txBody>
          <a:bodyPr wrap="square" rtlCol="0">
            <a:spAutoFit/>
          </a:bodyPr>
          <a:lstStyle/>
          <a:p>
            <a:pPr marL="171450" lvl="0" indent="-171450" defTabSz="685800">
              <a:spcBef>
                <a:spcPts val="600"/>
              </a:spcBef>
              <a:spcAft>
                <a:spcPts val="600"/>
              </a:spcAft>
              <a:buFont typeface="Arial" panose="020B0604020202020204" pitchFamily="34" charset="0"/>
              <a:buChar char="•"/>
              <a:defRPr/>
            </a:pPr>
            <a:r>
              <a:rPr lang="en-GB" sz="1000">
                <a:solidFill>
                  <a:schemeClr val="tx1">
                    <a:lumMod val="65000"/>
                    <a:lumOff val="35000"/>
                  </a:schemeClr>
                </a:solidFill>
                <a:latin typeface="Arial" panose="020B0604020202020204" pitchFamily="34" charset="0"/>
                <a:cs typeface="Arial" panose="020B0604020202020204" pitchFamily="34" charset="0"/>
              </a:rPr>
              <a:t>In total, 70 recommendations were produced, with </a:t>
            </a:r>
            <a:r>
              <a:rPr lang="en-GB" sz="1000" b="1">
                <a:solidFill>
                  <a:schemeClr val="tx1">
                    <a:lumMod val="65000"/>
                    <a:lumOff val="35000"/>
                  </a:schemeClr>
                </a:solidFill>
                <a:latin typeface="Arial" panose="020B0604020202020204" pitchFamily="34" charset="0"/>
                <a:cs typeface="Arial" panose="020B0604020202020204" pitchFamily="34" charset="0"/>
              </a:rPr>
              <a:t>six quick wins identified and 10 recommendations prioritised </a:t>
            </a:r>
            <a:r>
              <a:rPr lang="en-GB" sz="1000">
                <a:solidFill>
                  <a:schemeClr val="tx1">
                    <a:lumMod val="65000"/>
                    <a:lumOff val="35000"/>
                  </a:schemeClr>
                </a:solidFill>
                <a:latin typeface="Arial" panose="020B0604020202020204" pitchFamily="34" charset="0"/>
                <a:cs typeface="Arial" panose="020B0604020202020204" pitchFamily="34" charset="0"/>
              </a:rPr>
              <a:t>based on impact and ease of implementation. </a:t>
            </a:r>
          </a:p>
          <a:p>
            <a:pPr marL="171450" lvl="0" indent="-171450" defTabSz="685800">
              <a:spcBef>
                <a:spcPts val="600"/>
              </a:spcBef>
              <a:spcAft>
                <a:spcPts val="600"/>
              </a:spcAft>
              <a:buFont typeface="Arial" panose="020B0604020202020204" pitchFamily="34" charset="0"/>
              <a:buChar char="•"/>
              <a:defRPr/>
            </a:pPr>
            <a:r>
              <a:rPr lang="en-GB" sz="1000">
                <a:solidFill>
                  <a:schemeClr val="tx1">
                    <a:lumMod val="65000"/>
                    <a:lumOff val="35000"/>
                  </a:schemeClr>
                </a:solidFill>
                <a:latin typeface="Arial" panose="020B0604020202020204" pitchFamily="34" charset="0"/>
                <a:cs typeface="Arial" panose="020B0604020202020204" pitchFamily="34" charset="0"/>
              </a:rPr>
              <a:t>To support the delivery of these recommendations, a series of </a:t>
            </a:r>
            <a:r>
              <a:rPr lang="en-GB" sz="1000" b="1">
                <a:solidFill>
                  <a:schemeClr val="tx1">
                    <a:lumMod val="65000"/>
                    <a:lumOff val="35000"/>
                  </a:schemeClr>
                </a:solidFill>
                <a:latin typeface="Arial" panose="020B0604020202020204" pitchFamily="34" charset="0"/>
                <a:cs typeface="Arial" panose="020B0604020202020204" pitchFamily="34" charset="0"/>
              </a:rPr>
              <a:t>next steps </a:t>
            </a:r>
            <a:r>
              <a:rPr lang="en-GB" sz="1000">
                <a:solidFill>
                  <a:schemeClr val="tx1">
                    <a:lumMod val="65000"/>
                    <a:lumOff val="35000"/>
                  </a:schemeClr>
                </a:solidFill>
                <a:latin typeface="Arial" panose="020B0604020202020204" pitchFamily="34" charset="0"/>
                <a:cs typeface="Arial" panose="020B0604020202020204" pitchFamily="34" charset="0"/>
              </a:rPr>
              <a:t>should be followed:</a:t>
            </a:r>
          </a:p>
          <a:p>
            <a:pPr marL="363538" lvl="0" indent="-161925" defTabSz="685800">
              <a:spcBef>
                <a:spcPts val="600"/>
              </a:spcBef>
              <a:spcAft>
                <a:spcPts val="600"/>
              </a:spcAft>
              <a:buFont typeface="Arial" panose="020B0604020202020204" pitchFamily="34" charset="0"/>
              <a:buChar char="•"/>
              <a:defRPr/>
            </a:pPr>
            <a:r>
              <a:rPr lang="en-GB" sz="1000">
                <a:solidFill>
                  <a:schemeClr val="tx1">
                    <a:lumMod val="65000"/>
                    <a:lumOff val="35000"/>
                  </a:schemeClr>
                </a:solidFill>
                <a:latin typeface="Arial" panose="020B0604020202020204" pitchFamily="34" charset="0"/>
                <a:cs typeface="Arial" panose="020B0604020202020204" pitchFamily="34" charset="0"/>
              </a:rPr>
              <a:t>Ensure mental health leadership teams </a:t>
            </a:r>
            <a:r>
              <a:rPr lang="en-GB" sz="1000" b="1">
                <a:solidFill>
                  <a:schemeClr val="tx1">
                    <a:lumMod val="65000"/>
                    <a:lumOff val="35000"/>
                  </a:schemeClr>
                </a:solidFill>
                <a:latin typeface="Arial" panose="020B0604020202020204" pitchFamily="34" charset="0"/>
                <a:cs typeface="Arial" panose="020B0604020202020204" pitchFamily="34" charset="0"/>
              </a:rPr>
              <a:t>support the key recommendations </a:t>
            </a:r>
            <a:r>
              <a:rPr lang="en-GB" sz="1000">
                <a:solidFill>
                  <a:schemeClr val="tx1">
                    <a:lumMod val="65000"/>
                    <a:lumOff val="35000"/>
                  </a:schemeClr>
                </a:solidFill>
                <a:latin typeface="Arial" panose="020B0604020202020204" pitchFamily="34" charset="0"/>
                <a:cs typeface="Arial" panose="020B0604020202020204" pitchFamily="34" charset="0"/>
              </a:rPr>
              <a:t>included in the roadmap. </a:t>
            </a:r>
          </a:p>
          <a:p>
            <a:pPr marL="363538" lvl="0" indent="-161925" defTabSz="685800">
              <a:spcBef>
                <a:spcPts val="600"/>
              </a:spcBef>
              <a:spcAft>
                <a:spcPts val="600"/>
              </a:spcAft>
              <a:buFont typeface="Arial" panose="020B0604020202020204" pitchFamily="34" charset="0"/>
              <a:buChar char="•"/>
              <a:defRPr/>
            </a:pPr>
            <a:r>
              <a:rPr lang="en-GB" sz="1000">
                <a:solidFill>
                  <a:schemeClr val="tx1">
                    <a:lumMod val="65000"/>
                    <a:lumOff val="35000"/>
                  </a:schemeClr>
                </a:solidFill>
                <a:latin typeface="Arial" panose="020B0604020202020204" pitchFamily="34" charset="0"/>
                <a:cs typeface="Arial" panose="020B0604020202020204" pitchFamily="34" charset="0"/>
              </a:rPr>
              <a:t>Undertake an </a:t>
            </a:r>
            <a:r>
              <a:rPr lang="en-GB" sz="1000" b="1">
                <a:solidFill>
                  <a:schemeClr val="tx1">
                    <a:lumMod val="65000"/>
                    <a:lumOff val="35000"/>
                  </a:schemeClr>
                </a:solidFill>
                <a:latin typeface="Arial" panose="020B0604020202020204" pitchFamily="34" charset="0"/>
                <a:cs typeface="Arial" panose="020B0604020202020204" pitchFamily="34" charset="0"/>
              </a:rPr>
              <a:t>assessment of </a:t>
            </a:r>
            <a:r>
              <a:rPr lang="en-GB" sz="1000">
                <a:solidFill>
                  <a:schemeClr val="tx1">
                    <a:lumMod val="65000"/>
                    <a:lumOff val="35000"/>
                  </a:schemeClr>
                </a:solidFill>
                <a:latin typeface="Arial" panose="020B0604020202020204" pitchFamily="34" charset="0"/>
                <a:cs typeface="Arial" panose="020B0604020202020204" pitchFamily="34" charset="0"/>
              </a:rPr>
              <a:t>all the recommendations to understand in detail the </a:t>
            </a:r>
            <a:r>
              <a:rPr lang="en-GB" sz="1000" b="1">
                <a:solidFill>
                  <a:schemeClr val="tx1">
                    <a:lumMod val="65000"/>
                    <a:lumOff val="35000"/>
                  </a:schemeClr>
                </a:solidFill>
                <a:latin typeface="Arial" panose="020B0604020202020204" pitchFamily="34" charset="0"/>
                <a:cs typeface="Arial" panose="020B0604020202020204" pitchFamily="34" charset="0"/>
              </a:rPr>
              <a:t>type and amount of resource required</a:t>
            </a:r>
            <a:r>
              <a:rPr lang="en-GB" sz="1000">
                <a:solidFill>
                  <a:schemeClr val="tx1">
                    <a:lumMod val="65000"/>
                    <a:lumOff val="35000"/>
                  </a:schemeClr>
                </a:solidFill>
                <a:latin typeface="Arial" panose="020B0604020202020204" pitchFamily="34" charset="0"/>
                <a:cs typeface="Arial" panose="020B0604020202020204" pitchFamily="34" charset="0"/>
              </a:rPr>
              <a:t>. </a:t>
            </a:r>
          </a:p>
          <a:p>
            <a:pPr marL="363538" lvl="0" indent="-161925" defTabSz="685800">
              <a:spcBef>
                <a:spcPts val="600"/>
              </a:spcBef>
              <a:spcAft>
                <a:spcPts val="600"/>
              </a:spcAft>
              <a:buFont typeface="Arial" panose="020B0604020202020204" pitchFamily="34" charset="0"/>
              <a:buChar char="•"/>
              <a:defRPr/>
            </a:pPr>
            <a:r>
              <a:rPr lang="en-GB" sz="1000">
                <a:solidFill>
                  <a:schemeClr val="tx1">
                    <a:lumMod val="65000"/>
                    <a:lumOff val="35000"/>
                  </a:schemeClr>
                </a:solidFill>
                <a:latin typeface="Arial" panose="020B0604020202020204" pitchFamily="34" charset="0"/>
                <a:cs typeface="Arial" panose="020B0604020202020204" pitchFamily="34" charset="0"/>
              </a:rPr>
              <a:t>Take this assessment to ICS leadership to support </a:t>
            </a:r>
            <a:r>
              <a:rPr lang="en-GB" sz="1000" b="1">
                <a:solidFill>
                  <a:schemeClr val="tx1">
                    <a:lumMod val="65000"/>
                    <a:lumOff val="35000"/>
                  </a:schemeClr>
                </a:solidFill>
                <a:latin typeface="Arial" panose="020B0604020202020204" pitchFamily="34" charset="0"/>
                <a:cs typeface="Arial" panose="020B0604020202020204" pitchFamily="34" charset="0"/>
              </a:rPr>
              <a:t>future planning and funding allocation </a:t>
            </a:r>
            <a:r>
              <a:rPr lang="en-GB" sz="1000">
                <a:solidFill>
                  <a:schemeClr val="tx1">
                    <a:lumMod val="65000"/>
                    <a:lumOff val="35000"/>
                  </a:schemeClr>
                </a:solidFill>
                <a:latin typeface="Arial" panose="020B0604020202020204" pitchFamily="34" charset="0"/>
                <a:cs typeface="Arial" panose="020B0604020202020204" pitchFamily="34" charset="0"/>
              </a:rPr>
              <a:t>to mental health services. </a:t>
            </a:r>
            <a:endParaRPr lang="en-GB" sz="1000">
              <a:solidFill>
                <a:schemeClr val="tx2">
                  <a:lumMod val="65000"/>
                  <a:lumOff val="35000"/>
                </a:schemeClr>
              </a:solidFill>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27A44249-673A-9A48-BCCB-06257C40F871}"/>
              </a:ext>
            </a:extLst>
          </p:cNvPr>
          <p:cNvSpPr txBox="1"/>
          <p:nvPr/>
        </p:nvSpPr>
        <p:spPr>
          <a:xfrm>
            <a:off x="2285639" y="5850624"/>
            <a:ext cx="1191280" cy="400110"/>
          </a:xfrm>
          <a:prstGeom prst="rect">
            <a:avLst/>
          </a:prstGeom>
          <a:noFill/>
        </p:spPr>
        <p:txBody>
          <a:bodyPr wrap="square" lIns="91440" tIns="45720" rIns="91440" bIns="45720" rtlCol="0" anchor="t">
            <a:spAutoFit/>
          </a:bodyPr>
          <a:lstStyle/>
          <a:p>
            <a:pPr marR="0" lvl="0" algn="ctr" defTabSz="914400" rtl="0" eaLnBrk="1" fontAlgn="auto" latinLnBrk="0" hangingPunct="1">
              <a:lnSpc>
                <a:spcPct val="100000"/>
              </a:lnSpc>
              <a:spcBef>
                <a:spcPts val="0"/>
              </a:spcBef>
              <a:spcAft>
                <a:spcPts val="600"/>
              </a:spcAft>
              <a:buClr>
                <a:srgbClr val="50235C"/>
              </a:buClr>
              <a:buSzTx/>
              <a:tabLst/>
              <a:defRPr/>
            </a:pPr>
            <a:r>
              <a:rPr lang="en-GB" sz="1000" spc="-5">
                <a:solidFill>
                  <a:schemeClr val="tx1">
                    <a:lumMod val="50000"/>
                    <a:lumOff val="50000"/>
                  </a:schemeClr>
                </a:solidFill>
                <a:latin typeface="Arial" panose="020B0604020202020204"/>
                <a:cs typeface="Arial"/>
              </a:rPr>
              <a:t>Prioritised recommendations</a:t>
            </a:r>
            <a:endParaRPr kumimoji="0" lang="en-GB" sz="10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endParaRPr>
          </a:p>
        </p:txBody>
      </p:sp>
      <p:graphicFrame>
        <p:nvGraphicFramePr>
          <p:cNvPr id="28" name="Table 27">
            <a:extLst>
              <a:ext uri="{FF2B5EF4-FFF2-40B4-BE49-F238E27FC236}">
                <a16:creationId xmlns:a16="http://schemas.microsoft.com/office/drawing/2014/main" id="{FFB0A569-F60A-BA4F-8DCE-EABB197840A0}"/>
              </a:ext>
            </a:extLst>
          </p:cNvPr>
          <p:cNvGraphicFramePr>
            <a:graphicFrameLocks noGrp="1"/>
          </p:cNvGraphicFramePr>
          <p:nvPr>
            <p:extLst>
              <p:ext uri="{D42A27DB-BD31-4B8C-83A1-F6EECF244321}">
                <p14:modId xmlns:p14="http://schemas.microsoft.com/office/powerpoint/2010/main" val="766366032"/>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C"/>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pic>
        <p:nvPicPr>
          <p:cNvPr id="30" name="Picture 29">
            <a:extLst>
              <a:ext uri="{FF2B5EF4-FFF2-40B4-BE49-F238E27FC236}">
                <a16:creationId xmlns:a16="http://schemas.microsoft.com/office/drawing/2014/main" id="{FAAECF3D-310E-874F-8EB6-20AB06B441CC}"/>
              </a:ext>
            </a:extLst>
          </p:cNvPr>
          <p:cNvPicPr>
            <a:picLocks noChangeAspect="1"/>
          </p:cNvPicPr>
          <p:nvPr/>
        </p:nvPicPr>
        <p:blipFill>
          <a:blip r:embed="rId8"/>
          <a:stretch>
            <a:fillRect/>
          </a:stretch>
        </p:blipFill>
        <p:spPr>
          <a:xfrm>
            <a:off x="708903" y="5152846"/>
            <a:ext cx="1191280" cy="670095"/>
          </a:xfrm>
          <a:prstGeom prst="rect">
            <a:avLst/>
          </a:prstGeom>
          <a:ln>
            <a:solidFill>
              <a:srgbClr val="50235C"/>
            </a:solidFill>
          </a:ln>
          <a:effectLst>
            <a:outerShdw blurRad="50800" dist="38100" dir="8100000" algn="tr" rotWithShape="0">
              <a:prstClr val="black">
                <a:alpha val="40000"/>
              </a:prstClr>
            </a:outerShdw>
          </a:effectLst>
        </p:spPr>
      </p:pic>
      <p:pic>
        <p:nvPicPr>
          <p:cNvPr id="7" name="Picture 6">
            <a:extLst>
              <a:ext uri="{FF2B5EF4-FFF2-40B4-BE49-F238E27FC236}">
                <a16:creationId xmlns:a16="http://schemas.microsoft.com/office/drawing/2014/main" id="{62713D0C-A1FC-BA45-A939-9FEBAC921831}"/>
              </a:ext>
            </a:extLst>
          </p:cNvPr>
          <p:cNvPicPr>
            <a:picLocks noChangeAspect="1"/>
          </p:cNvPicPr>
          <p:nvPr/>
        </p:nvPicPr>
        <p:blipFill>
          <a:blip r:embed="rId9"/>
          <a:stretch>
            <a:fillRect/>
          </a:stretch>
        </p:blipFill>
        <p:spPr>
          <a:xfrm>
            <a:off x="2308037" y="5133876"/>
            <a:ext cx="1191280" cy="670095"/>
          </a:xfrm>
          <a:prstGeom prst="rect">
            <a:avLst/>
          </a:prstGeom>
          <a:ln>
            <a:solidFill>
              <a:srgbClr val="50235C"/>
            </a:solidFill>
          </a:ln>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255459100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7393"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en-IN" sz="2800">
              <a:solidFill>
                <a:srgbClr val="FFFFFF"/>
              </a:solidFill>
              <a:sym typeface="Arial" panose="020B0604020202020204" pitchFamily="34" charset="0"/>
            </a:endParaRPr>
          </a:p>
        </p:txBody>
      </p:sp>
      <p:sp>
        <p:nvSpPr>
          <p:cNvPr id="2" name="Title 1"/>
          <p:cNvSpPr>
            <a:spLocks noGrp="1"/>
          </p:cNvSpPr>
          <p:nvPr>
            <p:ph type="title"/>
          </p:nvPr>
        </p:nvSpPr>
        <p:spPr>
          <a:xfrm>
            <a:off x="510638" y="297277"/>
            <a:ext cx="7827117" cy="434010"/>
          </a:xfrm>
          <a:prstGeom prst="rect">
            <a:avLst/>
          </a:prstGeom>
        </p:spPr>
        <p:txBody>
          <a:bodyPr/>
          <a:lstStyle/>
          <a:p>
            <a:r>
              <a:rPr lang="en-US"/>
              <a:t>Top 10 recommendations </a:t>
            </a:r>
            <a:endParaRPr lang="en-IN"/>
          </a:p>
        </p:txBody>
      </p:sp>
      <p:sp>
        <p:nvSpPr>
          <p:cNvPr id="21" name="Rectangle 20">
            <a:extLst>
              <a:ext uri="{FF2B5EF4-FFF2-40B4-BE49-F238E27FC236}">
                <a16:creationId xmlns:a16="http://schemas.microsoft.com/office/drawing/2014/main" id="{FE740462-AEED-0B41-92DC-3A54DEB718C8}"/>
              </a:ext>
            </a:extLst>
          </p:cNvPr>
          <p:cNvSpPr/>
          <p:nvPr/>
        </p:nvSpPr>
        <p:spPr>
          <a:xfrm>
            <a:off x="647407" y="1095781"/>
            <a:ext cx="2355654" cy="434010"/>
          </a:xfrm>
          <a:prstGeom prst="rect">
            <a:avLst/>
          </a:prstGeom>
          <a:noFill/>
          <a:ln w="12700" cap="flat" cmpd="sng" algn="ctr">
            <a:noFill/>
            <a:prstDash val="solid"/>
            <a:miter lim="800000"/>
          </a:ln>
          <a:effectLst/>
        </p:spPr>
        <p:txBody>
          <a:bodyPr rtlCol="0" anchor="ctr"/>
          <a:lstStyle/>
          <a:p>
            <a:pPr lvl="0" algn="ctr" defTabSz="685800">
              <a:defRPr/>
            </a:pPr>
            <a:endParaRPr lang="en-GB" sz="1050" b="1">
              <a:solidFill>
                <a:srgbClr val="50235B"/>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93A72959-7AA1-144A-9BA1-BBF7754400AD}"/>
              </a:ext>
            </a:extLst>
          </p:cNvPr>
          <p:cNvSpPr/>
          <p:nvPr/>
        </p:nvSpPr>
        <p:spPr>
          <a:xfrm>
            <a:off x="8462819" y="184705"/>
            <a:ext cx="1931224" cy="78568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panose="020B0604020202020204"/>
                <a:ea typeface="+mn-ea"/>
                <a:cs typeface="+mn-cs"/>
              </a:rPr>
              <a:t>IMPACT:        </a:t>
            </a: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1 = Low Impact </a:t>
            </a:r>
            <a:b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                       5 = High impa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panose="020B0604020202020204"/>
                <a:ea typeface="+mn-ea"/>
                <a:cs typeface="+mn-cs"/>
              </a:rPr>
              <a:t>EASE:            </a:t>
            </a: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1 = Difficult</a:t>
            </a:r>
            <a:b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                       5 = Straightforward</a:t>
            </a:r>
          </a:p>
          <a:p>
            <a:pPr>
              <a:defRPr/>
            </a:pPr>
            <a:r>
              <a:rPr lang="en-GB" sz="800" b="1">
                <a:solidFill>
                  <a:srgbClr val="000000"/>
                </a:solidFill>
              </a:rPr>
              <a:t>RESOURCE:  </a:t>
            </a:r>
            <a:r>
              <a:rPr lang="en-GB" sz="800">
                <a:solidFill>
                  <a:srgbClr val="000000"/>
                </a:solidFill>
              </a:rPr>
              <a:t>Low, Medium, High </a:t>
            </a:r>
          </a:p>
        </p:txBody>
      </p:sp>
      <p:sp>
        <p:nvSpPr>
          <p:cNvPr id="7" name="Rectangle 6">
            <a:extLst>
              <a:ext uri="{FF2B5EF4-FFF2-40B4-BE49-F238E27FC236}">
                <a16:creationId xmlns:a16="http://schemas.microsoft.com/office/drawing/2014/main" id="{FD420467-EF1E-C24E-B16A-0060A2106A3D}"/>
              </a:ext>
            </a:extLst>
          </p:cNvPr>
          <p:cNvSpPr/>
          <p:nvPr/>
        </p:nvSpPr>
        <p:spPr>
          <a:xfrm>
            <a:off x="10394043" y="184705"/>
            <a:ext cx="1442357" cy="78568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00" b="1">
                <a:solidFill>
                  <a:srgbClr val="000000"/>
                </a:solidFill>
                <a:latin typeface="Arial" panose="020B0604020202020204"/>
              </a:rPr>
              <a:t>SHORT</a:t>
            </a:r>
            <a:r>
              <a:rPr lang="en-GB" sz="900">
                <a:solidFill>
                  <a:srgbClr val="000000"/>
                </a:solidFill>
                <a:latin typeface="Arial" panose="020B0604020202020204"/>
              </a:rPr>
              <a:t> =   0-6 months</a:t>
            </a:r>
          </a:p>
          <a:p>
            <a:r>
              <a:rPr lang="en-GB" sz="900" b="1">
                <a:solidFill>
                  <a:srgbClr val="000000"/>
                </a:solidFill>
                <a:latin typeface="Arial" panose="020B0604020202020204"/>
              </a:rPr>
              <a:t>MEDIUM</a:t>
            </a:r>
            <a:r>
              <a:rPr lang="en-GB" sz="900">
                <a:solidFill>
                  <a:srgbClr val="000000"/>
                </a:solidFill>
                <a:latin typeface="Arial" panose="020B0604020202020204"/>
              </a:rPr>
              <a:t> = 6-18 months</a:t>
            </a:r>
          </a:p>
          <a:p>
            <a:r>
              <a:rPr lang="en-GB" sz="900" b="1">
                <a:solidFill>
                  <a:srgbClr val="000000"/>
                </a:solidFill>
                <a:latin typeface="Arial" panose="020B0604020202020204"/>
              </a:rPr>
              <a:t>LONG</a:t>
            </a:r>
            <a:r>
              <a:rPr lang="en-GB" sz="900">
                <a:solidFill>
                  <a:srgbClr val="000000"/>
                </a:solidFill>
                <a:latin typeface="Arial" panose="020B0604020202020204"/>
              </a:rPr>
              <a:t> =     18 months +</a:t>
            </a:r>
          </a:p>
        </p:txBody>
      </p:sp>
      <p:graphicFrame>
        <p:nvGraphicFramePr>
          <p:cNvPr id="10" name="Table 9">
            <a:extLst>
              <a:ext uri="{FF2B5EF4-FFF2-40B4-BE49-F238E27FC236}">
                <a16:creationId xmlns:a16="http://schemas.microsoft.com/office/drawing/2014/main" id="{87CC6123-A617-E541-A25D-A2DC364BE962}"/>
              </a:ext>
            </a:extLst>
          </p:cNvPr>
          <p:cNvGraphicFramePr>
            <a:graphicFrameLocks noGrp="1"/>
          </p:cNvGraphicFramePr>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C"/>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graphicFrame>
        <p:nvGraphicFramePr>
          <p:cNvPr id="11" name="Table 7">
            <a:extLst>
              <a:ext uri="{FF2B5EF4-FFF2-40B4-BE49-F238E27FC236}">
                <a16:creationId xmlns:a16="http://schemas.microsoft.com/office/drawing/2014/main" id="{F8A8323F-1453-1A46-98DA-3A8D8FBE1E40}"/>
              </a:ext>
            </a:extLst>
          </p:cNvPr>
          <p:cNvGraphicFramePr>
            <a:graphicFrameLocks noGrp="1"/>
          </p:cNvGraphicFramePr>
          <p:nvPr>
            <p:extLst>
              <p:ext uri="{D42A27DB-BD31-4B8C-83A1-F6EECF244321}">
                <p14:modId xmlns:p14="http://schemas.microsoft.com/office/powerpoint/2010/main" val="965938360"/>
              </p:ext>
            </p:extLst>
          </p:nvPr>
        </p:nvGraphicFramePr>
        <p:xfrm>
          <a:off x="230714" y="1117066"/>
          <a:ext cx="11605687" cy="5029200"/>
        </p:xfrm>
        <a:graphic>
          <a:graphicData uri="http://schemas.openxmlformats.org/drawingml/2006/table">
            <a:tbl>
              <a:tblPr firstRow="1" bandRow="1">
                <a:tableStyleId>{5C22544A-7EE6-4342-B048-85BDC9FD1C3A}</a:tableStyleId>
              </a:tblPr>
              <a:tblGrid>
                <a:gridCol w="669399">
                  <a:extLst>
                    <a:ext uri="{9D8B030D-6E8A-4147-A177-3AD203B41FA5}">
                      <a16:colId xmlns:a16="http://schemas.microsoft.com/office/drawing/2014/main" val="1222057465"/>
                    </a:ext>
                  </a:extLst>
                </a:gridCol>
                <a:gridCol w="1017739">
                  <a:extLst>
                    <a:ext uri="{9D8B030D-6E8A-4147-A177-3AD203B41FA5}">
                      <a16:colId xmlns:a16="http://schemas.microsoft.com/office/drawing/2014/main" val="2319752415"/>
                    </a:ext>
                  </a:extLst>
                </a:gridCol>
                <a:gridCol w="3170638">
                  <a:extLst>
                    <a:ext uri="{9D8B030D-6E8A-4147-A177-3AD203B41FA5}">
                      <a16:colId xmlns:a16="http://schemas.microsoft.com/office/drawing/2014/main" val="1853970278"/>
                    </a:ext>
                  </a:extLst>
                </a:gridCol>
                <a:gridCol w="4026610">
                  <a:extLst>
                    <a:ext uri="{9D8B030D-6E8A-4147-A177-3AD203B41FA5}">
                      <a16:colId xmlns:a16="http://schemas.microsoft.com/office/drawing/2014/main" val="3087462113"/>
                    </a:ext>
                  </a:extLst>
                </a:gridCol>
                <a:gridCol w="465195">
                  <a:extLst>
                    <a:ext uri="{9D8B030D-6E8A-4147-A177-3AD203B41FA5}">
                      <a16:colId xmlns:a16="http://schemas.microsoft.com/office/drawing/2014/main" val="1029806020"/>
                    </a:ext>
                  </a:extLst>
                </a:gridCol>
                <a:gridCol w="465195">
                  <a:extLst>
                    <a:ext uri="{9D8B030D-6E8A-4147-A177-3AD203B41FA5}">
                      <a16:colId xmlns:a16="http://schemas.microsoft.com/office/drawing/2014/main" val="3714934659"/>
                    </a:ext>
                  </a:extLst>
                </a:gridCol>
                <a:gridCol w="465195">
                  <a:extLst>
                    <a:ext uri="{9D8B030D-6E8A-4147-A177-3AD203B41FA5}">
                      <a16:colId xmlns:a16="http://schemas.microsoft.com/office/drawing/2014/main" val="1845500442"/>
                    </a:ext>
                  </a:extLst>
                </a:gridCol>
                <a:gridCol w="662858">
                  <a:extLst>
                    <a:ext uri="{9D8B030D-6E8A-4147-A177-3AD203B41FA5}">
                      <a16:colId xmlns:a16="http://schemas.microsoft.com/office/drawing/2014/main" val="2590076437"/>
                    </a:ext>
                  </a:extLst>
                </a:gridCol>
                <a:gridCol w="662858">
                  <a:extLst>
                    <a:ext uri="{9D8B030D-6E8A-4147-A177-3AD203B41FA5}">
                      <a16:colId xmlns:a16="http://schemas.microsoft.com/office/drawing/2014/main" val="1385158084"/>
                    </a:ext>
                  </a:extLst>
                </a:gridCol>
              </a:tblGrid>
              <a:tr h="238589">
                <a:tc>
                  <a:txBody>
                    <a:bodyPr/>
                    <a:lstStyle/>
                    <a:p>
                      <a:pPr algn="ctr"/>
                      <a:r>
                        <a:rPr lang="en-GB" sz="800">
                          <a:solidFill>
                            <a:srgbClr val="50235C"/>
                          </a:solidFill>
                        </a:rPr>
                        <a:t>Roadmap ref</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gridSpan="2">
                  <a:txBody>
                    <a:bodyPr/>
                    <a:lstStyle/>
                    <a:p>
                      <a:r>
                        <a:rPr lang="en-GB" sz="800">
                          <a:solidFill>
                            <a:srgbClr val="50235C"/>
                          </a:solidFill>
                        </a:rPr>
                        <a:t>Future activity</a:t>
                      </a:r>
                      <a:endParaRPr lang="en-US"/>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hMerge="1">
                  <a:txBody>
                    <a:bodyPr/>
                    <a:lstStyle/>
                    <a:p>
                      <a:r>
                        <a:rPr lang="en-GB" sz="900"/>
                        <a:t>Future activity</a:t>
                      </a:r>
                    </a:p>
                  </a:txBody>
                  <a:tcPr anchor="ctr"/>
                </a:tc>
                <a:tc>
                  <a:txBody>
                    <a:bodyPr/>
                    <a:lstStyle/>
                    <a:p>
                      <a:pPr marL="0" algn="ctr" defTabSz="914400" rtl="0" eaLnBrk="1" fontAlgn="ctr" latinLnBrk="0" hangingPunct="1"/>
                      <a:r>
                        <a:rPr lang="en-GB" sz="800" b="1" kern="1200">
                          <a:solidFill>
                            <a:srgbClr val="50235C"/>
                          </a:solidFill>
                          <a:latin typeface="+mn-lt"/>
                          <a:ea typeface="+mn-ea"/>
                          <a:cs typeface="+mn-cs"/>
                        </a:rPr>
                        <a:t>Target outcome / Expected benefit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algn="ctr" defTabSz="914400" rtl="0" eaLnBrk="1" fontAlgn="ctr" latinLnBrk="0" hangingPunct="1"/>
                      <a:r>
                        <a:rPr lang="en-GB" sz="800" b="1" kern="1200">
                          <a:solidFill>
                            <a:srgbClr val="50235C"/>
                          </a:solidFill>
                          <a:latin typeface="+mn-lt"/>
                          <a:ea typeface="+mn-ea"/>
                          <a:cs typeface="+mn-cs"/>
                        </a:rPr>
                        <a:t>Impact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800" b="1" kern="1200">
                          <a:solidFill>
                            <a:srgbClr val="50235C"/>
                          </a:solidFill>
                          <a:latin typeface="+mn-lt"/>
                          <a:ea typeface="+mn-ea"/>
                          <a:cs typeface="+mn-cs"/>
                        </a:rPr>
                        <a:t>Ease</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algn="ctr" defTabSz="914400" rtl="0" eaLnBrk="1" fontAlgn="ctr" latinLnBrk="0" hangingPunct="1"/>
                      <a:r>
                        <a:rPr lang="en-GB" sz="800" b="1" kern="1200">
                          <a:solidFill>
                            <a:srgbClr val="50235C"/>
                          </a:solidFill>
                          <a:latin typeface="+mn-lt"/>
                          <a:ea typeface="+mn-ea"/>
                          <a:cs typeface="+mn-cs"/>
                        </a:rPr>
                        <a:t>Score</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algn="ctr"/>
                      <a:r>
                        <a:rPr lang="en-GB" sz="800" b="1">
                          <a:solidFill>
                            <a:srgbClr val="50235C"/>
                          </a:solidFill>
                        </a:rPr>
                        <a:t>Resource required</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algn="ctr"/>
                      <a:r>
                        <a:rPr lang="en-GB" sz="800" b="1">
                          <a:solidFill>
                            <a:srgbClr val="50235C"/>
                          </a:solidFill>
                        </a:rPr>
                        <a:t>Short /</a:t>
                      </a:r>
                    </a:p>
                    <a:p>
                      <a:pPr algn="ctr"/>
                      <a:r>
                        <a:rPr lang="en-GB" sz="800" b="1">
                          <a:solidFill>
                            <a:srgbClr val="50235C"/>
                          </a:solidFill>
                        </a:rPr>
                        <a:t>Medium /</a:t>
                      </a:r>
                      <a:br>
                        <a:rPr lang="en-GB" sz="800" b="1">
                          <a:solidFill>
                            <a:srgbClr val="50235C"/>
                          </a:solidFill>
                        </a:rPr>
                      </a:br>
                      <a:r>
                        <a:rPr lang="en-GB" sz="800" b="1">
                          <a:solidFill>
                            <a:srgbClr val="50235C"/>
                          </a:solidFill>
                        </a:rPr>
                        <a:t>Long</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extLst>
                  <a:ext uri="{0D108BD9-81ED-4DB2-BD59-A6C34878D82A}">
                    <a16:rowId xmlns:a16="http://schemas.microsoft.com/office/drawing/2014/main" val="466195498"/>
                  </a:ext>
                </a:extLst>
              </a:tr>
              <a:tr h="4572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800" b="1" kern="1200">
                          <a:solidFill>
                            <a:srgbClr val="50235C"/>
                          </a:solidFill>
                          <a:latin typeface="+mn-lt"/>
                          <a:ea typeface="+mn-ea"/>
                          <a:cs typeface="+mn-cs"/>
                        </a:rPr>
                        <a:t>★</a:t>
                      </a:r>
                    </a:p>
                  </a:txBody>
                  <a:tcPr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800" b="1" i="0" u="none" strike="noStrike">
                          <a:solidFill>
                            <a:srgbClr val="50235C"/>
                          </a:solidFill>
                          <a:effectLst/>
                          <a:latin typeface="Arial" panose="020B0604020202020204" pitchFamily="34" charset="0"/>
                          <a:cs typeface="Arial" panose="020B0604020202020204" pitchFamily="34" charset="0"/>
                        </a:rPr>
                        <a:t>All workstreams</a:t>
                      </a:r>
                    </a:p>
                  </a:txBody>
                  <a:tcPr marL="9525" marR="9525" marT="9525" marB="0" anchor="ct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indent="0" algn="l" rtl="0" fontAlgn="ctr">
                        <a:buFont typeface="Arial" panose="020B0604020202020204" pitchFamily="34" charset="0"/>
                        <a:buNone/>
                      </a:pPr>
                      <a:r>
                        <a:rPr lang="en-GB" sz="800" b="0" i="0" u="none" strike="noStrike">
                          <a:solidFill>
                            <a:srgbClr val="50235C"/>
                          </a:solidFill>
                          <a:effectLst/>
                          <a:latin typeface="Arial" panose="020B0604020202020204" pitchFamily="34" charset="0"/>
                          <a:cs typeface="Arial" panose="020B0604020202020204" pitchFamily="34" charset="0"/>
                        </a:rPr>
                        <a:t>Build stronger partnerships with the third across STW</a:t>
                      </a:r>
                    </a:p>
                  </a:txBody>
                  <a:tcPr marL="95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96838" indent="-87313" algn="l" defTabSz="914400" rtl="0" eaLnBrk="1" fontAlgn="ctr" latinLnBrk="0" hangingPunct="1">
                        <a:buClr>
                          <a:srgbClr val="000000"/>
                        </a:buClr>
                        <a:buSzPts val="900"/>
                        <a:buFont typeface="Arial" panose="020B0604020202020204" pitchFamily="34" charset="0"/>
                        <a:buChar char="•"/>
                        <a:tabLst/>
                      </a:pPr>
                      <a:r>
                        <a:rPr lang="en-GB" sz="800" b="0" i="0" u="none" strike="noStrike" kern="1200">
                          <a:solidFill>
                            <a:schemeClr val="tx2">
                              <a:lumMod val="65000"/>
                              <a:lumOff val="35000"/>
                            </a:schemeClr>
                          </a:solidFill>
                          <a:effectLst/>
                          <a:latin typeface="Arial" panose="020B0604020202020204" pitchFamily="34" charset="0"/>
                          <a:ea typeface="+mn-ea"/>
                          <a:cs typeface="+mn-cs"/>
                        </a:rPr>
                        <a:t>Service users always have support and care available whatever stage of their health journey they are in.</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800" b="0" i="0" u="none" strike="noStrike" kern="1200">
                          <a:solidFill>
                            <a:schemeClr val="tx2">
                              <a:lumMod val="65000"/>
                              <a:lumOff val="35000"/>
                            </a:schemeClr>
                          </a:solidFill>
                          <a:effectLst/>
                          <a:latin typeface="Arial" panose="020B0604020202020204" pitchFamily="34" charset="0"/>
                          <a:ea typeface="+mn-ea"/>
                          <a:cs typeface="+mn-cs"/>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800" b="0" i="0" u="none" strike="noStrike" kern="1200">
                          <a:solidFill>
                            <a:schemeClr val="tx2">
                              <a:lumMod val="65000"/>
                              <a:lumOff val="35000"/>
                            </a:schemeClr>
                          </a:solidFill>
                          <a:effectLst/>
                          <a:latin typeface="Arial" panose="020B0604020202020204" pitchFamily="34" charset="0"/>
                          <a:ea typeface="+mn-ea"/>
                          <a:cs typeface="+mn-cs"/>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800" b="0" i="0" u="none" strike="noStrike" kern="1200">
                          <a:solidFill>
                            <a:schemeClr val="tx2">
                              <a:lumMod val="65000"/>
                              <a:lumOff val="35000"/>
                            </a:schemeClr>
                          </a:solidFill>
                          <a:effectLst/>
                          <a:latin typeface="Arial" panose="020B0604020202020204" pitchFamily="34" charset="0"/>
                          <a:ea typeface="+mn-ea"/>
                          <a:cs typeface="+mn-cs"/>
                        </a:rPr>
                        <a:t>1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800" b="0" i="0" u="none" strike="noStrike" kern="1200">
                          <a:solidFill>
                            <a:schemeClr val="tx2">
                              <a:lumMod val="65000"/>
                              <a:lumOff val="35000"/>
                            </a:schemeClr>
                          </a:solidFill>
                          <a:effectLst/>
                          <a:latin typeface="Arial" panose="020B0604020202020204" pitchFamily="34" charset="0"/>
                          <a:ea typeface="+mn-ea"/>
                          <a:cs typeface="+mn-cs"/>
                        </a:rPr>
                        <a:t>Medium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800" b="1" i="0" u="none" strike="noStrike" kern="1200">
                          <a:solidFill>
                            <a:schemeClr val="tx2">
                              <a:lumMod val="65000"/>
                              <a:lumOff val="35000"/>
                            </a:schemeClr>
                          </a:solidFill>
                          <a:effectLst/>
                          <a:latin typeface="Arial" panose="020B0604020202020204" pitchFamily="34" charset="0"/>
                          <a:ea typeface="+mn-ea"/>
                          <a:cs typeface="+mn-cs"/>
                        </a:rPr>
                        <a:t>Medium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1738425369"/>
                  </a:ext>
                </a:extLst>
              </a:tr>
              <a:tr h="4572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strike="noStrike">
                          <a:solidFill>
                            <a:srgbClr val="50235C"/>
                          </a:solidFill>
                        </a:rPr>
                        <a:t>D1</a:t>
                      </a:r>
                    </a:p>
                  </a:txBody>
                  <a:tcPr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800" b="1" i="0" u="none" strike="noStrike">
                          <a:solidFill>
                            <a:srgbClr val="50235C"/>
                          </a:solidFill>
                          <a:effectLst/>
                          <a:latin typeface="Arial" panose="020B0604020202020204" pitchFamily="34" charset="0"/>
                          <a:cs typeface="Arial" panose="020B0604020202020204" pitchFamily="34" charset="0"/>
                        </a:rPr>
                        <a:t>Act as one system </a:t>
                      </a:r>
                    </a:p>
                  </a:txBody>
                  <a:tcPr marL="9525" marR="9525" marT="9525" marB="0" anchor="ct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
                          <a:srgbClr val="000000"/>
                        </a:buClr>
                        <a:buSzPts val="900"/>
                        <a:buFont typeface="Arial" panose="020B0604020202020204" pitchFamily="34" charset="0"/>
                        <a:buNone/>
                        <a:tabLst/>
                        <a:defRPr/>
                      </a:pPr>
                      <a:r>
                        <a:rPr lang="en-GB" sz="800" b="0" i="0" u="none" strike="noStrike" kern="1200">
                          <a:solidFill>
                            <a:srgbClr val="50235C"/>
                          </a:solidFill>
                          <a:effectLst/>
                          <a:latin typeface="Arial" panose="020B0604020202020204" pitchFamily="34" charset="0"/>
                          <a:ea typeface="+mn-ea"/>
                          <a:cs typeface="Arial" panose="020B0604020202020204" pitchFamily="34" charset="0"/>
                        </a:rPr>
                        <a:t>MDT approach (between Primary Care, Secondary care and Third Sector)</a:t>
                      </a:r>
                    </a:p>
                  </a:txBody>
                  <a:tcPr marL="95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marR="0" lvl="0" indent="-74613" algn="l" defTabSz="914400" rtl="0" eaLnBrk="1" fontAlgn="ctr" latinLnBrk="0" hangingPunct="1">
                        <a:lnSpc>
                          <a:spcPct val="100000"/>
                        </a:lnSpc>
                        <a:spcBef>
                          <a:spcPts val="0"/>
                        </a:spcBef>
                        <a:spcAft>
                          <a:spcPts val="0"/>
                        </a:spcAft>
                        <a:buClr>
                          <a:srgbClr val="000000"/>
                        </a:buClr>
                        <a:buSzPts val="900"/>
                        <a:buFont typeface="Arial" panose="020B0604020202020204" pitchFamily="34" charset="0"/>
                        <a:buChar char="•"/>
                        <a:tabLst/>
                        <a:defRPr/>
                      </a:pPr>
                      <a:r>
                        <a:rPr lang="en-GB" sz="800" b="0" i="0" u="none" strike="noStrike" kern="1200">
                          <a:solidFill>
                            <a:schemeClr val="tx2">
                              <a:lumMod val="65000"/>
                              <a:lumOff val="35000"/>
                            </a:schemeClr>
                          </a:solidFill>
                          <a:effectLst/>
                          <a:latin typeface="Arial" panose="020B0604020202020204" pitchFamily="34" charset="0"/>
                          <a:ea typeface="+mn-ea"/>
                          <a:cs typeface="+mn-cs"/>
                        </a:rPr>
                        <a:t>Better care outcomes for service users, especially those suffering with long-term conditions.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800" b="0" i="0" u="none" strike="noStrike" kern="1200">
                          <a:solidFill>
                            <a:schemeClr val="tx2">
                              <a:lumMod val="65000"/>
                              <a:lumOff val="35000"/>
                            </a:schemeClr>
                          </a:solidFill>
                          <a:effectLst/>
                          <a:latin typeface="Arial" panose="020B0604020202020204" pitchFamily="34" charset="0"/>
                          <a:ea typeface="+mn-ea"/>
                          <a:cs typeface="+mn-cs"/>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800" b="0" i="0" u="none" strike="noStrike" kern="1200">
                          <a:solidFill>
                            <a:schemeClr val="tx2">
                              <a:lumMod val="65000"/>
                              <a:lumOff val="35000"/>
                            </a:schemeClr>
                          </a:solidFill>
                          <a:effectLst/>
                          <a:latin typeface="Arial" panose="020B0604020202020204" pitchFamily="34" charset="0"/>
                          <a:ea typeface="+mn-ea"/>
                          <a:cs typeface="+mn-cs"/>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800" b="0" i="0" u="none" strike="noStrike" kern="1200">
                          <a:solidFill>
                            <a:schemeClr val="tx2">
                              <a:lumMod val="65000"/>
                              <a:lumOff val="35000"/>
                            </a:schemeClr>
                          </a:solidFill>
                          <a:effectLst/>
                          <a:latin typeface="Arial" panose="020B0604020202020204" pitchFamily="34" charset="0"/>
                          <a:ea typeface="+mn-ea"/>
                          <a:cs typeface="+mn-cs"/>
                        </a:rPr>
                        <a:t>20</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800" b="0" i="0" u="none" strike="noStrike" kern="1200">
                          <a:solidFill>
                            <a:schemeClr val="tx2">
                              <a:lumMod val="65000"/>
                              <a:lumOff val="35000"/>
                            </a:schemeClr>
                          </a:solidFill>
                          <a:effectLst/>
                          <a:latin typeface="Arial" panose="020B0604020202020204" pitchFamily="34" charset="0"/>
                          <a:ea typeface="+mn-ea"/>
                          <a:cs typeface="+mn-cs"/>
                        </a:rPr>
                        <a:t>High (but already paid)</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800" b="1" i="0" u="none" strike="noStrike" kern="1200">
                          <a:solidFill>
                            <a:schemeClr val="tx2">
                              <a:lumMod val="65000"/>
                              <a:lumOff val="35000"/>
                            </a:schemeClr>
                          </a:solidFill>
                          <a:effectLst/>
                          <a:latin typeface="Arial" panose="020B0604020202020204" pitchFamily="34" charset="0"/>
                          <a:ea typeface="+mn-ea"/>
                          <a:cs typeface="+mn-cs"/>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4199580168"/>
                  </a:ext>
                </a:extLst>
              </a:tr>
              <a:tr h="4572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a:solidFill>
                            <a:srgbClr val="50235C"/>
                          </a:solidFill>
                          <a:latin typeface="+mn-lt"/>
                          <a:ea typeface="+mn-ea"/>
                          <a:cs typeface="+mn-cs"/>
                        </a:rPr>
                        <a:t>C1 </a:t>
                      </a:r>
                    </a:p>
                  </a:txBody>
                  <a:tcPr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800" b="1">
                          <a:solidFill>
                            <a:srgbClr val="50235C"/>
                          </a:solidFill>
                          <a:latin typeface="Arial" panose="020B0604020202020204" pitchFamily="34" charset="0"/>
                          <a:cs typeface="Arial" panose="020B0604020202020204" pitchFamily="34" charset="0"/>
                        </a:rPr>
                        <a:t>Easy and timely access to support and services</a:t>
                      </a:r>
                      <a:endParaRPr lang="en-GB" sz="800" b="1" i="0" u="none" strike="noStrike">
                        <a:solidFill>
                          <a:srgbClr val="50235C"/>
                        </a:solidFill>
                        <a:effectLst/>
                        <a:latin typeface="Arial" panose="020B0604020202020204" pitchFamily="34" charset="0"/>
                        <a:cs typeface="Arial" panose="020B0604020202020204" pitchFamily="34" charset="0"/>
                      </a:endParaRPr>
                    </a:p>
                  </a:txBody>
                  <a:tcPr marL="9525" marR="9525" marT="9525" marB="0" anchor="ct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indent="0" algn="l" rtl="0" fontAlgn="ctr">
                        <a:buFont typeface="Arial" panose="020B0604020202020204" pitchFamily="34" charset="0"/>
                        <a:buNone/>
                      </a:pPr>
                      <a:r>
                        <a:rPr lang="en-GB" sz="800" b="0" i="0" u="none" strike="noStrike">
                          <a:solidFill>
                            <a:srgbClr val="50235C"/>
                          </a:solidFill>
                          <a:effectLst/>
                          <a:latin typeface="Arial" panose="020B0604020202020204" pitchFamily="34" charset="0"/>
                          <a:cs typeface="Arial" panose="020B0604020202020204" pitchFamily="34" charset="0"/>
                        </a:rPr>
                        <a:t>Improved communication and awareness of third sector offering</a:t>
                      </a:r>
                    </a:p>
                  </a:txBody>
                  <a:tcPr marL="95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84150" indent="-87313" algn="l" defTabSz="914400" rtl="0" eaLnBrk="1" fontAlgn="ctr" latinLnBrk="0" hangingPunct="1">
                        <a:buClr>
                          <a:srgbClr val="000000"/>
                        </a:buClr>
                        <a:buSzPts val="900"/>
                        <a:buFont typeface="Arial" panose="020B0604020202020204" pitchFamily="34" charset="0"/>
                        <a:buChar char="•"/>
                        <a:tabLst/>
                      </a:pPr>
                      <a:r>
                        <a:rPr lang="en-GB" sz="800" b="0" i="0" u="none" strike="noStrike" kern="1200">
                          <a:solidFill>
                            <a:schemeClr val="tx2">
                              <a:lumMod val="65000"/>
                              <a:lumOff val="35000"/>
                            </a:schemeClr>
                          </a:solidFill>
                          <a:effectLst/>
                          <a:latin typeface="Arial" panose="020B0604020202020204" pitchFamily="34" charset="0"/>
                          <a:ea typeface="+mn-ea"/>
                          <a:cs typeface="+mn-cs"/>
                        </a:rPr>
                        <a:t>Reduced demand for secondary care MH services as people are accessing third sector support.</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16</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800" b="0">
                          <a:solidFill>
                            <a:schemeClr val="tx2">
                              <a:lumMod val="65000"/>
                              <a:lumOff val="35000"/>
                            </a:schemeClr>
                          </a:solidFill>
                        </a:rPr>
                        <a:t>Low</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800" b="1">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570282075"/>
                  </a:ext>
                </a:extLst>
              </a:tr>
              <a:tr h="4572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a:solidFill>
                            <a:srgbClr val="50235C"/>
                          </a:solidFill>
                          <a:latin typeface="+mn-lt"/>
                          <a:ea typeface="+mn-ea"/>
                          <a:cs typeface="+mn-cs"/>
                        </a:rPr>
                        <a:t>A1</a:t>
                      </a:r>
                    </a:p>
                  </a:txBody>
                  <a:tcPr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800" b="1" i="0" u="none" strike="noStrike">
                          <a:solidFill>
                            <a:srgbClr val="50235C"/>
                          </a:solidFill>
                          <a:effectLst/>
                          <a:latin typeface="Arial" panose="020B0604020202020204" pitchFamily="34" charset="0"/>
                          <a:cs typeface="Arial" panose="020B0604020202020204" pitchFamily="34" charset="0"/>
                        </a:rPr>
                        <a:t>Raise the profile and awareness of mental health </a:t>
                      </a:r>
                    </a:p>
                  </a:txBody>
                  <a:tcPr marL="9525" marR="9525" marT="9525" marB="0" anchor="ct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indent="0" algn="l" rtl="0" fontAlgn="ctr">
                        <a:buFont typeface="Arial" panose="020B0604020202020204" pitchFamily="34" charset="0"/>
                        <a:buNone/>
                      </a:pPr>
                      <a:r>
                        <a:rPr lang="en-GB" sz="800" b="0" i="0" u="none" strike="noStrike">
                          <a:solidFill>
                            <a:srgbClr val="50235C"/>
                          </a:solidFill>
                          <a:effectLst/>
                          <a:latin typeface="Arial" panose="020B0604020202020204" pitchFamily="34" charset="0"/>
                          <a:cs typeface="Arial" panose="020B0604020202020204" pitchFamily="34" charset="0"/>
                        </a:rPr>
                        <a:t>Increase staff education on MH services to reduce the stigma across services against those tying to access MH services.</a:t>
                      </a:r>
                    </a:p>
                  </a:txBody>
                  <a:tcPr marL="95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96838" indent="-87313" algn="l" defTabSz="914400" rtl="0" eaLnBrk="1" fontAlgn="ctr" latinLnBrk="0" hangingPunct="1">
                        <a:buClr>
                          <a:srgbClr val="000000"/>
                        </a:buClr>
                        <a:buSzPts val="900"/>
                        <a:buFont typeface="Arial" panose="020B0604020202020204" pitchFamily="34" charset="0"/>
                        <a:buChar char="•"/>
                        <a:tabLst/>
                      </a:pPr>
                      <a:r>
                        <a:rPr lang="en-GB" sz="800" b="0" i="0" u="none" strike="noStrike" kern="1200">
                          <a:solidFill>
                            <a:schemeClr val="tx2">
                              <a:lumMod val="65000"/>
                              <a:lumOff val="35000"/>
                            </a:schemeClr>
                          </a:solidFill>
                          <a:effectLst/>
                          <a:latin typeface="Arial" panose="020B0604020202020204" pitchFamily="34" charset="0"/>
                          <a:ea typeface="+mn-ea"/>
                          <a:cs typeface="+mn-cs"/>
                        </a:rPr>
                        <a:t>Workforce that understands mental health and is better equipped to spot mental health issues and sign post service users to the appropriate services at the right time. </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1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800" b="0">
                          <a:solidFill>
                            <a:schemeClr val="tx2">
                              <a:lumMod val="65000"/>
                              <a:lumOff val="35000"/>
                            </a:schemeClr>
                          </a:solidFill>
                        </a:rPr>
                        <a:t>Medium </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800" b="1">
                          <a:solidFill>
                            <a:schemeClr val="tx2">
                              <a:lumMod val="65000"/>
                              <a:lumOff val="35000"/>
                            </a:schemeClr>
                          </a:solidFill>
                        </a:rPr>
                        <a:t>Medium </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2752216538"/>
                  </a:ext>
                </a:extLst>
              </a:tr>
              <a:tr h="4572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a:solidFill>
                            <a:srgbClr val="50235C"/>
                          </a:solidFill>
                          <a:latin typeface="+mn-lt"/>
                          <a:ea typeface="+mn-ea"/>
                          <a:cs typeface="+mn-cs"/>
                        </a:rPr>
                        <a:t>E2</a:t>
                      </a:r>
                    </a:p>
                  </a:txBody>
                  <a:tcPr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GB" sz="800" b="1" i="0" u="none" strike="noStrike">
                          <a:solidFill>
                            <a:srgbClr val="50235C"/>
                          </a:solidFill>
                          <a:effectLst/>
                          <a:latin typeface="Arial" panose="020B0604020202020204" pitchFamily="34" charset="0"/>
                          <a:cs typeface="Arial" panose="020B0604020202020204" pitchFamily="34" charset="0"/>
                        </a:rPr>
                        <a:t>Health inequalities </a:t>
                      </a:r>
                    </a:p>
                  </a:txBody>
                  <a:tcPr marL="9525" marR="9525" marT="9525" marB="0" anchor="ct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800" b="0" i="0" u="none" strike="noStrike">
                          <a:solidFill>
                            <a:srgbClr val="50235C"/>
                          </a:solidFill>
                          <a:effectLst/>
                          <a:latin typeface="Arial" panose="020B0604020202020204" pitchFamily="34" charset="0"/>
                          <a:cs typeface="Arial" panose="020B0604020202020204" pitchFamily="34" charset="0"/>
                        </a:rPr>
                        <a:t>Build a formalised alliance with the third sector to improve proactive engagement with all community groups.</a:t>
                      </a:r>
                    </a:p>
                  </a:txBody>
                  <a:tcPr marL="95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96838" indent="-87313" algn="l" defTabSz="914400" rtl="0" eaLnBrk="1" fontAlgn="ctr" latinLnBrk="0" hangingPunct="1">
                        <a:buClr>
                          <a:srgbClr val="000000"/>
                        </a:buClr>
                        <a:buSzPts val="900"/>
                        <a:buFont typeface="Arial" panose="020B0604020202020204" pitchFamily="34" charset="0"/>
                        <a:buChar char="•"/>
                        <a:tabLst/>
                      </a:pPr>
                      <a:r>
                        <a:rPr lang="en-GB" sz="800" b="0" i="0" u="none" strike="noStrike" kern="1200">
                          <a:solidFill>
                            <a:schemeClr val="tx2">
                              <a:lumMod val="65000"/>
                              <a:lumOff val="35000"/>
                            </a:schemeClr>
                          </a:solidFill>
                          <a:effectLst/>
                          <a:latin typeface="Arial" panose="020B0604020202020204" pitchFamily="34" charset="0"/>
                          <a:ea typeface="+mn-ea"/>
                          <a:cs typeface="+mn-cs"/>
                        </a:rPr>
                        <a:t>Patients who may not otherwise access care and support have the opportunity to do so, supporting their long term health outcomes.</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1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Medium</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1" i="0" u="none" strike="noStrike">
                          <a:solidFill>
                            <a:schemeClr val="tx2">
                              <a:lumMod val="65000"/>
                              <a:lumOff val="35000"/>
                            </a:schemeClr>
                          </a:solidFill>
                          <a:effectLst/>
                          <a:latin typeface="Arial" panose="020B0604020202020204" pitchFamily="34" charset="0"/>
                        </a:rPr>
                        <a:t>Medium</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3935458060"/>
                  </a:ext>
                </a:extLst>
              </a:tr>
              <a:tr h="4572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a:solidFill>
                            <a:srgbClr val="50235C"/>
                          </a:solidFill>
                          <a:latin typeface="+mn-lt"/>
                          <a:ea typeface="+mn-ea"/>
                          <a:cs typeface="+mn-cs"/>
                        </a:rPr>
                        <a:t>E3</a:t>
                      </a:r>
                    </a:p>
                  </a:txBody>
                  <a:tcPr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GB" sz="800" b="1" i="0" u="none" strike="noStrike">
                          <a:solidFill>
                            <a:srgbClr val="50235C"/>
                          </a:solidFill>
                          <a:effectLst/>
                          <a:latin typeface="Arial" panose="020B0604020202020204" pitchFamily="34" charset="0"/>
                          <a:cs typeface="Arial" panose="020B0604020202020204" pitchFamily="34" charset="0"/>
                        </a:rPr>
                        <a:t>Health inequalities </a:t>
                      </a:r>
                    </a:p>
                  </a:txBody>
                  <a:tcPr marL="9525" marR="9525" marT="9525" marB="0" anchor="ct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800" b="0" i="0" u="none" strike="noStrike">
                          <a:solidFill>
                            <a:srgbClr val="50235C"/>
                          </a:solidFill>
                          <a:effectLst/>
                          <a:latin typeface="Arial" panose="020B0604020202020204" pitchFamily="34" charset="0"/>
                          <a:cs typeface="Arial" panose="020B0604020202020204" pitchFamily="34" charset="0"/>
                        </a:rPr>
                        <a:t>Develop and target interventions for particular cohorts linked to place and known population risk</a:t>
                      </a:r>
                    </a:p>
                  </a:txBody>
                  <a:tcPr marL="95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96838" indent="-87313" algn="l" defTabSz="914400" rtl="0" eaLnBrk="1" fontAlgn="ctr" latinLnBrk="0" hangingPunct="1">
                        <a:buClr>
                          <a:srgbClr val="000000"/>
                        </a:buClr>
                        <a:buSzPts val="900"/>
                        <a:buFont typeface="Arial" panose="020B0604020202020204" pitchFamily="34" charset="0"/>
                        <a:buChar char="•"/>
                        <a:tabLst/>
                      </a:pPr>
                      <a:r>
                        <a:rPr lang="en-GB" sz="800" b="0" i="0" u="none" strike="noStrike" kern="1200">
                          <a:solidFill>
                            <a:schemeClr val="tx2">
                              <a:lumMod val="65000"/>
                              <a:lumOff val="35000"/>
                            </a:schemeClr>
                          </a:solidFill>
                          <a:effectLst/>
                          <a:latin typeface="Arial" panose="020B0604020202020204" pitchFamily="34" charset="0"/>
                          <a:ea typeface="+mn-ea"/>
                          <a:cs typeface="+mn-cs"/>
                        </a:rPr>
                        <a:t>People most at risk of MH conditions are given proactive care and prevented from needing to be admitted into inpatient units, reducing the pressure on the wider system</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1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Medium</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1" i="0" u="none" strike="noStrike">
                          <a:solidFill>
                            <a:schemeClr val="tx2">
                              <a:lumMod val="65000"/>
                              <a:lumOff val="35000"/>
                            </a:schemeClr>
                          </a:solidFill>
                          <a:effectLst/>
                          <a:latin typeface="Arial" panose="020B0604020202020204" pitchFamily="34" charset="0"/>
                        </a:rPr>
                        <a:t>Medium</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3198809439"/>
                  </a:ext>
                </a:extLst>
              </a:tr>
              <a:tr h="4572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a:solidFill>
                            <a:srgbClr val="50235C"/>
                          </a:solidFill>
                          <a:latin typeface="+mn-lt"/>
                          <a:ea typeface="+mn-ea"/>
                          <a:cs typeface="+mn-cs"/>
                        </a:rPr>
                        <a:t>E4</a:t>
                      </a:r>
                    </a:p>
                  </a:txBody>
                  <a:tcPr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GB" sz="800" b="1" i="0" u="none" strike="noStrike">
                          <a:solidFill>
                            <a:srgbClr val="50235C"/>
                          </a:solidFill>
                          <a:effectLst/>
                          <a:latin typeface="Arial" panose="020B0604020202020204" pitchFamily="34" charset="0"/>
                          <a:cs typeface="Arial" panose="020B0604020202020204" pitchFamily="34" charset="0"/>
                        </a:rPr>
                        <a:t>Health inequalities </a:t>
                      </a:r>
                    </a:p>
                  </a:txBody>
                  <a:tcPr marL="9525" marR="9525" marT="9525" marB="0" anchor="ct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800" b="0" i="0" u="none" strike="noStrike">
                          <a:solidFill>
                            <a:srgbClr val="50235C"/>
                          </a:solidFill>
                          <a:effectLst/>
                          <a:latin typeface="Arial" panose="020B0604020202020204" pitchFamily="34" charset="0"/>
                          <a:cs typeface="Arial" panose="020B0604020202020204" pitchFamily="34" charset="0"/>
                        </a:rPr>
                        <a:t>Target resources at the most deprived wards that have been highlighted e.g. South East Telford PCN footprint</a:t>
                      </a:r>
                    </a:p>
                  </a:txBody>
                  <a:tcPr marL="95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96838" indent="-87313" algn="l" defTabSz="914400" rtl="0" eaLnBrk="1" fontAlgn="ctr" latinLnBrk="0" hangingPunct="1">
                        <a:buClr>
                          <a:srgbClr val="000000"/>
                        </a:buClr>
                        <a:buSzPts val="900"/>
                        <a:buFont typeface="Arial" panose="020B0604020202020204" pitchFamily="34" charset="0"/>
                        <a:buChar char="•"/>
                        <a:tabLst/>
                      </a:pPr>
                      <a:r>
                        <a:rPr lang="en-GB" sz="800" b="0" i="0" u="none" strike="noStrike" kern="1200">
                          <a:solidFill>
                            <a:schemeClr val="tx2">
                              <a:lumMod val="65000"/>
                              <a:lumOff val="35000"/>
                            </a:schemeClr>
                          </a:solidFill>
                          <a:effectLst/>
                          <a:latin typeface="Arial" panose="020B0604020202020204" pitchFamily="34" charset="0"/>
                          <a:ea typeface="+mn-ea"/>
                          <a:cs typeface="+mn-cs"/>
                        </a:rPr>
                        <a:t>People most at risk of MH conditions are given proactive care and prevented from needing to be admitted into inpatient units, reducing the pressure on the wider system</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1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Medium</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1" i="0" u="none" strike="noStrike">
                          <a:solidFill>
                            <a:schemeClr val="tx2">
                              <a:lumMod val="65000"/>
                              <a:lumOff val="35000"/>
                            </a:schemeClr>
                          </a:solidFill>
                          <a:effectLst/>
                          <a:latin typeface="Arial" panose="020B0604020202020204" pitchFamily="34" charset="0"/>
                        </a:rPr>
                        <a:t>Medium</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1658197614"/>
                  </a:ext>
                </a:extLst>
              </a:tr>
              <a:tr h="4572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a:solidFill>
                            <a:srgbClr val="50235C"/>
                          </a:solidFill>
                          <a:latin typeface="+mn-lt"/>
                          <a:ea typeface="+mn-ea"/>
                          <a:cs typeface="+mn-cs"/>
                        </a:rPr>
                        <a:t>G1</a:t>
                      </a:r>
                    </a:p>
                  </a:txBody>
                  <a:tcPr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800" b="1" i="0" u="none" strike="noStrike">
                          <a:solidFill>
                            <a:srgbClr val="50235C"/>
                          </a:solidFill>
                          <a:effectLst/>
                          <a:latin typeface="Arial" panose="020B0604020202020204" pitchFamily="34" charset="0"/>
                          <a:cs typeface="Arial" panose="020B0604020202020204" pitchFamily="34" charset="0"/>
                        </a:rPr>
                        <a:t>Support the workforce and their wellbeing </a:t>
                      </a:r>
                    </a:p>
                  </a:txBody>
                  <a:tcPr marL="9525" marR="9525" marT="9525" marB="0" anchor="ct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800" b="0" i="0" u="none" strike="noStrike">
                          <a:solidFill>
                            <a:srgbClr val="50235C"/>
                          </a:solidFill>
                          <a:effectLst/>
                          <a:latin typeface="Arial" panose="020B0604020202020204" pitchFamily="34" charset="0"/>
                          <a:cs typeface="Arial" panose="020B0604020202020204" pitchFamily="34" charset="0"/>
                        </a:rPr>
                        <a:t>Include voluntary sector in training opportunities</a:t>
                      </a:r>
                    </a:p>
                  </a:txBody>
                  <a:tcPr marL="95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84150" indent="-87313" algn="l" defTabSz="914400" rtl="0" eaLnBrk="1" fontAlgn="ctr" latinLnBrk="0" hangingPunct="1">
                        <a:buClr>
                          <a:srgbClr val="000000"/>
                        </a:buClr>
                        <a:buSzPts val="900"/>
                        <a:buFont typeface="Arial" panose="020B0604020202020204" pitchFamily="34" charset="0"/>
                        <a:buChar char="•"/>
                        <a:tabLst/>
                      </a:pPr>
                      <a:r>
                        <a:rPr lang="en-GB" sz="800" b="0" i="0" u="none" strike="noStrike" kern="1200">
                          <a:solidFill>
                            <a:schemeClr val="tx2">
                              <a:lumMod val="65000"/>
                              <a:lumOff val="35000"/>
                            </a:schemeClr>
                          </a:solidFill>
                          <a:effectLst/>
                          <a:latin typeface="Arial" panose="020B0604020202020204" pitchFamily="34" charset="0"/>
                          <a:ea typeface="+mn-ea"/>
                          <a:cs typeface="+mn-cs"/>
                        </a:rPr>
                        <a:t>Voluntary sector are better equipped to support service users, reducing referrals into physical care settings.</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1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800" b="0">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800" b="1">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74048181"/>
                  </a:ext>
                </a:extLst>
              </a:tr>
              <a:tr h="4572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a:solidFill>
                            <a:srgbClr val="50235C"/>
                          </a:solidFill>
                          <a:latin typeface="+mn-lt"/>
                          <a:ea typeface="+mn-ea"/>
                          <a:cs typeface="+mn-cs"/>
                        </a:rPr>
                        <a:t>B1</a:t>
                      </a:r>
                    </a:p>
                  </a:txBody>
                  <a:tcPr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800" b="1" i="0" u="none" strike="noStrike">
                          <a:solidFill>
                            <a:srgbClr val="50235C"/>
                          </a:solidFill>
                          <a:effectLst/>
                          <a:latin typeface="Arial" panose="020B0604020202020204" pitchFamily="34" charset="0"/>
                          <a:cs typeface="Arial" panose="020B0604020202020204" pitchFamily="34" charset="0"/>
                        </a:rPr>
                        <a:t>Proactive prevention </a:t>
                      </a:r>
                    </a:p>
                  </a:txBody>
                  <a:tcPr marL="9525" marR="9525" marT="9525" marB="0" anchor="ct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800" b="0" i="0" u="none" strike="noStrike">
                          <a:solidFill>
                            <a:srgbClr val="50235C"/>
                          </a:solidFill>
                          <a:effectLst/>
                          <a:latin typeface="Arial" panose="020B0604020202020204" pitchFamily="34" charset="0"/>
                          <a:cs typeface="Arial" panose="020B0604020202020204" pitchFamily="34" charset="0"/>
                        </a:rPr>
                        <a:t>Expansion of Early Intervention Psychosis programme and development of At Risk Mental States</a:t>
                      </a:r>
                    </a:p>
                  </a:txBody>
                  <a:tcPr marL="95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96838" indent="-87313" algn="l" defTabSz="914400" rtl="0" eaLnBrk="1" fontAlgn="ctr" latinLnBrk="0" hangingPunct="1">
                        <a:buClr>
                          <a:srgbClr val="000000"/>
                        </a:buClr>
                        <a:buSzPts val="900"/>
                        <a:buFont typeface="Arial" panose="020B0604020202020204" pitchFamily="34" charset="0"/>
                        <a:buChar char="•"/>
                        <a:tabLst/>
                      </a:pPr>
                      <a:r>
                        <a:rPr lang="en-GB" sz="800" b="0" i="0" u="none" strike="noStrike" kern="1200">
                          <a:solidFill>
                            <a:schemeClr val="tx2">
                              <a:lumMod val="65000"/>
                              <a:lumOff val="35000"/>
                            </a:schemeClr>
                          </a:solidFill>
                          <a:effectLst/>
                          <a:latin typeface="Arial" panose="020B0604020202020204" pitchFamily="34" charset="0"/>
                          <a:ea typeface="+mn-ea"/>
                          <a:cs typeface="+mn-cs"/>
                        </a:rPr>
                        <a:t>Create more capacity to provide early intervention for those with psychosis to reduce admissions to A&amp;E, inpatient wards and other forms of compulsory treatment.  </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1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800" b="0">
                          <a:solidFill>
                            <a:schemeClr val="tx2">
                              <a:lumMod val="65000"/>
                              <a:lumOff val="35000"/>
                            </a:schemeClr>
                          </a:solidFill>
                        </a:rPr>
                        <a:t>High</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800" b="1">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2726136863"/>
                  </a:ext>
                </a:extLst>
              </a:tr>
              <a:tr h="4572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a:solidFill>
                            <a:srgbClr val="50235C"/>
                          </a:solidFill>
                          <a:latin typeface="+mn-lt"/>
                          <a:ea typeface="+mn-ea"/>
                          <a:cs typeface="+mn-cs"/>
                        </a:rPr>
                        <a:t>F3</a:t>
                      </a:r>
                    </a:p>
                  </a:txBody>
                  <a:tcPr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800" b="1" i="0" u="none" strike="noStrike">
                          <a:solidFill>
                            <a:srgbClr val="50235C"/>
                          </a:solidFill>
                          <a:effectLst/>
                          <a:latin typeface="Arial" panose="020B0604020202020204" pitchFamily="34" charset="0"/>
                          <a:cs typeface="Arial" panose="020B0604020202020204" pitchFamily="34" charset="0"/>
                        </a:rPr>
                        <a:t>Build community resources </a:t>
                      </a:r>
                    </a:p>
                  </a:txBody>
                  <a:tcPr marL="9525" marR="9525" marT="9525" marB="0" anchor="ct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800" b="0" i="0" u="none" strike="noStrike" kern="1200">
                          <a:solidFill>
                            <a:srgbClr val="50235C"/>
                          </a:solidFill>
                          <a:effectLst/>
                          <a:latin typeface="Arial" panose="020B0604020202020204" pitchFamily="34" charset="0"/>
                          <a:ea typeface="+mn-ea"/>
                          <a:cs typeface="Arial" panose="020B0604020202020204" pitchFamily="34" charset="0"/>
                        </a:rPr>
                        <a:t>Better collaboration between primary and secondary care around use of medicines and prescribing</a:t>
                      </a:r>
                    </a:p>
                  </a:txBody>
                  <a:tcPr marL="95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84150" indent="-87313" algn="l" defTabSz="914400" rtl="0" eaLnBrk="1" fontAlgn="ctr" latinLnBrk="0" hangingPunct="1">
                        <a:buClr>
                          <a:srgbClr val="000000"/>
                        </a:buClr>
                        <a:buSzPts val="900"/>
                        <a:buFont typeface="Arial" panose="020B0604020202020204" pitchFamily="34" charset="0"/>
                        <a:buChar char="•"/>
                        <a:tabLst/>
                      </a:pPr>
                      <a:r>
                        <a:rPr lang="en-GB" sz="800" b="0" i="0" u="none" strike="noStrike" kern="1200">
                          <a:solidFill>
                            <a:schemeClr val="tx2">
                              <a:lumMod val="65000"/>
                              <a:lumOff val="35000"/>
                            </a:schemeClr>
                          </a:solidFill>
                          <a:effectLst/>
                          <a:latin typeface="Arial" panose="020B0604020202020204" pitchFamily="34" charset="0"/>
                          <a:ea typeface="+mn-ea"/>
                          <a:cs typeface="+mn-cs"/>
                        </a:rPr>
                        <a:t>Improved patient outcomes through a more coordinated approach to the use of medicines and prescribing.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800" b="0" i="0" u="none" strike="noStrike" kern="1200">
                          <a:solidFill>
                            <a:schemeClr val="tx2">
                              <a:lumMod val="65000"/>
                              <a:lumOff val="35000"/>
                            </a:schemeClr>
                          </a:solidFill>
                          <a:effectLst/>
                          <a:latin typeface="Arial" panose="020B0604020202020204" pitchFamily="34" charset="0"/>
                          <a:ea typeface="+mn-ea"/>
                          <a:cs typeface="+mn-cs"/>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800" b="0" i="0" u="none" strike="noStrike" kern="1200">
                          <a:solidFill>
                            <a:schemeClr val="tx2">
                              <a:lumMod val="65000"/>
                              <a:lumOff val="35000"/>
                            </a:schemeClr>
                          </a:solidFill>
                          <a:effectLst/>
                          <a:latin typeface="Arial" panose="020B0604020202020204" pitchFamily="34" charset="0"/>
                          <a:ea typeface="+mn-ea"/>
                          <a:cs typeface="+mn-cs"/>
                        </a:rPr>
                        <a:t>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800" b="0" i="0" u="none" strike="noStrike" kern="1200">
                          <a:solidFill>
                            <a:schemeClr val="tx2">
                              <a:lumMod val="65000"/>
                              <a:lumOff val="35000"/>
                            </a:schemeClr>
                          </a:solidFill>
                          <a:effectLst/>
                          <a:latin typeface="Arial" panose="020B0604020202020204" pitchFamily="34" charset="0"/>
                          <a:ea typeface="+mn-ea"/>
                          <a:cs typeface="+mn-cs"/>
                        </a:rPr>
                        <a:t>10</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800" b="0" strike="noStrike">
                          <a:solidFill>
                            <a:schemeClr val="tx2">
                              <a:lumMod val="65000"/>
                              <a:lumOff val="35000"/>
                            </a:schemeClr>
                          </a:solidFill>
                        </a:rPr>
                        <a:t>Low</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800" b="1" strike="noStrike">
                          <a:solidFill>
                            <a:schemeClr val="tx2">
                              <a:lumMod val="65000"/>
                              <a:lumOff val="35000"/>
                            </a:schemeClr>
                          </a:solidFill>
                        </a:rPr>
                        <a:t>Long</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1065129322"/>
                  </a:ext>
                </a:extLst>
              </a:tr>
            </a:tbl>
          </a:graphicData>
        </a:graphic>
      </p:graphicFrame>
    </p:spTree>
    <p:extLst>
      <p:ext uri="{BB962C8B-B14F-4D97-AF65-F5344CB8AC3E}">
        <p14:creationId xmlns:p14="http://schemas.microsoft.com/office/powerpoint/2010/main" val="125625210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9441"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en-IN" sz="2800">
              <a:solidFill>
                <a:srgbClr val="FFFFFF"/>
              </a:solidFill>
              <a:sym typeface="Arial" panose="020B0604020202020204" pitchFamily="34" charset="0"/>
            </a:endParaRPr>
          </a:p>
        </p:txBody>
      </p:sp>
      <p:sp>
        <p:nvSpPr>
          <p:cNvPr id="2" name="Title 1"/>
          <p:cNvSpPr>
            <a:spLocks noGrp="1"/>
          </p:cNvSpPr>
          <p:nvPr>
            <p:ph type="title"/>
          </p:nvPr>
        </p:nvSpPr>
        <p:spPr>
          <a:xfrm>
            <a:off x="510638" y="297277"/>
            <a:ext cx="7827117" cy="434010"/>
          </a:xfrm>
          <a:prstGeom prst="rect">
            <a:avLst/>
          </a:prstGeom>
        </p:spPr>
        <p:txBody>
          <a:bodyPr/>
          <a:lstStyle/>
          <a:p>
            <a:r>
              <a:rPr lang="en-US"/>
              <a:t>Quick wins</a:t>
            </a:r>
            <a:endParaRPr lang="en-IN"/>
          </a:p>
        </p:txBody>
      </p:sp>
      <p:graphicFrame>
        <p:nvGraphicFramePr>
          <p:cNvPr id="10" name="Table 9">
            <a:extLst>
              <a:ext uri="{FF2B5EF4-FFF2-40B4-BE49-F238E27FC236}">
                <a16:creationId xmlns:a16="http://schemas.microsoft.com/office/drawing/2014/main" id="{87CC6123-A617-E541-A25D-A2DC364BE962}"/>
              </a:ext>
            </a:extLst>
          </p:cNvPr>
          <p:cNvGraphicFramePr>
            <a:graphicFrameLocks noGrp="1"/>
          </p:cNvGraphicFramePr>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C"/>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
        <p:nvSpPr>
          <p:cNvPr id="11" name="Rectangle 10">
            <a:extLst>
              <a:ext uri="{FF2B5EF4-FFF2-40B4-BE49-F238E27FC236}">
                <a16:creationId xmlns:a16="http://schemas.microsoft.com/office/drawing/2014/main" id="{B78A30A2-1E27-4F40-90B6-7A5B4336E410}"/>
              </a:ext>
            </a:extLst>
          </p:cNvPr>
          <p:cNvSpPr/>
          <p:nvPr/>
        </p:nvSpPr>
        <p:spPr>
          <a:xfrm>
            <a:off x="8462819" y="184705"/>
            <a:ext cx="1931224" cy="78568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panose="020B0604020202020204"/>
                <a:ea typeface="+mn-ea"/>
                <a:cs typeface="+mn-cs"/>
              </a:rPr>
              <a:t>IMPACT:        </a:t>
            </a: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1 = Low Impact </a:t>
            </a:r>
            <a:b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                       5 = High impa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panose="020B0604020202020204"/>
                <a:ea typeface="+mn-ea"/>
                <a:cs typeface="+mn-cs"/>
              </a:rPr>
              <a:t>EASE:            </a:t>
            </a: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1 = Difficult</a:t>
            </a:r>
            <a:b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                       5 = Straightforward</a:t>
            </a:r>
          </a:p>
          <a:p>
            <a:pPr>
              <a:defRPr/>
            </a:pPr>
            <a:r>
              <a:rPr lang="en-GB" sz="800" b="1">
                <a:solidFill>
                  <a:srgbClr val="000000"/>
                </a:solidFill>
              </a:rPr>
              <a:t>RESOURCE:  </a:t>
            </a:r>
            <a:r>
              <a:rPr lang="en-GB" sz="800">
                <a:solidFill>
                  <a:srgbClr val="000000"/>
                </a:solidFill>
              </a:rPr>
              <a:t>Low, Medium, High </a:t>
            </a:r>
          </a:p>
        </p:txBody>
      </p:sp>
      <p:sp>
        <p:nvSpPr>
          <p:cNvPr id="12" name="Rectangle 11">
            <a:extLst>
              <a:ext uri="{FF2B5EF4-FFF2-40B4-BE49-F238E27FC236}">
                <a16:creationId xmlns:a16="http://schemas.microsoft.com/office/drawing/2014/main" id="{AC820CAF-21DA-C244-B963-8324ABA310F0}"/>
              </a:ext>
            </a:extLst>
          </p:cNvPr>
          <p:cNvSpPr/>
          <p:nvPr/>
        </p:nvSpPr>
        <p:spPr>
          <a:xfrm>
            <a:off x="10394043" y="184705"/>
            <a:ext cx="1442357" cy="78568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00" b="1">
                <a:solidFill>
                  <a:srgbClr val="000000"/>
                </a:solidFill>
                <a:latin typeface="Arial" panose="020B0604020202020204"/>
              </a:rPr>
              <a:t>SHORT</a:t>
            </a:r>
            <a:r>
              <a:rPr lang="en-GB" sz="900">
                <a:solidFill>
                  <a:srgbClr val="000000"/>
                </a:solidFill>
                <a:latin typeface="Arial" panose="020B0604020202020204"/>
              </a:rPr>
              <a:t> =   0-6 months</a:t>
            </a:r>
          </a:p>
          <a:p>
            <a:r>
              <a:rPr lang="en-GB" sz="900" b="1">
                <a:solidFill>
                  <a:srgbClr val="000000"/>
                </a:solidFill>
                <a:latin typeface="Arial" panose="020B0604020202020204"/>
              </a:rPr>
              <a:t>MEDIUM</a:t>
            </a:r>
            <a:r>
              <a:rPr lang="en-GB" sz="900">
                <a:solidFill>
                  <a:srgbClr val="000000"/>
                </a:solidFill>
                <a:latin typeface="Arial" panose="020B0604020202020204"/>
              </a:rPr>
              <a:t> = 6-18 months</a:t>
            </a:r>
          </a:p>
          <a:p>
            <a:r>
              <a:rPr lang="en-GB" sz="900" b="1">
                <a:solidFill>
                  <a:srgbClr val="000000"/>
                </a:solidFill>
                <a:latin typeface="Arial" panose="020B0604020202020204"/>
              </a:rPr>
              <a:t>LONG</a:t>
            </a:r>
            <a:r>
              <a:rPr lang="en-GB" sz="900">
                <a:solidFill>
                  <a:srgbClr val="000000"/>
                </a:solidFill>
                <a:latin typeface="Arial" panose="020B0604020202020204"/>
              </a:rPr>
              <a:t> =     18 months +</a:t>
            </a:r>
          </a:p>
        </p:txBody>
      </p:sp>
      <p:sp>
        <p:nvSpPr>
          <p:cNvPr id="13" name="Rectangle 12">
            <a:extLst>
              <a:ext uri="{FF2B5EF4-FFF2-40B4-BE49-F238E27FC236}">
                <a16:creationId xmlns:a16="http://schemas.microsoft.com/office/drawing/2014/main" id="{F1489F1F-B8A8-4A44-98B7-FEBABB1FEBEA}"/>
              </a:ext>
            </a:extLst>
          </p:cNvPr>
          <p:cNvSpPr/>
          <p:nvPr/>
        </p:nvSpPr>
        <p:spPr>
          <a:xfrm>
            <a:off x="647407" y="1095781"/>
            <a:ext cx="2355654" cy="434010"/>
          </a:xfrm>
          <a:prstGeom prst="rect">
            <a:avLst/>
          </a:prstGeom>
          <a:noFill/>
          <a:ln w="12700" cap="flat" cmpd="sng" algn="ctr">
            <a:noFill/>
            <a:prstDash val="solid"/>
            <a:miter lim="800000"/>
          </a:ln>
          <a:effectLst/>
        </p:spPr>
        <p:txBody>
          <a:bodyPr rtlCol="0" anchor="ctr"/>
          <a:lstStyle/>
          <a:p>
            <a:pPr lvl="0" algn="ctr" defTabSz="685800">
              <a:defRPr/>
            </a:pPr>
            <a:endParaRPr lang="en-GB" sz="1050" b="1">
              <a:solidFill>
                <a:srgbClr val="50235B"/>
              </a:solidFill>
              <a:latin typeface="Arial" panose="020B0604020202020204" pitchFamily="34" charset="0"/>
              <a:cs typeface="Arial" panose="020B0604020202020204" pitchFamily="34" charset="0"/>
            </a:endParaRPr>
          </a:p>
        </p:txBody>
      </p:sp>
      <p:graphicFrame>
        <p:nvGraphicFramePr>
          <p:cNvPr id="14" name="Table 7">
            <a:extLst>
              <a:ext uri="{FF2B5EF4-FFF2-40B4-BE49-F238E27FC236}">
                <a16:creationId xmlns:a16="http://schemas.microsoft.com/office/drawing/2014/main" id="{F0D1BDF9-E36C-BC44-94C4-D1BCB2170E63}"/>
              </a:ext>
            </a:extLst>
          </p:cNvPr>
          <p:cNvGraphicFramePr>
            <a:graphicFrameLocks noGrp="1"/>
          </p:cNvGraphicFramePr>
          <p:nvPr>
            <p:extLst>
              <p:ext uri="{D42A27DB-BD31-4B8C-83A1-F6EECF244321}">
                <p14:modId xmlns:p14="http://schemas.microsoft.com/office/powerpoint/2010/main" val="1146672253"/>
              </p:ext>
            </p:extLst>
          </p:nvPr>
        </p:nvGraphicFramePr>
        <p:xfrm>
          <a:off x="510638" y="1095781"/>
          <a:ext cx="11325765" cy="5321558"/>
        </p:xfrm>
        <a:graphic>
          <a:graphicData uri="http://schemas.openxmlformats.org/drawingml/2006/table">
            <a:tbl>
              <a:tblPr firstRow="1" bandRow="1">
                <a:tableStyleId>{5C22544A-7EE6-4342-B048-85BDC9FD1C3A}</a:tableStyleId>
              </a:tblPr>
              <a:tblGrid>
                <a:gridCol w="718087">
                  <a:extLst>
                    <a:ext uri="{9D8B030D-6E8A-4147-A177-3AD203B41FA5}">
                      <a16:colId xmlns:a16="http://schemas.microsoft.com/office/drawing/2014/main" val="1222057465"/>
                    </a:ext>
                  </a:extLst>
                </a:gridCol>
                <a:gridCol w="1064099">
                  <a:extLst>
                    <a:ext uri="{9D8B030D-6E8A-4147-A177-3AD203B41FA5}">
                      <a16:colId xmlns:a16="http://schemas.microsoft.com/office/drawing/2014/main" val="2319752415"/>
                    </a:ext>
                  </a:extLst>
                </a:gridCol>
                <a:gridCol w="2674962">
                  <a:extLst>
                    <a:ext uri="{9D8B030D-6E8A-4147-A177-3AD203B41FA5}">
                      <a16:colId xmlns:a16="http://schemas.microsoft.com/office/drawing/2014/main" val="1853970278"/>
                    </a:ext>
                  </a:extLst>
                </a:gridCol>
                <a:gridCol w="3712191">
                  <a:extLst>
                    <a:ext uri="{9D8B030D-6E8A-4147-A177-3AD203B41FA5}">
                      <a16:colId xmlns:a16="http://schemas.microsoft.com/office/drawing/2014/main" val="3087462113"/>
                    </a:ext>
                  </a:extLst>
                </a:gridCol>
                <a:gridCol w="564108">
                  <a:extLst>
                    <a:ext uri="{9D8B030D-6E8A-4147-A177-3AD203B41FA5}">
                      <a16:colId xmlns:a16="http://schemas.microsoft.com/office/drawing/2014/main" val="1029806020"/>
                    </a:ext>
                  </a:extLst>
                </a:gridCol>
                <a:gridCol w="564108">
                  <a:extLst>
                    <a:ext uri="{9D8B030D-6E8A-4147-A177-3AD203B41FA5}">
                      <a16:colId xmlns:a16="http://schemas.microsoft.com/office/drawing/2014/main" val="3714934659"/>
                    </a:ext>
                  </a:extLst>
                </a:gridCol>
                <a:gridCol w="564108">
                  <a:extLst>
                    <a:ext uri="{9D8B030D-6E8A-4147-A177-3AD203B41FA5}">
                      <a16:colId xmlns:a16="http://schemas.microsoft.com/office/drawing/2014/main" val="1845500442"/>
                    </a:ext>
                  </a:extLst>
                </a:gridCol>
                <a:gridCol w="732051">
                  <a:extLst>
                    <a:ext uri="{9D8B030D-6E8A-4147-A177-3AD203B41FA5}">
                      <a16:colId xmlns:a16="http://schemas.microsoft.com/office/drawing/2014/main" val="2590076437"/>
                    </a:ext>
                  </a:extLst>
                </a:gridCol>
                <a:gridCol w="732051">
                  <a:extLst>
                    <a:ext uri="{9D8B030D-6E8A-4147-A177-3AD203B41FA5}">
                      <a16:colId xmlns:a16="http://schemas.microsoft.com/office/drawing/2014/main" val="1385158084"/>
                    </a:ext>
                  </a:extLst>
                </a:gridCol>
              </a:tblGrid>
              <a:tr h="645356">
                <a:tc>
                  <a:txBody>
                    <a:bodyPr/>
                    <a:lstStyle/>
                    <a:p>
                      <a:pPr algn="ctr"/>
                      <a:r>
                        <a:rPr lang="en-GB" sz="900">
                          <a:solidFill>
                            <a:srgbClr val="50235C"/>
                          </a:solidFill>
                        </a:rPr>
                        <a:t>Roadmap ref</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gridSpan="2">
                  <a:txBody>
                    <a:bodyPr/>
                    <a:lstStyle/>
                    <a:p>
                      <a:r>
                        <a:rPr lang="en-GB" sz="900">
                          <a:solidFill>
                            <a:srgbClr val="50235C"/>
                          </a:solidFill>
                        </a:rPr>
                        <a:t>Future activity</a:t>
                      </a:r>
                      <a:endParaRPr lang="en-US"/>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hMerge="1">
                  <a:txBody>
                    <a:bodyPr/>
                    <a:lstStyle/>
                    <a:p>
                      <a:r>
                        <a:rPr lang="en-GB" sz="900"/>
                        <a:t>Future activity</a:t>
                      </a:r>
                    </a:p>
                  </a:txBody>
                  <a:tcPr anchor="ctr"/>
                </a:tc>
                <a:tc>
                  <a:txBody>
                    <a:bodyPr/>
                    <a:lstStyle/>
                    <a:p>
                      <a:pPr marL="0" algn="ctr" defTabSz="914400" rtl="0" eaLnBrk="1" fontAlgn="ctr" latinLnBrk="0" hangingPunct="1"/>
                      <a:r>
                        <a:rPr lang="en-GB" sz="900" b="1" kern="1200">
                          <a:solidFill>
                            <a:srgbClr val="50235C"/>
                          </a:solidFill>
                          <a:latin typeface="+mn-lt"/>
                          <a:ea typeface="+mn-ea"/>
                          <a:cs typeface="+mn-cs"/>
                        </a:rPr>
                        <a:t>Target outcome / Expected benefit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algn="ctr" defTabSz="914400" rtl="0" eaLnBrk="1" fontAlgn="ctr" latinLnBrk="0" hangingPunct="1"/>
                      <a:r>
                        <a:rPr lang="en-GB" sz="900" b="1" kern="1200">
                          <a:solidFill>
                            <a:srgbClr val="50235C"/>
                          </a:solidFill>
                          <a:latin typeface="+mn-lt"/>
                          <a:ea typeface="+mn-ea"/>
                          <a:cs typeface="+mn-cs"/>
                        </a:rPr>
                        <a:t>Impact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Ease</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algn="ctr" defTabSz="914400" rtl="0" eaLnBrk="1" fontAlgn="ctr" latinLnBrk="0" hangingPunct="1"/>
                      <a:r>
                        <a:rPr lang="en-GB" sz="900" b="1" kern="1200">
                          <a:solidFill>
                            <a:srgbClr val="50235C"/>
                          </a:solidFill>
                          <a:latin typeface="+mn-lt"/>
                          <a:ea typeface="+mn-ea"/>
                          <a:cs typeface="+mn-cs"/>
                        </a:rPr>
                        <a:t>Score</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algn="ctr"/>
                      <a:r>
                        <a:rPr lang="en-GB" sz="900" b="1">
                          <a:solidFill>
                            <a:srgbClr val="50235C"/>
                          </a:solidFill>
                        </a:rPr>
                        <a:t>Resource required</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algn="ctr"/>
                      <a:r>
                        <a:rPr lang="en-GB" sz="900" b="1">
                          <a:solidFill>
                            <a:srgbClr val="50235C"/>
                          </a:solidFill>
                        </a:rPr>
                        <a:t>Short /</a:t>
                      </a:r>
                    </a:p>
                    <a:p>
                      <a:pPr algn="ctr"/>
                      <a:r>
                        <a:rPr lang="en-GB" sz="900" b="1">
                          <a:solidFill>
                            <a:srgbClr val="50235C"/>
                          </a:solidFill>
                        </a:rPr>
                        <a:t>Medium /</a:t>
                      </a:r>
                      <a:br>
                        <a:rPr lang="en-GB" sz="900" b="1">
                          <a:solidFill>
                            <a:srgbClr val="50235C"/>
                          </a:solidFill>
                        </a:rPr>
                      </a:br>
                      <a:r>
                        <a:rPr lang="en-GB" sz="900" b="1">
                          <a:solidFill>
                            <a:srgbClr val="50235C"/>
                          </a:solidFill>
                        </a:rPr>
                        <a:t>Long</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extLst>
                  <a:ext uri="{0D108BD9-81ED-4DB2-BD59-A6C34878D82A}">
                    <a16:rowId xmlns:a16="http://schemas.microsoft.com/office/drawing/2014/main" val="466195498"/>
                  </a:ext>
                </a:extLst>
              </a:tr>
              <a:tr h="77936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strike="noStrike" kern="1200">
                          <a:solidFill>
                            <a:srgbClr val="50235C"/>
                          </a:solidFill>
                          <a:latin typeface="+mn-lt"/>
                          <a:ea typeface="+mn-ea"/>
                          <a:cs typeface="+mn-cs"/>
                        </a:rPr>
                        <a:t>A6</a:t>
                      </a:r>
                    </a:p>
                  </a:txBody>
                  <a:tcPr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strike="noStrike" kern="1200">
                          <a:solidFill>
                            <a:srgbClr val="50235C"/>
                          </a:solidFill>
                          <a:latin typeface="+mn-lt"/>
                          <a:ea typeface="+mn-ea"/>
                          <a:cs typeface="+mn-cs"/>
                        </a:rPr>
                        <a:t>Raise the profile and awareness of mental health  </a:t>
                      </a:r>
                    </a:p>
                  </a:txBody>
                  <a:tcPr marL="9525" marR="9525" marT="9525" marB="0" anchor="ct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0" i="0" u="none" strike="noStrike">
                          <a:solidFill>
                            <a:srgbClr val="50235C"/>
                          </a:solidFill>
                          <a:effectLst/>
                          <a:latin typeface="Arial" panose="020B0604020202020204" pitchFamily="34" charset="0"/>
                        </a:rPr>
                        <a:t>Increase focused promotion of phone lines</a:t>
                      </a:r>
                    </a:p>
                  </a:txBody>
                  <a:tcPr marL="95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96838" indent="-87313" algn="l" defTabSz="914400" rtl="0" eaLnBrk="1" fontAlgn="ctr" latinLnBrk="0" hangingPunct="1">
                        <a:buClr>
                          <a:srgbClr val="000000"/>
                        </a:buClr>
                        <a:buSzPts val="900"/>
                        <a:buFont typeface="Arial" panose="020B0604020202020204" pitchFamily="34" charset="0"/>
                        <a:buChar char="•"/>
                        <a:tabLst/>
                      </a:pPr>
                      <a:r>
                        <a:rPr lang="en-GB" sz="800" b="0" i="0" u="none" strike="noStrike" kern="1200">
                          <a:solidFill>
                            <a:schemeClr val="tx2">
                              <a:lumMod val="65000"/>
                              <a:lumOff val="35000"/>
                            </a:schemeClr>
                          </a:solidFill>
                          <a:effectLst/>
                          <a:latin typeface="Arial" panose="020B0604020202020204" pitchFamily="34" charset="0"/>
                          <a:ea typeface="+mn-ea"/>
                          <a:cs typeface="+mn-cs"/>
                        </a:rPr>
                        <a:t>Create more awareness of the resources and support available to help deal with the issues they face, thus stopping further escalation and crisis. This may reduce demand on secondary care and A&amp;E admissions.  </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9</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0">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Short </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1738425369"/>
                  </a:ext>
                </a:extLst>
              </a:tr>
              <a:tr h="77936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strike="noStrike">
                          <a:solidFill>
                            <a:srgbClr val="50235C"/>
                          </a:solidFill>
                        </a:rPr>
                        <a:t>D2</a:t>
                      </a:r>
                    </a:p>
                  </a:txBody>
                  <a:tcPr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Act as one integrated system </a:t>
                      </a:r>
                    </a:p>
                  </a:txBody>
                  <a:tcPr marL="9525" marR="9525" marT="9525" marB="0" anchor="ct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0" i="0" u="none" strike="noStrike">
                          <a:solidFill>
                            <a:srgbClr val="50235C"/>
                          </a:solidFill>
                          <a:effectLst/>
                          <a:latin typeface="Arial" panose="020B0604020202020204" pitchFamily="34" charset="0"/>
                        </a:rPr>
                        <a:t>Nominated and effective place based leadership – focused on prevention and resilience</a:t>
                      </a:r>
                    </a:p>
                  </a:txBody>
                  <a:tcPr marL="95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88913" indent="-95250" algn="l" defTabSz="914400" rtl="0" eaLnBrk="1" fontAlgn="ctr" latinLnBrk="0" hangingPunct="1">
                        <a:buClr>
                          <a:srgbClr val="000000"/>
                        </a:buClr>
                        <a:buSzPts val="900"/>
                        <a:buFont typeface="Arial" panose="020B0604020202020204" pitchFamily="34" charset="0"/>
                        <a:buChar char="•"/>
                        <a:tabLst/>
                      </a:pPr>
                      <a:r>
                        <a:rPr lang="en-GB" sz="800" b="0" i="0" u="none" strike="noStrike" kern="1200">
                          <a:solidFill>
                            <a:schemeClr val="tx2">
                              <a:lumMod val="65000"/>
                              <a:lumOff val="35000"/>
                            </a:schemeClr>
                          </a:solidFill>
                          <a:effectLst/>
                          <a:latin typeface="Arial" panose="020B0604020202020204" pitchFamily="34" charset="0"/>
                          <a:ea typeface="+mn-ea"/>
                          <a:cs typeface="+mn-cs"/>
                        </a:rPr>
                        <a:t>A localised support offering that supports people wherever they live within the ICS.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1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0">
                          <a:solidFill>
                            <a:schemeClr val="tx2">
                              <a:lumMod val="65000"/>
                              <a:lumOff val="35000"/>
                            </a:schemeClr>
                          </a:solidFill>
                        </a:rPr>
                        <a:t>Low</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Short</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4199580168"/>
                  </a:ext>
                </a:extLst>
              </a:tr>
              <a:tr h="77936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F1 &amp; H1</a:t>
                      </a:r>
                    </a:p>
                  </a:txBody>
                  <a:tcPr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Build community resources </a:t>
                      </a:r>
                    </a:p>
                  </a:txBody>
                  <a:tcPr marL="9525" marR="9525" marT="9525" marB="0" anchor="ct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0" i="0" u="none" strike="noStrike">
                          <a:solidFill>
                            <a:srgbClr val="50235C"/>
                          </a:solidFill>
                          <a:effectLst/>
                          <a:latin typeface="Arial" panose="020B0604020202020204" pitchFamily="34" charset="0"/>
                        </a:rPr>
                        <a:t>Complete the build of a seclusion suite at Redwoods</a:t>
                      </a:r>
                    </a:p>
                  </a:txBody>
                  <a:tcPr marL="95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88913" indent="-95250" algn="l" defTabSz="914400" rtl="0" eaLnBrk="1" fontAlgn="ctr" latinLnBrk="0" hangingPunct="1">
                        <a:buClr>
                          <a:srgbClr val="000000"/>
                        </a:buClr>
                        <a:buSzPts val="900"/>
                        <a:buFont typeface="Arial" panose="020B0604020202020204" pitchFamily="34" charset="0"/>
                        <a:buChar char="•"/>
                        <a:tabLst/>
                      </a:pPr>
                      <a:r>
                        <a:rPr lang="en-GB" sz="800" b="0" i="0" u="none" strike="noStrike" kern="1200">
                          <a:solidFill>
                            <a:schemeClr val="tx2">
                              <a:lumMod val="65000"/>
                              <a:lumOff val="35000"/>
                            </a:schemeClr>
                          </a:solidFill>
                          <a:effectLst/>
                          <a:latin typeface="Arial" panose="020B0604020202020204" pitchFamily="34" charset="0"/>
                          <a:ea typeface="+mn-ea"/>
                          <a:cs typeface="+mn-cs"/>
                        </a:rPr>
                        <a:t>This would reduce the demand on the S136 suite and support the reduction in out of area placements.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20</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0">
                          <a:solidFill>
                            <a:schemeClr val="tx2">
                              <a:lumMod val="65000"/>
                              <a:lumOff val="35000"/>
                            </a:schemeClr>
                          </a:solidFill>
                        </a:rPr>
                        <a:t>Low</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Short</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570282075"/>
                  </a:ext>
                </a:extLst>
              </a:tr>
              <a:tr h="77936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H1</a:t>
                      </a:r>
                    </a:p>
                  </a:txBody>
                  <a:tcPr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Supported transition from services </a:t>
                      </a:r>
                    </a:p>
                  </a:txBody>
                  <a:tcPr marL="9525" marR="9525" marT="9525" marB="0" anchor="ct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0" i="0" u="none" strike="noStrike">
                          <a:solidFill>
                            <a:srgbClr val="50235C"/>
                          </a:solidFill>
                          <a:effectLst/>
                          <a:latin typeface="Arial" panose="020B0604020202020204" pitchFamily="34" charset="0"/>
                        </a:rPr>
                        <a:t>Plans to build a seclusion suite at redwoods</a:t>
                      </a:r>
                    </a:p>
                  </a:txBody>
                  <a:tcPr marL="95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96838" indent="-87313" algn="l" defTabSz="914400" rtl="0" eaLnBrk="1" fontAlgn="ctr" latinLnBrk="0" hangingPunct="1">
                        <a:buClr>
                          <a:srgbClr val="000000"/>
                        </a:buClr>
                        <a:buSzPts val="900"/>
                        <a:buFont typeface="Arial" panose="020B0604020202020204" pitchFamily="34" charset="0"/>
                        <a:buChar char="•"/>
                        <a:tabLst/>
                      </a:pPr>
                      <a:r>
                        <a:rPr lang="en-GB" sz="800" b="0" i="0" u="none" strike="noStrike" kern="1200">
                          <a:solidFill>
                            <a:schemeClr val="tx2">
                              <a:lumMod val="65000"/>
                              <a:lumOff val="35000"/>
                            </a:schemeClr>
                          </a:solidFill>
                          <a:effectLst/>
                          <a:latin typeface="Arial" panose="020B0604020202020204" pitchFamily="34" charset="0"/>
                          <a:ea typeface="+mn-ea"/>
                          <a:cs typeface="+mn-cs"/>
                        </a:rPr>
                        <a:t>This would free up the S136 suite and allow for more people in crisis to be supported and reduce out of area and inappropriate placements.</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900" b="0" i="0" u="none" strike="noStrike" kern="1200">
                          <a:solidFill>
                            <a:schemeClr val="tx2">
                              <a:lumMod val="65000"/>
                              <a:lumOff val="35000"/>
                            </a:schemeClr>
                          </a:solidFill>
                          <a:effectLst/>
                          <a:latin typeface="Arial" panose="020B0604020202020204" pitchFamily="34" charset="0"/>
                          <a:ea typeface="+mn-ea"/>
                          <a:cs typeface="+mn-cs"/>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900" b="0" i="0" u="none" strike="noStrike" kern="1200">
                          <a:solidFill>
                            <a:schemeClr val="tx2">
                              <a:lumMod val="65000"/>
                              <a:lumOff val="35000"/>
                            </a:schemeClr>
                          </a:solidFill>
                          <a:effectLst/>
                          <a:latin typeface="Arial" panose="020B0604020202020204" pitchFamily="34" charset="0"/>
                          <a:ea typeface="+mn-ea"/>
                          <a:cs typeface="+mn-cs"/>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900" b="0" i="0" u="none" strike="noStrike" kern="1200">
                          <a:solidFill>
                            <a:schemeClr val="tx2">
                              <a:lumMod val="65000"/>
                              <a:lumOff val="35000"/>
                            </a:schemeClr>
                          </a:solidFill>
                          <a:effectLst/>
                          <a:latin typeface="Arial" panose="020B0604020202020204" pitchFamily="34" charset="0"/>
                          <a:ea typeface="+mn-ea"/>
                          <a:cs typeface="+mn-cs"/>
                        </a:rPr>
                        <a:t>20</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900" b="0" i="0" u="none" strike="noStrike" kern="1200">
                          <a:solidFill>
                            <a:schemeClr val="tx2">
                              <a:lumMod val="65000"/>
                              <a:lumOff val="35000"/>
                            </a:schemeClr>
                          </a:solidFill>
                          <a:effectLst/>
                          <a:latin typeface="Arial" panose="020B0604020202020204" pitchFamily="34" charset="0"/>
                          <a:ea typeface="+mn-ea"/>
                          <a:cs typeface="+mn-cs"/>
                        </a:rPr>
                        <a:t>Low</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900" b="1" i="0" u="none" strike="noStrike" kern="1200">
                          <a:solidFill>
                            <a:schemeClr val="tx2">
                              <a:lumMod val="65000"/>
                              <a:lumOff val="35000"/>
                            </a:schemeClr>
                          </a:solidFill>
                          <a:effectLst/>
                          <a:latin typeface="Arial" panose="020B0604020202020204" pitchFamily="34" charset="0"/>
                          <a:ea typeface="+mn-ea"/>
                          <a:cs typeface="+mn-cs"/>
                        </a:rPr>
                        <a:t>Short</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2752216538"/>
                  </a:ext>
                </a:extLst>
              </a:tr>
              <a:tr h="77936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J1</a:t>
                      </a:r>
                    </a:p>
                  </a:txBody>
                  <a:tcPr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Autism journey mapping</a:t>
                      </a:r>
                    </a:p>
                  </a:txBody>
                  <a:tcPr marL="9525" marR="9525" marT="9525" marB="0" anchor="ct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indent="0" algn="l" rtl="0" fontAlgn="ctr">
                        <a:buClr>
                          <a:srgbClr val="000000"/>
                        </a:buClr>
                        <a:buSzPts val="850"/>
                        <a:buFont typeface="Arial" panose="020B0604020202020204" pitchFamily="34" charset="0"/>
                        <a:buNone/>
                      </a:pPr>
                      <a:r>
                        <a:rPr lang="en-GB" sz="900" b="0" i="0" u="none" strike="noStrike" kern="1200">
                          <a:solidFill>
                            <a:srgbClr val="50235C"/>
                          </a:solidFill>
                          <a:effectLst/>
                          <a:latin typeface="Arial" panose="020B0604020202020204" pitchFamily="34" charset="0"/>
                          <a:ea typeface="+mn-ea"/>
                          <a:cs typeface="+mn-cs"/>
                        </a:rPr>
                        <a:t>Using learnings from other systems to develop and roll out Autism passports for all health and care settings across the ICS. </a:t>
                      </a:r>
                    </a:p>
                  </a:txBody>
                  <a:tcPr marL="857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indent="-171450" algn="l" rtl="0" fontAlgn="ctr">
                        <a:buClr>
                          <a:srgbClr val="000000"/>
                        </a:buClr>
                        <a:buSzPts val="850"/>
                        <a:buFont typeface="Arial" panose="020B0604020202020204" pitchFamily="34" charset="0"/>
                        <a:buChar char="•"/>
                      </a:pPr>
                      <a:r>
                        <a:rPr lang="en-GB" sz="800" b="0" i="0" u="none" strike="noStrike" kern="1200">
                          <a:solidFill>
                            <a:schemeClr val="tx2">
                              <a:lumMod val="65000"/>
                              <a:lumOff val="35000"/>
                            </a:schemeClr>
                          </a:solidFill>
                          <a:effectLst/>
                          <a:latin typeface="Arial" panose="020B0604020202020204" pitchFamily="34" charset="0"/>
                          <a:ea typeface="+mn-ea"/>
                          <a:cs typeface="+mn-cs"/>
                        </a:rPr>
                        <a:t>People with Autism will be better supported in their care and will have easier access to services and support. </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20</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Low</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50" b="1" i="0" u="none" strike="noStrike">
                          <a:solidFill>
                            <a:srgbClr val="595959"/>
                          </a:solidFill>
                          <a:effectLst/>
                          <a:latin typeface="Arial" panose="020B0604020202020204" pitchFamily="34" charset="0"/>
                        </a:rPr>
                        <a:t>Short</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1922301071"/>
                  </a:ext>
                </a:extLst>
              </a:tr>
              <a:tr h="77936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J2</a:t>
                      </a:r>
                    </a:p>
                  </a:txBody>
                  <a:tcPr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SMI journey mapping</a:t>
                      </a:r>
                    </a:p>
                  </a:txBody>
                  <a:tcPr marL="9525" marR="9525" marT="9525" marB="0" anchor="ct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indent="0" algn="l" rtl="0" fontAlgn="ctr">
                        <a:buClr>
                          <a:srgbClr val="000000"/>
                        </a:buClr>
                        <a:buSzPts val="850"/>
                        <a:buFont typeface="Arial" panose="020B0604020202020204" pitchFamily="34" charset="0"/>
                        <a:buNone/>
                      </a:pPr>
                      <a:r>
                        <a:rPr lang="en-GB" sz="900" b="0" i="0" u="none" strike="noStrike" kern="1200">
                          <a:solidFill>
                            <a:srgbClr val="50235C"/>
                          </a:solidFill>
                          <a:effectLst/>
                          <a:latin typeface="Arial" panose="020B0604020202020204" pitchFamily="34" charset="0"/>
                          <a:ea typeface="+mn-ea"/>
                          <a:cs typeface="+mn-cs"/>
                        </a:rPr>
                        <a:t>Commission one Band 4 admin staff through secondment in the short term to support the multiple administration tasks to support the delivery of PHCs.</a:t>
                      </a:r>
                    </a:p>
                  </a:txBody>
                  <a:tcPr marL="857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indent="-171450" algn="l" rtl="0" fontAlgn="ctr">
                        <a:buClr>
                          <a:srgbClr val="000000"/>
                        </a:buClr>
                        <a:buSzPts val="850"/>
                        <a:buFont typeface="Arial" panose="020B0604020202020204" pitchFamily="34" charset="0"/>
                        <a:buChar char="•"/>
                      </a:pPr>
                      <a:r>
                        <a:rPr lang="en-GB" sz="800" b="0" i="0" u="none" strike="noStrike" kern="1200">
                          <a:solidFill>
                            <a:schemeClr val="tx2">
                              <a:lumMod val="65000"/>
                              <a:lumOff val="35000"/>
                            </a:schemeClr>
                          </a:solidFill>
                          <a:effectLst/>
                          <a:latin typeface="Arial" panose="020B0604020202020204" pitchFamily="34" charset="0"/>
                          <a:ea typeface="+mn-ea"/>
                          <a:cs typeface="+mn-cs"/>
                        </a:rPr>
                        <a:t>More efficient delivery of SMI PHCs across the system leading to an increase delivery of all six PHCs against the national 60% target. </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20</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Medium</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50" b="1" i="0" u="none" strike="noStrike">
                          <a:solidFill>
                            <a:srgbClr val="595959"/>
                          </a:solidFill>
                          <a:effectLst/>
                          <a:latin typeface="Arial" panose="020B0604020202020204" pitchFamily="34" charset="0"/>
                        </a:rPr>
                        <a:t>Short</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2414582437"/>
                  </a:ext>
                </a:extLst>
              </a:tr>
            </a:tbl>
          </a:graphicData>
        </a:graphic>
      </p:graphicFrame>
    </p:spTree>
    <p:extLst>
      <p:ext uri="{BB962C8B-B14F-4D97-AF65-F5344CB8AC3E}">
        <p14:creationId xmlns:p14="http://schemas.microsoft.com/office/powerpoint/2010/main" val="248048155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3FE2F85-5478-7B4D-A181-E85728796F24}"/>
              </a:ext>
            </a:extLst>
          </p:cNvPr>
          <p:cNvSpPr>
            <a:spLocks noGrp="1"/>
          </p:cNvSpPr>
          <p:nvPr>
            <p:ph sz="quarter" idx="10"/>
          </p:nvPr>
        </p:nvSpPr>
        <p:spPr>
          <a:xfrm>
            <a:off x="1881187" y="1983582"/>
            <a:ext cx="9973355" cy="2890837"/>
          </a:xfrm>
        </p:spPr>
        <p:txBody>
          <a:bodyPr/>
          <a:lstStyle/>
          <a:p>
            <a:r>
              <a:rPr lang="en-GB" sz="6600"/>
              <a:t>Strategic priority overviews</a:t>
            </a:r>
          </a:p>
        </p:txBody>
      </p:sp>
      <p:graphicFrame>
        <p:nvGraphicFramePr>
          <p:cNvPr id="3" name="Table 2">
            <a:extLst>
              <a:ext uri="{FF2B5EF4-FFF2-40B4-BE49-F238E27FC236}">
                <a16:creationId xmlns:a16="http://schemas.microsoft.com/office/drawing/2014/main" id="{F27F71C4-F075-1249-973D-91202A2D14F8}"/>
              </a:ext>
            </a:extLst>
          </p:cNvPr>
          <p:cNvGraphicFramePr>
            <a:graphicFrameLocks noGrp="1"/>
          </p:cNvGraphicFramePr>
          <p:nvPr>
            <p:extLst>
              <p:ext uri="{D42A27DB-BD31-4B8C-83A1-F6EECF244321}">
                <p14:modId xmlns:p14="http://schemas.microsoft.com/office/powerpoint/2010/main" val="2505170374"/>
              </p:ext>
            </p:extLst>
          </p:nvPr>
        </p:nvGraphicFramePr>
        <p:xfrm>
          <a:off x="1" y="6560723"/>
          <a:ext cx="12191998" cy="297277"/>
        </p:xfrm>
        <a:graphic>
          <a:graphicData uri="http://schemas.openxmlformats.org/drawingml/2006/table">
            <a:tbl>
              <a:tblPr>
                <a:tableStyleId>{5C22544A-7EE6-4342-B048-85BDC9FD1C3A}</a:tableStyleId>
              </a:tblPr>
              <a:tblGrid>
                <a:gridCol w="1741714">
                  <a:extLst>
                    <a:ext uri="{9D8B030D-6E8A-4147-A177-3AD203B41FA5}">
                      <a16:colId xmlns:a16="http://schemas.microsoft.com/office/drawing/2014/main" val="3508502722"/>
                    </a:ext>
                  </a:extLst>
                </a:gridCol>
                <a:gridCol w="1741714">
                  <a:extLst>
                    <a:ext uri="{9D8B030D-6E8A-4147-A177-3AD203B41FA5}">
                      <a16:colId xmlns:a16="http://schemas.microsoft.com/office/drawing/2014/main" val="1894411863"/>
                    </a:ext>
                  </a:extLst>
                </a:gridCol>
                <a:gridCol w="1741714">
                  <a:extLst>
                    <a:ext uri="{9D8B030D-6E8A-4147-A177-3AD203B41FA5}">
                      <a16:colId xmlns:a16="http://schemas.microsoft.com/office/drawing/2014/main" val="1998335409"/>
                    </a:ext>
                  </a:extLst>
                </a:gridCol>
                <a:gridCol w="1741714">
                  <a:extLst>
                    <a:ext uri="{9D8B030D-6E8A-4147-A177-3AD203B41FA5}">
                      <a16:colId xmlns:a16="http://schemas.microsoft.com/office/drawing/2014/main" val="202640554"/>
                    </a:ext>
                  </a:extLst>
                </a:gridCol>
                <a:gridCol w="1741714">
                  <a:extLst>
                    <a:ext uri="{9D8B030D-6E8A-4147-A177-3AD203B41FA5}">
                      <a16:colId xmlns:a16="http://schemas.microsoft.com/office/drawing/2014/main" val="3019704548"/>
                    </a:ext>
                  </a:extLst>
                </a:gridCol>
                <a:gridCol w="1741714">
                  <a:extLst>
                    <a:ext uri="{9D8B030D-6E8A-4147-A177-3AD203B41FA5}">
                      <a16:colId xmlns:a16="http://schemas.microsoft.com/office/drawing/2014/main" val="1364401804"/>
                    </a:ext>
                  </a:extLst>
                </a:gridCol>
                <a:gridCol w="1741714">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A"/>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Tree>
    <p:extLst>
      <p:ext uri="{BB962C8B-B14F-4D97-AF65-F5344CB8AC3E}">
        <p14:creationId xmlns:p14="http://schemas.microsoft.com/office/powerpoint/2010/main" val="32504984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7DF49F5-76E4-D045-9AE5-C5DFB0E4B946}"/>
              </a:ext>
            </a:extLst>
          </p:cNvPr>
          <p:cNvSpPr>
            <a:spLocks noGrp="1"/>
          </p:cNvSpPr>
          <p:nvPr>
            <p:ph sz="quarter" idx="10"/>
          </p:nvPr>
        </p:nvSpPr>
        <p:spPr/>
        <p:txBody>
          <a:bodyPr/>
          <a:lstStyle/>
          <a:p>
            <a:r>
              <a:rPr lang="en-GB"/>
              <a:t>Overview</a:t>
            </a:r>
          </a:p>
        </p:txBody>
      </p:sp>
      <p:graphicFrame>
        <p:nvGraphicFramePr>
          <p:cNvPr id="7" name="Table 6">
            <a:extLst>
              <a:ext uri="{FF2B5EF4-FFF2-40B4-BE49-F238E27FC236}">
                <a16:creationId xmlns:a16="http://schemas.microsoft.com/office/drawing/2014/main" id="{55491300-71DD-9D4D-9A39-2ECB09F71D19}"/>
              </a:ext>
            </a:extLst>
          </p:cNvPr>
          <p:cNvGraphicFramePr>
            <a:graphicFrameLocks noGrp="1"/>
          </p:cNvGraphicFramePr>
          <p:nvPr>
            <p:extLst>
              <p:ext uri="{D42A27DB-BD31-4B8C-83A1-F6EECF244321}">
                <p14:modId xmlns:p14="http://schemas.microsoft.com/office/powerpoint/2010/main" val="3891049609"/>
              </p:ext>
            </p:extLst>
          </p:nvPr>
        </p:nvGraphicFramePr>
        <p:xfrm>
          <a:off x="1" y="6560723"/>
          <a:ext cx="12191998" cy="297277"/>
        </p:xfrm>
        <a:graphic>
          <a:graphicData uri="http://schemas.openxmlformats.org/drawingml/2006/table">
            <a:tbl>
              <a:tblPr>
                <a:tableStyleId>{5C22544A-7EE6-4342-B048-85BDC9FD1C3A}</a:tableStyleId>
              </a:tblPr>
              <a:tblGrid>
                <a:gridCol w="1741714">
                  <a:extLst>
                    <a:ext uri="{9D8B030D-6E8A-4147-A177-3AD203B41FA5}">
                      <a16:colId xmlns:a16="http://schemas.microsoft.com/office/drawing/2014/main" val="3508502722"/>
                    </a:ext>
                  </a:extLst>
                </a:gridCol>
                <a:gridCol w="1741714">
                  <a:extLst>
                    <a:ext uri="{9D8B030D-6E8A-4147-A177-3AD203B41FA5}">
                      <a16:colId xmlns:a16="http://schemas.microsoft.com/office/drawing/2014/main" val="1894411863"/>
                    </a:ext>
                  </a:extLst>
                </a:gridCol>
                <a:gridCol w="1741714">
                  <a:extLst>
                    <a:ext uri="{9D8B030D-6E8A-4147-A177-3AD203B41FA5}">
                      <a16:colId xmlns:a16="http://schemas.microsoft.com/office/drawing/2014/main" val="1998335409"/>
                    </a:ext>
                  </a:extLst>
                </a:gridCol>
                <a:gridCol w="1741714">
                  <a:extLst>
                    <a:ext uri="{9D8B030D-6E8A-4147-A177-3AD203B41FA5}">
                      <a16:colId xmlns:a16="http://schemas.microsoft.com/office/drawing/2014/main" val="202640554"/>
                    </a:ext>
                  </a:extLst>
                </a:gridCol>
                <a:gridCol w="1741714">
                  <a:extLst>
                    <a:ext uri="{9D8B030D-6E8A-4147-A177-3AD203B41FA5}">
                      <a16:colId xmlns:a16="http://schemas.microsoft.com/office/drawing/2014/main" val="3019704548"/>
                    </a:ext>
                  </a:extLst>
                </a:gridCol>
                <a:gridCol w="1741714">
                  <a:extLst>
                    <a:ext uri="{9D8B030D-6E8A-4147-A177-3AD203B41FA5}">
                      <a16:colId xmlns:a16="http://schemas.microsoft.com/office/drawing/2014/main" val="1364401804"/>
                    </a:ext>
                  </a:extLst>
                </a:gridCol>
                <a:gridCol w="1741714">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C"/>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Tree>
    <p:extLst>
      <p:ext uri="{BB962C8B-B14F-4D97-AF65-F5344CB8AC3E}">
        <p14:creationId xmlns:p14="http://schemas.microsoft.com/office/powerpoint/2010/main" val="225396642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2513"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en-IN" sz="2800">
              <a:solidFill>
                <a:srgbClr val="FFFFFF"/>
              </a:solidFill>
              <a:sym typeface="Arial" panose="020B0604020202020204" pitchFamily="34" charset="0"/>
            </a:endParaRPr>
          </a:p>
        </p:txBody>
      </p:sp>
      <p:sp>
        <p:nvSpPr>
          <p:cNvPr id="2" name="Title 1"/>
          <p:cNvSpPr>
            <a:spLocks noGrp="1"/>
          </p:cNvSpPr>
          <p:nvPr>
            <p:ph type="title"/>
          </p:nvPr>
        </p:nvSpPr>
        <p:spPr>
          <a:xfrm>
            <a:off x="1104411" y="297277"/>
            <a:ext cx="8711496" cy="434010"/>
          </a:xfrm>
          <a:prstGeom prst="rect">
            <a:avLst/>
          </a:prstGeom>
        </p:spPr>
        <p:txBody>
          <a:bodyPr/>
          <a:lstStyle/>
          <a:p>
            <a:r>
              <a:rPr lang="en-US"/>
              <a:t>Raise the profile and awareness of Mental Health</a:t>
            </a:r>
            <a:endParaRPr lang="en-IN"/>
          </a:p>
        </p:txBody>
      </p:sp>
      <p:sp>
        <p:nvSpPr>
          <p:cNvPr id="6" name="Footer Placeholder 5">
            <a:extLst>
              <a:ext uri="{FF2B5EF4-FFF2-40B4-BE49-F238E27FC236}">
                <a16:creationId xmlns:a16="http://schemas.microsoft.com/office/drawing/2014/main" id="{62E3292C-AE15-8E46-8E62-F9C713150B0B}"/>
              </a:ext>
            </a:extLst>
          </p:cNvPr>
          <p:cNvSpPr>
            <a:spLocks noGrp="1"/>
          </p:cNvSpPr>
          <p:nvPr>
            <p:ph type="ftr" sz="quarter" idx="14"/>
          </p:nvPr>
        </p:nvSpPr>
        <p:spPr>
          <a:xfrm>
            <a:off x="6570" y="6674068"/>
            <a:ext cx="1193377" cy="183932"/>
          </a:xfrm>
        </p:spPr>
        <p:txBody>
          <a:bodyPr/>
          <a:lstStyle/>
          <a:p>
            <a:r>
              <a:rPr lang="en-GB"/>
              <a:t>© Moorhouse 2021  </a:t>
            </a:r>
          </a:p>
        </p:txBody>
      </p:sp>
      <p:sp>
        <p:nvSpPr>
          <p:cNvPr id="21" name="Rectangle 20">
            <a:extLst>
              <a:ext uri="{FF2B5EF4-FFF2-40B4-BE49-F238E27FC236}">
                <a16:creationId xmlns:a16="http://schemas.microsoft.com/office/drawing/2014/main" id="{FE740462-AEED-0B41-92DC-3A54DEB718C8}"/>
              </a:ext>
            </a:extLst>
          </p:cNvPr>
          <p:cNvSpPr/>
          <p:nvPr/>
        </p:nvSpPr>
        <p:spPr>
          <a:xfrm>
            <a:off x="647407" y="1095781"/>
            <a:ext cx="2355654" cy="434010"/>
          </a:xfrm>
          <a:prstGeom prst="rect">
            <a:avLst/>
          </a:prstGeom>
          <a:noFill/>
          <a:ln w="12700" cap="flat" cmpd="sng" algn="ctr">
            <a:noFill/>
            <a:prstDash val="solid"/>
            <a:miter lim="800000"/>
          </a:ln>
          <a:effectLst/>
        </p:spPr>
        <p:txBody>
          <a:bodyPr rtlCol="0" anchor="ctr"/>
          <a:lstStyle/>
          <a:p>
            <a:pPr lvl="0" algn="ctr" defTabSz="685800">
              <a:defRPr/>
            </a:pPr>
            <a:endParaRPr lang="en-GB" sz="1050" b="1">
              <a:solidFill>
                <a:srgbClr val="50235B"/>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F19D9738-DFA2-C84F-82CF-6F85573EA287}"/>
              </a:ext>
            </a:extLst>
          </p:cNvPr>
          <p:cNvSpPr txBox="1"/>
          <p:nvPr/>
        </p:nvSpPr>
        <p:spPr>
          <a:xfrm>
            <a:off x="6691745" y="4274235"/>
            <a:ext cx="184731" cy="369332"/>
          </a:xfrm>
          <a:prstGeom prst="rect">
            <a:avLst/>
          </a:prstGeom>
          <a:noFill/>
        </p:spPr>
        <p:txBody>
          <a:bodyPr wrap="none" rtlCol="0">
            <a:spAutoFit/>
          </a:bodyPr>
          <a:lstStyle/>
          <a:p>
            <a:endParaRPr lang="en-US"/>
          </a:p>
        </p:txBody>
      </p:sp>
      <p:sp>
        <p:nvSpPr>
          <p:cNvPr id="51" name="Rectangle 50">
            <a:extLst>
              <a:ext uri="{FF2B5EF4-FFF2-40B4-BE49-F238E27FC236}">
                <a16:creationId xmlns:a16="http://schemas.microsoft.com/office/drawing/2014/main" id="{23228B87-D8A3-AC4B-8389-4FD6CB03BCB4}"/>
              </a:ext>
            </a:extLst>
          </p:cNvPr>
          <p:cNvSpPr/>
          <p:nvPr/>
        </p:nvSpPr>
        <p:spPr>
          <a:xfrm>
            <a:off x="6236659" y="5513696"/>
            <a:ext cx="5509862" cy="1852878"/>
          </a:xfrm>
          <a:prstGeom prst="rect">
            <a:avLst/>
          </a:prstGeom>
          <a:noFill/>
          <a:ln w="12700" cap="flat" cmpd="sng" algn="ctr">
            <a:noFill/>
            <a:prstDash val="solid"/>
            <a:miter lim="800000"/>
          </a:ln>
          <a:effectLst/>
        </p:spPr>
        <p:txBody>
          <a:bodyPr rtlCol="0" anchor="t"/>
          <a:lstStyle/>
          <a:p>
            <a:pPr defTabSz="685800" fontAlgn="base">
              <a:spcBef>
                <a:spcPts val="600"/>
              </a:spcBef>
              <a:spcAft>
                <a:spcPts val="600"/>
              </a:spcAft>
            </a:pPr>
            <a:endParaRPr lang="en-GB" sz="1000">
              <a:solidFill>
                <a:srgbClr val="50235B"/>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187D98F4-EB5A-E04B-B1AB-3062BCA3330F}"/>
              </a:ext>
            </a:extLst>
          </p:cNvPr>
          <p:cNvSpPr/>
          <p:nvPr/>
        </p:nvSpPr>
        <p:spPr>
          <a:xfrm>
            <a:off x="510638" y="855283"/>
            <a:ext cx="11348270" cy="6912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200" b="1">
                <a:solidFill>
                  <a:srgbClr val="50235C"/>
                </a:solidFill>
                <a:latin typeface="Arial" panose="020B0604020202020204" pitchFamily="34" charset="0"/>
                <a:cs typeface="Arial" panose="020B0604020202020204" pitchFamily="34" charset="0"/>
              </a:rPr>
              <a:t>Raising the profile and awareness of Mental Health helps remove the stigma around mental health and encourages people who are suffering in silence to seek help early on to achieve their best mental health and wellbeing</a:t>
            </a:r>
          </a:p>
        </p:txBody>
      </p:sp>
      <p:grpSp>
        <p:nvGrpSpPr>
          <p:cNvPr id="20" name="Group 19">
            <a:extLst>
              <a:ext uri="{FF2B5EF4-FFF2-40B4-BE49-F238E27FC236}">
                <a16:creationId xmlns:a16="http://schemas.microsoft.com/office/drawing/2014/main" id="{856DAFD8-FA0A-4949-9E59-48AAEE3EBE5A}"/>
              </a:ext>
            </a:extLst>
          </p:cNvPr>
          <p:cNvGrpSpPr/>
          <p:nvPr/>
        </p:nvGrpSpPr>
        <p:grpSpPr>
          <a:xfrm>
            <a:off x="510638" y="1546544"/>
            <a:ext cx="5444697" cy="4590849"/>
            <a:chOff x="4782787" y="1094608"/>
            <a:chExt cx="4065938" cy="3193140"/>
          </a:xfrm>
        </p:grpSpPr>
        <p:sp>
          <p:nvSpPr>
            <p:cNvPr id="23" name="Rectangle 22">
              <a:extLst>
                <a:ext uri="{FF2B5EF4-FFF2-40B4-BE49-F238E27FC236}">
                  <a16:creationId xmlns:a16="http://schemas.microsoft.com/office/drawing/2014/main" id="{CB1214F5-503D-D44D-8085-7461DE245F94}"/>
                </a:ext>
              </a:extLst>
            </p:cNvPr>
            <p:cNvSpPr/>
            <p:nvPr/>
          </p:nvSpPr>
          <p:spPr>
            <a:xfrm>
              <a:off x="4782787" y="1094608"/>
              <a:ext cx="4065938" cy="199823"/>
            </a:xfrm>
            <a:prstGeom prst="rect">
              <a:avLst/>
            </a:prstGeom>
            <a:solidFill>
              <a:srgbClr val="F0ECF3"/>
            </a:solidFill>
            <a:ln w="9525" cap="flat" cmpd="sng" algn="ctr">
              <a:solidFill>
                <a:srgbClr val="F0ECF3"/>
              </a:solidFill>
              <a:prstDash val="solid"/>
              <a:miter lim="800000"/>
            </a:ln>
            <a:effectLst/>
          </p:spPr>
          <p:txBody>
            <a:bodyPr rtlCol="0" anchor="ctr"/>
            <a:lstStyle/>
            <a:p>
              <a:pPr defTabSz="914377">
                <a:defRPr/>
              </a:pPr>
              <a:r>
                <a:rPr lang="en-GB" sz="1067" b="1">
                  <a:solidFill>
                    <a:srgbClr val="50235B"/>
                  </a:solidFill>
                  <a:latin typeface="Arial" panose="020B0604020202020204"/>
                </a:rPr>
                <a:t>Where are we now?</a:t>
              </a:r>
            </a:p>
          </p:txBody>
        </p:sp>
        <p:sp>
          <p:nvSpPr>
            <p:cNvPr id="24" name="Rectangle 23">
              <a:extLst>
                <a:ext uri="{FF2B5EF4-FFF2-40B4-BE49-F238E27FC236}">
                  <a16:creationId xmlns:a16="http://schemas.microsoft.com/office/drawing/2014/main" id="{BC3BF939-741A-E546-81CE-0D14DDE2E26C}"/>
                </a:ext>
              </a:extLst>
            </p:cNvPr>
            <p:cNvSpPr/>
            <p:nvPr/>
          </p:nvSpPr>
          <p:spPr>
            <a:xfrm>
              <a:off x="4782787" y="1294431"/>
              <a:ext cx="4065938" cy="2993317"/>
            </a:xfrm>
            <a:prstGeom prst="rect">
              <a:avLst/>
            </a:prstGeom>
            <a:noFill/>
            <a:ln w="3175">
              <a:solidFill>
                <a:srgbClr val="F0ECF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685800">
                <a:spcBef>
                  <a:spcPts val="600"/>
                </a:spcBef>
                <a:spcAft>
                  <a:spcPts val="600"/>
                </a:spcAft>
                <a:defRPr/>
              </a:pPr>
              <a:r>
                <a:rPr lang="en-GB" sz="1000">
                  <a:solidFill>
                    <a:schemeClr val="tx2">
                      <a:lumMod val="65000"/>
                      <a:lumOff val="35000"/>
                    </a:schemeClr>
                  </a:solidFill>
                  <a:latin typeface="Arial" panose="020B0604020202020204" pitchFamily="34" charset="0"/>
                  <a:cs typeface="Arial" panose="020B0604020202020204" pitchFamily="34" charset="0"/>
                </a:rPr>
                <a:t>There is a need for increased awareness of mental health to reduce the stigma, it is known that raising the profile and importance of mental health is required as poor mental health can have catastrophic impacts for individuals and their families – as well as a wider social impacts. </a:t>
              </a:r>
            </a:p>
            <a:p>
              <a:pPr marL="171450" lvl="0" indent="-171450" defTabSz="685800">
                <a:spcBef>
                  <a:spcPts val="600"/>
                </a:spcBef>
                <a:spcAft>
                  <a:spcPts val="600"/>
                </a:spcAft>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People (health and care staff and general public) </a:t>
              </a:r>
              <a:r>
                <a:rPr lang="en-GB" sz="1000" b="1">
                  <a:solidFill>
                    <a:srgbClr val="50235C"/>
                  </a:solidFill>
                  <a:latin typeface="Arial" panose="020B0604020202020204" pitchFamily="34" charset="0"/>
                  <a:cs typeface="Arial" panose="020B0604020202020204" pitchFamily="34" charset="0"/>
                </a:rPr>
                <a:t>don’t know who to call or how to access services</a:t>
              </a:r>
              <a:r>
                <a:rPr lang="en-GB" sz="1000">
                  <a:solidFill>
                    <a:schemeClr val="tx2">
                      <a:lumMod val="65000"/>
                      <a:lumOff val="35000"/>
                    </a:schemeClr>
                  </a:solidFill>
                  <a:latin typeface="Arial" panose="020B0604020202020204" pitchFamily="34" charset="0"/>
                  <a:cs typeface="Arial" panose="020B0604020202020204" pitchFamily="34" charset="0"/>
                </a:rPr>
                <a:t>, meaning there isn't a consistent single front door into MH services. </a:t>
              </a:r>
            </a:p>
            <a:p>
              <a:pPr marL="171450" lvl="0" indent="-171450" defTabSz="685800">
                <a:spcBef>
                  <a:spcPts val="600"/>
                </a:spcBef>
                <a:spcAft>
                  <a:spcPts val="600"/>
                </a:spcAft>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Outreach meetings with under-represented communities</a:t>
              </a:r>
            </a:p>
            <a:p>
              <a:pPr marL="171450" indent="-171450">
                <a:spcBef>
                  <a:spcPts val="600"/>
                </a:spcBef>
                <a:spcAft>
                  <a:spcPts val="600"/>
                </a:spcAft>
                <a:buFont typeface="Arial" panose="020B0604020202020204" pitchFamily="34" charset="0"/>
                <a:buChar char="•"/>
              </a:pPr>
              <a:r>
                <a:rPr lang="en-GB" sz="1000" b="1">
                  <a:solidFill>
                    <a:srgbClr val="50235C"/>
                  </a:solidFill>
                  <a:latin typeface="Arial" panose="020B0604020202020204" pitchFamily="34" charset="0"/>
                  <a:cs typeface="Arial" panose="020B0604020202020204" pitchFamily="34" charset="0"/>
                </a:rPr>
                <a:t>People with severe mental illness die between 19 and 23 years earlier </a:t>
              </a:r>
              <a:r>
                <a:rPr lang="en-GB" sz="1000">
                  <a:solidFill>
                    <a:schemeClr val="tx2">
                      <a:lumMod val="65000"/>
                      <a:lumOff val="35000"/>
                    </a:schemeClr>
                  </a:solidFill>
                  <a:latin typeface="Arial" panose="020B0604020202020204" pitchFamily="34" charset="0"/>
                  <a:cs typeface="Arial" panose="020B0604020202020204" pitchFamily="34" charset="0"/>
                </a:rPr>
                <a:t>than the wider ICS population, by raising the awareness of the common signs of mental ill health we can provide earlier intervention that will limit the number of people suffering from the impact of severe mental ill health. </a:t>
              </a:r>
            </a:p>
            <a:p>
              <a:pPr marL="171450" indent="-171450">
                <a:spcBef>
                  <a:spcPts val="600"/>
                </a:spcBef>
                <a:spcAft>
                  <a:spcPts val="600"/>
                </a:spcAft>
                <a:buFont typeface="Arial" panose="020B0604020202020204" pitchFamily="34" charset="0"/>
                <a:buChar char="•"/>
              </a:pPr>
              <a:r>
                <a:rPr lang="en-GB" sz="1000">
                  <a:solidFill>
                    <a:schemeClr val="tx2">
                      <a:lumMod val="65000"/>
                      <a:lumOff val="35000"/>
                    </a:schemeClr>
                  </a:solidFill>
                  <a:latin typeface="Arial" panose="020B0604020202020204" pitchFamily="34" charset="0"/>
                  <a:cs typeface="Arial" panose="020B0604020202020204" pitchFamily="34" charset="0"/>
                </a:rPr>
                <a:t>There are a </a:t>
              </a:r>
              <a:r>
                <a:rPr lang="en-GB" sz="1000" b="1">
                  <a:solidFill>
                    <a:srgbClr val="50235C"/>
                  </a:solidFill>
                  <a:latin typeface="Arial" panose="020B0604020202020204" pitchFamily="34" charset="0"/>
                  <a:cs typeface="Arial" panose="020B0604020202020204" pitchFamily="34" charset="0"/>
                </a:rPr>
                <a:t>number of resources from both Shropshire and Telford &amp; Wrekin Councils aimed at promoting awareness</a:t>
              </a:r>
              <a:r>
                <a:rPr lang="en-GB" sz="1000">
                  <a:solidFill>
                    <a:srgbClr val="50235C"/>
                  </a:solidFill>
                  <a:latin typeface="Arial" panose="020B0604020202020204" pitchFamily="34" charset="0"/>
                  <a:cs typeface="Arial" panose="020B0604020202020204" pitchFamily="34" charset="0"/>
                </a:rPr>
                <a:t> </a:t>
              </a:r>
              <a:r>
                <a:rPr lang="en-GB" sz="1000">
                  <a:solidFill>
                    <a:schemeClr val="tx2">
                      <a:lumMod val="65000"/>
                      <a:lumOff val="35000"/>
                    </a:schemeClr>
                  </a:solidFill>
                  <a:latin typeface="Arial" panose="020B0604020202020204" pitchFamily="34" charset="0"/>
                  <a:cs typeface="Arial" panose="020B0604020202020204" pitchFamily="34" charset="0"/>
                </a:rPr>
                <a:t>and suggesting ways of changing lifestyles, improving physical health and mental health and how accessing services.    </a:t>
              </a:r>
            </a:p>
            <a:p>
              <a:pPr marL="171450" indent="-171450">
                <a:spcBef>
                  <a:spcPts val="600"/>
                </a:spcBef>
                <a:spcAft>
                  <a:spcPts val="600"/>
                </a:spcAft>
                <a:buFont typeface="Arial" panose="020B0604020202020204" pitchFamily="34" charset="0"/>
                <a:buChar char="•"/>
              </a:pPr>
              <a:r>
                <a:rPr lang="en-GB" sz="1000" b="1">
                  <a:solidFill>
                    <a:srgbClr val="50235C"/>
                  </a:solidFill>
                  <a:latin typeface="Arial" panose="020B0604020202020204" pitchFamily="34" charset="0"/>
                  <a:cs typeface="Arial" panose="020B0604020202020204" pitchFamily="34" charset="0"/>
                </a:rPr>
                <a:t>STW Staff Psychological Wellbeing Hub </a:t>
              </a:r>
              <a:r>
                <a:rPr lang="en-GB" sz="1000">
                  <a:solidFill>
                    <a:schemeClr val="tx2">
                      <a:lumMod val="65000"/>
                      <a:lumOff val="35000"/>
                    </a:schemeClr>
                  </a:solidFill>
                  <a:latin typeface="Arial" panose="020B0604020202020204" pitchFamily="34" charset="0"/>
                  <a:cs typeface="Arial" panose="020B0604020202020204" pitchFamily="34" charset="0"/>
                </a:rPr>
                <a:t>promoted on STW ICS Twitter page with link to website and phoneline. </a:t>
              </a:r>
            </a:p>
            <a:p>
              <a:pPr marL="171450" indent="-171450">
                <a:spcBef>
                  <a:spcPts val="600"/>
                </a:spcBef>
                <a:spcAft>
                  <a:spcPts val="600"/>
                </a:spcAft>
                <a:buFont typeface="Arial" panose="020B0604020202020204" pitchFamily="34" charset="0"/>
                <a:buChar char="•"/>
              </a:pPr>
              <a:r>
                <a:rPr lang="en-GB" sz="1000" b="1">
                  <a:solidFill>
                    <a:srgbClr val="50235C"/>
                  </a:solidFill>
                  <a:latin typeface="Arial" panose="020B0604020202020204" pitchFamily="34" charset="0"/>
                  <a:cs typeface="Arial" panose="020B0604020202020204" pitchFamily="34" charset="0"/>
                </a:rPr>
                <a:t>Staff education on MH services is limited </a:t>
              </a:r>
              <a:r>
                <a:rPr lang="en-GB" sz="1000">
                  <a:solidFill>
                    <a:schemeClr val="tx2">
                      <a:lumMod val="65000"/>
                      <a:lumOff val="35000"/>
                    </a:schemeClr>
                  </a:solidFill>
                  <a:latin typeface="Arial" panose="020B0604020202020204" pitchFamily="34" charset="0"/>
                  <a:cs typeface="Arial" panose="020B0604020202020204" pitchFamily="34" charset="0"/>
                </a:rPr>
                <a:t>meaning there can be stigma across services against those tying to access MH services. </a:t>
              </a:r>
            </a:p>
            <a:p>
              <a:pPr marL="171450" indent="-171450">
                <a:spcBef>
                  <a:spcPts val="600"/>
                </a:spcBef>
                <a:spcAft>
                  <a:spcPts val="600"/>
                </a:spcAft>
                <a:buFont typeface="Arial" panose="020B0604020202020204" pitchFamily="34" charset="0"/>
                <a:buChar char="•"/>
              </a:pPr>
              <a:r>
                <a:rPr lang="en-GB" sz="1000">
                  <a:solidFill>
                    <a:schemeClr val="tx2">
                      <a:lumMod val="65000"/>
                      <a:lumOff val="35000"/>
                    </a:schemeClr>
                  </a:solidFill>
                  <a:latin typeface="Arial" panose="020B0604020202020204" pitchFamily="34" charset="0"/>
                  <a:cs typeface="Arial" panose="020B0604020202020204" pitchFamily="34" charset="0"/>
                </a:rPr>
                <a:t>There is </a:t>
              </a:r>
              <a:r>
                <a:rPr lang="en-GB" sz="1000" b="1">
                  <a:solidFill>
                    <a:srgbClr val="50235C"/>
                  </a:solidFill>
                  <a:latin typeface="Arial" panose="020B0604020202020204" pitchFamily="34" charset="0"/>
                  <a:cs typeface="Arial" panose="020B0604020202020204" pitchFamily="34" charset="0"/>
                </a:rPr>
                <a:t>no programme of work dedicated to communications and awareness </a:t>
              </a:r>
              <a:r>
                <a:rPr lang="en-GB" sz="1000">
                  <a:solidFill>
                    <a:schemeClr val="tx2">
                      <a:lumMod val="65000"/>
                      <a:lumOff val="35000"/>
                    </a:schemeClr>
                  </a:solidFill>
                  <a:latin typeface="Arial" panose="020B0604020202020204" pitchFamily="34" charset="0"/>
                  <a:cs typeface="Arial" panose="020B0604020202020204" pitchFamily="34" charset="0"/>
                </a:rPr>
                <a:t>campaigns to increase the awareness of mental health.   </a:t>
              </a:r>
            </a:p>
          </p:txBody>
        </p:sp>
      </p:grpSp>
      <p:grpSp>
        <p:nvGrpSpPr>
          <p:cNvPr id="25" name="Group 24">
            <a:extLst>
              <a:ext uri="{FF2B5EF4-FFF2-40B4-BE49-F238E27FC236}">
                <a16:creationId xmlns:a16="http://schemas.microsoft.com/office/drawing/2014/main" id="{6E749FC9-89E1-124F-A832-F939520B97F7}"/>
              </a:ext>
            </a:extLst>
          </p:cNvPr>
          <p:cNvGrpSpPr/>
          <p:nvPr/>
        </p:nvGrpSpPr>
        <p:grpSpPr>
          <a:xfrm>
            <a:off x="6414211" y="1546544"/>
            <a:ext cx="5444697" cy="1914776"/>
            <a:chOff x="4782787" y="1094608"/>
            <a:chExt cx="4065938" cy="1331812"/>
          </a:xfrm>
        </p:grpSpPr>
        <p:sp>
          <p:nvSpPr>
            <p:cNvPr id="26" name="Rectangle 25">
              <a:extLst>
                <a:ext uri="{FF2B5EF4-FFF2-40B4-BE49-F238E27FC236}">
                  <a16:creationId xmlns:a16="http://schemas.microsoft.com/office/drawing/2014/main" id="{E25E26F4-E637-704F-B12F-70168E4D4086}"/>
                </a:ext>
              </a:extLst>
            </p:cNvPr>
            <p:cNvSpPr/>
            <p:nvPr/>
          </p:nvSpPr>
          <p:spPr>
            <a:xfrm>
              <a:off x="4782787" y="1094608"/>
              <a:ext cx="4065938" cy="199823"/>
            </a:xfrm>
            <a:prstGeom prst="rect">
              <a:avLst/>
            </a:prstGeom>
            <a:solidFill>
              <a:srgbClr val="F0ECF3"/>
            </a:solidFill>
            <a:ln w="9525" cap="flat" cmpd="sng" algn="ctr">
              <a:solidFill>
                <a:srgbClr val="F0ECF3"/>
              </a:solidFill>
              <a:prstDash val="solid"/>
              <a:miter lim="800000"/>
            </a:ln>
            <a:effectLst/>
          </p:spPr>
          <p:txBody>
            <a:bodyPr rtlCol="0" anchor="ctr"/>
            <a:lstStyle/>
            <a:p>
              <a:r>
                <a:rPr lang="en-GB" sz="1100" b="1">
                  <a:solidFill>
                    <a:srgbClr val="50235C"/>
                  </a:solidFill>
                </a:rPr>
                <a:t>Where do we need to get to? </a:t>
              </a:r>
            </a:p>
          </p:txBody>
        </p:sp>
        <p:sp>
          <p:nvSpPr>
            <p:cNvPr id="27" name="Rectangle 26">
              <a:extLst>
                <a:ext uri="{FF2B5EF4-FFF2-40B4-BE49-F238E27FC236}">
                  <a16:creationId xmlns:a16="http://schemas.microsoft.com/office/drawing/2014/main" id="{B9168E8A-7661-C04B-929C-33F806DED5CE}"/>
                </a:ext>
              </a:extLst>
            </p:cNvPr>
            <p:cNvSpPr/>
            <p:nvPr/>
          </p:nvSpPr>
          <p:spPr>
            <a:xfrm>
              <a:off x="4782787" y="1294431"/>
              <a:ext cx="4065938" cy="1131989"/>
            </a:xfrm>
            <a:prstGeom prst="rect">
              <a:avLst/>
            </a:prstGeom>
            <a:noFill/>
            <a:ln w="3175">
              <a:solidFill>
                <a:srgbClr val="F0ECF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defTabSz="685800">
                <a:spcBef>
                  <a:spcPts val="600"/>
                </a:spcBef>
                <a:spcAft>
                  <a:spcPts val="600"/>
                </a:spcAft>
                <a:buFont typeface="Wingdings" pitchFamily="2" charset="2"/>
                <a:buChar char="ü"/>
              </a:pPr>
              <a:r>
                <a:rPr lang="en-GB" sz="1000">
                  <a:solidFill>
                    <a:srgbClr val="50235B"/>
                  </a:solidFill>
                  <a:latin typeface="Arial" panose="020B0604020202020204" pitchFamily="34" charset="0"/>
                  <a:cs typeface="Arial" panose="020B0604020202020204" pitchFamily="34" charset="0"/>
                </a:rPr>
                <a:t>Increasing awareness of existing services </a:t>
              </a:r>
            </a:p>
            <a:p>
              <a:pPr marL="171450" indent="-171450" defTabSz="685800">
                <a:spcBef>
                  <a:spcPts val="600"/>
                </a:spcBef>
                <a:spcAft>
                  <a:spcPts val="600"/>
                </a:spcAft>
                <a:buFont typeface="Wingdings" pitchFamily="2" charset="2"/>
                <a:buChar char="ü"/>
              </a:pPr>
              <a:r>
                <a:rPr lang="en-GB" sz="1000">
                  <a:solidFill>
                    <a:srgbClr val="50235B"/>
                  </a:solidFill>
                  <a:latin typeface="Arial" panose="020B0604020202020204" pitchFamily="34" charset="0"/>
                  <a:cs typeface="Arial" panose="020B0604020202020204" pitchFamily="34" charset="0"/>
                </a:rPr>
                <a:t>Reduce the stigma around mental health services </a:t>
              </a:r>
            </a:p>
            <a:p>
              <a:pPr marL="171450" indent="-171450" defTabSz="685800">
                <a:spcBef>
                  <a:spcPts val="600"/>
                </a:spcBef>
                <a:spcAft>
                  <a:spcPts val="600"/>
                </a:spcAft>
                <a:buFont typeface="Wingdings" pitchFamily="2" charset="2"/>
                <a:buChar char="ü"/>
              </a:pPr>
              <a:r>
                <a:rPr lang="en-GB" sz="1000">
                  <a:solidFill>
                    <a:srgbClr val="50235B"/>
                  </a:solidFill>
                  <a:latin typeface="Arial" panose="020B0604020202020204" pitchFamily="34" charset="0"/>
                  <a:cs typeface="Arial" panose="020B0604020202020204" pitchFamily="34" charset="0"/>
                </a:rPr>
                <a:t>Increased visibility of mental health and the support services on offer </a:t>
              </a:r>
            </a:p>
            <a:p>
              <a:pPr marL="171450" indent="-171450" defTabSz="685800">
                <a:spcBef>
                  <a:spcPts val="600"/>
                </a:spcBef>
                <a:spcAft>
                  <a:spcPts val="600"/>
                </a:spcAft>
                <a:buFont typeface="Wingdings" pitchFamily="2" charset="2"/>
                <a:buChar char="ü"/>
              </a:pPr>
              <a:r>
                <a:rPr lang="en-GB" sz="1000">
                  <a:solidFill>
                    <a:srgbClr val="50235B"/>
                  </a:solidFill>
                  <a:latin typeface="Arial" panose="020B0604020202020204" pitchFamily="34" charset="0"/>
                  <a:cs typeface="Arial" panose="020B0604020202020204" pitchFamily="34" charset="0"/>
                </a:rPr>
                <a:t>Supported workforce who can access support for their own MH</a:t>
              </a:r>
            </a:p>
            <a:p>
              <a:pPr marL="171450" indent="-171450" defTabSz="685800">
                <a:spcBef>
                  <a:spcPts val="600"/>
                </a:spcBef>
                <a:spcAft>
                  <a:spcPts val="600"/>
                </a:spcAft>
                <a:buFont typeface="Wingdings" pitchFamily="2" charset="2"/>
                <a:buChar char="ü"/>
              </a:pPr>
              <a:r>
                <a:rPr lang="en-GB" sz="1000">
                  <a:solidFill>
                    <a:srgbClr val="50235B"/>
                  </a:solidFill>
                  <a:latin typeface="Arial" panose="020B0604020202020204" pitchFamily="34" charset="0"/>
                  <a:cs typeface="Arial" panose="020B0604020202020204" pitchFamily="34" charset="0"/>
                </a:rPr>
                <a:t>Increase in the number of people from ‘hard to reach’ communities accessing helplines and talking therapies (IAPT).  </a:t>
              </a:r>
            </a:p>
          </p:txBody>
        </p:sp>
      </p:grpSp>
      <p:grpSp>
        <p:nvGrpSpPr>
          <p:cNvPr id="28" name="Group 27">
            <a:extLst>
              <a:ext uri="{FF2B5EF4-FFF2-40B4-BE49-F238E27FC236}">
                <a16:creationId xmlns:a16="http://schemas.microsoft.com/office/drawing/2014/main" id="{8B771798-42EE-5C4C-84A4-3B741660585C}"/>
              </a:ext>
            </a:extLst>
          </p:cNvPr>
          <p:cNvGrpSpPr/>
          <p:nvPr/>
        </p:nvGrpSpPr>
        <p:grpSpPr>
          <a:xfrm>
            <a:off x="6414211" y="3579095"/>
            <a:ext cx="5444697" cy="2558299"/>
            <a:chOff x="4782787" y="1094608"/>
            <a:chExt cx="4065938" cy="1779411"/>
          </a:xfrm>
        </p:grpSpPr>
        <p:sp>
          <p:nvSpPr>
            <p:cNvPr id="31" name="Rectangle 30">
              <a:extLst>
                <a:ext uri="{FF2B5EF4-FFF2-40B4-BE49-F238E27FC236}">
                  <a16:creationId xmlns:a16="http://schemas.microsoft.com/office/drawing/2014/main" id="{23CD1CFA-944E-104D-90E5-8186CC062DF7}"/>
                </a:ext>
              </a:extLst>
            </p:cNvPr>
            <p:cNvSpPr/>
            <p:nvPr/>
          </p:nvSpPr>
          <p:spPr>
            <a:xfrm>
              <a:off x="4782787" y="1094608"/>
              <a:ext cx="4065938" cy="199823"/>
            </a:xfrm>
            <a:prstGeom prst="rect">
              <a:avLst/>
            </a:prstGeom>
            <a:solidFill>
              <a:srgbClr val="F0ECF3"/>
            </a:solidFill>
            <a:ln w="9525" cap="flat" cmpd="sng" algn="ctr">
              <a:solidFill>
                <a:srgbClr val="F0ECF3"/>
              </a:solidFill>
              <a:prstDash val="solid"/>
              <a:miter lim="800000"/>
            </a:ln>
            <a:effectLst/>
          </p:spPr>
          <p:txBody>
            <a:bodyPr rtlCol="0" anchor="ctr"/>
            <a:lstStyle/>
            <a:p>
              <a:r>
                <a:rPr lang="en-GB" sz="1100" b="1">
                  <a:solidFill>
                    <a:srgbClr val="50235C"/>
                  </a:solidFill>
                </a:rPr>
                <a:t>What are other areas doing?</a:t>
              </a:r>
            </a:p>
          </p:txBody>
        </p:sp>
        <p:sp>
          <p:nvSpPr>
            <p:cNvPr id="32" name="Rectangle 31">
              <a:extLst>
                <a:ext uri="{FF2B5EF4-FFF2-40B4-BE49-F238E27FC236}">
                  <a16:creationId xmlns:a16="http://schemas.microsoft.com/office/drawing/2014/main" id="{FAF789BC-019C-B946-926D-6093AE1A3912}"/>
                </a:ext>
              </a:extLst>
            </p:cNvPr>
            <p:cNvSpPr/>
            <p:nvPr/>
          </p:nvSpPr>
          <p:spPr>
            <a:xfrm>
              <a:off x="4782787" y="1294430"/>
              <a:ext cx="4065938" cy="1579589"/>
            </a:xfrm>
            <a:prstGeom prst="rect">
              <a:avLst/>
            </a:prstGeom>
            <a:solidFill>
              <a:srgbClr val="F1EDF4"/>
            </a:solidFill>
            <a:ln w="3175">
              <a:solidFill>
                <a:srgbClr val="F0ECF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62050" lvl="0">
                <a:spcBef>
                  <a:spcPts val="600"/>
                </a:spcBef>
                <a:spcAft>
                  <a:spcPts val="600"/>
                </a:spcAft>
              </a:pPr>
              <a:r>
                <a:rPr lang="en-GB" sz="1000">
                  <a:solidFill>
                    <a:srgbClr val="50235B"/>
                  </a:solidFill>
                  <a:latin typeface="Arial" panose="020B0604020202020204" pitchFamily="34" charset="0"/>
                  <a:cs typeface="Arial" panose="020B0604020202020204" pitchFamily="34" charset="0"/>
                </a:rPr>
                <a:t>Cumbria, Northumberland, Tyne and Wear NHS Foundation Trust (CNTW), used mental health awareness week in May 2020 to create a specific marketing campaign around ‘Acts of kindness’ which supported in raising the profile of mental health and learning disabilities by highlighting case studies of people across the area who used their services and experienced acts of kindness. </a:t>
              </a:r>
            </a:p>
            <a:p>
              <a:pPr marL="1162050" lvl="0">
                <a:spcBef>
                  <a:spcPts val="600"/>
                </a:spcBef>
                <a:spcAft>
                  <a:spcPts val="600"/>
                </a:spcAft>
              </a:pPr>
              <a:r>
                <a:rPr lang="en-GB" sz="1000">
                  <a:solidFill>
                    <a:srgbClr val="50235B"/>
                  </a:solidFill>
                  <a:latin typeface="Arial" panose="020B0604020202020204" pitchFamily="34" charset="0"/>
                  <a:cs typeface="Arial" panose="020B0604020202020204" pitchFamily="34" charset="0"/>
                </a:rPr>
                <a:t>North East London Foundation Trust recently launched a new social media channel on Instagram tailored for addressing mental health Issues, aimed at their younger demographic, while signposting them to our Child and Adolescent Mental Health Service (CAMHS) and physical health services. It is also used to share updates around recruitment fairs and photos from mental health awareness campaigns such as Children’s Mental Health Week etc. </a:t>
              </a:r>
            </a:p>
          </p:txBody>
        </p:sp>
      </p:grpSp>
      <p:pic>
        <p:nvPicPr>
          <p:cNvPr id="29" name="Picture 4" descr="Cumbria, Northumberland, Tyne and Wear NHS Foundation Trust - Wikipedia">
            <a:extLst>
              <a:ext uri="{FF2B5EF4-FFF2-40B4-BE49-F238E27FC236}">
                <a16:creationId xmlns:a16="http://schemas.microsoft.com/office/drawing/2014/main" id="{8CC326F4-AB1C-CE4B-9384-159F9C51803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74390" y="4220271"/>
            <a:ext cx="996450" cy="349017"/>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6" descr="NELFT - Home | Facebook">
            <a:extLst>
              <a:ext uri="{FF2B5EF4-FFF2-40B4-BE49-F238E27FC236}">
                <a16:creationId xmlns:a16="http://schemas.microsoft.com/office/drawing/2014/main" id="{B48FDCB8-CB65-AC40-A4B4-377EFD026A31}"/>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16470" b="25310"/>
          <a:stretch/>
        </p:blipFill>
        <p:spPr bwMode="auto">
          <a:xfrm>
            <a:off x="6784110" y="5251872"/>
            <a:ext cx="687554" cy="40029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4" name="Table 33">
            <a:extLst>
              <a:ext uri="{FF2B5EF4-FFF2-40B4-BE49-F238E27FC236}">
                <a16:creationId xmlns:a16="http://schemas.microsoft.com/office/drawing/2014/main" id="{788B3C97-B1AC-D046-B254-A714DBED6FBE}"/>
              </a:ext>
            </a:extLst>
          </p:cNvPr>
          <p:cNvGraphicFramePr>
            <a:graphicFrameLocks noGrp="1"/>
          </p:cNvGraphicFramePr>
          <p:nvPr>
            <p:extLst>
              <p:ext uri="{D42A27DB-BD31-4B8C-83A1-F6EECF244321}">
                <p14:modId xmlns:p14="http://schemas.microsoft.com/office/powerpoint/2010/main" val="1095260840"/>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C"/>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pic>
        <p:nvPicPr>
          <p:cNvPr id="36" name="Graphic 35" descr="Marketing with solid fill">
            <a:extLst>
              <a:ext uri="{FF2B5EF4-FFF2-40B4-BE49-F238E27FC236}">
                <a16:creationId xmlns:a16="http://schemas.microsoft.com/office/drawing/2014/main" id="{3CA56C95-6811-534A-BCA2-13EE886B123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30402" y="191252"/>
            <a:ext cx="593180" cy="593180"/>
          </a:xfrm>
          <a:prstGeom prst="rect">
            <a:avLst/>
          </a:prstGeom>
        </p:spPr>
      </p:pic>
    </p:spTree>
    <p:extLst>
      <p:ext uri="{BB962C8B-B14F-4D97-AF65-F5344CB8AC3E}">
        <p14:creationId xmlns:p14="http://schemas.microsoft.com/office/powerpoint/2010/main" val="284090282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61"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en-IN" sz="2800">
              <a:solidFill>
                <a:srgbClr val="FFFFFF"/>
              </a:solidFill>
              <a:sym typeface="Arial" panose="020B0604020202020204" pitchFamily="34" charset="0"/>
            </a:endParaRPr>
          </a:p>
        </p:txBody>
      </p:sp>
      <p:sp>
        <p:nvSpPr>
          <p:cNvPr id="2" name="Title 1"/>
          <p:cNvSpPr>
            <a:spLocks noGrp="1"/>
          </p:cNvSpPr>
          <p:nvPr>
            <p:ph type="title"/>
          </p:nvPr>
        </p:nvSpPr>
        <p:spPr>
          <a:xfrm>
            <a:off x="1023582" y="297277"/>
            <a:ext cx="8024884" cy="434010"/>
          </a:xfrm>
          <a:prstGeom prst="rect">
            <a:avLst/>
          </a:prstGeom>
        </p:spPr>
        <p:txBody>
          <a:bodyPr/>
          <a:lstStyle/>
          <a:p>
            <a:r>
              <a:rPr lang="en-US"/>
              <a:t>Raise the profile and awareness of mental health</a:t>
            </a:r>
            <a:endParaRPr lang="en-IN"/>
          </a:p>
        </p:txBody>
      </p:sp>
      <p:sp>
        <p:nvSpPr>
          <p:cNvPr id="21" name="Rectangle 20">
            <a:extLst>
              <a:ext uri="{FF2B5EF4-FFF2-40B4-BE49-F238E27FC236}">
                <a16:creationId xmlns:a16="http://schemas.microsoft.com/office/drawing/2014/main" id="{FE740462-AEED-0B41-92DC-3A54DEB718C8}"/>
              </a:ext>
            </a:extLst>
          </p:cNvPr>
          <p:cNvSpPr/>
          <p:nvPr/>
        </p:nvSpPr>
        <p:spPr>
          <a:xfrm>
            <a:off x="647407" y="1095781"/>
            <a:ext cx="2355654" cy="434010"/>
          </a:xfrm>
          <a:prstGeom prst="rect">
            <a:avLst/>
          </a:prstGeom>
          <a:noFill/>
          <a:ln w="12700" cap="flat" cmpd="sng" algn="ctr">
            <a:noFill/>
            <a:prstDash val="solid"/>
            <a:miter lim="800000"/>
          </a:ln>
          <a:effectLst/>
        </p:spPr>
        <p:txBody>
          <a:bodyPr rtlCol="0" anchor="ctr"/>
          <a:lstStyle/>
          <a:p>
            <a:pPr lvl="0" algn="ctr" defTabSz="685800">
              <a:defRPr/>
            </a:pPr>
            <a:endParaRPr lang="en-GB" sz="1050" b="1">
              <a:solidFill>
                <a:srgbClr val="50235B"/>
              </a:solidFill>
              <a:latin typeface="Arial" panose="020B0604020202020204" pitchFamily="34" charset="0"/>
              <a:cs typeface="Arial" panose="020B0604020202020204" pitchFamily="34" charset="0"/>
            </a:endParaRPr>
          </a:p>
        </p:txBody>
      </p:sp>
      <p:graphicFrame>
        <p:nvGraphicFramePr>
          <p:cNvPr id="5" name="Table 7">
            <a:extLst>
              <a:ext uri="{FF2B5EF4-FFF2-40B4-BE49-F238E27FC236}">
                <a16:creationId xmlns:a16="http://schemas.microsoft.com/office/drawing/2014/main" id="{1F73E11B-085A-AD47-B820-F62CD6BB7304}"/>
              </a:ext>
            </a:extLst>
          </p:cNvPr>
          <p:cNvGraphicFramePr>
            <a:graphicFrameLocks noGrp="1"/>
          </p:cNvGraphicFramePr>
          <p:nvPr>
            <p:extLst>
              <p:ext uri="{D42A27DB-BD31-4B8C-83A1-F6EECF244321}">
                <p14:modId xmlns:p14="http://schemas.microsoft.com/office/powerpoint/2010/main" val="4141789124"/>
              </p:ext>
            </p:extLst>
          </p:nvPr>
        </p:nvGraphicFramePr>
        <p:xfrm>
          <a:off x="278296" y="1095781"/>
          <a:ext cx="11762822" cy="5349443"/>
        </p:xfrm>
        <a:graphic>
          <a:graphicData uri="http://schemas.openxmlformats.org/drawingml/2006/table">
            <a:tbl>
              <a:tblPr firstRow="1" bandRow="1">
                <a:tableStyleId>{5C22544A-7EE6-4342-B048-85BDC9FD1C3A}</a:tableStyleId>
              </a:tblPr>
              <a:tblGrid>
                <a:gridCol w="707542">
                  <a:extLst>
                    <a:ext uri="{9D8B030D-6E8A-4147-A177-3AD203B41FA5}">
                      <a16:colId xmlns:a16="http://schemas.microsoft.com/office/drawing/2014/main" val="1222057465"/>
                    </a:ext>
                  </a:extLst>
                </a:gridCol>
                <a:gridCol w="2540210">
                  <a:extLst>
                    <a:ext uri="{9D8B030D-6E8A-4147-A177-3AD203B41FA5}">
                      <a16:colId xmlns:a16="http://schemas.microsoft.com/office/drawing/2014/main" val="1853970278"/>
                    </a:ext>
                  </a:extLst>
                </a:gridCol>
                <a:gridCol w="5081108">
                  <a:extLst>
                    <a:ext uri="{9D8B030D-6E8A-4147-A177-3AD203B41FA5}">
                      <a16:colId xmlns:a16="http://schemas.microsoft.com/office/drawing/2014/main" val="3087462113"/>
                    </a:ext>
                  </a:extLst>
                </a:gridCol>
                <a:gridCol w="656700">
                  <a:extLst>
                    <a:ext uri="{9D8B030D-6E8A-4147-A177-3AD203B41FA5}">
                      <a16:colId xmlns:a16="http://schemas.microsoft.com/office/drawing/2014/main" val="1029806020"/>
                    </a:ext>
                  </a:extLst>
                </a:gridCol>
                <a:gridCol w="656700">
                  <a:extLst>
                    <a:ext uri="{9D8B030D-6E8A-4147-A177-3AD203B41FA5}">
                      <a16:colId xmlns:a16="http://schemas.microsoft.com/office/drawing/2014/main" val="3714934659"/>
                    </a:ext>
                  </a:extLst>
                </a:gridCol>
                <a:gridCol w="656700">
                  <a:extLst>
                    <a:ext uri="{9D8B030D-6E8A-4147-A177-3AD203B41FA5}">
                      <a16:colId xmlns:a16="http://schemas.microsoft.com/office/drawing/2014/main" val="1845500442"/>
                    </a:ext>
                  </a:extLst>
                </a:gridCol>
                <a:gridCol w="731931">
                  <a:extLst>
                    <a:ext uri="{9D8B030D-6E8A-4147-A177-3AD203B41FA5}">
                      <a16:colId xmlns:a16="http://schemas.microsoft.com/office/drawing/2014/main" val="2590076437"/>
                    </a:ext>
                  </a:extLst>
                </a:gridCol>
                <a:gridCol w="731931">
                  <a:extLst>
                    <a:ext uri="{9D8B030D-6E8A-4147-A177-3AD203B41FA5}">
                      <a16:colId xmlns:a16="http://schemas.microsoft.com/office/drawing/2014/main" val="1385158084"/>
                    </a:ext>
                  </a:extLst>
                </a:gridCol>
              </a:tblGrid>
              <a:tr h="645356">
                <a:tc>
                  <a:txBody>
                    <a:bodyPr/>
                    <a:lstStyle/>
                    <a:p>
                      <a:pPr algn="ctr"/>
                      <a:r>
                        <a:rPr lang="en-GB" sz="900">
                          <a:solidFill>
                            <a:srgbClr val="50235C"/>
                          </a:solidFill>
                        </a:rPr>
                        <a:t>Roadmap ref</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r>
                        <a:rPr lang="en-GB" sz="900">
                          <a:solidFill>
                            <a:srgbClr val="50235C"/>
                          </a:solidFill>
                        </a:rPr>
                        <a:t>Future activity</a:t>
                      </a:r>
                      <a:endParaRPr lang="en-GB" sz="900"/>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algn="ctr" defTabSz="914400" rtl="0" eaLnBrk="1" fontAlgn="ctr" latinLnBrk="0" hangingPunct="1"/>
                      <a:r>
                        <a:rPr lang="en-GB" sz="900" b="1" kern="1200">
                          <a:solidFill>
                            <a:srgbClr val="50235C"/>
                          </a:solidFill>
                          <a:latin typeface="+mn-lt"/>
                          <a:ea typeface="+mn-ea"/>
                          <a:cs typeface="+mn-cs"/>
                        </a:rPr>
                        <a:t>Target outcome / Expected benefit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algn="ctr" defTabSz="914400" rtl="0" eaLnBrk="1" fontAlgn="ctr" latinLnBrk="0" hangingPunct="1"/>
                      <a:r>
                        <a:rPr lang="en-GB" sz="900" b="1" kern="1200">
                          <a:solidFill>
                            <a:srgbClr val="50235C"/>
                          </a:solidFill>
                          <a:latin typeface="+mn-lt"/>
                          <a:ea typeface="+mn-ea"/>
                          <a:cs typeface="+mn-cs"/>
                        </a:rPr>
                        <a:t>Impact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Ease</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algn="ctr" defTabSz="914400" rtl="0" eaLnBrk="1" fontAlgn="ctr" latinLnBrk="0" hangingPunct="1"/>
                      <a:r>
                        <a:rPr lang="en-GB" sz="900" b="1" kern="1200">
                          <a:solidFill>
                            <a:srgbClr val="50235C"/>
                          </a:solidFill>
                          <a:latin typeface="+mn-lt"/>
                          <a:ea typeface="+mn-ea"/>
                          <a:cs typeface="+mn-cs"/>
                        </a:rPr>
                        <a:t>Score</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algn="ctr"/>
                      <a:r>
                        <a:rPr lang="en-GB" sz="900" b="1">
                          <a:solidFill>
                            <a:srgbClr val="50235C"/>
                          </a:solidFill>
                        </a:rPr>
                        <a:t>Resource required</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algn="ctr"/>
                      <a:r>
                        <a:rPr lang="en-GB" sz="900" b="1">
                          <a:solidFill>
                            <a:srgbClr val="50235C"/>
                          </a:solidFill>
                        </a:rPr>
                        <a:t>Short /</a:t>
                      </a:r>
                    </a:p>
                    <a:p>
                      <a:pPr algn="ctr"/>
                      <a:r>
                        <a:rPr lang="en-GB" sz="900" b="1">
                          <a:solidFill>
                            <a:srgbClr val="50235C"/>
                          </a:solidFill>
                        </a:rPr>
                        <a:t>Medium /</a:t>
                      </a:r>
                      <a:br>
                        <a:rPr lang="en-GB" sz="900" b="1">
                          <a:solidFill>
                            <a:srgbClr val="50235C"/>
                          </a:solidFill>
                        </a:rPr>
                      </a:br>
                      <a:r>
                        <a:rPr lang="en-GB" sz="900" b="1">
                          <a:solidFill>
                            <a:srgbClr val="50235C"/>
                          </a:solidFill>
                        </a:rPr>
                        <a:t>Long</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extLst>
                  <a:ext uri="{0D108BD9-81ED-4DB2-BD59-A6C34878D82A}">
                    <a16:rowId xmlns:a16="http://schemas.microsoft.com/office/drawing/2014/main" val="466195498"/>
                  </a:ext>
                </a:extLst>
              </a:tr>
              <a:tr h="540241">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a:solidFill>
                            <a:srgbClr val="50235C"/>
                          </a:solidFill>
                        </a:rPr>
                        <a:t>A1</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Increase staff education on MH services to reduce the stigma across services against those tying to access MH services.</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indent="-171450" algn="l" rtl="0" fontAlgn="ctr">
                        <a:buClr>
                          <a:srgbClr val="000000"/>
                        </a:buClr>
                        <a:buSzPts val="900"/>
                        <a:buFont typeface="Arial" panose="020B0604020202020204" pitchFamily="34" charset="0"/>
                        <a:buChar char="•"/>
                      </a:pPr>
                      <a:r>
                        <a:rPr lang="en-GB" sz="900" b="0" i="0" u="none" strike="noStrike">
                          <a:solidFill>
                            <a:schemeClr val="tx2">
                              <a:lumMod val="65000"/>
                              <a:lumOff val="35000"/>
                            </a:schemeClr>
                          </a:solidFill>
                          <a:effectLst/>
                          <a:latin typeface="Arial" panose="020B0604020202020204" pitchFamily="34" charset="0"/>
                        </a:rPr>
                        <a:t>Workforce that understands mental health and is better equipped to spot mental health issues and sign post service users to the appropriate services at the right time. </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1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Medium </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Medium </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4199580168"/>
                  </a:ext>
                </a:extLst>
              </a:tr>
              <a:tr h="540241">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A2</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Develop a whole system approach / plan to comms and education</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indent="-171450" algn="l" rtl="0" fontAlgn="ctr">
                        <a:buClr>
                          <a:srgbClr val="000000"/>
                        </a:buClr>
                        <a:buSzPts val="900"/>
                        <a:buFont typeface="Arial" panose="020B0604020202020204" pitchFamily="34" charset="0"/>
                        <a:buChar char="•"/>
                      </a:pPr>
                      <a:r>
                        <a:rPr lang="en-GB" sz="900" b="0" i="0" u="none" strike="noStrike">
                          <a:solidFill>
                            <a:schemeClr val="tx2">
                              <a:lumMod val="65000"/>
                              <a:lumOff val="35000"/>
                            </a:schemeClr>
                          </a:solidFill>
                          <a:effectLst/>
                          <a:latin typeface="Arial" panose="020B0604020202020204" pitchFamily="34" charset="0"/>
                        </a:rPr>
                        <a:t>Create a more joined up approach to comms and education and enable the system to adopt a more consistent approach in terms of the language used, expectations and the mental health offering. </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1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2752216538"/>
                  </a:ext>
                </a:extLst>
              </a:tr>
              <a:tr h="540241">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A3</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Translate comms and engagement campaigns into multiple languages to support marginalised communities</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indent="-171450" algn="l" rtl="0" fontAlgn="ctr">
                        <a:buClr>
                          <a:srgbClr val="000000"/>
                        </a:buClr>
                        <a:buSzPts val="900"/>
                        <a:buFont typeface="Arial" panose="020B0604020202020204" pitchFamily="34" charset="0"/>
                        <a:buChar char="•"/>
                      </a:pPr>
                      <a:r>
                        <a:rPr lang="en-GB" sz="900" b="0" i="0" u="none" strike="noStrike">
                          <a:solidFill>
                            <a:schemeClr val="tx2">
                              <a:lumMod val="65000"/>
                              <a:lumOff val="35000"/>
                            </a:schemeClr>
                          </a:solidFill>
                          <a:effectLst/>
                          <a:latin typeface="Arial" panose="020B0604020202020204" pitchFamily="34" charset="0"/>
                        </a:rPr>
                        <a:t>More people from ‘hard to reach’ communities to ensure they are sighted on available services and support. </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1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792501966"/>
                  </a:ext>
                </a:extLst>
              </a:tr>
              <a:tr h="540241">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A4</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Commission a physical setting for people to come in and ask about or access services, that links with the Third Sector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indent="-171450" algn="l" rtl="0" fontAlgn="ctr">
                        <a:buClr>
                          <a:srgbClr val="000000"/>
                        </a:buClr>
                        <a:buSzPts val="900"/>
                        <a:buFont typeface="Arial" panose="020B0604020202020204" pitchFamily="34" charset="0"/>
                        <a:buChar char="•"/>
                      </a:pPr>
                      <a:r>
                        <a:rPr lang="en-GB" sz="900" b="0" i="0" u="none" strike="noStrike">
                          <a:solidFill>
                            <a:schemeClr val="tx2">
                              <a:lumMod val="65000"/>
                              <a:lumOff val="35000"/>
                            </a:schemeClr>
                          </a:solidFill>
                          <a:effectLst/>
                          <a:latin typeface="Arial" panose="020B0604020202020204" pitchFamily="34" charset="0"/>
                        </a:rPr>
                        <a:t>Provide a safe physical space for people, where they feel welcomed and supported. This may encourage those suffering with their mental health to seek support who otherwise may not do so via phone lines/online etc. </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10</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Medium-High</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Medium-long</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4190610611"/>
                  </a:ext>
                </a:extLst>
              </a:tr>
              <a:tr h="540241">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A5</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Increase focused promotion service directory/self-care websites via digital and physical channels (social media and existing physical site)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indent="-171450" algn="l" rtl="0" fontAlgn="ctr">
                        <a:buClr>
                          <a:srgbClr val="000000"/>
                        </a:buClr>
                        <a:buSzPts val="900"/>
                        <a:buFont typeface="Arial" panose="020B0604020202020204" pitchFamily="34" charset="0"/>
                        <a:buChar char="•"/>
                      </a:pPr>
                      <a:r>
                        <a:rPr lang="en-GB" sz="900" b="0" i="0" u="none" strike="noStrike">
                          <a:solidFill>
                            <a:schemeClr val="tx2">
                              <a:lumMod val="65000"/>
                              <a:lumOff val="35000"/>
                            </a:schemeClr>
                          </a:solidFill>
                          <a:effectLst/>
                          <a:latin typeface="Arial" panose="020B0604020202020204" pitchFamily="34" charset="0"/>
                        </a:rPr>
                        <a:t>Create more awareness of the resources and support available to help deal with the issues they face, thus stopping further escalation and crisis. This may reduce demand on secondary care and A&amp;E admissions.  </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1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Low</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2193687171"/>
                  </a:ext>
                </a:extLst>
              </a:tr>
              <a:tr h="540241">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A6</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Increase focused promotion of phone lines</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indent="-171450" algn="l" rtl="0" fontAlgn="ctr">
                        <a:buClr>
                          <a:srgbClr val="000000"/>
                        </a:buClr>
                        <a:buSzPts val="900"/>
                        <a:buFont typeface="Arial" panose="020B0604020202020204" pitchFamily="34" charset="0"/>
                        <a:buChar char="•"/>
                      </a:pPr>
                      <a:r>
                        <a:rPr lang="en-GB" sz="900" b="0" i="0" u="none" strike="noStrike">
                          <a:solidFill>
                            <a:schemeClr val="tx2">
                              <a:lumMod val="65000"/>
                              <a:lumOff val="35000"/>
                            </a:schemeClr>
                          </a:solidFill>
                          <a:effectLst/>
                          <a:latin typeface="Arial" panose="020B0604020202020204" pitchFamily="34" charset="0"/>
                        </a:rPr>
                        <a:t>Create more awareness of the resources and support available to help deal with the issues they face, thus stopping further escalation and crisis. This may reduce demand on secondary care and A&amp;E admissions.  </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9</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Short </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3935458060"/>
                  </a:ext>
                </a:extLst>
              </a:tr>
              <a:tr h="540241">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A7</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Support and encourage more businesses to train MH first aiders in the workplace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indent="-171450" algn="l" rtl="0" fontAlgn="ctr">
                        <a:buClr>
                          <a:srgbClr val="000000"/>
                        </a:buClr>
                        <a:buSzPts val="900"/>
                        <a:buFont typeface="Arial" panose="020B0604020202020204" pitchFamily="34" charset="0"/>
                        <a:buChar char="•"/>
                      </a:pPr>
                      <a:r>
                        <a:rPr lang="en-GB" sz="900" b="0" i="0" u="none" strike="noStrike">
                          <a:solidFill>
                            <a:schemeClr val="tx2">
                              <a:lumMod val="65000"/>
                              <a:lumOff val="35000"/>
                            </a:schemeClr>
                          </a:solidFill>
                          <a:effectLst/>
                          <a:latin typeface="Arial" panose="020B0604020202020204" pitchFamily="34" charset="0"/>
                        </a:rPr>
                        <a:t>Workplaces that provide better support to their workforce and able to spot the signs of poor mental health early to avoid further escalation thus avoiding crisis and reducing A&amp;E and secondary care admissions. </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9</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Medium </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Medium </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3198809439"/>
                  </a:ext>
                </a:extLst>
              </a:tr>
              <a:tr h="540241">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A8</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Recruit Mental Health champions / service users in the community to champion best practice</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indent="-171450" algn="l" rtl="0" fontAlgn="ctr">
                        <a:buClr>
                          <a:srgbClr val="000000"/>
                        </a:buClr>
                        <a:buSzPts val="900"/>
                        <a:buFont typeface="Arial" panose="020B0604020202020204" pitchFamily="34" charset="0"/>
                        <a:buChar char="•"/>
                      </a:pPr>
                      <a:r>
                        <a:rPr lang="en-GB" sz="900" b="0" i="0" u="none" strike="noStrike">
                          <a:solidFill>
                            <a:schemeClr val="tx2">
                              <a:lumMod val="65000"/>
                              <a:lumOff val="35000"/>
                            </a:schemeClr>
                          </a:solidFill>
                          <a:effectLst/>
                          <a:latin typeface="Arial" panose="020B0604020202020204" pitchFamily="34" charset="0"/>
                        </a:rPr>
                        <a:t>Encourage the population to ask for help early and practice self-management of conditions using the available resources, which may reduce the number of those reaching crisis and entering statutory care. </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9</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Medium </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Medium </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1658197614"/>
                  </a:ext>
                </a:extLst>
              </a:tr>
              <a:tr h="36423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A9</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Develop localised and targeted advertising on varied platforms</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indent="-171450" algn="l" rtl="0" fontAlgn="ctr">
                        <a:buClr>
                          <a:srgbClr val="000000"/>
                        </a:buClr>
                        <a:buSzPts val="900"/>
                        <a:buFont typeface="Arial" panose="020B0604020202020204" pitchFamily="34" charset="0"/>
                        <a:buChar char="•"/>
                      </a:pPr>
                      <a:r>
                        <a:rPr lang="en-GB" sz="900" b="0" i="0" u="none" strike="noStrike">
                          <a:solidFill>
                            <a:schemeClr val="tx2">
                              <a:lumMod val="65000"/>
                              <a:lumOff val="35000"/>
                            </a:schemeClr>
                          </a:solidFill>
                          <a:effectLst/>
                          <a:latin typeface="Arial" panose="020B0604020202020204" pitchFamily="34" charset="0"/>
                        </a:rPr>
                        <a:t>Reach and inform the maximum population of available services. The more that people are aware of services, the more likely they are to use them and recommend them to others'.</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8</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Medium </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Medium </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74048181"/>
                  </a:ext>
                </a:extLst>
              </a:tr>
            </a:tbl>
          </a:graphicData>
        </a:graphic>
      </p:graphicFrame>
      <p:graphicFrame>
        <p:nvGraphicFramePr>
          <p:cNvPr id="10" name="Table 9">
            <a:extLst>
              <a:ext uri="{FF2B5EF4-FFF2-40B4-BE49-F238E27FC236}">
                <a16:creationId xmlns:a16="http://schemas.microsoft.com/office/drawing/2014/main" id="{87CC6123-A617-E541-A25D-A2DC364BE962}"/>
              </a:ext>
            </a:extLst>
          </p:cNvPr>
          <p:cNvGraphicFramePr>
            <a:graphicFrameLocks noGrp="1"/>
          </p:cNvGraphicFramePr>
          <p:nvPr>
            <p:extLst>
              <p:ext uri="{D42A27DB-BD31-4B8C-83A1-F6EECF244321}">
                <p14:modId xmlns:p14="http://schemas.microsoft.com/office/powerpoint/2010/main" val="1095260840"/>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C"/>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pic>
        <p:nvPicPr>
          <p:cNvPr id="11" name="Graphic 10" descr="Marketing with solid fill">
            <a:extLst>
              <a:ext uri="{FF2B5EF4-FFF2-40B4-BE49-F238E27FC236}">
                <a16:creationId xmlns:a16="http://schemas.microsoft.com/office/drawing/2014/main" id="{A0DD8C89-67D9-1543-B05A-53B865580A1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30402" y="191252"/>
            <a:ext cx="593180" cy="593180"/>
          </a:xfrm>
          <a:prstGeom prst="rect">
            <a:avLst/>
          </a:prstGeom>
        </p:spPr>
      </p:pic>
      <p:sp>
        <p:nvSpPr>
          <p:cNvPr id="12" name="Rectangle 11">
            <a:extLst>
              <a:ext uri="{FF2B5EF4-FFF2-40B4-BE49-F238E27FC236}">
                <a16:creationId xmlns:a16="http://schemas.microsoft.com/office/drawing/2014/main" id="{E3A982FF-B672-7743-BFC8-2803DD71D466}"/>
              </a:ext>
            </a:extLst>
          </p:cNvPr>
          <p:cNvSpPr/>
          <p:nvPr/>
        </p:nvSpPr>
        <p:spPr>
          <a:xfrm>
            <a:off x="8818419" y="154427"/>
            <a:ext cx="1806651" cy="78568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panose="020B0604020202020204"/>
                <a:ea typeface="+mn-ea"/>
                <a:cs typeface="+mn-cs"/>
              </a:rPr>
              <a:t>IMPACT:        </a:t>
            </a: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1 = Low Impact </a:t>
            </a:r>
            <a:b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                       5 = High impa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panose="020B0604020202020204"/>
                <a:ea typeface="+mn-ea"/>
                <a:cs typeface="+mn-cs"/>
              </a:rPr>
              <a:t>EASE:            </a:t>
            </a: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1 = Difficult</a:t>
            </a:r>
            <a:b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                       5 = Straightforward</a:t>
            </a:r>
          </a:p>
          <a:p>
            <a:pPr>
              <a:defRPr/>
            </a:pPr>
            <a:r>
              <a:rPr lang="en-GB" sz="800" b="1">
                <a:solidFill>
                  <a:srgbClr val="000000"/>
                </a:solidFill>
              </a:rPr>
              <a:t>RESOURCE:  </a:t>
            </a:r>
            <a:r>
              <a:rPr lang="en-GB" sz="800">
                <a:solidFill>
                  <a:srgbClr val="000000"/>
                </a:solidFill>
              </a:rPr>
              <a:t>Low, Medium, High </a:t>
            </a:r>
          </a:p>
        </p:txBody>
      </p:sp>
      <p:sp>
        <p:nvSpPr>
          <p:cNvPr id="13" name="Rectangle 12">
            <a:extLst>
              <a:ext uri="{FF2B5EF4-FFF2-40B4-BE49-F238E27FC236}">
                <a16:creationId xmlns:a16="http://schemas.microsoft.com/office/drawing/2014/main" id="{32D38073-6B85-E343-8B54-4D983CF1F1D7}"/>
              </a:ext>
            </a:extLst>
          </p:cNvPr>
          <p:cNvSpPr/>
          <p:nvPr/>
        </p:nvSpPr>
        <p:spPr>
          <a:xfrm>
            <a:off x="10626954" y="154427"/>
            <a:ext cx="1442357" cy="78568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00" b="1">
                <a:solidFill>
                  <a:srgbClr val="000000"/>
                </a:solidFill>
                <a:latin typeface="Arial" panose="020B0604020202020204"/>
              </a:rPr>
              <a:t>SHORT</a:t>
            </a:r>
            <a:r>
              <a:rPr lang="en-GB" sz="900">
                <a:solidFill>
                  <a:srgbClr val="000000"/>
                </a:solidFill>
                <a:latin typeface="Arial" panose="020B0604020202020204"/>
              </a:rPr>
              <a:t> =   0-6 months</a:t>
            </a:r>
          </a:p>
          <a:p>
            <a:r>
              <a:rPr lang="en-GB" sz="900" b="1">
                <a:solidFill>
                  <a:srgbClr val="000000"/>
                </a:solidFill>
                <a:latin typeface="Arial" panose="020B0604020202020204"/>
              </a:rPr>
              <a:t>MEDIUM</a:t>
            </a:r>
            <a:r>
              <a:rPr lang="en-GB" sz="900">
                <a:solidFill>
                  <a:srgbClr val="000000"/>
                </a:solidFill>
                <a:latin typeface="Arial" panose="020B0604020202020204"/>
              </a:rPr>
              <a:t> = 6-18 months</a:t>
            </a:r>
          </a:p>
          <a:p>
            <a:r>
              <a:rPr lang="en-GB" sz="900" b="1">
                <a:solidFill>
                  <a:srgbClr val="000000"/>
                </a:solidFill>
                <a:latin typeface="Arial" panose="020B0604020202020204"/>
              </a:rPr>
              <a:t>LONG</a:t>
            </a:r>
            <a:r>
              <a:rPr lang="en-GB" sz="900">
                <a:solidFill>
                  <a:srgbClr val="000000"/>
                </a:solidFill>
                <a:latin typeface="Arial" panose="020B0604020202020204"/>
              </a:rPr>
              <a:t> =     18 months +</a:t>
            </a:r>
          </a:p>
        </p:txBody>
      </p:sp>
    </p:spTree>
    <p:extLst>
      <p:ext uri="{BB962C8B-B14F-4D97-AF65-F5344CB8AC3E}">
        <p14:creationId xmlns:p14="http://schemas.microsoft.com/office/powerpoint/2010/main" val="346220942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609"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en-IN" sz="2800">
              <a:solidFill>
                <a:srgbClr val="FFFFFF"/>
              </a:solidFill>
              <a:sym typeface="Arial" panose="020B0604020202020204" pitchFamily="34" charset="0"/>
            </a:endParaRPr>
          </a:p>
        </p:txBody>
      </p:sp>
      <p:sp>
        <p:nvSpPr>
          <p:cNvPr id="2" name="Title 1"/>
          <p:cNvSpPr>
            <a:spLocks noGrp="1"/>
          </p:cNvSpPr>
          <p:nvPr>
            <p:ph type="title"/>
          </p:nvPr>
        </p:nvSpPr>
        <p:spPr>
          <a:xfrm>
            <a:off x="1199947" y="297277"/>
            <a:ext cx="8711496" cy="434010"/>
          </a:xfrm>
          <a:prstGeom prst="rect">
            <a:avLst/>
          </a:prstGeom>
        </p:spPr>
        <p:txBody>
          <a:bodyPr/>
          <a:lstStyle/>
          <a:p>
            <a:r>
              <a:rPr lang="en-GB">
                <a:solidFill>
                  <a:srgbClr val="50235B"/>
                </a:solidFill>
                <a:latin typeface="Arial" panose="020B0604020202020204" pitchFamily="34" charset="0"/>
                <a:cs typeface="Arial" panose="020B0604020202020204" pitchFamily="34" charset="0"/>
              </a:rPr>
              <a:t>Proactive prevention</a:t>
            </a:r>
            <a:br>
              <a:rPr lang="en-GB">
                <a:solidFill>
                  <a:srgbClr val="50235B"/>
                </a:solidFill>
                <a:latin typeface="Arial" panose="020B0604020202020204" pitchFamily="34" charset="0"/>
                <a:cs typeface="Arial" panose="020B0604020202020204" pitchFamily="34" charset="0"/>
              </a:rPr>
            </a:br>
            <a:br>
              <a:rPr lang="en-US"/>
            </a:br>
            <a:endParaRPr lang="en-IN"/>
          </a:p>
        </p:txBody>
      </p:sp>
      <p:sp>
        <p:nvSpPr>
          <p:cNvPr id="6" name="Footer Placeholder 5">
            <a:extLst>
              <a:ext uri="{FF2B5EF4-FFF2-40B4-BE49-F238E27FC236}">
                <a16:creationId xmlns:a16="http://schemas.microsoft.com/office/drawing/2014/main" id="{62E3292C-AE15-8E46-8E62-F9C713150B0B}"/>
              </a:ext>
            </a:extLst>
          </p:cNvPr>
          <p:cNvSpPr>
            <a:spLocks noGrp="1"/>
          </p:cNvSpPr>
          <p:nvPr>
            <p:ph type="ftr" sz="quarter" idx="14"/>
          </p:nvPr>
        </p:nvSpPr>
        <p:spPr>
          <a:xfrm>
            <a:off x="6570" y="6674068"/>
            <a:ext cx="1193377" cy="183932"/>
          </a:xfrm>
        </p:spPr>
        <p:txBody>
          <a:bodyPr/>
          <a:lstStyle/>
          <a:p>
            <a:r>
              <a:rPr lang="en-GB"/>
              <a:t>© Moorhouse 2021  </a:t>
            </a:r>
          </a:p>
        </p:txBody>
      </p:sp>
      <p:sp>
        <p:nvSpPr>
          <p:cNvPr id="21" name="Rectangle 20">
            <a:extLst>
              <a:ext uri="{FF2B5EF4-FFF2-40B4-BE49-F238E27FC236}">
                <a16:creationId xmlns:a16="http://schemas.microsoft.com/office/drawing/2014/main" id="{FE740462-AEED-0B41-92DC-3A54DEB718C8}"/>
              </a:ext>
            </a:extLst>
          </p:cNvPr>
          <p:cNvSpPr/>
          <p:nvPr/>
        </p:nvSpPr>
        <p:spPr>
          <a:xfrm>
            <a:off x="647407" y="1095781"/>
            <a:ext cx="2355654" cy="434010"/>
          </a:xfrm>
          <a:prstGeom prst="rect">
            <a:avLst/>
          </a:prstGeom>
          <a:noFill/>
          <a:ln w="12700" cap="flat" cmpd="sng" algn="ctr">
            <a:noFill/>
            <a:prstDash val="solid"/>
            <a:miter lim="800000"/>
          </a:ln>
          <a:effectLst/>
        </p:spPr>
        <p:txBody>
          <a:bodyPr rtlCol="0" anchor="ctr"/>
          <a:lstStyle/>
          <a:p>
            <a:pPr lvl="0" algn="ctr" defTabSz="685800">
              <a:defRPr/>
            </a:pPr>
            <a:endParaRPr lang="en-GB" sz="1050" b="1">
              <a:solidFill>
                <a:srgbClr val="50235B"/>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F19D9738-DFA2-C84F-82CF-6F85573EA287}"/>
              </a:ext>
            </a:extLst>
          </p:cNvPr>
          <p:cNvSpPr txBox="1"/>
          <p:nvPr/>
        </p:nvSpPr>
        <p:spPr>
          <a:xfrm>
            <a:off x="6691734" y="4245765"/>
            <a:ext cx="184731" cy="369332"/>
          </a:xfrm>
          <a:prstGeom prst="rect">
            <a:avLst/>
          </a:prstGeom>
          <a:noFill/>
        </p:spPr>
        <p:txBody>
          <a:bodyPr wrap="none" rtlCol="0">
            <a:spAutoFit/>
          </a:bodyPr>
          <a:lstStyle/>
          <a:p>
            <a:endParaRPr lang="en-US"/>
          </a:p>
        </p:txBody>
      </p:sp>
      <p:sp>
        <p:nvSpPr>
          <p:cNvPr id="51" name="Rectangle 50">
            <a:extLst>
              <a:ext uri="{FF2B5EF4-FFF2-40B4-BE49-F238E27FC236}">
                <a16:creationId xmlns:a16="http://schemas.microsoft.com/office/drawing/2014/main" id="{23228B87-D8A3-AC4B-8389-4FD6CB03BCB4}"/>
              </a:ext>
            </a:extLst>
          </p:cNvPr>
          <p:cNvSpPr/>
          <p:nvPr/>
        </p:nvSpPr>
        <p:spPr>
          <a:xfrm>
            <a:off x="6236659" y="5513696"/>
            <a:ext cx="5509862" cy="1852878"/>
          </a:xfrm>
          <a:prstGeom prst="rect">
            <a:avLst/>
          </a:prstGeom>
          <a:noFill/>
          <a:ln w="12700" cap="flat" cmpd="sng" algn="ctr">
            <a:noFill/>
            <a:prstDash val="solid"/>
            <a:miter lim="800000"/>
          </a:ln>
          <a:effectLst/>
        </p:spPr>
        <p:txBody>
          <a:bodyPr rtlCol="0" anchor="t"/>
          <a:lstStyle/>
          <a:p>
            <a:pPr defTabSz="685800" fontAlgn="base">
              <a:spcBef>
                <a:spcPts val="600"/>
              </a:spcBef>
              <a:spcAft>
                <a:spcPts val="600"/>
              </a:spcAft>
            </a:pPr>
            <a:endParaRPr lang="en-GB" sz="1000">
              <a:solidFill>
                <a:srgbClr val="50235B"/>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187D98F4-EB5A-E04B-B1AB-3062BCA3330F}"/>
              </a:ext>
            </a:extLst>
          </p:cNvPr>
          <p:cNvSpPr/>
          <p:nvPr/>
        </p:nvSpPr>
        <p:spPr>
          <a:xfrm>
            <a:off x="510638" y="855283"/>
            <a:ext cx="11348270" cy="6912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200" b="1">
                <a:solidFill>
                  <a:srgbClr val="50235C"/>
                </a:solidFill>
                <a:latin typeface="Arial" panose="020B0604020202020204" pitchFamily="34" charset="0"/>
                <a:cs typeface="Arial" panose="020B0604020202020204" pitchFamily="34" charset="0"/>
              </a:rPr>
              <a:t>Proactive prevention is essential to increase the wellbeing and independence of the population, avoidance of crisis and reduces demand for secondary mental health care and admissions to inpatient beds. </a:t>
            </a:r>
          </a:p>
        </p:txBody>
      </p:sp>
      <p:grpSp>
        <p:nvGrpSpPr>
          <p:cNvPr id="20" name="Group 19">
            <a:extLst>
              <a:ext uri="{FF2B5EF4-FFF2-40B4-BE49-F238E27FC236}">
                <a16:creationId xmlns:a16="http://schemas.microsoft.com/office/drawing/2014/main" id="{856DAFD8-FA0A-4949-9E59-48AAEE3EBE5A}"/>
              </a:ext>
            </a:extLst>
          </p:cNvPr>
          <p:cNvGrpSpPr/>
          <p:nvPr/>
        </p:nvGrpSpPr>
        <p:grpSpPr>
          <a:xfrm>
            <a:off x="510627" y="1518074"/>
            <a:ext cx="5444697" cy="4590849"/>
            <a:chOff x="4782787" y="1094608"/>
            <a:chExt cx="4065938" cy="3193140"/>
          </a:xfrm>
        </p:grpSpPr>
        <p:sp>
          <p:nvSpPr>
            <p:cNvPr id="23" name="Rectangle 22">
              <a:extLst>
                <a:ext uri="{FF2B5EF4-FFF2-40B4-BE49-F238E27FC236}">
                  <a16:creationId xmlns:a16="http://schemas.microsoft.com/office/drawing/2014/main" id="{CB1214F5-503D-D44D-8085-7461DE245F94}"/>
                </a:ext>
              </a:extLst>
            </p:cNvPr>
            <p:cNvSpPr/>
            <p:nvPr/>
          </p:nvSpPr>
          <p:spPr>
            <a:xfrm>
              <a:off x="4782787" y="1094608"/>
              <a:ext cx="4065938" cy="199823"/>
            </a:xfrm>
            <a:prstGeom prst="rect">
              <a:avLst/>
            </a:prstGeom>
            <a:solidFill>
              <a:srgbClr val="F0ECF3"/>
            </a:solidFill>
            <a:ln w="9525" cap="flat" cmpd="sng" algn="ctr">
              <a:solidFill>
                <a:srgbClr val="F0ECF3"/>
              </a:solidFill>
              <a:prstDash val="solid"/>
              <a:miter lim="800000"/>
            </a:ln>
            <a:effectLst/>
          </p:spPr>
          <p:txBody>
            <a:bodyPr rtlCol="0" anchor="ctr"/>
            <a:lstStyle/>
            <a:p>
              <a:pPr defTabSz="914377">
                <a:defRPr/>
              </a:pPr>
              <a:r>
                <a:rPr lang="en-GB" sz="1067" b="1">
                  <a:solidFill>
                    <a:srgbClr val="50235B"/>
                  </a:solidFill>
                  <a:latin typeface="Arial" panose="020B0604020202020204"/>
                </a:rPr>
                <a:t>Where are we now?</a:t>
              </a:r>
            </a:p>
          </p:txBody>
        </p:sp>
        <p:sp>
          <p:nvSpPr>
            <p:cNvPr id="24" name="Rectangle 23">
              <a:extLst>
                <a:ext uri="{FF2B5EF4-FFF2-40B4-BE49-F238E27FC236}">
                  <a16:creationId xmlns:a16="http://schemas.microsoft.com/office/drawing/2014/main" id="{BC3BF939-741A-E546-81CE-0D14DDE2E26C}"/>
                </a:ext>
              </a:extLst>
            </p:cNvPr>
            <p:cNvSpPr/>
            <p:nvPr/>
          </p:nvSpPr>
          <p:spPr>
            <a:xfrm>
              <a:off x="4782787" y="1294431"/>
              <a:ext cx="4065938" cy="2993317"/>
            </a:xfrm>
            <a:prstGeom prst="rect">
              <a:avLst/>
            </a:prstGeom>
            <a:noFill/>
            <a:ln w="3175">
              <a:solidFill>
                <a:srgbClr val="F0ECF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defTabSz="685800">
                <a:spcBef>
                  <a:spcPts val="600"/>
                </a:spcBef>
                <a:spcAft>
                  <a:spcPts val="600"/>
                </a:spcAft>
                <a:defRPr/>
              </a:pPr>
              <a:r>
                <a:rPr lang="en-GB" sz="1000">
                  <a:solidFill>
                    <a:schemeClr val="tx2">
                      <a:lumMod val="65000"/>
                      <a:lumOff val="35000"/>
                    </a:schemeClr>
                  </a:solidFill>
                  <a:latin typeface="Arial" panose="020B0604020202020204" pitchFamily="34" charset="0"/>
                  <a:cs typeface="Arial" panose="020B0604020202020204" pitchFamily="34" charset="0"/>
                </a:rPr>
                <a:t>Promoting good mental and physical health and preventing progression or escalation of mental health conditions is now a key priority across the system. Proactive prevention requires an improvement in the availably and quality of mental health services for all who need them. </a:t>
              </a:r>
            </a:p>
            <a:p>
              <a:pPr marL="171450" lvl="0" indent="-171450">
                <a:spcBef>
                  <a:spcPts val="600"/>
                </a:spcBef>
                <a:spcAft>
                  <a:spcPts val="600"/>
                </a:spcAft>
                <a:buFont typeface="Arial" panose="020B0604020202020204" pitchFamily="34" charset="0"/>
                <a:buChar char="•"/>
              </a:pPr>
              <a:r>
                <a:rPr lang="en-GB" sz="1000">
                  <a:solidFill>
                    <a:schemeClr val="tx2">
                      <a:lumMod val="65000"/>
                      <a:lumOff val="35000"/>
                    </a:schemeClr>
                  </a:solidFill>
                  <a:latin typeface="Arial" panose="020B0604020202020204" pitchFamily="34" charset="0"/>
                  <a:cs typeface="Arial" panose="020B0604020202020204" pitchFamily="34" charset="0"/>
                </a:rPr>
                <a:t>The </a:t>
              </a:r>
              <a:r>
                <a:rPr lang="en-GB" sz="1000" b="1">
                  <a:solidFill>
                    <a:srgbClr val="50235C"/>
                  </a:solidFill>
                  <a:latin typeface="Arial" panose="020B0604020202020204" pitchFamily="34" charset="0"/>
                  <a:cs typeface="Arial" panose="020B0604020202020204" pitchFamily="34" charset="0"/>
                </a:rPr>
                <a:t>Third Sector plays a key role in providing support </a:t>
              </a:r>
              <a:r>
                <a:rPr lang="en-GB" sz="1000">
                  <a:solidFill>
                    <a:schemeClr val="tx2">
                      <a:lumMod val="65000"/>
                      <a:lumOff val="35000"/>
                    </a:schemeClr>
                  </a:solidFill>
                  <a:latin typeface="Arial" panose="020B0604020202020204" pitchFamily="34" charset="0"/>
                  <a:cs typeface="Arial" panose="020B0604020202020204" pitchFamily="34" charset="0"/>
                </a:rPr>
                <a:t>and there is a formal alliance in Telford and Wrekin, that aligns service allocations for individuals who have non statutory support needs and are deteriorating / have escalating support needs as well as for patients on discharge from inpatient settings. </a:t>
              </a:r>
            </a:p>
            <a:p>
              <a:pPr marL="171450" lvl="0" indent="-171450">
                <a:spcBef>
                  <a:spcPts val="600"/>
                </a:spcBef>
                <a:spcAft>
                  <a:spcPts val="600"/>
                </a:spcAft>
                <a:buFont typeface="Arial" panose="020B0604020202020204" pitchFamily="34" charset="0"/>
                <a:buChar char="•"/>
              </a:pPr>
              <a:r>
                <a:rPr lang="en-GB" sz="1000" b="1">
                  <a:solidFill>
                    <a:srgbClr val="50235C"/>
                  </a:solidFill>
                  <a:latin typeface="Arial" panose="020B0604020202020204" pitchFamily="34" charset="0"/>
                  <a:cs typeface="Arial" panose="020B0604020202020204" pitchFamily="34" charset="0"/>
                </a:rPr>
                <a:t>Crisis alternatives to admission services </a:t>
              </a:r>
              <a:r>
                <a:rPr lang="en-GB" sz="1000">
                  <a:solidFill>
                    <a:schemeClr val="tx2">
                      <a:lumMod val="65000"/>
                      <a:lumOff val="35000"/>
                    </a:schemeClr>
                  </a:solidFill>
                  <a:latin typeface="Arial" panose="020B0604020202020204" pitchFamily="34" charset="0"/>
                  <a:cs typeface="Arial" panose="020B0604020202020204" pitchFamily="34" charset="0"/>
                </a:rPr>
                <a:t>such as: ‘The Sanctuary’ run by MHS Shropshire and ‘Branches’ in Telford and Wrekin run by Telford Mind.  </a:t>
              </a:r>
            </a:p>
            <a:p>
              <a:pPr marL="171450" lvl="0" indent="-171450">
                <a:spcBef>
                  <a:spcPts val="600"/>
                </a:spcBef>
                <a:spcAft>
                  <a:spcPts val="600"/>
                </a:spcAft>
                <a:buFont typeface="Arial" panose="020B0604020202020204" pitchFamily="34" charset="0"/>
                <a:buChar char="•"/>
              </a:pPr>
              <a:r>
                <a:rPr lang="en-GB" sz="1000" b="1">
                  <a:solidFill>
                    <a:srgbClr val="50235C"/>
                  </a:solidFill>
                  <a:latin typeface="Arial" panose="020B0604020202020204" pitchFamily="34" charset="0"/>
                  <a:cs typeface="Arial" panose="020B0604020202020204" pitchFamily="34" charset="0"/>
                </a:rPr>
                <a:t>Hospital avoidance scheme for people with dementia </a:t>
              </a:r>
              <a:r>
                <a:rPr lang="en-GB" sz="1000">
                  <a:solidFill>
                    <a:schemeClr val="tx2">
                      <a:lumMod val="65000"/>
                      <a:lumOff val="35000"/>
                    </a:schemeClr>
                  </a:solidFill>
                  <a:latin typeface="Arial" panose="020B0604020202020204" pitchFamily="34" charset="0"/>
                  <a:cs typeface="Arial" panose="020B0604020202020204" pitchFamily="34" charset="0"/>
                </a:rPr>
                <a:t>reducing the need for in-patient admission</a:t>
              </a:r>
            </a:p>
            <a:p>
              <a:pPr marL="171450" lvl="0" indent="-171450">
                <a:spcBef>
                  <a:spcPts val="600"/>
                </a:spcBef>
                <a:spcAft>
                  <a:spcPts val="600"/>
                </a:spcAft>
                <a:buFont typeface="Arial" panose="020B0604020202020204" pitchFamily="34" charset="0"/>
                <a:buChar char="•"/>
              </a:pPr>
              <a:r>
                <a:rPr lang="en-GB" sz="1000">
                  <a:solidFill>
                    <a:schemeClr val="tx2">
                      <a:lumMod val="65000"/>
                      <a:lumOff val="35000"/>
                    </a:schemeClr>
                  </a:solidFill>
                  <a:latin typeface="Arial" panose="020B0604020202020204" pitchFamily="34" charset="0"/>
                  <a:cs typeface="Arial" panose="020B0604020202020204" pitchFamily="34" charset="0"/>
                </a:rPr>
                <a:t>There is an absence of a formalised alliance with the third sector in Shropshire  </a:t>
              </a:r>
            </a:p>
            <a:p>
              <a:pPr marL="171450" indent="-171450">
                <a:spcBef>
                  <a:spcPts val="600"/>
                </a:spcBef>
                <a:spcAft>
                  <a:spcPts val="600"/>
                </a:spcAft>
                <a:buFont typeface="Arial" panose="020B0604020202020204" pitchFamily="34" charset="0"/>
                <a:buChar char="•"/>
              </a:pPr>
              <a:r>
                <a:rPr lang="en-GB" sz="1000">
                  <a:solidFill>
                    <a:schemeClr val="tx2">
                      <a:lumMod val="65000"/>
                      <a:lumOff val="35000"/>
                    </a:schemeClr>
                  </a:solidFill>
                  <a:latin typeface="Arial" panose="020B0604020202020204" pitchFamily="34" charset="0"/>
                  <a:cs typeface="Arial" panose="020B0604020202020204" pitchFamily="34" charset="0"/>
                </a:rPr>
                <a:t>Shropshire and Telford and Wrekin's Suicide Prevention Strategy</a:t>
              </a:r>
            </a:p>
            <a:p>
              <a:pPr marL="171450" indent="-171450">
                <a:spcBef>
                  <a:spcPts val="600"/>
                </a:spcBef>
                <a:spcAft>
                  <a:spcPts val="600"/>
                </a:spcAft>
                <a:buFont typeface="Arial" panose="020B0604020202020204" pitchFamily="34" charset="0"/>
                <a:buChar char="•"/>
              </a:pPr>
              <a:r>
                <a:rPr lang="en-GB" sz="1000">
                  <a:solidFill>
                    <a:schemeClr val="tx2">
                      <a:lumMod val="65000"/>
                      <a:lumOff val="35000"/>
                    </a:schemeClr>
                  </a:solidFill>
                  <a:latin typeface="Arial" panose="020B0604020202020204" pitchFamily="34" charset="0"/>
                  <a:cs typeface="Arial" panose="020B0604020202020204" pitchFamily="34" charset="0"/>
                </a:rPr>
                <a:t>Primary Care need more support </a:t>
              </a:r>
              <a:r>
                <a:rPr lang="en-GB" sz="1000">
                  <a:solidFill>
                    <a:srgbClr val="50235C"/>
                  </a:solidFill>
                  <a:latin typeface="Arial" panose="020B0604020202020204" pitchFamily="34" charset="0"/>
                  <a:cs typeface="Arial" panose="020B0604020202020204" pitchFamily="34" charset="0"/>
                </a:rPr>
                <a:t>as </a:t>
              </a:r>
              <a:r>
                <a:rPr lang="en-GB" sz="1000" b="1">
                  <a:solidFill>
                    <a:srgbClr val="50235C"/>
                  </a:solidFill>
                  <a:latin typeface="Arial" panose="020B0604020202020204" pitchFamily="34" charset="0"/>
                  <a:cs typeface="Arial" panose="020B0604020202020204" pitchFamily="34" charset="0"/>
                </a:rPr>
                <a:t>GPs are not always well equipped to deal with mental health issues</a:t>
              </a:r>
              <a:r>
                <a:rPr lang="en-GB" sz="1000">
                  <a:solidFill>
                    <a:srgbClr val="50235C"/>
                  </a:solidFill>
                  <a:latin typeface="Arial" panose="020B0604020202020204" pitchFamily="34" charset="0"/>
                  <a:cs typeface="Arial" panose="020B0604020202020204" pitchFamily="34" charset="0"/>
                </a:rPr>
                <a:t>.</a:t>
              </a:r>
            </a:p>
            <a:p>
              <a:pPr marL="171450" lvl="0" indent="-171450">
                <a:spcBef>
                  <a:spcPts val="600"/>
                </a:spcBef>
                <a:spcAft>
                  <a:spcPts val="600"/>
                </a:spcAft>
                <a:buFont typeface="Arial" panose="020B0604020202020204" pitchFamily="34" charset="0"/>
                <a:buChar char="•"/>
              </a:pPr>
              <a:r>
                <a:rPr lang="en-GB" sz="1000" b="1">
                  <a:solidFill>
                    <a:srgbClr val="50235C"/>
                  </a:solidFill>
                  <a:latin typeface="Arial" panose="020B0604020202020204" pitchFamily="34" charset="0"/>
                  <a:cs typeface="Arial" panose="020B0604020202020204" pitchFamily="34" charset="0"/>
                </a:rPr>
                <a:t>IAPT services are experiencing increased demand</a:t>
              </a:r>
              <a:r>
                <a:rPr lang="en-GB" sz="1000">
                  <a:solidFill>
                    <a:schemeClr val="tx2">
                      <a:lumMod val="65000"/>
                      <a:lumOff val="35000"/>
                    </a:schemeClr>
                  </a:solidFill>
                  <a:latin typeface="Arial" panose="020B0604020202020204" pitchFamily="34" charset="0"/>
                  <a:cs typeface="Arial" panose="020B0604020202020204" pitchFamily="34" charset="0"/>
                </a:rPr>
                <a:t>. KPIs are hard to meet due to minimal investment in services, </a:t>
              </a:r>
            </a:p>
            <a:p>
              <a:pPr marL="171450" lvl="0" indent="-171450">
                <a:spcBef>
                  <a:spcPts val="600"/>
                </a:spcBef>
                <a:spcAft>
                  <a:spcPts val="600"/>
                </a:spcAft>
                <a:buFont typeface="Arial" panose="020B0604020202020204" pitchFamily="34" charset="0"/>
                <a:buChar char="•"/>
              </a:pPr>
              <a:r>
                <a:rPr lang="en-GB" sz="1000" b="1">
                  <a:solidFill>
                    <a:srgbClr val="50235C"/>
                  </a:solidFill>
                  <a:latin typeface="Arial" panose="020B0604020202020204" pitchFamily="34" charset="0"/>
                  <a:cs typeface="Arial" panose="020B0604020202020204" pitchFamily="34" charset="0"/>
                </a:rPr>
                <a:t>Early Intervention Psychosis programme is consistently at capacity </a:t>
              </a:r>
              <a:r>
                <a:rPr lang="en-GB" sz="1000">
                  <a:solidFill>
                    <a:schemeClr val="tx2">
                      <a:lumMod val="65000"/>
                      <a:lumOff val="35000"/>
                    </a:schemeClr>
                  </a:solidFill>
                  <a:latin typeface="Arial" panose="020B0604020202020204" pitchFamily="34" charset="0"/>
                  <a:cs typeface="Arial" panose="020B0604020202020204" pitchFamily="34" charset="0"/>
                </a:rPr>
                <a:t>to not doing as much outreach as intended (demand for services is high and outstrips capacity by 50%)</a:t>
              </a:r>
            </a:p>
          </p:txBody>
        </p:sp>
      </p:grpSp>
      <p:grpSp>
        <p:nvGrpSpPr>
          <p:cNvPr id="25" name="Group 24">
            <a:extLst>
              <a:ext uri="{FF2B5EF4-FFF2-40B4-BE49-F238E27FC236}">
                <a16:creationId xmlns:a16="http://schemas.microsoft.com/office/drawing/2014/main" id="{6E749FC9-89E1-124F-A832-F939520B97F7}"/>
              </a:ext>
            </a:extLst>
          </p:cNvPr>
          <p:cNvGrpSpPr/>
          <p:nvPr/>
        </p:nvGrpSpPr>
        <p:grpSpPr>
          <a:xfrm>
            <a:off x="6414200" y="1518074"/>
            <a:ext cx="5444697" cy="2226478"/>
            <a:chOff x="4782787" y="1094608"/>
            <a:chExt cx="4065938" cy="1548615"/>
          </a:xfrm>
        </p:grpSpPr>
        <p:sp>
          <p:nvSpPr>
            <p:cNvPr id="26" name="Rectangle 25">
              <a:extLst>
                <a:ext uri="{FF2B5EF4-FFF2-40B4-BE49-F238E27FC236}">
                  <a16:creationId xmlns:a16="http://schemas.microsoft.com/office/drawing/2014/main" id="{E25E26F4-E637-704F-B12F-70168E4D4086}"/>
                </a:ext>
              </a:extLst>
            </p:cNvPr>
            <p:cNvSpPr/>
            <p:nvPr/>
          </p:nvSpPr>
          <p:spPr>
            <a:xfrm>
              <a:off x="4782787" y="1094608"/>
              <a:ext cx="4065938" cy="199823"/>
            </a:xfrm>
            <a:prstGeom prst="rect">
              <a:avLst/>
            </a:prstGeom>
            <a:solidFill>
              <a:srgbClr val="F0ECF3"/>
            </a:solidFill>
            <a:ln w="9525" cap="flat" cmpd="sng" algn="ctr">
              <a:solidFill>
                <a:srgbClr val="F0ECF3"/>
              </a:solidFill>
              <a:prstDash val="solid"/>
              <a:miter lim="800000"/>
            </a:ln>
            <a:effectLst/>
          </p:spPr>
          <p:txBody>
            <a:bodyPr rtlCol="0" anchor="ctr"/>
            <a:lstStyle/>
            <a:p>
              <a:r>
                <a:rPr lang="en-GB" sz="1100" b="1">
                  <a:solidFill>
                    <a:srgbClr val="50235C"/>
                  </a:solidFill>
                </a:rPr>
                <a:t>Where do we need to get to? </a:t>
              </a:r>
            </a:p>
          </p:txBody>
        </p:sp>
        <p:sp>
          <p:nvSpPr>
            <p:cNvPr id="27" name="Rectangle 26">
              <a:extLst>
                <a:ext uri="{FF2B5EF4-FFF2-40B4-BE49-F238E27FC236}">
                  <a16:creationId xmlns:a16="http://schemas.microsoft.com/office/drawing/2014/main" id="{B9168E8A-7661-C04B-929C-33F806DED5CE}"/>
                </a:ext>
              </a:extLst>
            </p:cNvPr>
            <p:cNvSpPr/>
            <p:nvPr/>
          </p:nvSpPr>
          <p:spPr>
            <a:xfrm>
              <a:off x="4782787" y="1294431"/>
              <a:ext cx="4065938" cy="1348792"/>
            </a:xfrm>
            <a:prstGeom prst="rect">
              <a:avLst/>
            </a:prstGeom>
            <a:noFill/>
            <a:ln w="3175">
              <a:solidFill>
                <a:srgbClr val="F0ECF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lvl="0" indent="-171450">
                <a:spcBef>
                  <a:spcPts val="300"/>
                </a:spcBef>
                <a:spcAft>
                  <a:spcPts val="300"/>
                </a:spcAft>
                <a:buFont typeface="Wingdings" pitchFamily="2" charset="2"/>
                <a:buChar char="ü"/>
              </a:pPr>
              <a:r>
                <a:rPr lang="en-GB" sz="1000">
                  <a:solidFill>
                    <a:srgbClr val="50235B"/>
                  </a:solidFill>
                  <a:latin typeface="Arial" panose="020B0604020202020204" pitchFamily="34" charset="0"/>
                  <a:cs typeface="Arial" panose="020B0604020202020204" pitchFamily="34" charset="0"/>
                </a:rPr>
                <a:t>Reduction in the prevalence of mental health conditions</a:t>
              </a:r>
            </a:p>
            <a:p>
              <a:pPr marL="171450" lvl="0" indent="-171450">
                <a:spcBef>
                  <a:spcPts val="300"/>
                </a:spcBef>
                <a:spcAft>
                  <a:spcPts val="300"/>
                </a:spcAft>
                <a:buFont typeface="Wingdings" pitchFamily="2" charset="2"/>
                <a:buChar char="ü"/>
              </a:pPr>
              <a:r>
                <a:rPr lang="en-GB" sz="1000">
                  <a:solidFill>
                    <a:srgbClr val="50235B"/>
                  </a:solidFill>
                  <a:latin typeface="Arial" panose="020B0604020202020204" pitchFamily="34" charset="0"/>
                  <a:cs typeface="Arial" panose="020B0604020202020204" pitchFamily="34" charset="0"/>
                </a:rPr>
                <a:t>Improvement in physical health outcomes (close mortality gap for those with MH issues)</a:t>
              </a:r>
            </a:p>
            <a:p>
              <a:pPr marL="171450" lvl="0" indent="-171450">
                <a:spcBef>
                  <a:spcPts val="300"/>
                </a:spcBef>
                <a:spcAft>
                  <a:spcPts val="300"/>
                </a:spcAft>
                <a:buFont typeface="Wingdings" pitchFamily="2" charset="2"/>
                <a:buChar char="ü"/>
              </a:pPr>
              <a:r>
                <a:rPr lang="en-GB" sz="1000">
                  <a:solidFill>
                    <a:srgbClr val="50235B"/>
                  </a:solidFill>
                  <a:latin typeface="Arial" panose="020B0604020202020204" pitchFamily="34" charset="0"/>
                  <a:cs typeface="Arial" panose="020B0604020202020204" pitchFamily="34" charset="0"/>
                </a:rPr>
                <a:t>Reduction A&amp;E and inpatient activity</a:t>
              </a:r>
            </a:p>
            <a:p>
              <a:pPr marL="171450" lvl="0" indent="-171450">
                <a:spcBef>
                  <a:spcPts val="300"/>
                </a:spcBef>
                <a:spcAft>
                  <a:spcPts val="300"/>
                </a:spcAft>
                <a:buFont typeface="Wingdings" pitchFamily="2" charset="2"/>
                <a:buChar char="ü"/>
              </a:pPr>
              <a:r>
                <a:rPr lang="en-GB" sz="1000">
                  <a:solidFill>
                    <a:srgbClr val="50235B"/>
                  </a:solidFill>
                  <a:latin typeface="Arial" panose="020B0604020202020204" pitchFamily="34" charset="0"/>
                  <a:cs typeface="Arial" panose="020B0604020202020204" pitchFamily="34" charset="0"/>
                </a:rPr>
                <a:t>Reduction in people reaching crisis and contacts for more complex conditions</a:t>
              </a:r>
            </a:p>
            <a:p>
              <a:pPr marL="171450" lvl="0" indent="-171450">
                <a:spcBef>
                  <a:spcPts val="300"/>
                </a:spcBef>
                <a:spcAft>
                  <a:spcPts val="300"/>
                </a:spcAft>
                <a:buFont typeface="Wingdings" pitchFamily="2" charset="2"/>
                <a:buChar char="ü"/>
              </a:pPr>
              <a:r>
                <a:rPr lang="en-GB" sz="1000">
                  <a:solidFill>
                    <a:srgbClr val="50235B"/>
                  </a:solidFill>
                  <a:latin typeface="Arial" panose="020B0604020202020204" pitchFamily="34" charset="0"/>
                  <a:cs typeface="Arial" panose="020B0604020202020204" pitchFamily="34" charset="0"/>
                </a:rPr>
                <a:t>Reduction in demand for crisis services </a:t>
              </a:r>
            </a:p>
            <a:p>
              <a:pPr marL="171450" lvl="0" indent="-171450">
                <a:spcBef>
                  <a:spcPts val="300"/>
                </a:spcBef>
                <a:spcAft>
                  <a:spcPts val="300"/>
                </a:spcAft>
                <a:buFont typeface="Wingdings" pitchFamily="2" charset="2"/>
                <a:buChar char="ü"/>
              </a:pPr>
              <a:r>
                <a:rPr lang="en-GB" sz="1000">
                  <a:solidFill>
                    <a:srgbClr val="50235B"/>
                  </a:solidFill>
                  <a:latin typeface="Arial" panose="020B0604020202020204" pitchFamily="34" charset="0"/>
                  <a:cs typeface="Arial" panose="020B0604020202020204" pitchFamily="34" charset="0"/>
                </a:rPr>
                <a:t>Reduction in rates of suicide and self-harm </a:t>
              </a:r>
            </a:p>
            <a:p>
              <a:pPr marL="171450" lvl="0" indent="-171450">
                <a:spcBef>
                  <a:spcPts val="300"/>
                </a:spcBef>
                <a:spcAft>
                  <a:spcPts val="300"/>
                </a:spcAft>
                <a:buFont typeface="Wingdings" pitchFamily="2" charset="2"/>
                <a:buChar char="ü"/>
              </a:pPr>
              <a:r>
                <a:rPr lang="en-GB" sz="1000">
                  <a:solidFill>
                    <a:srgbClr val="50235B"/>
                  </a:solidFill>
                  <a:latin typeface="Arial" panose="020B0604020202020204" pitchFamily="34" charset="0"/>
                  <a:cs typeface="Arial" panose="020B0604020202020204" pitchFamily="34" charset="0"/>
                </a:rPr>
                <a:t>Reduction in number of people going through MH act assessments</a:t>
              </a:r>
            </a:p>
            <a:p>
              <a:pPr marL="171450" lvl="0" indent="-171450">
                <a:spcBef>
                  <a:spcPts val="300"/>
                </a:spcBef>
                <a:spcAft>
                  <a:spcPts val="300"/>
                </a:spcAft>
                <a:buFont typeface="Wingdings" pitchFamily="2" charset="2"/>
                <a:buChar char="ü"/>
              </a:pPr>
              <a:r>
                <a:rPr lang="en-GB" sz="1000">
                  <a:solidFill>
                    <a:srgbClr val="50235B"/>
                  </a:solidFill>
                  <a:latin typeface="Arial" panose="020B0604020202020204" pitchFamily="34" charset="0"/>
                  <a:cs typeface="Arial" panose="020B0604020202020204" pitchFamily="34" charset="0"/>
                </a:rPr>
                <a:t>Improvement in people’s resilience to life challenges</a:t>
              </a:r>
            </a:p>
          </p:txBody>
        </p:sp>
      </p:grpSp>
      <p:grpSp>
        <p:nvGrpSpPr>
          <p:cNvPr id="28" name="Group 27">
            <a:extLst>
              <a:ext uri="{FF2B5EF4-FFF2-40B4-BE49-F238E27FC236}">
                <a16:creationId xmlns:a16="http://schemas.microsoft.com/office/drawing/2014/main" id="{8B771798-42EE-5C4C-84A4-3B741660585C}"/>
              </a:ext>
            </a:extLst>
          </p:cNvPr>
          <p:cNvGrpSpPr/>
          <p:nvPr/>
        </p:nvGrpSpPr>
        <p:grpSpPr>
          <a:xfrm>
            <a:off x="6414200" y="3882447"/>
            <a:ext cx="5444697" cy="2226478"/>
            <a:chOff x="4782787" y="1094608"/>
            <a:chExt cx="4065938" cy="1548615"/>
          </a:xfrm>
        </p:grpSpPr>
        <p:sp>
          <p:nvSpPr>
            <p:cNvPr id="31" name="Rectangle 30">
              <a:extLst>
                <a:ext uri="{FF2B5EF4-FFF2-40B4-BE49-F238E27FC236}">
                  <a16:creationId xmlns:a16="http://schemas.microsoft.com/office/drawing/2014/main" id="{23CD1CFA-944E-104D-90E5-8186CC062DF7}"/>
                </a:ext>
              </a:extLst>
            </p:cNvPr>
            <p:cNvSpPr/>
            <p:nvPr/>
          </p:nvSpPr>
          <p:spPr>
            <a:xfrm>
              <a:off x="4782787" y="1094608"/>
              <a:ext cx="4065938" cy="199823"/>
            </a:xfrm>
            <a:prstGeom prst="rect">
              <a:avLst/>
            </a:prstGeom>
            <a:solidFill>
              <a:srgbClr val="F0ECF3"/>
            </a:solidFill>
            <a:ln w="9525" cap="flat" cmpd="sng" algn="ctr">
              <a:solidFill>
                <a:srgbClr val="F0ECF3"/>
              </a:solidFill>
              <a:prstDash val="solid"/>
              <a:miter lim="800000"/>
            </a:ln>
            <a:effectLst/>
          </p:spPr>
          <p:txBody>
            <a:bodyPr rtlCol="0" anchor="ctr"/>
            <a:lstStyle/>
            <a:p>
              <a:r>
                <a:rPr lang="en-GB" sz="1100" b="1">
                  <a:solidFill>
                    <a:srgbClr val="50235C"/>
                  </a:solidFill>
                </a:rPr>
                <a:t>What are other areas doing?</a:t>
              </a:r>
            </a:p>
          </p:txBody>
        </p:sp>
        <p:sp>
          <p:nvSpPr>
            <p:cNvPr id="32" name="Rectangle 31">
              <a:extLst>
                <a:ext uri="{FF2B5EF4-FFF2-40B4-BE49-F238E27FC236}">
                  <a16:creationId xmlns:a16="http://schemas.microsoft.com/office/drawing/2014/main" id="{FAF789BC-019C-B946-926D-6093AE1A3912}"/>
                </a:ext>
              </a:extLst>
            </p:cNvPr>
            <p:cNvSpPr/>
            <p:nvPr/>
          </p:nvSpPr>
          <p:spPr>
            <a:xfrm>
              <a:off x="4782787" y="1294431"/>
              <a:ext cx="4065938" cy="1348792"/>
            </a:xfrm>
            <a:prstGeom prst="rect">
              <a:avLst/>
            </a:prstGeom>
            <a:solidFill>
              <a:srgbClr val="F1EDF4"/>
            </a:solidFill>
            <a:ln w="3175">
              <a:solidFill>
                <a:srgbClr val="F0ECF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62050" lvl="0">
                <a:spcBef>
                  <a:spcPts val="300"/>
                </a:spcBef>
                <a:spcAft>
                  <a:spcPts val="300"/>
                </a:spcAft>
              </a:pPr>
              <a:r>
                <a:rPr lang="en-GB" sz="1000">
                  <a:solidFill>
                    <a:srgbClr val="50235B"/>
                  </a:solidFill>
                  <a:latin typeface="Arial" panose="020B0604020202020204" pitchFamily="34" charset="0"/>
                  <a:cs typeface="Arial" panose="020B0604020202020204" pitchFamily="34" charset="0"/>
                </a:rPr>
                <a:t>The New Leaf project in Exeter, part of Devon Partnership NHS Trust, has helped more than 1,000 people who want to do so, to develop employment skills as part of their therapy.</a:t>
              </a:r>
            </a:p>
            <a:p>
              <a:pPr marL="1162050" lvl="0">
                <a:spcBef>
                  <a:spcPts val="300"/>
                </a:spcBef>
                <a:spcAft>
                  <a:spcPts val="300"/>
                </a:spcAft>
              </a:pPr>
              <a:r>
                <a:rPr lang="en-GB" sz="1000">
                  <a:solidFill>
                    <a:srgbClr val="50235B"/>
                  </a:solidFill>
                  <a:latin typeface="Arial" panose="020B0604020202020204" pitchFamily="34" charset="0"/>
                  <a:cs typeface="Arial" panose="020B0604020202020204" pitchFamily="34" charset="0"/>
                </a:rPr>
                <a:t>While taking part in the programme, people can make products including clothes, which helps to improve their mental health while supporting their return to work, with any profit reinvested back into the NHS to help sustain the programme.</a:t>
              </a:r>
            </a:p>
            <a:p>
              <a:pPr marL="1162050" lvl="0">
                <a:spcBef>
                  <a:spcPts val="300"/>
                </a:spcBef>
                <a:spcAft>
                  <a:spcPts val="300"/>
                </a:spcAft>
              </a:pPr>
              <a:r>
                <a:rPr lang="en-GB" sz="1000">
                  <a:solidFill>
                    <a:srgbClr val="50235B"/>
                  </a:solidFill>
                  <a:latin typeface="Arial" panose="020B0604020202020204" pitchFamily="34" charset="0"/>
                  <a:cs typeface="Arial" panose="020B0604020202020204" pitchFamily="34" charset="0"/>
                </a:rPr>
                <a:t>The New Leaf scheme, covering Exeter and East and mid-Devon in the Devon STP, is an example of innovative working helping to improve people’s health and benefiting wider society.	</a:t>
              </a:r>
            </a:p>
          </p:txBody>
        </p:sp>
      </p:grpSp>
      <p:pic>
        <p:nvPicPr>
          <p:cNvPr id="33" name="Picture 2" descr="Devon Partnership Trust – Delt Shared Services">
            <a:extLst>
              <a:ext uri="{FF2B5EF4-FFF2-40B4-BE49-F238E27FC236}">
                <a16:creationId xmlns:a16="http://schemas.microsoft.com/office/drawing/2014/main" id="{9E921B10-7E08-F24A-B864-AB0F347D4F8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12523" y="4771828"/>
            <a:ext cx="1028808" cy="55181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9" name="Table 28">
            <a:extLst>
              <a:ext uri="{FF2B5EF4-FFF2-40B4-BE49-F238E27FC236}">
                <a16:creationId xmlns:a16="http://schemas.microsoft.com/office/drawing/2014/main" id="{6BB57E49-7E0F-BD47-8F7B-7613CC305F87}"/>
              </a:ext>
            </a:extLst>
          </p:cNvPr>
          <p:cNvGraphicFramePr>
            <a:graphicFrameLocks noGrp="1"/>
          </p:cNvGraphicFramePr>
          <p:nvPr>
            <p:extLst>
              <p:ext uri="{D42A27DB-BD31-4B8C-83A1-F6EECF244321}">
                <p14:modId xmlns:p14="http://schemas.microsoft.com/office/powerpoint/2010/main" val="1095260840"/>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C"/>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pic>
        <p:nvPicPr>
          <p:cNvPr id="30" name="Graphic 29" descr="Open hand with plant with solid fill">
            <a:extLst>
              <a:ext uri="{FF2B5EF4-FFF2-40B4-BE49-F238E27FC236}">
                <a16:creationId xmlns:a16="http://schemas.microsoft.com/office/drawing/2014/main" id="{8EE84F8B-6048-A94D-BAD6-B9292E8ECAC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10638" y="133086"/>
            <a:ext cx="594000" cy="594000"/>
          </a:xfrm>
          <a:prstGeom prst="rect">
            <a:avLst/>
          </a:prstGeom>
        </p:spPr>
      </p:pic>
    </p:spTree>
    <p:extLst>
      <p:ext uri="{BB962C8B-B14F-4D97-AF65-F5344CB8AC3E}">
        <p14:creationId xmlns:p14="http://schemas.microsoft.com/office/powerpoint/2010/main" val="291305049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8657"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en-IN" sz="2800">
              <a:solidFill>
                <a:srgbClr val="FFFFFF"/>
              </a:solidFill>
              <a:sym typeface="Arial" panose="020B0604020202020204" pitchFamily="34" charset="0"/>
            </a:endParaRPr>
          </a:p>
        </p:txBody>
      </p:sp>
      <p:sp>
        <p:nvSpPr>
          <p:cNvPr id="2" name="Title 1"/>
          <p:cNvSpPr>
            <a:spLocks noGrp="1"/>
          </p:cNvSpPr>
          <p:nvPr>
            <p:ph type="title"/>
          </p:nvPr>
        </p:nvSpPr>
        <p:spPr>
          <a:xfrm>
            <a:off x="1201004" y="297277"/>
            <a:ext cx="8710440" cy="434010"/>
          </a:xfrm>
          <a:prstGeom prst="rect">
            <a:avLst/>
          </a:prstGeom>
        </p:spPr>
        <p:txBody>
          <a:bodyPr/>
          <a:lstStyle/>
          <a:p>
            <a:r>
              <a:rPr lang="en-GB">
                <a:solidFill>
                  <a:srgbClr val="50235B"/>
                </a:solidFill>
                <a:latin typeface="Arial" panose="020B0604020202020204" pitchFamily="34" charset="0"/>
                <a:cs typeface="Arial" panose="020B0604020202020204" pitchFamily="34" charset="0"/>
              </a:rPr>
              <a:t>Proactive prevention</a:t>
            </a:r>
            <a:endParaRPr lang="en-IN"/>
          </a:p>
        </p:txBody>
      </p:sp>
      <p:sp>
        <p:nvSpPr>
          <p:cNvPr id="21" name="Rectangle 20">
            <a:extLst>
              <a:ext uri="{FF2B5EF4-FFF2-40B4-BE49-F238E27FC236}">
                <a16:creationId xmlns:a16="http://schemas.microsoft.com/office/drawing/2014/main" id="{FE740462-AEED-0B41-92DC-3A54DEB718C8}"/>
              </a:ext>
            </a:extLst>
          </p:cNvPr>
          <p:cNvSpPr/>
          <p:nvPr/>
        </p:nvSpPr>
        <p:spPr>
          <a:xfrm>
            <a:off x="647407" y="1095781"/>
            <a:ext cx="2355654" cy="434010"/>
          </a:xfrm>
          <a:prstGeom prst="rect">
            <a:avLst/>
          </a:prstGeom>
          <a:noFill/>
          <a:ln w="12700" cap="flat" cmpd="sng" algn="ctr">
            <a:noFill/>
            <a:prstDash val="solid"/>
            <a:miter lim="800000"/>
          </a:ln>
          <a:effectLst/>
        </p:spPr>
        <p:txBody>
          <a:bodyPr rtlCol="0" anchor="ctr"/>
          <a:lstStyle/>
          <a:p>
            <a:pPr lvl="0" algn="ctr" defTabSz="685800">
              <a:defRPr/>
            </a:pPr>
            <a:endParaRPr lang="en-GB" sz="1050" b="1">
              <a:solidFill>
                <a:srgbClr val="50235B"/>
              </a:solidFill>
              <a:latin typeface="Arial" panose="020B0604020202020204" pitchFamily="34" charset="0"/>
              <a:cs typeface="Arial" panose="020B0604020202020204" pitchFamily="34" charset="0"/>
            </a:endParaRPr>
          </a:p>
        </p:txBody>
      </p:sp>
      <p:graphicFrame>
        <p:nvGraphicFramePr>
          <p:cNvPr id="5" name="Table 7">
            <a:extLst>
              <a:ext uri="{FF2B5EF4-FFF2-40B4-BE49-F238E27FC236}">
                <a16:creationId xmlns:a16="http://schemas.microsoft.com/office/drawing/2014/main" id="{1F73E11B-085A-AD47-B820-F62CD6BB7304}"/>
              </a:ext>
            </a:extLst>
          </p:cNvPr>
          <p:cNvGraphicFramePr>
            <a:graphicFrameLocks noGrp="1"/>
          </p:cNvGraphicFramePr>
          <p:nvPr>
            <p:extLst>
              <p:ext uri="{D42A27DB-BD31-4B8C-83A1-F6EECF244321}">
                <p14:modId xmlns:p14="http://schemas.microsoft.com/office/powerpoint/2010/main" val="4208228154"/>
              </p:ext>
            </p:extLst>
          </p:nvPr>
        </p:nvGraphicFramePr>
        <p:xfrm>
          <a:off x="510638" y="1095781"/>
          <a:ext cx="11443136" cy="5325660"/>
        </p:xfrm>
        <a:graphic>
          <a:graphicData uri="http://schemas.openxmlformats.org/drawingml/2006/table">
            <a:tbl>
              <a:tblPr firstRow="1" bandRow="1">
                <a:tableStyleId>{5C22544A-7EE6-4342-B048-85BDC9FD1C3A}</a:tableStyleId>
              </a:tblPr>
              <a:tblGrid>
                <a:gridCol w="718087">
                  <a:extLst>
                    <a:ext uri="{9D8B030D-6E8A-4147-A177-3AD203B41FA5}">
                      <a16:colId xmlns:a16="http://schemas.microsoft.com/office/drawing/2014/main" val="4209047126"/>
                    </a:ext>
                  </a:extLst>
                </a:gridCol>
                <a:gridCol w="3076339">
                  <a:extLst>
                    <a:ext uri="{9D8B030D-6E8A-4147-A177-3AD203B41FA5}">
                      <a16:colId xmlns:a16="http://schemas.microsoft.com/office/drawing/2014/main" val="1853970278"/>
                    </a:ext>
                  </a:extLst>
                </a:gridCol>
                <a:gridCol w="4585252">
                  <a:extLst>
                    <a:ext uri="{9D8B030D-6E8A-4147-A177-3AD203B41FA5}">
                      <a16:colId xmlns:a16="http://schemas.microsoft.com/office/drawing/2014/main" val="3087462113"/>
                    </a:ext>
                  </a:extLst>
                </a:gridCol>
                <a:gridCol w="556591">
                  <a:extLst>
                    <a:ext uri="{9D8B030D-6E8A-4147-A177-3AD203B41FA5}">
                      <a16:colId xmlns:a16="http://schemas.microsoft.com/office/drawing/2014/main" val="1029806020"/>
                    </a:ext>
                  </a:extLst>
                </a:gridCol>
                <a:gridCol w="556591">
                  <a:extLst>
                    <a:ext uri="{9D8B030D-6E8A-4147-A177-3AD203B41FA5}">
                      <a16:colId xmlns:a16="http://schemas.microsoft.com/office/drawing/2014/main" val="3714934659"/>
                    </a:ext>
                  </a:extLst>
                </a:gridCol>
                <a:gridCol w="556591">
                  <a:extLst>
                    <a:ext uri="{9D8B030D-6E8A-4147-A177-3AD203B41FA5}">
                      <a16:colId xmlns:a16="http://schemas.microsoft.com/office/drawing/2014/main" val="1845500442"/>
                    </a:ext>
                  </a:extLst>
                </a:gridCol>
                <a:gridCol w="750929">
                  <a:extLst>
                    <a:ext uri="{9D8B030D-6E8A-4147-A177-3AD203B41FA5}">
                      <a16:colId xmlns:a16="http://schemas.microsoft.com/office/drawing/2014/main" val="2590076437"/>
                    </a:ext>
                  </a:extLst>
                </a:gridCol>
                <a:gridCol w="642756">
                  <a:extLst>
                    <a:ext uri="{9D8B030D-6E8A-4147-A177-3AD203B41FA5}">
                      <a16:colId xmlns:a16="http://schemas.microsoft.com/office/drawing/2014/main" val="1385158084"/>
                    </a:ext>
                  </a:extLst>
                </a:gridCol>
              </a:tblGrid>
              <a:tr h="482274">
                <a:tc>
                  <a:txBody>
                    <a:bodyPr/>
                    <a:lstStyle/>
                    <a:p>
                      <a:pPr algn="ctr"/>
                      <a:r>
                        <a:rPr lang="en-GB" sz="900">
                          <a:solidFill>
                            <a:srgbClr val="50235C"/>
                          </a:solidFill>
                        </a:rPr>
                        <a:t>Roadmap ref</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r>
                        <a:rPr lang="en-GB" sz="900">
                          <a:solidFill>
                            <a:srgbClr val="50235C"/>
                          </a:solidFill>
                        </a:rPr>
                        <a:t>Future activity</a:t>
                      </a:r>
                      <a:endParaRPr lang="en-GB" sz="900"/>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algn="ctr" defTabSz="914400" rtl="0" eaLnBrk="1" fontAlgn="ctr" latinLnBrk="0" hangingPunct="1"/>
                      <a:r>
                        <a:rPr lang="en-GB" sz="900" b="1" kern="1200">
                          <a:solidFill>
                            <a:srgbClr val="50235C"/>
                          </a:solidFill>
                          <a:latin typeface="+mn-lt"/>
                          <a:ea typeface="+mn-ea"/>
                          <a:cs typeface="+mn-cs"/>
                        </a:rPr>
                        <a:t>Target outcome / Expected benefit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algn="ctr" defTabSz="914400" rtl="0" eaLnBrk="1" fontAlgn="ctr" latinLnBrk="0" hangingPunct="1"/>
                      <a:r>
                        <a:rPr lang="en-GB" sz="900" b="1" kern="1200">
                          <a:solidFill>
                            <a:srgbClr val="50235C"/>
                          </a:solidFill>
                          <a:latin typeface="+mn-lt"/>
                          <a:ea typeface="+mn-ea"/>
                          <a:cs typeface="+mn-cs"/>
                        </a:rPr>
                        <a:t>Impact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Ease</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algn="ctr" defTabSz="914400" rtl="0" eaLnBrk="1" fontAlgn="ctr" latinLnBrk="0" hangingPunct="1"/>
                      <a:r>
                        <a:rPr lang="en-GB" sz="900" b="1" kern="1200">
                          <a:solidFill>
                            <a:srgbClr val="50235C"/>
                          </a:solidFill>
                          <a:latin typeface="+mn-lt"/>
                          <a:ea typeface="+mn-ea"/>
                          <a:cs typeface="+mn-cs"/>
                        </a:rPr>
                        <a:t>Score</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algn="ctr"/>
                      <a:r>
                        <a:rPr lang="en-GB" sz="800">
                          <a:solidFill>
                            <a:srgbClr val="50235C"/>
                          </a:solidFill>
                        </a:rPr>
                        <a:t>Resource required</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r>
                        <a:rPr lang="en-GB" sz="900" b="1">
                          <a:solidFill>
                            <a:srgbClr val="50235C"/>
                          </a:solidFill>
                        </a:rPr>
                        <a:t>Short</a:t>
                      </a:r>
                    </a:p>
                    <a:p>
                      <a:r>
                        <a:rPr lang="en-GB" sz="900" b="1">
                          <a:solidFill>
                            <a:srgbClr val="50235C"/>
                          </a:solidFill>
                        </a:rPr>
                        <a:t>Medium</a:t>
                      </a:r>
                      <a:br>
                        <a:rPr lang="en-GB" sz="900" b="1">
                          <a:solidFill>
                            <a:srgbClr val="50235C"/>
                          </a:solidFill>
                        </a:rPr>
                      </a:br>
                      <a:r>
                        <a:rPr lang="en-GB" sz="900" b="1">
                          <a:solidFill>
                            <a:srgbClr val="50235C"/>
                          </a:solidFill>
                        </a:rPr>
                        <a:t>Long</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extLst>
                  <a:ext uri="{0D108BD9-81ED-4DB2-BD59-A6C34878D82A}">
                    <a16:rowId xmlns:a16="http://schemas.microsoft.com/office/drawing/2014/main" val="466195498"/>
                  </a:ext>
                </a:extLst>
              </a:tr>
              <a:tr h="48227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B1</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Expansion of Early Intervention Psychosis programme and development of At Risk Mental States</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96838" indent="-96838" algn="l" defTabSz="914400" rtl="0" eaLnBrk="1" fontAlgn="ctr" latinLnBrk="0" hangingPunct="1">
                        <a:buClr>
                          <a:srgbClr val="000000"/>
                        </a:buClr>
                        <a:buSzPts val="900"/>
                        <a:buFont typeface="Arial" panose="020B0604020202020204" pitchFamily="34" charset="0"/>
                        <a:buChar char="•"/>
                        <a:tabLst/>
                      </a:pPr>
                      <a:r>
                        <a:rPr lang="en-GB" sz="900" b="0" i="0" u="none" strike="noStrike" kern="1200">
                          <a:solidFill>
                            <a:schemeClr val="tx2">
                              <a:lumMod val="65000"/>
                              <a:lumOff val="35000"/>
                            </a:schemeClr>
                          </a:solidFill>
                          <a:effectLst/>
                          <a:latin typeface="Arial" panose="020B0604020202020204" pitchFamily="34" charset="0"/>
                          <a:ea typeface="+mn-ea"/>
                          <a:cs typeface="+mn-cs"/>
                        </a:rPr>
                        <a:t>Create more capacity to provide early intervention for those with psychosis to reduce admissions to A&amp;E, inpatient wards and other forms of compulsory treatment.  </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1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High</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106433146"/>
                  </a:ext>
                </a:extLst>
              </a:tr>
              <a:tr h="48227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B2</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Psychosocial review of anyone who has self harmed</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84150" indent="-87313" algn="l" defTabSz="914400" rtl="0" eaLnBrk="1" fontAlgn="ctr" latinLnBrk="0" hangingPunct="1">
                        <a:buClr>
                          <a:srgbClr val="000000"/>
                        </a:buClr>
                        <a:buSzPts val="900"/>
                        <a:buFont typeface="Arial" panose="020B0604020202020204" pitchFamily="34" charset="0"/>
                        <a:buChar char="•"/>
                        <a:tabLst/>
                      </a:pPr>
                      <a:r>
                        <a:rPr lang="en-GB" sz="900" b="0" i="0" u="none" strike="noStrike" kern="1200">
                          <a:solidFill>
                            <a:schemeClr val="tx2">
                              <a:lumMod val="65000"/>
                              <a:lumOff val="35000"/>
                            </a:schemeClr>
                          </a:solidFill>
                          <a:effectLst/>
                          <a:latin typeface="Arial" panose="020B0604020202020204" pitchFamily="34" charset="0"/>
                          <a:ea typeface="+mn-ea"/>
                          <a:cs typeface="+mn-cs"/>
                        </a:rPr>
                        <a:t>Minimise repeat occurrences by improving care and support to improve long term mental health outcomes.</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1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High</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Long</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2752216538"/>
                  </a:ext>
                </a:extLst>
              </a:tr>
              <a:tr h="48227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a:solidFill>
                            <a:srgbClr val="50235C"/>
                          </a:solidFill>
                        </a:rPr>
                        <a:t>B3</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A formalised alliance with the third sector across STW</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96838" indent="-96838" algn="l" defTabSz="914400" rtl="0" eaLnBrk="1" fontAlgn="ctr" latinLnBrk="0" hangingPunct="1">
                        <a:buClr>
                          <a:srgbClr val="000000"/>
                        </a:buClr>
                        <a:buSzPts val="900"/>
                        <a:buFont typeface="Arial" panose="020B0604020202020204" pitchFamily="34" charset="0"/>
                        <a:buChar char="•"/>
                        <a:tabLst/>
                      </a:pPr>
                      <a:r>
                        <a:rPr lang="en-GB" sz="900" b="0" i="0" u="none" strike="noStrike" kern="1200">
                          <a:solidFill>
                            <a:schemeClr val="tx2">
                              <a:lumMod val="65000"/>
                              <a:lumOff val="35000"/>
                            </a:schemeClr>
                          </a:solidFill>
                          <a:effectLst/>
                          <a:latin typeface="Arial" panose="020B0604020202020204" pitchFamily="34" charset="0"/>
                          <a:ea typeface="+mn-ea"/>
                          <a:cs typeface="+mn-cs"/>
                        </a:rPr>
                        <a:t>Working collaboratively with the third sector as equal partners and capitalising on their unique skill set and capacity to play a key role within the mental health system. </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10</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High</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4206596726"/>
                  </a:ext>
                </a:extLst>
              </a:tr>
              <a:tr h="48227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B4</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Lobby within ICS for greater spending on public health, social care and mental health spend</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84150" indent="-87313" algn="l" defTabSz="914400" rtl="0" eaLnBrk="1" fontAlgn="ctr" latinLnBrk="0" hangingPunct="1">
                        <a:buClr>
                          <a:srgbClr val="000000"/>
                        </a:buClr>
                        <a:buSzPts val="900"/>
                        <a:buFont typeface="Arial" panose="020B0604020202020204" pitchFamily="34" charset="0"/>
                        <a:buChar char="•"/>
                        <a:tabLst/>
                      </a:pPr>
                      <a:r>
                        <a:rPr lang="en-GB" sz="900" b="0" i="0" u="none" strike="noStrike" kern="1200">
                          <a:solidFill>
                            <a:schemeClr val="tx2">
                              <a:lumMod val="65000"/>
                              <a:lumOff val="35000"/>
                            </a:schemeClr>
                          </a:solidFill>
                          <a:effectLst/>
                          <a:latin typeface="Arial" panose="020B0604020202020204" pitchFamily="34" charset="0"/>
                          <a:ea typeface="+mn-ea"/>
                          <a:cs typeface="+mn-cs"/>
                        </a:rPr>
                        <a:t>Increase the resources and therefore service provision on offer to all residents.</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10</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1329607301"/>
                  </a:ext>
                </a:extLst>
              </a:tr>
              <a:tr h="48227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B5</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Universal training in active listening</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96838" indent="-96838" algn="l" defTabSz="914400" rtl="0" eaLnBrk="1" fontAlgn="ctr" latinLnBrk="0" hangingPunct="1">
                        <a:buClr>
                          <a:srgbClr val="000000"/>
                        </a:buClr>
                        <a:buSzPts val="900"/>
                        <a:buFont typeface="Arial" panose="020B0604020202020204" pitchFamily="34" charset="0"/>
                        <a:buChar char="•"/>
                        <a:tabLst/>
                      </a:pPr>
                      <a:r>
                        <a:rPr lang="en-GB" sz="900" b="0" i="0" u="none" strike="noStrike" kern="1200">
                          <a:solidFill>
                            <a:schemeClr val="tx2">
                              <a:lumMod val="65000"/>
                              <a:lumOff val="35000"/>
                            </a:schemeClr>
                          </a:solidFill>
                          <a:effectLst/>
                          <a:latin typeface="Arial" panose="020B0604020202020204" pitchFamily="34" charset="0"/>
                          <a:ea typeface="+mn-ea"/>
                          <a:cs typeface="+mn-cs"/>
                        </a:rPr>
                        <a:t>Shaping an environment that makes it easier for people to feel they can talk freely without being judged and feel understood. </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9</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1353710936"/>
                  </a:ext>
                </a:extLst>
              </a:tr>
              <a:tr h="48227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B6</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Promote physical activity across all services</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84150" indent="-87313" algn="l" defTabSz="914400" rtl="0" eaLnBrk="1" fontAlgn="ctr" latinLnBrk="0" hangingPunct="1">
                        <a:buClr>
                          <a:srgbClr val="000000"/>
                        </a:buClr>
                        <a:buSzPts val="900"/>
                        <a:buFont typeface="Arial" panose="020B0604020202020204" pitchFamily="34" charset="0"/>
                        <a:buChar char="•"/>
                        <a:tabLst/>
                      </a:pPr>
                      <a:r>
                        <a:rPr lang="en-GB" sz="900" b="0" i="0" u="none" strike="noStrike" kern="1200">
                          <a:solidFill>
                            <a:schemeClr val="tx2">
                              <a:lumMod val="65000"/>
                              <a:lumOff val="35000"/>
                            </a:schemeClr>
                          </a:solidFill>
                          <a:effectLst/>
                          <a:latin typeface="Arial" panose="020B0604020202020204" pitchFamily="34" charset="0"/>
                          <a:ea typeface="+mn-ea"/>
                          <a:cs typeface="+mn-cs"/>
                        </a:rPr>
                        <a:t>Improved health outcomes for mental health patients.</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9</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Low</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2151946253"/>
                  </a:ext>
                </a:extLst>
              </a:tr>
              <a:tr h="48227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B7</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Increased support, training and resource for primary care</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96838" indent="-96838" algn="l" defTabSz="914400" rtl="0" eaLnBrk="1" fontAlgn="ctr" latinLnBrk="0" hangingPunct="1">
                        <a:buClr>
                          <a:srgbClr val="000000"/>
                        </a:buClr>
                        <a:buSzPts val="900"/>
                        <a:buFont typeface="Arial" panose="020B0604020202020204" pitchFamily="34" charset="0"/>
                        <a:buChar char="•"/>
                        <a:tabLst/>
                      </a:pPr>
                      <a:r>
                        <a:rPr lang="en-GB" sz="900" b="0" i="0" u="none" strike="noStrike" kern="1200">
                          <a:solidFill>
                            <a:schemeClr val="tx2">
                              <a:lumMod val="65000"/>
                              <a:lumOff val="35000"/>
                            </a:schemeClr>
                          </a:solidFill>
                          <a:effectLst/>
                          <a:latin typeface="Arial" panose="020B0604020202020204" pitchFamily="34" charset="0"/>
                          <a:ea typeface="+mn-ea"/>
                          <a:cs typeface="+mn-cs"/>
                        </a:rPr>
                        <a:t>Improve the front line service offering for patients. Primary care is better equipped to deal with MH</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8</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High</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Long</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792501966"/>
                  </a:ext>
                </a:extLst>
              </a:tr>
              <a:tr h="48227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B8</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IAPT services needed to be more aligned and easier to access</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96838" indent="-96838" algn="l" defTabSz="914400" rtl="0" eaLnBrk="1" fontAlgn="ctr" latinLnBrk="0" hangingPunct="1">
                        <a:buClr>
                          <a:srgbClr val="000000"/>
                        </a:buClr>
                        <a:buSzPts val="900"/>
                        <a:buFont typeface="Arial" panose="020B0604020202020204" pitchFamily="34" charset="0"/>
                        <a:buChar char="•"/>
                        <a:tabLst/>
                      </a:pPr>
                      <a:r>
                        <a:rPr lang="en-GB" sz="900" b="0" i="0" u="none" strike="noStrike" kern="1200">
                          <a:solidFill>
                            <a:schemeClr val="tx2">
                              <a:lumMod val="65000"/>
                              <a:lumOff val="35000"/>
                            </a:schemeClr>
                          </a:solidFill>
                          <a:effectLst/>
                          <a:latin typeface="Arial" panose="020B0604020202020204" pitchFamily="34" charset="0"/>
                          <a:ea typeface="+mn-ea"/>
                          <a:cs typeface="+mn-cs"/>
                        </a:rPr>
                        <a:t>Standardising the IAPT service offering across the system will improve the consistency of service user outcomes.  </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8</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High</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4190610611"/>
                  </a:ext>
                </a:extLst>
              </a:tr>
              <a:tr h="48227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B9</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Positive risk taking - working together at an earlier stage</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indent="-80963" algn="l" defTabSz="914400" rtl="0" eaLnBrk="1" fontAlgn="ctr" latinLnBrk="0" hangingPunct="1">
                        <a:buClr>
                          <a:srgbClr val="000000"/>
                        </a:buClr>
                        <a:buSzPts val="900"/>
                        <a:buFont typeface="Arial" panose="020B0604020202020204" pitchFamily="34" charset="0"/>
                        <a:buChar char="•"/>
                        <a:tabLst/>
                      </a:pPr>
                      <a:r>
                        <a:rPr lang="en-GB" sz="900" b="0" i="0" u="none" strike="noStrike" kern="1200">
                          <a:solidFill>
                            <a:schemeClr val="tx2">
                              <a:lumMod val="65000"/>
                              <a:lumOff val="35000"/>
                            </a:schemeClr>
                          </a:solidFill>
                          <a:effectLst/>
                          <a:latin typeface="Arial" panose="020B0604020202020204" pitchFamily="34" charset="0"/>
                          <a:ea typeface="+mn-ea"/>
                          <a:cs typeface="+mn-cs"/>
                        </a:rPr>
                        <a:t>Patients feel more empowered to make decisions regarding their own    mental health and feel supported to take risks to enable personal development.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8</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Long</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3198809439"/>
                  </a:ext>
                </a:extLst>
              </a:tr>
              <a:tr h="48227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B10</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Informal advocacy - building relationships, helping give people a voice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84150" indent="-87313" algn="l" defTabSz="914400" rtl="0" eaLnBrk="1" fontAlgn="ctr" latinLnBrk="0" hangingPunct="1">
                        <a:buClr>
                          <a:srgbClr val="000000"/>
                        </a:buClr>
                        <a:buSzPts val="900"/>
                        <a:buFont typeface="Arial" panose="020B0604020202020204" pitchFamily="34" charset="0"/>
                        <a:buChar char="•"/>
                        <a:tabLst/>
                      </a:pPr>
                      <a:r>
                        <a:rPr lang="en-GB" sz="900" b="0" i="0" u="none" strike="noStrike" kern="1200">
                          <a:solidFill>
                            <a:schemeClr val="tx2">
                              <a:lumMod val="65000"/>
                              <a:lumOff val="35000"/>
                            </a:schemeClr>
                          </a:solidFill>
                          <a:effectLst/>
                          <a:latin typeface="Arial" panose="020B0604020202020204" pitchFamily="34" charset="0"/>
                          <a:ea typeface="+mn-ea"/>
                          <a:cs typeface="+mn-cs"/>
                        </a:rPr>
                        <a:t>People are supported to access services and receive care.</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6</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High</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Long</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2833564020"/>
                  </a:ext>
                </a:extLst>
              </a:tr>
            </a:tbl>
          </a:graphicData>
        </a:graphic>
      </p:graphicFrame>
      <p:graphicFrame>
        <p:nvGraphicFramePr>
          <p:cNvPr id="11" name="Table 10">
            <a:extLst>
              <a:ext uri="{FF2B5EF4-FFF2-40B4-BE49-F238E27FC236}">
                <a16:creationId xmlns:a16="http://schemas.microsoft.com/office/drawing/2014/main" id="{B24FEF09-15D0-EE49-B073-39F1F89B6819}"/>
              </a:ext>
            </a:extLst>
          </p:cNvPr>
          <p:cNvGraphicFramePr>
            <a:graphicFrameLocks noGrp="1"/>
          </p:cNvGraphicFramePr>
          <p:nvPr>
            <p:extLst>
              <p:ext uri="{D42A27DB-BD31-4B8C-83A1-F6EECF244321}">
                <p14:modId xmlns:p14="http://schemas.microsoft.com/office/powerpoint/2010/main" val="1095260840"/>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C"/>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pic>
        <p:nvPicPr>
          <p:cNvPr id="12" name="Graphic 11" descr="Open hand with plant with solid fill">
            <a:extLst>
              <a:ext uri="{FF2B5EF4-FFF2-40B4-BE49-F238E27FC236}">
                <a16:creationId xmlns:a16="http://schemas.microsoft.com/office/drawing/2014/main" id="{7AC9BCBC-A11C-294A-89A8-059994132B6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10638" y="133086"/>
            <a:ext cx="594000" cy="594000"/>
          </a:xfrm>
          <a:prstGeom prst="rect">
            <a:avLst/>
          </a:prstGeom>
        </p:spPr>
      </p:pic>
      <p:sp>
        <p:nvSpPr>
          <p:cNvPr id="13" name="Rectangle 12">
            <a:extLst>
              <a:ext uri="{FF2B5EF4-FFF2-40B4-BE49-F238E27FC236}">
                <a16:creationId xmlns:a16="http://schemas.microsoft.com/office/drawing/2014/main" id="{C330F91A-7B2E-DE49-8C64-0C6FD24DEC39}"/>
              </a:ext>
            </a:extLst>
          </p:cNvPr>
          <p:cNvSpPr/>
          <p:nvPr/>
        </p:nvSpPr>
        <p:spPr>
          <a:xfrm>
            <a:off x="8462819" y="184705"/>
            <a:ext cx="1931224" cy="78568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panose="020B0604020202020204"/>
                <a:ea typeface="+mn-ea"/>
                <a:cs typeface="+mn-cs"/>
              </a:rPr>
              <a:t>IMPACT:        </a:t>
            </a: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1 = Low Impact </a:t>
            </a:r>
            <a:b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                       5 = High impa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panose="020B0604020202020204"/>
                <a:ea typeface="+mn-ea"/>
                <a:cs typeface="+mn-cs"/>
              </a:rPr>
              <a:t>EASE:            </a:t>
            </a: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1 = Difficult</a:t>
            </a:r>
            <a:b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                       5 = Straightforward</a:t>
            </a:r>
          </a:p>
          <a:p>
            <a:pPr>
              <a:defRPr/>
            </a:pPr>
            <a:r>
              <a:rPr lang="en-GB" sz="800" b="1">
                <a:solidFill>
                  <a:srgbClr val="000000"/>
                </a:solidFill>
              </a:rPr>
              <a:t>RESOURCE:  </a:t>
            </a:r>
            <a:r>
              <a:rPr lang="en-GB" sz="800">
                <a:solidFill>
                  <a:srgbClr val="000000"/>
                </a:solidFill>
              </a:rPr>
              <a:t>Low, Medium, High </a:t>
            </a:r>
          </a:p>
        </p:txBody>
      </p:sp>
      <p:sp>
        <p:nvSpPr>
          <p:cNvPr id="14" name="Rectangle 13">
            <a:extLst>
              <a:ext uri="{FF2B5EF4-FFF2-40B4-BE49-F238E27FC236}">
                <a16:creationId xmlns:a16="http://schemas.microsoft.com/office/drawing/2014/main" id="{C5E57BA6-B90A-244D-B6C0-B6EF8EA125F1}"/>
              </a:ext>
            </a:extLst>
          </p:cNvPr>
          <p:cNvSpPr/>
          <p:nvPr/>
        </p:nvSpPr>
        <p:spPr>
          <a:xfrm>
            <a:off x="10394043" y="184705"/>
            <a:ext cx="1442357" cy="78568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00" b="1">
                <a:solidFill>
                  <a:srgbClr val="000000"/>
                </a:solidFill>
                <a:latin typeface="Arial" panose="020B0604020202020204"/>
              </a:rPr>
              <a:t>SHORT</a:t>
            </a:r>
            <a:r>
              <a:rPr lang="en-GB" sz="900">
                <a:solidFill>
                  <a:srgbClr val="000000"/>
                </a:solidFill>
                <a:latin typeface="Arial" panose="020B0604020202020204"/>
              </a:rPr>
              <a:t> =   0-6 months</a:t>
            </a:r>
          </a:p>
          <a:p>
            <a:r>
              <a:rPr lang="en-GB" sz="900" b="1">
                <a:solidFill>
                  <a:srgbClr val="000000"/>
                </a:solidFill>
                <a:latin typeface="Arial" panose="020B0604020202020204"/>
              </a:rPr>
              <a:t>MEDIUM</a:t>
            </a:r>
            <a:r>
              <a:rPr lang="en-GB" sz="900">
                <a:solidFill>
                  <a:srgbClr val="000000"/>
                </a:solidFill>
                <a:latin typeface="Arial" panose="020B0604020202020204"/>
              </a:rPr>
              <a:t> = 6-18 months</a:t>
            </a:r>
          </a:p>
          <a:p>
            <a:r>
              <a:rPr lang="en-GB" sz="900" b="1">
                <a:solidFill>
                  <a:srgbClr val="000000"/>
                </a:solidFill>
                <a:latin typeface="Arial" panose="020B0604020202020204"/>
              </a:rPr>
              <a:t>LONG</a:t>
            </a:r>
            <a:r>
              <a:rPr lang="en-GB" sz="900">
                <a:solidFill>
                  <a:srgbClr val="000000"/>
                </a:solidFill>
                <a:latin typeface="Arial" panose="020B0604020202020204"/>
              </a:rPr>
              <a:t> =     18 months +</a:t>
            </a:r>
          </a:p>
        </p:txBody>
      </p:sp>
    </p:spTree>
    <p:extLst>
      <p:ext uri="{BB962C8B-B14F-4D97-AF65-F5344CB8AC3E}">
        <p14:creationId xmlns:p14="http://schemas.microsoft.com/office/powerpoint/2010/main" val="145432465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0705"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en-IN" sz="2800">
              <a:solidFill>
                <a:srgbClr val="FFFFFF"/>
              </a:solidFill>
              <a:sym typeface="Arial" panose="020B0604020202020204" pitchFamily="34" charset="0"/>
            </a:endParaRPr>
          </a:p>
        </p:txBody>
      </p:sp>
      <p:sp>
        <p:nvSpPr>
          <p:cNvPr id="2" name="Title 1"/>
          <p:cNvSpPr>
            <a:spLocks noGrp="1"/>
          </p:cNvSpPr>
          <p:nvPr>
            <p:ph type="title"/>
          </p:nvPr>
        </p:nvSpPr>
        <p:spPr>
          <a:xfrm>
            <a:off x="1199947" y="297277"/>
            <a:ext cx="8711496" cy="434010"/>
          </a:xfrm>
          <a:prstGeom prst="rect">
            <a:avLst/>
          </a:prstGeom>
        </p:spPr>
        <p:txBody>
          <a:bodyPr/>
          <a:lstStyle/>
          <a:p>
            <a:r>
              <a:rPr lang="en-GB">
                <a:solidFill>
                  <a:srgbClr val="50235B"/>
                </a:solidFill>
              </a:rPr>
              <a:t>Easy and timely access to support and services</a:t>
            </a:r>
            <a:endParaRPr lang="en-IN"/>
          </a:p>
        </p:txBody>
      </p:sp>
      <p:sp>
        <p:nvSpPr>
          <p:cNvPr id="6" name="Footer Placeholder 5">
            <a:extLst>
              <a:ext uri="{FF2B5EF4-FFF2-40B4-BE49-F238E27FC236}">
                <a16:creationId xmlns:a16="http://schemas.microsoft.com/office/drawing/2014/main" id="{62E3292C-AE15-8E46-8E62-F9C713150B0B}"/>
              </a:ext>
            </a:extLst>
          </p:cNvPr>
          <p:cNvSpPr>
            <a:spLocks noGrp="1"/>
          </p:cNvSpPr>
          <p:nvPr>
            <p:ph type="ftr" sz="quarter" idx="14"/>
          </p:nvPr>
        </p:nvSpPr>
        <p:spPr>
          <a:xfrm>
            <a:off x="6570" y="6674068"/>
            <a:ext cx="1193377" cy="183932"/>
          </a:xfrm>
        </p:spPr>
        <p:txBody>
          <a:bodyPr/>
          <a:lstStyle/>
          <a:p>
            <a:r>
              <a:rPr lang="en-GB"/>
              <a:t>© Moorhouse 2021  </a:t>
            </a:r>
          </a:p>
        </p:txBody>
      </p:sp>
      <p:sp>
        <p:nvSpPr>
          <p:cNvPr id="21" name="Rectangle 20">
            <a:extLst>
              <a:ext uri="{FF2B5EF4-FFF2-40B4-BE49-F238E27FC236}">
                <a16:creationId xmlns:a16="http://schemas.microsoft.com/office/drawing/2014/main" id="{FE740462-AEED-0B41-92DC-3A54DEB718C8}"/>
              </a:ext>
            </a:extLst>
          </p:cNvPr>
          <p:cNvSpPr/>
          <p:nvPr/>
        </p:nvSpPr>
        <p:spPr>
          <a:xfrm>
            <a:off x="647407" y="1095781"/>
            <a:ext cx="2355654" cy="434010"/>
          </a:xfrm>
          <a:prstGeom prst="rect">
            <a:avLst/>
          </a:prstGeom>
          <a:noFill/>
          <a:ln w="12700" cap="flat" cmpd="sng" algn="ctr">
            <a:noFill/>
            <a:prstDash val="solid"/>
            <a:miter lim="800000"/>
          </a:ln>
          <a:effectLst/>
        </p:spPr>
        <p:txBody>
          <a:bodyPr rtlCol="0" anchor="ctr"/>
          <a:lstStyle/>
          <a:p>
            <a:pPr lvl="0" algn="ctr" defTabSz="685800">
              <a:defRPr/>
            </a:pPr>
            <a:endParaRPr lang="en-GB" sz="1050" b="1">
              <a:solidFill>
                <a:srgbClr val="50235B"/>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F19D9738-DFA2-C84F-82CF-6F85573EA287}"/>
              </a:ext>
            </a:extLst>
          </p:cNvPr>
          <p:cNvSpPr txBox="1"/>
          <p:nvPr/>
        </p:nvSpPr>
        <p:spPr>
          <a:xfrm>
            <a:off x="6691734" y="4304380"/>
            <a:ext cx="184731" cy="369332"/>
          </a:xfrm>
          <a:prstGeom prst="rect">
            <a:avLst/>
          </a:prstGeom>
          <a:noFill/>
        </p:spPr>
        <p:txBody>
          <a:bodyPr wrap="none" rtlCol="0">
            <a:spAutoFit/>
          </a:bodyPr>
          <a:lstStyle/>
          <a:p>
            <a:endParaRPr lang="en-US"/>
          </a:p>
        </p:txBody>
      </p:sp>
      <p:sp>
        <p:nvSpPr>
          <p:cNvPr id="51" name="Rectangle 50">
            <a:extLst>
              <a:ext uri="{FF2B5EF4-FFF2-40B4-BE49-F238E27FC236}">
                <a16:creationId xmlns:a16="http://schemas.microsoft.com/office/drawing/2014/main" id="{23228B87-D8A3-AC4B-8389-4FD6CB03BCB4}"/>
              </a:ext>
            </a:extLst>
          </p:cNvPr>
          <p:cNvSpPr/>
          <p:nvPr/>
        </p:nvSpPr>
        <p:spPr>
          <a:xfrm>
            <a:off x="6236659" y="5513696"/>
            <a:ext cx="5509862" cy="1852878"/>
          </a:xfrm>
          <a:prstGeom prst="rect">
            <a:avLst/>
          </a:prstGeom>
          <a:noFill/>
          <a:ln w="12700" cap="flat" cmpd="sng" algn="ctr">
            <a:noFill/>
            <a:prstDash val="solid"/>
            <a:miter lim="800000"/>
          </a:ln>
          <a:effectLst/>
        </p:spPr>
        <p:txBody>
          <a:bodyPr rtlCol="0" anchor="t"/>
          <a:lstStyle/>
          <a:p>
            <a:pPr defTabSz="685800" fontAlgn="base">
              <a:spcBef>
                <a:spcPts val="600"/>
              </a:spcBef>
              <a:spcAft>
                <a:spcPts val="600"/>
              </a:spcAft>
            </a:pPr>
            <a:endParaRPr lang="en-GB" sz="1000">
              <a:solidFill>
                <a:srgbClr val="50235B"/>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187D98F4-EB5A-E04B-B1AB-3062BCA3330F}"/>
              </a:ext>
            </a:extLst>
          </p:cNvPr>
          <p:cNvSpPr/>
          <p:nvPr/>
        </p:nvSpPr>
        <p:spPr>
          <a:xfrm>
            <a:off x="510638" y="855283"/>
            <a:ext cx="11348270" cy="6912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200" b="1">
                <a:solidFill>
                  <a:srgbClr val="50235C"/>
                </a:solidFill>
                <a:latin typeface="Arial" panose="020B0604020202020204" pitchFamily="34" charset="0"/>
                <a:cs typeface="Arial" panose="020B0604020202020204" pitchFamily="34" charset="0"/>
              </a:rPr>
              <a:t>Easy and timely support to the right treatment and support services, which are underpinned by hope and optimism are essential to supporting the population experience their best mental health and wellbeing. </a:t>
            </a:r>
          </a:p>
        </p:txBody>
      </p:sp>
      <p:grpSp>
        <p:nvGrpSpPr>
          <p:cNvPr id="20" name="Group 19">
            <a:extLst>
              <a:ext uri="{FF2B5EF4-FFF2-40B4-BE49-F238E27FC236}">
                <a16:creationId xmlns:a16="http://schemas.microsoft.com/office/drawing/2014/main" id="{856DAFD8-FA0A-4949-9E59-48AAEE3EBE5A}"/>
              </a:ext>
            </a:extLst>
          </p:cNvPr>
          <p:cNvGrpSpPr/>
          <p:nvPr/>
        </p:nvGrpSpPr>
        <p:grpSpPr>
          <a:xfrm>
            <a:off x="510627" y="1576689"/>
            <a:ext cx="5444697" cy="4475453"/>
            <a:chOff x="4782787" y="1094608"/>
            <a:chExt cx="4065938" cy="3112877"/>
          </a:xfrm>
        </p:grpSpPr>
        <p:sp>
          <p:nvSpPr>
            <p:cNvPr id="23" name="Rectangle 22">
              <a:extLst>
                <a:ext uri="{FF2B5EF4-FFF2-40B4-BE49-F238E27FC236}">
                  <a16:creationId xmlns:a16="http://schemas.microsoft.com/office/drawing/2014/main" id="{CB1214F5-503D-D44D-8085-7461DE245F94}"/>
                </a:ext>
              </a:extLst>
            </p:cNvPr>
            <p:cNvSpPr/>
            <p:nvPr/>
          </p:nvSpPr>
          <p:spPr>
            <a:xfrm>
              <a:off x="4782787" y="1094608"/>
              <a:ext cx="4065938" cy="199823"/>
            </a:xfrm>
            <a:prstGeom prst="rect">
              <a:avLst/>
            </a:prstGeom>
            <a:solidFill>
              <a:srgbClr val="F0ECF3"/>
            </a:solidFill>
            <a:ln w="9525" cap="flat" cmpd="sng" algn="ctr">
              <a:solidFill>
                <a:srgbClr val="F0ECF3"/>
              </a:solidFill>
              <a:prstDash val="solid"/>
              <a:miter lim="800000"/>
            </a:ln>
            <a:effectLst/>
          </p:spPr>
          <p:txBody>
            <a:bodyPr rtlCol="0" anchor="ctr"/>
            <a:lstStyle/>
            <a:p>
              <a:pPr defTabSz="914377">
                <a:defRPr/>
              </a:pPr>
              <a:r>
                <a:rPr lang="en-GB" sz="1067" b="1">
                  <a:solidFill>
                    <a:srgbClr val="50235B"/>
                  </a:solidFill>
                  <a:latin typeface="Arial" panose="020B0604020202020204"/>
                </a:rPr>
                <a:t>Where are we now?</a:t>
              </a:r>
            </a:p>
          </p:txBody>
        </p:sp>
        <p:sp>
          <p:nvSpPr>
            <p:cNvPr id="24" name="Rectangle 23">
              <a:extLst>
                <a:ext uri="{FF2B5EF4-FFF2-40B4-BE49-F238E27FC236}">
                  <a16:creationId xmlns:a16="http://schemas.microsoft.com/office/drawing/2014/main" id="{BC3BF939-741A-E546-81CE-0D14DDE2E26C}"/>
                </a:ext>
              </a:extLst>
            </p:cNvPr>
            <p:cNvSpPr/>
            <p:nvPr/>
          </p:nvSpPr>
          <p:spPr>
            <a:xfrm>
              <a:off x="4782787" y="1294431"/>
              <a:ext cx="4065938" cy="2913054"/>
            </a:xfrm>
            <a:prstGeom prst="rect">
              <a:avLst/>
            </a:prstGeom>
            <a:noFill/>
            <a:ln w="3175">
              <a:solidFill>
                <a:srgbClr val="F0ECF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685800">
                <a:spcBef>
                  <a:spcPts val="500"/>
                </a:spcBef>
                <a:spcAft>
                  <a:spcPts val="500"/>
                </a:spcAft>
                <a:defRPr/>
              </a:pPr>
              <a:r>
                <a:rPr lang="en-GB" sz="1000">
                  <a:solidFill>
                    <a:schemeClr val="tx2">
                      <a:lumMod val="65000"/>
                      <a:lumOff val="35000"/>
                    </a:schemeClr>
                  </a:solidFill>
                  <a:latin typeface="Arial" panose="020B0604020202020204" pitchFamily="34" charset="0"/>
                  <a:cs typeface="Arial" panose="020B0604020202020204" pitchFamily="34" charset="0"/>
                </a:rPr>
                <a:t>Mental health problems are the largest single cause of disability, representing a quarter of the national burden of ill-health, and are the leading cause of sickness absence in the UK. People of all ages with mental health problems should receive at least the equivalent level of access to timely, evidence-based, clinically effective, recovery focused, safe and personalised care as people with a physical health condition.</a:t>
              </a:r>
            </a:p>
            <a:p>
              <a:pPr marL="171450" lvl="0" indent="-171450" defTabSz="685800" fontAlgn="base">
                <a:spcBef>
                  <a:spcPts val="500"/>
                </a:spcBef>
                <a:spcAft>
                  <a:spcPts val="500"/>
                </a:spcAft>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Single point of contact for enquires and referrals </a:t>
              </a:r>
              <a:r>
                <a:rPr lang="en-GB" sz="1000" b="1">
                  <a:solidFill>
                    <a:srgbClr val="50235C"/>
                  </a:solidFill>
                  <a:latin typeface="Arial" panose="020B0604020202020204" pitchFamily="34" charset="0"/>
                  <a:cs typeface="Arial" panose="020B0604020202020204" pitchFamily="34" charset="0"/>
                </a:rPr>
                <a:t>24/7 hotline </a:t>
              </a:r>
              <a:r>
                <a:rPr lang="en-GB" sz="1000">
                  <a:solidFill>
                    <a:schemeClr val="tx2">
                      <a:lumMod val="65000"/>
                      <a:lumOff val="35000"/>
                    </a:schemeClr>
                  </a:solidFill>
                  <a:latin typeface="Arial" panose="020B0604020202020204" pitchFamily="34" charset="0"/>
                  <a:cs typeface="Arial" panose="020B0604020202020204" pitchFamily="34" charset="0"/>
                </a:rPr>
                <a:t>run by STW access team.</a:t>
              </a:r>
            </a:p>
            <a:p>
              <a:pPr marL="171450" lvl="0" indent="-171450" defTabSz="685800" fontAlgn="base">
                <a:spcBef>
                  <a:spcPts val="500"/>
                </a:spcBef>
                <a:spcAft>
                  <a:spcPts val="500"/>
                </a:spcAft>
                <a:buFont typeface="Arial" panose="020B0604020202020204" pitchFamily="34" charset="0"/>
                <a:buChar char="•"/>
                <a:defRPr/>
              </a:pPr>
              <a:r>
                <a:rPr lang="en-GB" sz="1000" b="1">
                  <a:solidFill>
                    <a:srgbClr val="50235C"/>
                  </a:solidFill>
                  <a:latin typeface="Arial" panose="020B0604020202020204" pitchFamily="34" charset="0"/>
                  <a:cs typeface="Arial" panose="020B0604020202020204" pitchFamily="34" charset="0"/>
                </a:rPr>
                <a:t>Crisis alternatives to admission</a:t>
              </a:r>
              <a:r>
                <a:rPr lang="en-GB" sz="1000">
                  <a:solidFill>
                    <a:srgbClr val="50235C"/>
                  </a:solidFill>
                  <a:latin typeface="Arial" panose="020B0604020202020204" pitchFamily="34" charset="0"/>
                  <a:cs typeface="Arial" panose="020B0604020202020204" pitchFamily="34" charset="0"/>
                </a:rPr>
                <a:t> </a:t>
              </a:r>
              <a:r>
                <a:rPr lang="en-GB" sz="1000">
                  <a:solidFill>
                    <a:schemeClr val="tx2">
                      <a:lumMod val="65000"/>
                      <a:lumOff val="35000"/>
                    </a:schemeClr>
                  </a:solidFill>
                  <a:latin typeface="Arial" panose="020B0604020202020204" pitchFamily="34" charset="0"/>
                  <a:cs typeface="Arial" panose="020B0604020202020204" pitchFamily="34" charset="0"/>
                </a:rPr>
                <a:t>services such as: ‘The Sanctuary’ run by Shropshire MIND and ‘Branches’ in Telford.</a:t>
              </a:r>
            </a:p>
            <a:p>
              <a:pPr marL="171450" indent="-171450" defTabSz="685800" fontAlgn="base">
                <a:spcBef>
                  <a:spcPts val="500"/>
                </a:spcBef>
                <a:spcAft>
                  <a:spcPts val="500"/>
                </a:spcAft>
                <a:buFont typeface="Arial" panose="020B0604020202020204" pitchFamily="34" charset="0"/>
                <a:buChar char="•"/>
                <a:defRPr/>
              </a:pPr>
              <a:r>
                <a:rPr lang="en-GB" sz="1000" b="1">
                  <a:solidFill>
                    <a:srgbClr val="50235C"/>
                  </a:solidFill>
                  <a:latin typeface="Arial" panose="020B0604020202020204" pitchFamily="34" charset="0"/>
                  <a:cs typeface="Arial" panose="020B0604020202020204" pitchFamily="34" charset="0"/>
                </a:rPr>
                <a:t>Hospital avoidance scheme </a:t>
              </a:r>
              <a:r>
                <a:rPr lang="en-GB" sz="1000">
                  <a:solidFill>
                    <a:schemeClr val="tx2">
                      <a:lumMod val="65000"/>
                      <a:lumOff val="35000"/>
                    </a:schemeClr>
                  </a:solidFill>
                  <a:latin typeface="Arial" panose="020B0604020202020204" pitchFamily="34" charset="0"/>
                  <a:cs typeface="Arial" panose="020B0604020202020204" pitchFamily="34" charset="0"/>
                </a:rPr>
                <a:t>for people with dementia reducing the need for in-patient admission</a:t>
              </a:r>
            </a:p>
            <a:p>
              <a:pPr marL="171450" lvl="0" indent="-171450" defTabSz="685800" fontAlgn="base">
                <a:spcBef>
                  <a:spcPts val="500"/>
                </a:spcBef>
                <a:spcAft>
                  <a:spcPts val="500"/>
                </a:spcAft>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The </a:t>
              </a:r>
              <a:r>
                <a:rPr lang="en-GB" sz="1000" b="1">
                  <a:solidFill>
                    <a:srgbClr val="50235C"/>
                  </a:solidFill>
                  <a:latin typeface="Arial" panose="020B0604020202020204" pitchFamily="34" charset="0"/>
                  <a:cs typeface="Arial" panose="020B0604020202020204" pitchFamily="34" charset="0"/>
                </a:rPr>
                <a:t>Telford Trauma pathway </a:t>
              </a:r>
              <a:r>
                <a:rPr lang="en-GB" sz="1000">
                  <a:solidFill>
                    <a:schemeClr val="tx2">
                      <a:lumMod val="65000"/>
                      <a:lumOff val="35000"/>
                    </a:schemeClr>
                  </a:solidFill>
                  <a:latin typeface="Arial" panose="020B0604020202020204" pitchFamily="34" charset="0"/>
                  <a:cs typeface="Arial" panose="020B0604020202020204" pitchFamily="34" charset="0"/>
                </a:rPr>
                <a:t>was commissioned as waits for non-IAPT treatment for people with a complex sexual or other complex trauma were very long. This service was </a:t>
              </a:r>
              <a:r>
                <a:rPr lang="en-GB" sz="1000" b="1">
                  <a:solidFill>
                    <a:srgbClr val="50235C"/>
                  </a:solidFill>
                  <a:latin typeface="Arial" panose="020B0604020202020204" pitchFamily="34" charset="0"/>
                  <a:cs typeface="Arial" panose="020B0604020202020204" pitchFamily="34" charset="0"/>
                </a:rPr>
                <a:t>evaluated to be extremely effective </a:t>
              </a:r>
              <a:r>
                <a:rPr lang="en-GB" sz="1000">
                  <a:solidFill>
                    <a:schemeClr val="tx2">
                      <a:lumMod val="65000"/>
                      <a:lumOff val="35000"/>
                    </a:schemeClr>
                  </a:solidFill>
                  <a:latin typeface="Arial" panose="020B0604020202020204" pitchFamily="34" charset="0"/>
                  <a:cs typeface="Arial" panose="020B0604020202020204" pitchFamily="34" charset="0"/>
                </a:rPr>
                <a:t>however due to demand, waits for this service are up to two years.</a:t>
              </a:r>
            </a:p>
            <a:p>
              <a:pPr marL="171450" lvl="0" indent="-171450" defTabSz="685800" fontAlgn="base">
                <a:spcBef>
                  <a:spcPts val="500"/>
                </a:spcBef>
                <a:spcAft>
                  <a:spcPts val="500"/>
                </a:spcAft>
                <a:buFont typeface="Arial" panose="020B0604020202020204" pitchFamily="34" charset="0"/>
                <a:buChar char="•"/>
                <a:defRPr/>
              </a:pPr>
              <a:r>
                <a:rPr lang="en-GB" sz="1000" b="1">
                  <a:solidFill>
                    <a:srgbClr val="50235C"/>
                  </a:solidFill>
                  <a:latin typeface="Arial" panose="020B0604020202020204" pitchFamily="34" charset="0"/>
                  <a:cs typeface="Arial" panose="020B0604020202020204" pitchFamily="34" charset="0"/>
                </a:rPr>
                <a:t>Weekend ward service for mental health service users</a:t>
              </a:r>
              <a:r>
                <a:rPr lang="en-GB" sz="1000">
                  <a:solidFill>
                    <a:srgbClr val="50235C"/>
                  </a:solidFill>
                  <a:latin typeface="Arial" panose="020B0604020202020204" pitchFamily="34" charset="0"/>
                  <a:cs typeface="Arial" panose="020B0604020202020204" pitchFamily="34" charset="0"/>
                </a:rPr>
                <a:t> </a:t>
              </a:r>
              <a:r>
                <a:rPr lang="en-GB" sz="1000" b="1">
                  <a:solidFill>
                    <a:srgbClr val="50235C"/>
                  </a:solidFill>
                  <a:latin typeface="Arial" panose="020B0604020202020204" pitchFamily="34" charset="0"/>
                  <a:cs typeface="Arial" panose="020B0604020202020204" pitchFamily="34" charset="0"/>
                </a:rPr>
                <a:t>in care homes </a:t>
              </a:r>
              <a:r>
                <a:rPr lang="en-GB" sz="1000">
                  <a:solidFill>
                    <a:schemeClr val="tx2">
                      <a:lumMod val="65000"/>
                      <a:lumOff val="35000"/>
                    </a:schemeClr>
                  </a:solidFill>
                  <a:latin typeface="Arial" panose="020B0604020202020204" pitchFamily="34" charset="0"/>
                  <a:cs typeface="Arial" panose="020B0604020202020204" pitchFamily="34" charset="0"/>
                </a:rPr>
                <a:t>where staff proactively care for patients in their primary residence. </a:t>
              </a:r>
            </a:p>
            <a:p>
              <a:pPr marL="171450" indent="-171450" defTabSz="685800" fontAlgn="base">
                <a:spcBef>
                  <a:spcPts val="500"/>
                </a:spcBef>
                <a:spcAft>
                  <a:spcPts val="500"/>
                </a:spcAft>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There are </a:t>
              </a:r>
              <a:r>
                <a:rPr lang="en-GB" sz="1000" b="1">
                  <a:solidFill>
                    <a:srgbClr val="50235C"/>
                  </a:solidFill>
                  <a:latin typeface="Arial" panose="020B0604020202020204" pitchFamily="34" charset="0"/>
                  <a:cs typeface="Arial" panose="020B0604020202020204" pitchFamily="34" charset="0"/>
                </a:rPr>
                <a:t>significant waiting lists </a:t>
              </a:r>
              <a:r>
                <a:rPr lang="en-GB" sz="1000">
                  <a:solidFill>
                    <a:schemeClr val="tx2">
                      <a:lumMod val="65000"/>
                      <a:lumOff val="35000"/>
                    </a:schemeClr>
                  </a:solidFill>
                  <a:latin typeface="Arial" panose="020B0604020202020204" pitchFamily="34" charset="0"/>
                  <a:cs typeface="Arial" panose="020B0604020202020204" pitchFamily="34" charset="0"/>
                </a:rPr>
                <a:t>for a range of statutory services across the ICS as a result of both high demand and limited resources, this results in patients not always getting care in an adequate amount of time. </a:t>
              </a:r>
            </a:p>
            <a:p>
              <a:pPr marL="171450" indent="-171450" defTabSz="685800" fontAlgn="base">
                <a:spcBef>
                  <a:spcPts val="500"/>
                </a:spcBef>
                <a:spcAft>
                  <a:spcPts val="500"/>
                </a:spcAft>
                <a:buFont typeface="Arial" panose="020B0604020202020204" pitchFamily="34" charset="0"/>
                <a:buChar char="•"/>
                <a:defRPr/>
              </a:pPr>
              <a:r>
                <a:rPr lang="en-US" sz="1000">
                  <a:solidFill>
                    <a:schemeClr val="tx2">
                      <a:lumMod val="65000"/>
                      <a:lumOff val="35000"/>
                    </a:schemeClr>
                  </a:solidFill>
                  <a:latin typeface="Arial" panose="020B0604020202020204" pitchFamily="34" charset="0"/>
                  <a:cs typeface="Arial" panose="020B0604020202020204" pitchFamily="34" charset="0"/>
                </a:rPr>
                <a:t>There </a:t>
              </a:r>
              <a:r>
                <a:rPr lang="en-US" sz="1000" b="1">
                  <a:solidFill>
                    <a:srgbClr val="50235C"/>
                  </a:solidFill>
                  <a:latin typeface="Arial" panose="020B0604020202020204" pitchFamily="34" charset="0"/>
                  <a:cs typeface="Arial" panose="020B0604020202020204" pitchFamily="34" charset="0"/>
                </a:rPr>
                <a:t>isn’t always an agreed process for stepping up patients </a:t>
              </a:r>
              <a:r>
                <a:rPr lang="en-US" sz="1000">
                  <a:solidFill>
                    <a:schemeClr val="tx2">
                      <a:lumMod val="65000"/>
                      <a:lumOff val="35000"/>
                    </a:schemeClr>
                  </a:solidFill>
                  <a:latin typeface="Arial" panose="020B0604020202020204" pitchFamily="34" charset="0"/>
                  <a:cs typeface="Arial" panose="020B0604020202020204" pitchFamily="34" charset="0"/>
                </a:rPr>
                <a:t>with complex needs. Meaning patients can get sent down the wrong pathways.  </a:t>
              </a:r>
              <a:endParaRPr lang="en-GB" sz="1000">
                <a:solidFill>
                  <a:schemeClr val="tx2">
                    <a:lumMod val="65000"/>
                    <a:lumOff val="35000"/>
                  </a:schemeClr>
                </a:solidFill>
                <a:latin typeface="Arial" panose="020B0604020202020204" pitchFamily="34" charset="0"/>
                <a:cs typeface="Arial" panose="020B0604020202020204" pitchFamily="34" charset="0"/>
              </a:endParaRPr>
            </a:p>
          </p:txBody>
        </p:sp>
      </p:grpSp>
      <p:grpSp>
        <p:nvGrpSpPr>
          <p:cNvPr id="25" name="Group 24">
            <a:extLst>
              <a:ext uri="{FF2B5EF4-FFF2-40B4-BE49-F238E27FC236}">
                <a16:creationId xmlns:a16="http://schemas.microsoft.com/office/drawing/2014/main" id="{6E749FC9-89E1-124F-A832-F939520B97F7}"/>
              </a:ext>
            </a:extLst>
          </p:cNvPr>
          <p:cNvGrpSpPr/>
          <p:nvPr/>
        </p:nvGrpSpPr>
        <p:grpSpPr>
          <a:xfrm>
            <a:off x="6414200" y="1576689"/>
            <a:ext cx="5444697" cy="2041104"/>
            <a:chOff x="4782787" y="1094608"/>
            <a:chExt cx="4065938" cy="1419679"/>
          </a:xfrm>
        </p:grpSpPr>
        <p:sp>
          <p:nvSpPr>
            <p:cNvPr id="26" name="Rectangle 25">
              <a:extLst>
                <a:ext uri="{FF2B5EF4-FFF2-40B4-BE49-F238E27FC236}">
                  <a16:creationId xmlns:a16="http://schemas.microsoft.com/office/drawing/2014/main" id="{E25E26F4-E637-704F-B12F-70168E4D4086}"/>
                </a:ext>
              </a:extLst>
            </p:cNvPr>
            <p:cNvSpPr/>
            <p:nvPr/>
          </p:nvSpPr>
          <p:spPr>
            <a:xfrm>
              <a:off x="4782787" y="1094608"/>
              <a:ext cx="4065938" cy="199823"/>
            </a:xfrm>
            <a:prstGeom prst="rect">
              <a:avLst/>
            </a:prstGeom>
            <a:solidFill>
              <a:srgbClr val="F0ECF3"/>
            </a:solidFill>
            <a:ln w="9525" cap="flat" cmpd="sng" algn="ctr">
              <a:solidFill>
                <a:srgbClr val="F0ECF3"/>
              </a:solidFill>
              <a:prstDash val="solid"/>
              <a:miter lim="800000"/>
            </a:ln>
            <a:effectLst/>
          </p:spPr>
          <p:txBody>
            <a:bodyPr rtlCol="0" anchor="ctr"/>
            <a:lstStyle/>
            <a:p>
              <a:r>
                <a:rPr lang="en-GB" sz="1100" b="1">
                  <a:solidFill>
                    <a:srgbClr val="50235C"/>
                  </a:solidFill>
                </a:rPr>
                <a:t>Where do we need to get to? </a:t>
              </a:r>
            </a:p>
          </p:txBody>
        </p:sp>
        <p:sp>
          <p:nvSpPr>
            <p:cNvPr id="27" name="Rectangle 26">
              <a:extLst>
                <a:ext uri="{FF2B5EF4-FFF2-40B4-BE49-F238E27FC236}">
                  <a16:creationId xmlns:a16="http://schemas.microsoft.com/office/drawing/2014/main" id="{B9168E8A-7661-C04B-929C-33F806DED5CE}"/>
                </a:ext>
              </a:extLst>
            </p:cNvPr>
            <p:cNvSpPr/>
            <p:nvPr/>
          </p:nvSpPr>
          <p:spPr>
            <a:xfrm>
              <a:off x="4782787" y="1294431"/>
              <a:ext cx="4065938" cy="1219856"/>
            </a:xfrm>
            <a:prstGeom prst="rect">
              <a:avLst/>
            </a:prstGeom>
            <a:noFill/>
            <a:ln w="3175">
              <a:solidFill>
                <a:srgbClr val="F0ECF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defTabSz="685800">
                <a:spcBef>
                  <a:spcPts val="500"/>
                </a:spcBef>
                <a:spcAft>
                  <a:spcPts val="500"/>
                </a:spcAft>
                <a:buFont typeface="Wingdings" pitchFamily="2" charset="2"/>
                <a:buChar char="ü"/>
              </a:pPr>
              <a:r>
                <a:rPr lang="en-GB" sz="1000">
                  <a:solidFill>
                    <a:srgbClr val="50235B"/>
                  </a:solidFill>
                  <a:latin typeface="Arial" panose="020B0604020202020204" pitchFamily="34" charset="0"/>
                  <a:cs typeface="Arial" panose="020B0604020202020204" pitchFamily="34" charset="0"/>
                </a:rPr>
                <a:t>Provide a “no wrong front door” approach covering secondary health services, integrated physical and mental health services and assessments without replacing the current access route to IAPT or access line services</a:t>
              </a:r>
            </a:p>
            <a:p>
              <a:pPr marL="171450" indent="-171450" defTabSz="685800">
                <a:spcBef>
                  <a:spcPts val="500"/>
                </a:spcBef>
                <a:spcAft>
                  <a:spcPts val="500"/>
                </a:spcAft>
                <a:buFont typeface="Wingdings" pitchFamily="2" charset="2"/>
                <a:buChar char="ü"/>
              </a:pPr>
              <a:r>
                <a:rPr lang="en-GB" sz="1000">
                  <a:solidFill>
                    <a:srgbClr val="50235B"/>
                  </a:solidFill>
                  <a:latin typeface="Arial" panose="020B0604020202020204" pitchFamily="34" charset="0"/>
                  <a:cs typeface="Arial" panose="020B0604020202020204" pitchFamily="34" charset="0"/>
                </a:rPr>
                <a:t>Easy access to care near home at the time when people need it most </a:t>
              </a:r>
            </a:p>
            <a:p>
              <a:pPr marL="171450" indent="-171450" defTabSz="685800">
                <a:spcBef>
                  <a:spcPts val="500"/>
                </a:spcBef>
                <a:spcAft>
                  <a:spcPts val="500"/>
                </a:spcAft>
                <a:buFont typeface="Wingdings" pitchFamily="2" charset="2"/>
                <a:buChar char="ü"/>
              </a:pPr>
              <a:r>
                <a:rPr lang="en-GB" sz="1000">
                  <a:solidFill>
                    <a:srgbClr val="50235B"/>
                  </a:solidFill>
                  <a:latin typeface="Arial" panose="020B0604020202020204" pitchFamily="34" charset="0"/>
                  <a:cs typeface="Arial" panose="020B0604020202020204" pitchFamily="34" charset="0"/>
                </a:rPr>
                <a:t>Reduction in wait times for mental health services </a:t>
              </a:r>
            </a:p>
            <a:p>
              <a:pPr marL="171450" indent="-171450" defTabSz="685800">
                <a:spcBef>
                  <a:spcPts val="500"/>
                </a:spcBef>
                <a:spcAft>
                  <a:spcPts val="500"/>
                </a:spcAft>
                <a:buFont typeface="Wingdings" pitchFamily="2" charset="2"/>
                <a:buChar char="ü"/>
              </a:pPr>
              <a:r>
                <a:rPr lang="en-GB" sz="1000">
                  <a:solidFill>
                    <a:srgbClr val="50235B"/>
                  </a:solidFill>
                  <a:latin typeface="Arial" panose="020B0604020202020204" pitchFamily="34" charset="0"/>
                  <a:cs typeface="Arial" panose="020B0604020202020204" pitchFamily="34" charset="0"/>
                </a:rPr>
                <a:t>Effective triage process so patients referred onto the correct pathway first time</a:t>
              </a:r>
            </a:p>
            <a:p>
              <a:pPr marL="171450" indent="-171450" defTabSz="685800">
                <a:spcBef>
                  <a:spcPts val="500"/>
                </a:spcBef>
                <a:spcAft>
                  <a:spcPts val="500"/>
                </a:spcAft>
                <a:buFont typeface="Wingdings" pitchFamily="2" charset="2"/>
                <a:buChar char="ü"/>
              </a:pPr>
              <a:r>
                <a:rPr lang="en-GB" sz="1000">
                  <a:solidFill>
                    <a:srgbClr val="50235B"/>
                  </a:solidFill>
                  <a:latin typeface="Arial" panose="020B0604020202020204" pitchFamily="34" charset="0"/>
                  <a:cs typeface="Arial" panose="020B0604020202020204" pitchFamily="34" charset="0"/>
                </a:rPr>
                <a:t>Reduction in people reaching crisis and in contacts for more complex conditions</a:t>
              </a:r>
            </a:p>
          </p:txBody>
        </p:sp>
      </p:grpSp>
      <p:grpSp>
        <p:nvGrpSpPr>
          <p:cNvPr id="28" name="Group 27">
            <a:extLst>
              <a:ext uri="{FF2B5EF4-FFF2-40B4-BE49-F238E27FC236}">
                <a16:creationId xmlns:a16="http://schemas.microsoft.com/office/drawing/2014/main" id="{8B771798-42EE-5C4C-84A4-3B741660585C}"/>
              </a:ext>
            </a:extLst>
          </p:cNvPr>
          <p:cNvGrpSpPr/>
          <p:nvPr/>
        </p:nvGrpSpPr>
        <p:grpSpPr>
          <a:xfrm>
            <a:off x="6398951" y="3744445"/>
            <a:ext cx="5444697" cy="2307700"/>
            <a:chOff x="4782787" y="1094608"/>
            <a:chExt cx="4065938" cy="1605108"/>
          </a:xfrm>
        </p:grpSpPr>
        <p:sp>
          <p:nvSpPr>
            <p:cNvPr id="31" name="Rectangle 30">
              <a:extLst>
                <a:ext uri="{FF2B5EF4-FFF2-40B4-BE49-F238E27FC236}">
                  <a16:creationId xmlns:a16="http://schemas.microsoft.com/office/drawing/2014/main" id="{23CD1CFA-944E-104D-90E5-8186CC062DF7}"/>
                </a:ext>
              </a:extLst>
            </p:cNvPr>
            <p:cNvSpPr/>
            <p:nvPr/>
          </p:nvSpPr>
          <p:spPr>
            <a:xfrm>
              <a:off x="4782787" y="1094608"/>
              <a:ext cx="4065938" cy="199823"/>
            </a:xfrm>
            <a:prstGeom prst="rect">
              <a:avLst/>
            </a:prstGeom>
            <a:solidFill>
              <a:srgbClr val="F0ECF3"/>
            </a:solidFill>
            <a:ln w="9525" cap="flat" cmpd="sng" algn="ctr">
              <a:solidFill>
                <a:srgbClr val="F0ECF3"/>
              </a:solidFill>
              <a:prstDash val="solid"/>
              <a:miter lim="800000"/>
            </a:ln>
            <a:effectLst/>
          </p:spPr>
          <p:txBody>
            <a:bodyPr rtlCol="0" anchor="ctr"/>
            <a:lstStyle/>
            <a:p>
              <a:r>
                <a:rPr lang="en-GB" sz="1100" b="1">
                  <a:solidFill>
                    <a:srgbClr val="50235C"/>
                  </a:solidFill>
                </a:rPr>
                <a:t>What are other areas doing?</a:t>
              </a:r>
            </a:p>
          </p:txBody>
        </p:sp>
        <p:sp>
          <p:nvSpPr>
            <p:cNvPr id="32" name="Rectangle 31">
              <a:extLst>
                <a:ext uri="{FF2B5EF4-FFF2-40B4-BE49-F238E27FC236}">
                  <a16:creationId xmlns:a16="http://schemas.microsoft.com/office/drawing/2014/main" id="{FAF789BC-019C-B946-926D-6093AE1A3912}"/>
                </a:ext>
              </a:extLst>
            </p:cNvPr>
            <p:cNvSpPr/>
            <p:nvPr/>
          </p:nvSpPr>
          <p:spPr>
            <a:xfrm>
              <a:off x="4782787" y="1294431"/>
              <a:ext cx="4065938" cy="1405285"/>
            </a:xfrm>
            <a:prstGeom prst="rect">
              <a:avLst/>
            </a:prstGeom>
            <a:solidFill>
              <a:srgbClr val="F1EDF4"/>
            </a:solidFill>
            <a:ln w="3175">
              <a:solidFill>
                <a:srgbClr val="F0EC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62050" lvl="0">
                <a:spcBef>
                  <a:spcPts val="300"/>
                </a:spcBef>
                <a:spcAft>
                  <a:spcPts val="300"/>
                </a:spcAft>
              </a:pPr>
              <a:r>
                <a:rPr lang="en-GB" sz="1000">
                  <a:solidFill>
                    <a:srgbClr val="50235B"/>
                  </a:solidFill>
                  <a:latin typeface="Arial" panose="020B0604020202020204" pitchFamily="34" charset="0"/>
                  <a:cs typeface="Arial" panose="020B0604020202020204" pitchFamily="34" charset="0"/>
                </a:rPr>
                <a:t>The Primary Care mental health Service (Prism) is a new service by Cambridgeshire and Peterborough NHS Foundation Trust. The service provides specialist mental health support for GP surgeries so people with mental ill health can access prompt advice &amp; support, receive help in a community setting and experience a joint approach to their care. The service demonstrated an immediate decline in the use of Emergency Departments (ED) for mental health (MH) with a 20% reduction in attendance despite many previous years of rapidly increasing figures. There has also been a 26% reduction in numbers of MH patients admitted to Acute Hospitals from ED; reduced ambulance call outs and conveyances to ED for MH patient;. reduced need for Out of Hours (OOH) GPs to see MH emergencies.</a:t>
              </a:r>
            </a:p>
          </p:txBody>
        </p:sp>
      </p:grpSp>
      <p:pic>
        <p:nvPicPr>
          <p:cNvPr id="29" name="Picture 2">
            <a:extLst>
              <a:ext uri="{FF2B5EF4-FFF2-40B4-BE49-F238E27FC236}">
                <a16:creationId xmlns:a16="http://schemas.microsoft.com/office/drawing/2014/main" id="{29B73DA0-4C6B-FD4C-9622-CEED26022C3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58416" y="4726106"/>
            <a:ext cx="954894" cy="53942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0" name="Table 29">
            <a:extLst>
              <a:ext uri="{FF2B5EF4-FFF2-40B4-BE49-F238E27FC236}">
                <a16:creationId xmlns:a16="http://schemas.microsoft.com/office/drawing/2014/main" id="{98B6BB9A-003E-C445-AD6A-2E6A4D0208F1}"/>
              </a:ext>
            </a:extLst>
          </p:cNvPr>
          <p:cNvGraphicFramePr>
            <a:graphicFrameLocks noGrp="1"/>
          </p:cNvGraphicFramePr>
          <p:nvPr>
            <p:extLst>
              <p:ext uri="{D42A27DB-BD31-4B8C-83A1-F6EECF244321}">
                <p14:modId xmlns:p14="http://schemas.microsoft.com/office/powerpoint/2010/main" val="1095260840"/>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C"/>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pic>
        <p:nvPicPr>
          <p:cNvPr id="34" name="Graphic 33" descr="Door Open with solid fill">
            <a:extLst>
              <a:ext uri="{FF2B5EF4-FFF2-40B4-BE49-F238E27FC236}">
                <a16:creationId xmlns:a16="http://schemas.microsoft.com/office/drawing/2014/main" id="{1AE0F713-7B73-1F4A-A90F-ABAB3129320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37934" y="148109"/>
            <a:ext cx="594000" cy="594000"/>
          </a:xfrm>
          <a:prstGeom prst="rect">
            <a:avLst/>
          </a:prstGeom>
        </p:spPr>
      </p:pic>
    </p:spTree>
    <p:extLst>
      <p:ext uri="{BB962C8B-B14F-4D97-AF65-F5344CB8AC3E}">
        <p14:creationId xmlns:p14="http://schemas.microsoft.com/office/powerpoint/2010/main" val="238268589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2753"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en-IN" sz="2800">
              <a:solidFill>
                <a:srgbClr val="FFFFFF"/>
              </a:solidFill>
              <a:sym typeface="Arial" panose="020B0604020202020204" pitchFamily="34" charset="0"/>
            </a:endParaRPr>
          </a:p>
        </p:txBody>
      </p:sp>
      <p:sp>
        <p:nvSpPr>
          <p:cNvPr id="2" name="Title 1"/>
          <p:cNvSpPr>
            <a:spLocks noGrp="1"/>
          </p:cNvSpPr>
          <p:nvPr>
            <p:ph type="title"/>
          </p:nvPr>
        </p:nvSpPr>
        <p:spPr>
          <a:xfrm>
            <a:off x="1131934" y="297277"/>
            <a:ext cx="8779509" cy="434010"/>
          </a:xfrm>
          <a:prstGeom prst="rect">
            <a:avLst/>
          </a:prstGeom>
        </p:spPr>
        <p:txBody>
          <a:bodyPr/>
          <a:lstStyle/>
          <a:p>
            <a:r>
              <a:rPr lang="en-GB">
                <a:solidFill>
                  <a:srgbClr val="50235B"/>
                </a:solidFill>
              </a:rPr>
              <a:t>Easy and timely access to support and services</a:t>
            </a:r>
            <a:endParaRPr lang="en-IN"/>
          </a:p>
        </p:txBody>
      </p:sp>
      <p:sp>
        <p:nvSpPr>
          <p:cNvPr id="21" name="Rectangle 20">
            <a:extLst>
              <a:ext uri="{FF2B5EF4-FFF2-40B4-BE49-F238E27FC236}">
                <a16:creationId xmlns:a16="http://schemas.microsoft.com/office/drawing/2014/main" id="{FE740462-AEED-0B41-92DC-3A54DEB718C8}"/>
              </a:ext>
            </a:extLst>
          </p:cNvPr>
          <p:cNvSpPr/>
          <p:nvPr/>
        </p:nvSpPr>
        <p:spPr>
          <a:xfrm>
            <a:off x="647407" y="1095781"/>
            <a:ext cx="2355654" cy="434010"/>
          </a:xfrm>
          <a:prstGeom prst="rect">
            <a:avLst/>
          </a:prstGeom>
          <a:noFill/>
          <a:ln w="12700" cap="flat" cmpd="sng" algn="ctr">
            <a:noFill/>
            <a:prstDash val="solid"/>
            <a:miter lim="800000"/>
          </a:ln>
          <a:effectLst/>
        </p:spPr>
        <p:txBody>
          <a:bodyPr rtlCol="0" anchor="ctr"/>
          <a:lstStyle/>
          <a:p>
            <a:pPr lvl="0" algn="ctr" defTabSz="685800">
              <a:defRPr/>
            </a:pPr>
            <a:endParaRPr lang="en-GB" sz="1050" b="1">
              <a:solidFill>
                <a:srgbClr val="50235B"/>
              </a:solidFill>
              <a:latin typeface="Arial" panose="020B0604020202020204" pitchFamily="34" charset="0"/>
              <a:cs typeface="Arial" panose="020B0604020202020204" pitchFamily="34" charset="0"/>
            </a:endParaRPr>
          </a:p>
        </p:txBody>
      </p:sp>
      <p:graphicFrame>
        <p:nvGraphicFramePr>
          <p:cNvPr id="5" name="Table 7">
            <a:extLst>
              <a:ext uri="{FF2B5EF4-FFF2-40B4-BE49-F238E27FC236}">
                <a16:creationId xmlns:a16="http://schemas.microsoft.com/office/drawing/2014/main" id="{1F73E11B-085A-AD47-B820-F62CD6BB7304}"/>
              </a:ext>
            </a:extLst>
          </p:cNvPr>
          <p:cNvGraphicFramePr>
            <a:graphicFrameLocks noGrp="1"/>
          </p:cNvGraphicFramePr>
          <p:nvPr>
            <p:extLst>
              <p:ext uri="{D42A27DB-BD31-4B8C-83A1-F6EECF244321}">
                <p14:modId xmlns:p14="http://schemas.microsoft.com/office/powerpoint/2010/main" val="2540163388"/>
              </p:ext>
            </p:extLst>
          </p:nvPr>
        </p:nvGraphicFramePr>
        <p:xfrm>
          <a:off x="510638" y="1095781"/>
          <a:ext cx="11443141" cy="5225846"/>
        </p:xfrm>
        <a:graphic>
          <a:graphicData uri="http://schemas.openxmlformats.org/drawingml/2006/table">
            <a:tbl>
              <a:tblPr firstRow="1" bandRow="1">
                <a:tableStyleId>{5C22544A-7EE6-4342-B048-85BDC9FD1C3A}</a:tableStyleId>
              </a:tblPr>
              <a:tblGrid>
                <a:gridCol w="718087">
                  <a:extLst>
                    <a:ext uri="{9D8B030D-6E8A-4147-A177-3AD203B41FA5}">
                      <a16:colId xmlns:a16="http://schemas.microsoft.com/office/drawing/2014/main" val="4209047126"/>
                    </a:ext>
                  </a:extLst>
                </a:gridCol>
                <a:gridCol w="3246369">
                  <a:extLst>
                    <a:ext uri="{9D8B030D-6E8A-4147-A177-3AD203B41FA5}">
                      <a16:colId xmlns:a16="http://schemas.microsoft.com/office/drawing/2014/main" val="1853970278"/>
                    </a:ext>
                  </a:extLst>
                </a:gridCol>
                <a:gridCol w="4245819">
                  <a:extLst>
                    <a:ext uri="{9D8B030D-6E8A-4147-A177-3AD203B41FA5}">
                      <a16:colId xmlns:a16="http://schemas.microsoft.com/office/drawing/2014/main" val="3087462113"/>
                    </a:ext>
                  </a:extLst>
                </a:gridCol>
                <a:gridCol w="606208">
                  <a:extLst>
                    <a:ext uri="{9D8B030D-6E8A-4147-A177-3AD203B41FA5}">
                      <a16:colId xmlns:a16="http://schemas.microsoft.com/office/drawing/2014/main" val="1029806020"/>
                    </a:ext>
                  </a:extLst>
                </a:gridCol>
                <a:gridCol w="606208">
                  <a:extLst>
                    <a:ext uri="{9D8B030D-6E8A-4147-A177-3AD203B41FA5}">
                      <a16:colId xmlns:a16="http://schemas.microsoft.com/office/drawing/2014/main" val="3714934659"/>
                    </a:ext>
                  </a:extLst>
                </a:gridCol>
                <a:gridCol w="606208">
                  <a:extLst>
                    <a:ext uri="{9D8B030D-6E8A-4147-A177-3AD203B41FA5}">
                      <a16:colId xmlns:a16="http://schemas.microsoft.com/office/drawing/2014/main" val="1845500442"/>
                    </a:ext>
                  </a:extLst>
                </a:gridCol>
                <a:gridCol w="767669">
                  <a:extLst>
                    <a:ext uri="{9D8B030D-6E8A-4147-A177-3AD203B41FA5}">
                      <a16:colId xmlns:a16="http://schemas.microsoft.com/office/drawing/2014/main" val="2590076437"/>
                    </a:ext>
                  </a:extLst>
                </a:gridCol>
                <a:gridCol w="646573">
                  <a:extLst>
                    <a:ext uri="{9D8B030D-6E8A-4147-A177-3AD203B41FA5}">
                      <a16:colId xmlns:a16="http://schemas.microsoft.com/office/drawing/2014/main" val="1385158084"/>
                    </a:ext>
                  </a:extLst>
                </a:gridCol>
              </a:tblGrid>
              <a:tr h="674376">
                <a:tc>
                  <a:txBody>
                    <a:bodyPr/>
                    <a:lstStyle/>
                    <a:p>
                      <a:pPr algn="ctr"/>
                      <a:r>
                        <a:rPr lang="en-GB" sz="900">
                          <a:solidFill>
                            <a:srgbClr val="50235C"/>
                          </a:solidFill>
                        </a:rPr>
                        <a:t>Roadmap ref</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r>
                        <a:rPr lang="en-GB" sz="900">
                          <a:solidFill>
                            <a:srgbClr val="50235C"/>
                          </a:solidFill>
                        </a:rPr>
                        <a:t>Future activity</a:t>
                      </a:r>
                      <a:endParaRPr lang="en-GB" sz="900"/>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algn="ctr" defTabSz="914400" rtl="0" eaLnBrk="1" fontAlgn="ctr" latinLnBrk="0" hangingPunct="1"/>
                      <a:r>
                        <a:rPr lang="en-GB" sz="900" b="1" kern="1200">
                          <a:solidFill>
                            <a:srgbClr val="50235C"/>
                          </a:solidFill>
                          <a:latin typeface="+mn-lt"/>
                          <a:ea typeface="+mn-ea"/>
                          <a:cs typeface="+mn-cs"/>
                        </a:rPr>
                        <a:t>Target outcome / Expected benefit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algn="ctr" defTabSz="914400" rtl="0" eaLnBrk="1" fontAlgn="ctr" latinLnBrk="0" hangingPunct="1"/>
                      <a:r>
                        <a:rPr lang="en-GB" sz="900" b="1" kern="1200">
                          <a:solidFill>
                            <a:srgbClr val="50235C"/>
                          </a:solidFill>
                          <a:latin typeface="+mn-lt"/>
                          <a:ea typeface="+mn-ea"/>
                          <a:cs typeface="+mn-cs"/>
                        </a:rPr>
                        <a:t>Impact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Ease</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algn="ctr" defTabSz="914400" rtl="0" eaLnBrk="1" fontAlgn="ctr" latinLnBrk="0" hangingPunct="1"/>
                      <a:r>
                        <a:rPr lang="en-GB" sz="900" b="1" kern="1200">
                          <a:solidFill>
                            <a:srgbClr val="50235C"/>
                          </a:solidFill>
                          <a:latin typeface="+mn-lt"/>
                          <a:ea typeface="+mn-ea"/>
                          <a:cs typeface="+mn-cs"/>
                        </a:rPr>
                        <a:t>Score</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algn="ctr" defTabSz="914400" rtl="0" eaLnBrk="1" fontAlgn="ctr" latinLnBrk="0" hangingPunct="1"/>
                      <a:r>
                        <a:rPr lang="en-GB" sz="820" b="1" kern="1200">
                          <a:solidFill>
                            <a:srgbClr val="50235C"/>
                          </a:solidFill>
                          <a:latin typeface="+mn-lt"/>
                          <a:ea typeface="+mn-ea"/>
                          <a:cs typeface="+mn-cs"/>
                        </a:rPr>
                        <a:t>Resource required</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r>
                        <a:rPr lang="en-GB" sz="900" b="1">
                          <a:solidFill>
                            <a:srgbClr val="50235C"/>
                          </a:solidFill>
                        </a:rPr>
                        <a:t>Short</a:t>
                      </a:r>
                    </a:p>
                    <a:p>
                      <a:r>
                        <a:rPr lang="en-GB" sz="900" b="1">
                          <a:solidFill>
                            <a:srgbClr val="50235C"/>
                          </a:solidFill>
                        </a:rPr>
                        <a:t>Medium</a:t>
                      </a:r>
                      <a:br>
                        <a:rPr lang="en-GB" sz="900" b="1">
                          <a:solidFill>
                            <a:srgbClr val="50235C"/>
                          </a:solidFill>
                        </a:rPr>
                      </a:br>
                      <a:r>
                        <a:rPr lang="en-GB" sz="900" b="1">
                          <a:solidFill>
                            <a:srgbClr val="50235C"/>
                          </a:solidFill>
                        </a:rPr>
                        <a:t>Long</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extLst>
                  <a:ext uri="{0D108BD9-81ED-4DB2-BD59-A6C34878D82A}">
                    <a16:rowId xmlns:a16="http://schemas.microsoft.com/office/drawing/2014/main" val="466195498"/>
                  </a:ext>
                </a:extLst>
              </a:tr>
              <a:tr h="45514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a:solidFill>
                            <a:srgbClr val="50235C"/>
                          </a:solidFill>
                        </a:rPr>
                        <a:t>C1</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Improved communication and awareness of third sector offering</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indent="-74613" algn="l" defTabSz="914400" rtl="0" eaLnBrk="1" fontAlgn="ctr" latinLnBrk="0" hangingPunct="1">
                        <a:buClr>
                          <a:srgbClr val="000000"/>
                        </a:buClr>
                        <a:buSzPts val="900"/>
                        <a:buFont typeface="Arial" panose="020B0604020202020204" pitchFamily="34" charset="0"/>
                        <a:buChar char="•"/>
                        <a:tabLst/>
                      </a:pPr>
                      <a:r>
                        <a:rPr lang="en-GB" sz="900" b="0" i="0" u="none" strike="noStrike" kern="1200">
                          <a:solidFill>
                            <a:schemeClr val="tx2">
                              <a:lumMod val="65000"/>
                              <a:lumOff val="35000"/>
                            </a:schemeClr>
                          </a:solidFill>
                          <a:effectLst/>
                          <a:latin typeface="Arial" panose="020B0604020202020204" pitchFamily="34" charset="0"/>
                          <a:ea typeface="+mn-ea"/>
                          <a:cs typeface="+mn-cs"/>
                        </a:rPr>
                        <a:t>Reduced demand for secondary care MH services as people are accessing third sector support.</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16</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Low</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4199580168"/>
                  </a:ext>
                </a:extLst>
              </a:tr>
              <a:tr h="45514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C2</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Improved access to crisis and urgent response</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96838" indent="-96838" algn="l" defTabSz="914400" rtl="0" eaLnBrk="1" fontAlgn="ctr" latinLnBrk="0" hangingPunct="1">
                        <a:buClr>
                          <a:srgbClr val="000000"/>
                        </a:buClr>
                        <a:buSzPts val="900"/>
                        <a:buFont typeface="Arial" panose="020B0604020202020204" pitchFamily="34" charset="0"/>
                        <a:buChar char="•"/>
                        <a:tabLst/>
                      </a:pPr>
                      <a:r>
                        <a:rPr lang="en-GB" sz="900" b="0" i="0" u="none" strike="noStrike" kern="1200">
                          <a:solidFill>
                            <a:schemeClr val="tx2">
                              <a:lumMod val="65000"/>
                              <a:lumOff val="35000"/>
                            </a:schemeClr>
                          </a:solidFill>
                          <a:effectLst/>
                          <a:latin typeface="Arial" panose="020B0604020202020204" pitchFamily="34" charset="0"/>
                          <a:ea typeface="+mn-ea"/>
                          <a:cs typeface="+mn-cs"/>
                        </a:rPr>
                        <a:t>Access and crisis teams are easier to access and can support more of the population. </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1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Med/high</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139708996"/>
                  </a:ext>
                </a:extLst>
              </a:tr>
              <a:tr h="45514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C3</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Improve patient record sharing to facilitate easy re-entry into services</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96838" indent="-96838" algn="l" defTabSz="914400" rtl="0" eaLnBrk="1" fontAlgn="ctr" latinLnBrk="0" hangingPunct="1">
                        <a:buClr>
                          <a:srgbClr val="000000"/>
                        </a:buClr>
                        <a:buSzPts val="900"/>
                        <a:buFont typeface="Arial" panose="020B0604020202020204" pitchFamily="34" charset="0"/>
                        <a:buChar char="•"/>
                        <a:tabLst/>
                      </a:pPr>
                      <a:r>
                        <a:rPr lang="en-GB" sz="900" b="0" i="0" u="none" strike="noStrike" kern="1200">
                          <a:solidFill>
                            <a:schemeClr val="tx2">
                              <a:lumMod val="65000"/>
                              <a:lumOff val="35000"/>
                            </a:schemeClr>
                          </a:solidFill>
                          <a:effectLst/>
                          <a:latin typeface="Arial" panose="020B0604020202020204" pitchFamily="34" charset="0"/>
                          <a:ea typeface="+mn-ea"/>
                          <a:cs typeface="+mn-cs"/>
                        </a:rPr>
                        <a:t>More robust communication and record sharing protocols to facilitate patient care and ensure patients receive the most appropriate care by the most appropriate team and can smoothly re-enter services when they need to. </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10</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High</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Long</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949544249"/>
                  </a:ext>
                </a:extLst>
              </a:tr>
              <a:tr h="45514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C4</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Safe space for people to come in when they need support</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marR="0" lvl="0" indent="-74613" algn="l" defTabSz="914400" rtl="0" eaLnBrk="1" fontAlgn="ctr" latinLnBrk="0" hangingPunct="1">
                        <a:lnSpc>
                          <a:spcPct val="100000"/>
                        </a:lnSpc>
                        <a:spcBef>
                          <a:spcPts val="0"/>
                        </a:spcBef>
                        <a:spcAft>
                          <a:spcPts val="0"/>
                        </a:spcAft>
                        <a:buClr>
                          <a:srgbClr val="000000"/>
                        </a:buClr>
                        <a:buSzPts val="900"/>
                        <a:buFont typeface="Arial" panose="020B0604020202020204" pitchFamily="34" charset="0"/>
                        <a:buChar char="•"/>
                        <a:tabLst/>
                        <a:defRPr/>
                      </a:pPr>
                      <a:r>
                        <a:rPr lang="en-GB" sz="900" b="0" i="0" u="none" strike="noStrike">
                          <a:solidFill>
                            <a:schemeClr val="tx2">
                              <a:lumMod val="65000"/>
                              <a:lumOff val="35000"/>
                            </a:schemeClr>
                          </a:solidFill>
                          <a:effectLst/>
                          <a:latin typeface="Arial" panose="020B0604020202020204" pitchFamily="34" charset="0"/>
                        </a:rPr>
                        <a:t>Create more awareness of the resources and support available to help people deal with the issues they face, thus stopping further escalation and crisis. This may reduce demand on secondary care and A&amp;E.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10</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Medium-High</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Medium-long</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324226912"/>
                  </a:ext>
                </a:extLst>
              </a:tr>
              <a:tr h="45514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C5</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Third sector listening service built into the front door/access route</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indent="-74613" algn="l" defTabSz="914400" rtl="0" eaLnBrk="1" fontAlgn="ctr" latinLnBrk="0" hangingPunct="1">
                        <a:buClr>
                          <a:srgbClr val="000000"/>
                        </a:buClr>
                        <a:buSzPts val="900"/>
                        <a:buFont typeface="Arial" panose="020B0604020202020204" pitchFamily="34" charset="0"/>
                        <a:buChar char="•"/>
                        <a:tabLst/>
                      </a:pPr>
                      <a:r>
                        <a:rPr lang="en-GB" sz="900" b="0" i="0" u="none" strike="noStrike" kern="1200">
                          <a:solidFill>
                            <a:schemeClr val="tx2">
                              <a:lumMod val="65000"/>
                              <a:lumOff val="35000"/>
                            </a:schemeClr>
                          </a:solidFill>
                          <a:effectLst/>
                          <a:latin typeface="Arial" panose="020B0604020202020204" pitchFamily="34" charset="0"/>
                          <a:ea typeface="+mn-ea"/>
                          <a:cs typeface="+mn-cs"/>
                        </a:rPr>
                        <a:t>Better utilisation of the third sectors unique skills set and service offerings who can reach people in a way statutory / secondary care cannot.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10</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High</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4258138227"/>
                  </a:ext>
                </a:extLst>
              </a:tr>
              <a:tr h="45514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C6</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Front loaded assessment and triage at the start of the journey to put people on the right pathway (built into the listening service)</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indent="-74613" algn="l" defTabSz="914400" rtl="0" eaLnBrk="1" fontAlgn="ctr" latinLnBrk="0" hangingPunct="1">
                        <a:buClr>
                          <a:srgbClr val="000000"/>
                        </a:buClr>
                        <a:buSzPts val="900"/>
                        <a:buFont typeface="Arial" panose="020B0604020202020204" pitchFamily="34" charset="0"/>
                        <a:buChar char="•"/>
                        <a:tabLst/>
                      </a:pPr>
                      <a:r>
                        <a:rPr lang="en-GB" sz="900" b="0" i="0" u="none" strike="noStrike" kern="1200">
                          <a:solidFill>
                            <a:schemeClr val="tx2">
                              <a:lumMod val="65000"/>
                              <a:lumOff val="35000"/>
                            </a:schemeClr>
                          </a:solidFill>
                          <a:effectLst/>
                          <a:latin typeface="Arial" panose="020B0604020202020204" pitchFamily="34" charset="0"/>
                          <a:ea typeface="+mn-ea"/>
                          <a:cs typeface="+mn-cs"/>
                        </a:rPr>
                        <a:t> Direct users into the most appropriate pathway first time round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10</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Med -Long</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156496128"/>
                  </a:ext>
                </a:extLst>
              </a:tr>
              <a:tr h="45514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C7</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Communicate openly about access and wait times into services</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84150" indent="-87313" algn="l" defTabSz="914400" rtl="0" eaLnBrk="1" fontAlgn="ctr" latinLnBrk="0" hangingPunct="1">
                        <a:buClr>
                          <a:srgbClr val="000000"/>
                        </a:buClr>
                        <a:buSzPts val="900"/>
                        <a:buFont typeface="Arial" panose="020B0604020202020204" pitchFamily="34" charset="0"/>
                        <a:buChar char="•"/>
                        <a:tabLst/>
                      </a:pPr>
                      <a:r>
                        <a:rPr lang="en-GB" sz="900" b="0" i="0" u="none" strike="noStrike" kern="1200">
                          <a:solidFill>
                            <a:schemeClr val="tx2">
                              <a:lumMod val="65000"/>
                              <a:lumOff val="35000"/>
                            </a:schemeClr>
                          </a:solidFill>
                          <a:effectLst/>
                          <a:latin typeface="Arial" panose="020B0604020202020204" pitchFamily="34" charset="0"/>
                          <a:ea typeface="+mn-ea"/>
                          <a:cs typeface="+mn-cs"/>
                        </a:rPr>
                        <a:t>People have realistic expectations about the care and support they will receive.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9</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Med-Long</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1660759942"/>
                  </a:ext>
                </a:extLst>
              </a:tr>
              <a:tr h="45514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C8</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Agreed process for supporting patients with complex needs.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indent="-74613" algn="l" defTabSz="914400" rtl="0" eaLnBrk="1" fontAlgn="ctr" latinLnBrk="0" hangingPunct="1">
                        <a:buClr>
                          <a:srgbClr val="000000"/>
                        </a:buClr>
                        <a:buSzPts val="900"/>
                        <a:buFont typeface="Arial" panose="020B0604020202020204" pitchFamily="34" charset="0"/>
                        <a:buChar char="•"/>
                        <a:tabLst/>
                      </a:pPr>
                      <a:r>
                        <a:rPr lang="en-GB" sz="900" b="0" i="0" u="none" strike="noStrike" kern="1200">
                          <a:solidFill>
                            <a:schemeClr val="tx2">
                              <a:lumMod val="65000"/>
                              <a:lumOff val="35000"/>
                            </a:schemeClr>
                          </a:solidFill>
                          <a:effectLst/>
                          <a:latin typeface="Arial" panose="020B0604020202020204" pitchFamily="34" charset="0"/>
                          <a:ea typeface="+mn-ea"/>
                          <a:cs typeface="+mn-cs"/>
                        </a:rPr>
                        <a:t>Prevention of patients being bounced around services and are given timely and appropriate care and support.</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8</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High</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Long</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2752216538"/>
                  </a:ext>
                </a:extLst>
              </a:tr>
              <a:tr h="45514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C9</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Develop prompt advice and guidance for Primary Care</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96838" indent="-96838" algn="l" defTabSz="914400" rtl="0" eaLnBrk="1" fontAlgn="ctr" latinLnBrk="0" hangingPunct="1">
                        <a:buClr>
                          <a:srgbClr val="000000"/>
                        </a:buClr>
                        <a:buSzPts val="900"/>
                        <a:buFont typeface="Arial" panose="020B0604020202020204" pitchFamily="34" charset="0"/>
                        <a:buChar char="•"/>
                        <a:tabLst/>
                      </a:pPr>
                      <a:r>
                        <a:rPr lang="en-GB" sz="900" b="0" i="0" u="none" strike="noStrike" kern="1200">
                          <a:solidFill>
                            <a:schemeClr val="tx2">
                              <a:lumMod val="65000"/>
                              <a:lumOff val="35000"/>
                            </a:schemeClr>
                          </a:solidFill>
                          <a:effectLst/>
                          <a:latin typeface="Arial" panose="020B0604020202020204" pitchFamily="34" charset="0"/>
                          <a:ea typeface="+mn-ea"/>
                          <a:cs typeface="+mn-cs"/>
                        </a:rPr>
                        <a:t>More appropriate referrals to secondary and community MH services</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8</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High</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792501966"/>
                  </a:ext>
                </a:extLst>
              </a:tr>
              <a:tr h="45514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C10</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Expand access to people whose needs are too complex for current IAPT services</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indent="-74613" algn="l" defTabSz="914400" rtl="0" eaLnBrk="1" fontAlgn="ctr" latinLnBrk="0" hangingPunct="1">
                        <a:buClr>
                          <a:srgbClr val="000000"/>
                        </a:buClr>
                        <a:buSzPts val="900"/>
                        <a:buFont typeface="Arial" panose="020B0604020202020204" pitchFamily="34" charset="0"/>
                        <a:buChar char="•"/>
                        <a:tabLst/>
                      </a:pPr>
                      <a:r>
                        <a:rPr lang="en-GB" sz="900" b="0" i="0" u="none" strike="noStrike" kern="1200">
                          <a:solidFill>
                            <a:schemeClr val="tx2">
                              <a:lumMod val="65000"/>
                              <a:lumOff val="35000"/>
                            </a:schemeClr>
                          </a:solidFill>
                          <a:effectLst/>
                          <a:latin typeface="Arial" panose="020B0604020202020204" pitchFamily="34" charset="0"/>
                          <a:ea typeface="+mn-ea"/>
                          <a:cs typeface="+mn-cs"/>
                        </a:rPr>
                        <a:t> Care and support is provided to a wider cohort of people</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8</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High</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4190610611"/>
                  </a:ext>
                </a:extLst>
              </a:tr>
            </a:tbl>
          </a:graphicData>
        </a:graphic>
      </p:graphicFrame>
      <p:graphicFrame>
        <p:nvGraphicFramePr>
          <p:cNvPr id="11" name="Table 10">
            <a:extLst>
              <a:ext uri="{FF2B5EF4-FFF2-40B4-BE49-F238E27FC236}">
                <a16:creationId xmlns:a16="http://schemas.microsoft.com/office/drawing/2014/main" id="{B472815F-B0D9-7648-A4F5-4A38010E915C}"/>
              </a:ext>
            </a:extLst>
          </p:cNvPr>
          <p:cNvGraphicFramePr>
            <a:graphicFrameLocks noGrp="1"/>
          </p:cNvGraphicFramePr>
          <p:nvPr>
            <p:extLst>
              <p:ext uri="{D42A27DB-BD31-4B8C-83A1-F6EECF244321}">
                <p14:modId xmlns:p14="http://schemas.microsoft.com/office/powerpoint/2010/main" val="1095260840"/>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C"/>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pic>
        <p:nvPicPr>
          <p:cNvPr id="12" name="Graphic 11" descr="Door Open with solid fill">
            <a:extLst>
              <a:ext uri="{FF2B5EF4-FFF2-40B4-BE49-F238E27FC236}">
                <a16:creationId xmlns:a16="http://schemas.microsoft.com/office/drawing/2014/main" id="{92389303-FF4E-FB4C-8D81-0FE9317FB2B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37934" y="148109"/>
            <a:ext cx="594000" cy="594000"/>
          </a:xfrm>
          <a:prstGeom prst="rect">
            <a:avLst/>
          </a:prstGeom>
        </p:spPr>
      </p:pic>
      <p:sp>
        <p:nvSpPr>
          <p:cNvPr id="13" name="Rectangle 12">
            <a:extLst>
              <a:ext uri="{FF2B5EF4-FFF2-40B4-BE49-F238E27FC236}">
                <a16:creationId xmlns:a16="http://schemas.microsoft.com/office/drawing/2014/main" id="{BF93B9CC-5C6F-FC43-B596-98B44B531E72}"/>
              </a:ext>
            </a:extLst>
          </p:cNvPr>
          <p:cNvSpPr/>
          <p:nvPr/>
        </p:nvSpPr>
        <p:spPr>
          <a:xfrm>
            <a:off x="8768196" y="184705"/>
            <a:ext cx="1737247" cy="78568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panose="020B0604020202020204"/>
                <a:ea typeface="+mn-ea"/>
                <a:cs typeface="+mn-cs"/>
              </a:rPr>
              <a:t>IMPACT:        </a:t>
            </a: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1 = Low Impact </a:t>
            </a:r>
            <a:b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                       5 = High impa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panose="020B0604020202020204"/>
                <a:ea typeface="+mn-ea"/>
                <a:cs typeface="+mn-cs"/>
              </a:rPr>
              <a:t>EASE:            </a:t>
            </a: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1 = Difficult</a:t>
            </a:r>
            <a:b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                       5 = Straightforward</a:t>
            </a:r>
          </a:p>
          <a:p>
            <a:pPr>
              <a:defRPr/>
            </a:pPr>
            <a:r>
              <a:rPr lang="en-GB" sz="800" b="1">
                <a:solidFill>
                  <a:srgbClr val="000000"/>
                </a:solidFill>
              </a:rPr>
              <a:t>RESOURCE:  </a:t>
            </a:r>
            <a:r>
              <a:rPr lang="en-GB" sz="800">
                <a:solidFill>
                  <a:srgbClr val="000000"/>
                </a:solidFill>
              </a:rPr>
              <a:t>Low, Medium, High </a:t>
            </a:r>
          </a:p>
        </p:txBody>
      </p:sp>
      <p:sp>
        <p:nvSpPr>
          <p:cNvPr id="14" name="Rectangle 13">
            <a:extLst>
              <a:ext uri="{FF2B5EF4-FFF2-40B4-BE49-F238E27FC236}">
                <a16:creationId xmlns:a16="http://schemas.microsoft.com/office/drawing/2014/main" id="{9AA245E1-D8F4-F74F-8CCE-0876A8A3A534}"/>
              </a:ext>
            </a:extLst>
          </p:cNvPr>
          <p:cNvSpPr/>
          <p:nvPr/>
        </p:nvSpPr>
        <p:spPr>
          <a:xfrm>
            <a:off x="10509954" y="184705"/>
            <a:ext cx="1442357" cy="78568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00" b="1">
                <a:solidFill>
                  <a:srgbClr val="000000"/>
                </a:solidFill>
                <a:latin typeface="Arial" panose="020B0604020202020204"/>
              </a:rPr>
              <a:t>SHORT</a:t>
            </a:r>
            <a:r>
              <a:rPr lang="en-GB" sz="900">
                <a:solidFill>
                  <a:srgbClr val="000000"/>
                </a:solidFill>
                <a:latin typeface="Arial" panose="020B0604020202020204"/>
              </a:rPr>
              <a:t> =   0-6 months</a:t>
            </a:r>
          </a:p>
          <a:p>
            <a:r>
              <a:rPr lang="en-GB" sz="900" b="1">
                <a:solidFill>
                  <a:srgbClr val="000000"/>
                </a:solidFill>
                <a:latin typeface="Arial" panose="020B0604020202020204"/>
              </a:rPr>
              <a:t>MEDIUM</a:t>
            </a:r>
            <a:r>
              <a:rPr lang="en-GB" sz="900">
                <a:solidFill>
                  <a:srgbClr val="000000"/>
                </a:solidFill>
                <a:latin typeface="Arial" panose="020B0604020202020204"/>
              </a:rPr>
              <a:t> = 6-18 months</a:t>
            </a:r>
          </a:p>
          <a:p>
            <a:r>
              <a:rPr lang="en-GB" sz="900" b="1">
                <a:solidFill>
                  <a:srgbClr val="000000"/>
                </a:solidFill>
                <a:latin typeface="Arial" panose="020B0604020202020204"/>
              </a:rPr>
              <a:t>LONG</a:t>
            </a:r>
            <a:r>
              <a:rPr lang="en-GB" sz="900">
                <a:solidFill>
                  <a:srgbClr val="000000"/>
                </a:solidFill>
                <a:latin typeface="Arial" panose="020B0604020202020204"/>
              </a:rPr>
              <a:t> =     18 months +</a:t>
            </a:r>
          </a:p>
        </p:txBody>
      </p:sp>
    </p:spTree>
    <p:extLst>
      <p:ext uri="{BB962C8B-B14F-4D97-AF65-F5344CB8AC3E}">
        <p14:creationId xmlns:p14="http://schemas.microsoft.com/office/powerpoint/2010/main" val="213983376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01" name="think-cell Slide" r:id="rId7" imgW="421" imgH="420" progId="TCLayout.ActiveDocument.1">
                  <p:embed/>
                </p:oleObj>
              </mc:Choice>
              <mc:Fallback>
                <p:oleObj name="think-cell Slide" r:id="rId7" imgW="421" imgH="420"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en-IN" sz="2800">
              <a:solidFill>
                <a:srgbClr val="FFFFFF"/>
              </a:solidFill>
              <a:sym typeface="Arial" panose="020B0604020202020204" pitchFamily="34" charset="0"/>
            </a:endParaRPr>
          </a:p>
        </p:txBody>
      </p:sp>
      <p:sp>
        <p:nvSpPr>
          <p:cNvPr id="2" name="Title 1"/>
          <p:cNvSpPr>
            <a:spLocks noGrp="1"/>
          </p:cNvSpPr>
          <p:nvPr>
            <p:ph type="title"/>
          </p:nvPr>
        </p:nvSpPr>
        <p:spPr>
          <a:xfrm>
            <a:off x="1199947" y="297277"/>
            <a:ext cx="8711496" cy="434010"/>
          </a:xfrm>
          <a:prstGeom prst="rect">
            <a:avLst/>
          </a:prstGeom>
        </p:spPr>
        <p:txBody>
          <a:bodyPr/>
          <a:lstStyle/>
          <a:p>
            <a:r>
              <a:rPr lang="en-GB">
                <a:solidFill>
                  <a:srgbClr val="50235B"/>
                </a:solidFill>
              </a:rPr>
              <a:t>Act as one integrated system</a:t>
            </a:r>
            <a:endParaRPr lang="en-IN"/>
          </a:p>
        </p:txBody>
      </p:sp>
      <p:sp>
        <p:nvSpPr>
          <p:cNvPr id="6" name="Footer Placeholder 5">
            <a:extLst>
              <a:ext uri="{FF2B5EF4-FFF2-40B4-BE49-F238E27FC236}">
                <a16:creationId xmlns:a16="http://schemas.microsoft.com/office/drawing/2014/main" id="{62E3292C-AE15-8E46-8E62-F9C713150B0B}"/>
              </a:ext>
            </a:extLst>
          </p:cNvPr>
          <p:cNvSpPr>
            <a:spLocks noGrp="1"/>
          </p:cNvSpPr>
          <p:nvPr>
            <p:ph type="ftr" sz="quarter" idx="14"/>
          </p:nvPr>
        </p:nvSpPr>
        <p:spPr>
          <a:xfrm>
            <a:off x="6570" y="6674068"/>
            <a:ext cx="1193377" cy="183932"/>
          </a:xfrm>
        </p:spPr>
        <p:txBody>
          <a:bodyPr/>
          <a:lstStyle/>
          <a:p>
            <a:r>
              <a:rPr lang="en-GB"/>
              <a:t>© Moorhouse 2021  </a:t>
            </a:r>
          </a:p>
        </p:txBody>
      </p:sp>
      <p:sp>
        <p:nvSpPr>
          <p:cNvPr id="21" name="Rectangle 20">
            <a:extLst>
              <a:ext uri="{FF2B5EF4-FFF2-40B4-BE49-F238E27FC236}">
                <a16:creationId xmlns:a16="http://schemas.microsoft.com/office/drawing/2014/main" id="{FE740462-AEED-0B41-92DC-3A54DEB718C8}"/>
              </a:ext>
            </a:extLst>
          </p:cNvPr>
          <p:cNvSpPr/>
          <p:nvPr/>
        </p:nvSpPr>
        <p:spPr>
          <a:xfrm>
            <a:off x="647407" y="1095781"/>
            <a:ext cx="2355654" cy="434010"/>
          </a:xfrm>
          <a:prstGeom prst="rect">
            <a:avLst/>
          </a:prstGeom>
          <a:noFill/>
          <a:ln w="12700" cap="flat" cmpd="sng" algn="ctr">
            <a:noFill/>
            <a:prstDash val="solid"/>
            <a:miter lim="800000"/>
          </a:ln>
          <a:effectLst/>
        </p:spPr>
        <p:txBody>
          <a:bodyPr rtlCol="0" anchor="ctr"/>
          <a:lstStyle/>
          <a:p>
            <a:pPr lvl="0" algn="ctr" defTabSz="685800">
              <a:defRPr/>
            </a:pPr>
            <a:endParaRPr lang="en-GB" sz="1050" b="1">
              <a:solidFill>
                <a:srgbClr val="50235B"/>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F19D9738-DFA2-C84F-82CF-6F85573EA287}"/>
              </a:ext>
            </a:extLst>
          </p:cNvPr>
          <p:cNvSpPr txBox="1"/>
          <p:nvPr/>
        </p:nvSpPr>
        <p:spPr>
          <a:xfrm>
            <a:off x="6691734" y="4274235"/>
            <a:ext cx="184731" cy="369332"/>
          </a:xfrm>
          <a:prstGeom prst="rect">
            <a:avLst/>
          </a:prstGeom>
          <a:noFill/>
        </p:spPr>
        <p:txBody>
          <a:bodyPr wrap="none" rtlCol="0">
            <a:spAutoFit/>
          </a:bodyPr>
          <a:lstStyle/>
          <a:p>
            <a:endParaRPr lang="en-US"/>
          </a:p>
        </p:txBody>
      </p:sp>
      <p:sp>
        <p:nvSpPr>
          <p:cNvPr id="51" name="Rectangle 50">
            <a:extLst>
              <a:ext uri="{FF2B5EF4-FFF2-40B4-BE49-F238E27FC236}">
                <a16:creationId xmlns:a16="http://schemas.microsoft.com/office/drawing/2014/main" id="{23228B87-D8A3-AC4B-8389-4FD6CB03BCB4}"/>
              </a:ext>
            </a:extLst>
          </p:cNvPr>
          <p:cNvSpPr/>
          <p:nvPr/>
        </p:nvSpPr>
        <p:spPr>
          <a:xfrm>
            <a:off x="6236659" y="5513696"/>
            <a:ext cx="5509862" cy="1852878"/>
          </a:xfrm>
          <a:prstGeom prst="rect">
            <a:avLst/>
          </a:prstGeom>
          <a:noFill/>
          <a:ln w="12700" cap="flat" cmpd="sng" algn="ctr">
            <a:noFill/>
            <a:prstDash val="solid"/>
            <a:miter lim="800000"/>
          </a:ln>
          <a:effectLst/>
        </p:spPr>
        <p:txBody>
          <a:bodyPr rtlCol="0" anchor="t"/>
          <a:lstStyle/>
          <a:p>
            <a:pPr defTabSz="685800" fontAlgn="base">
              <a:spcBef>
                <a:spcPts val="600"/>
              </a:spcBef>
              <a:spcAft>
                <a:spcPts val="600"/>
              </a:spcAft>
            </a:pPr>
            <a:endParaRPr lang="en-GB" sz="1000">
              <a:solidFill>
                <a:srgbClr val="50235B"/>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187D98F4-EB5A-E04B-B1AB-3062BCA3330F}"/>
              </a:ext>
            </a:extLst>
          </p:cNvPr>
          <p:cNvSpPr/>
          <p:nvPr/>
        </p:nvSpPr>
        <p:spPr>
          <a:xfrm>
            <a:off x="510638" y="855283"/>
            <a:ext cx="11348270" cy="6912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200" b="1">
                <a:solidFill>
                  <a:srgbClr val="50235C"/>
                </a:solidFill>
                <a:latin typeface="Arial" panose="020B0604020202020204" pitchFamily="34" charset="0"/>
                <a:cs typeface="Arial" panose="020B0604020202020204" pitchFamily="34" charset="0"/>
              </a:rPr>
              <a:t>Acting as one system is important to ensure there is no wrong door for those who need help and support is coordinating across the system partners (providers, third sector, councils and police force).</a:t>
            </a:r>
          </a:p>
        </p:txBody>
      </p:sp>
      <p:grpSp>
        <p:nvGrpSpPr>
          <p:cNvPr id="20" name="Group 19">
            <a:extLst>
              <a:ext uri="{FF2B5EF4-FFF2-40B4-BE49-F238E27FC236}">
                <a16:creationId xmlns:a16="http://schemas.microsoft.com/office/drawing/2014/main" id="{856DAFD8-FA0A-4949-9E59-48AAEE3EBE5A}"/>
              </a:ext>
            </a:extLst>
          </p:cNvPr>
          <p:cNvGrpSpPr/>
          <p:nvPr/>
        </p:nvGrpSpPr>
        <p:grpSpPr>
          <a:xfrm>
            <a:off x="510627" y="1546544"/>
            <a:ext cx="5444697" cy="4459838"/>
            <a:chOff x="4782787" y="1094608"/>
            <a:chExt cx="4065938" cy="3102016"/>
          </a:xfrm>
        </p:grpSpPr>
        <p:sp>
          <p:nvSpPr>
            <p:cNvPr id="23" name="Rectangle 22">
              <a:extLst>
                <a:ext uri="{FF2B5EF4-FFF2-40B4-BE49-F238E27FC236}">
                  <a16:creationId xmlns:a16="http://schemas.microsoft.com/office/drawing/2014/main" id="{CB1214F5-503D-D44D-8085-7461DE245F94}"/>
                </a:ext>
              </a:extLst>
            </p:cNvPr>
            <p:cNvSpPr/>
            <p:nvPr/>
          </p:nvSpPr>
          <p:spPr>
            <a:xfrm>
              <a:off x="4782787" y="1094608"/>
              <a:ext cx="4065938" cy="199823"/>
            </a:xfrm>
            <a:prstGeom prst="rect">
              <a:avLst/>
            </a:prstGeom>
            <a:solidFill>
              <a:srgbClr val="F0ECF3"/>
            </a:solidFill>
            <a:ln w="9525" cap="flat" cmpd="sng" algn="ctr">
              <a:solidFill>
                <a:srgbClr val="F0ECF3"/>
              </a:solidFill>
              <a:prstDash val="solid"/>
              <a:miter lim="800000"/>
            </a:ln>
            <a:effectLst/>
          </p:spPr>
          <p:txBody>
            <a:bodyPr rtlCol="0" anchor="ctr"/>
            <a:lstStyle/>
            <a:p>
              <a:pPr defTabSz="914377">
                <a:defRPr/>
              </a:pPr>
              <a:r>
                <a:rPr lang="en-GB" sz="1067" b="1">
                  <a:solidFill>
                    <a:srgbClr val="50235B"/>
                  </a:solidFill>
                  <a:latin typeface="Arial" panose="020B0604020202020204"/>
                </a:rPr>
                <a:t>Where are we now?</a:t>
              </a:r>
            </a:p>
          </p:txBody>
        </p:sp>
        <p:sp>
          <p:nvSpPr>
            <p:cNvPr id="24" name="Rectangle 23">
              <a:extLst>
                <a:ext uri="{FF2B5EF4-FFF2-40B4-BE49-F238E27FC236}">
                  <a16:creationId xmlns:a16="http://schemas.microsoft.com/office/drawing/2014/main" id="{BC3BF939-741A-E546-81CE-0D14DDE2E26C}"/>
                </a:ext>
              </a:extLst>
            </p:cNvPr>
            <p:cNvSpPr/>
            <p:nvPr/>
          </p:nvSpPr>
          <p:spPr>
            <a:xfrm>
              <a:off x="4782787" y="1294431"/>
              <a:ext cx="4065938" cy="2902193"/>
            </a:xfrm>
            <a:prstGeom prst="rect">
              <a:avLst/>
            </a:prstGeom>
            <a:noFill/>
            <a:ln w="3175">
              <a:solidFill>
                <a:srgbClr val="F0ECF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685800">
                <a:spcBef>
                  <a:spcPts val="400"/>
                </a:spcBef>
                <a:spcAft>
                  <a:spcPts val="400"/>
                </a:spcAft>
                <a:defRPr/>
              </a:pPr>
              <a:r>
                <a:rPr lang="en-GB" sz="1000">
                  <a:solidFill>
                    <a:schemeClr val="tx2">
                      <a:lumMod val="65000"/>
                      <a:lumOff val="35000"/>
                    </a:schemeClr>
                  </a:solidFill>
                  <a:latin typeface="Arial" panose="020B0604020202020204" pitchFamily="34" charset="0"/>
                  <a:cs typeface="Arial" panose="020B0604020202020204" pitchFamily="34" charset="0"/>
                </a:rPr>
                <a:t>Whilst the senior leaders across mental health services are well connected and work collaboratively, there is a disconnect between teams on the front line, working in siloes. Across STW there is an ambition, starting with the development of a single vision, to be a system that acts as one and can provide effective, joined up care to residents of STW.</a:t>
              </a:r>
            </a:p>
            <a:p>
              <a:pPr marL="171450" indent="-171450" defTabSz="685800">
                <a:spcBef>
                  <a:spcPts val="400"/>
                </a:spcBef>
                <a:spcAft>
                  <a:spcPts val="400"/>
                </a:spcAft>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There is strong </a:t>
              </a:r>
              <a:r>
                <a:rPr lang="en-GB" sz="1000" b="1">
                  <a:solidFill>
                    <a:srgbClr val="50235C"/>
                  </a:solidFill>
                  <a:latin typeface="Arial" panose="020B0604020202020204" pitchFamily="34" charset="0"/>
                  <a:cs typeface="Arial" panose="020B0604020202020204" pitchFamily="34" charset="0"/>
                </a:rPr>
                <a:t>governance at a senior level formed through the strong working relationships </a:t>
              </a:r>
              <a:r>
                <a:rPr lang="en-GB" sz="1000">
                  <a:solidFill>
                    <a:schemeClr val="tx2">
                      <a:lumMod val="65000"/>
                      <a:lumOff val="35000"/>
                    </a:schemeClr>
                  </a:solidFill>
                  <a:latin typeface="Arial" panose="020B0604020202020204" pitchFamily="34" charset="0"/>
                  <a:cs typeface="Arial" panose="020B0604020202020204" pitchFamily="34" charset="0"/>
                </a:rPr>
                <a:t>and well-established governance boards. </a:t>
              </a:r>
            </a:p>
            <a:p>
              <a:pPr marL="171450" indent="-171450" defTabSz="685800">
                <a:spcBef>
                  <a:spcPts val="400"/>
                </a:spcBef>
                <a:spcAft>
                  <a:spcPts val="400"/>
                </a:spcAft>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Employment of an individual with lived experience mental health services to support the delivery of a patient centred approach.  </a:t>
              </a:r>
            </a:p>
            <a:p>
              <a:pPr marL="171450" indent="-171450" defTabSz="685800">
                <a:spcBef>
                  <a:spcPts val="400"/>
                </a:spcBef>
                <a:spcAft>
                  <a:spcPts val="400"/>
                </a:spcAft>
                <a:buFont typeface="Arial" panose="020B0604020202020204" pitchFamily="34" charset="0"/>
                <a:buChar char="•"/>
                <a:defRPr/>
              </a:pPr>
              <a:r>
                <a:rPr lang="en-GB" sz="1000" b="1">
                  <a:solidFill>
                    <a:srgbClr val="50235C"/>
                  </a:solidFill>
                  <a:latin typeface="Arial" panose="020B0604020202020204" pitchFamily="34" charset="0"/>
                  <a:cs typeface="Arial" panose="020B0604020202020204" pitchFamily="34" charset="0"/>
                </a:rPr>
                <a:t>On the ground teams are often misaligned </a:t>
              </a:r>
              <a:r>
                <a:rPr lang="en-GB" sz="1000">
                  <a:solidFill>
                    <a:schemeClr val="tx2">
                      <a:lumMod val="65000"/>
                      <a:lumOff val="35000"/>
                    </a:schemeClr>
                  </a:solidFill>
                  <a:latin typeface="Arial" panose="020B0604020202020204" pitchFamily="34" charset="0"/>
                  <a:cs typeface="Arial" panose="020B0604020202020204" pitchFamily="34" charset="0"/>
                </a:rPr>
                <a:t>in their aims and do not work collaboratively resulting in patients bouncing between services. </a:t>
              </a:r>
            </a:p>
            <a:p>
              <a:pPr marL="171450" indent="-171450" defTabSz="685800">
                <a:spcBef>
                  <a:spcPts val="400"/>
                </a:spcBef>
                <a:spcAft>
                  <a:spcPts val="400"/>
                </a:spcAft>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There are </a:t>
              </a:r>
              <a:r>
                <a:rPr lang="en-GB" sz="1000" b="1">
                  <a:solidFill>
                    <a:srgbClr val="50235C"/>
                  </a:solidFill>
                  <a:latin typeface="Arial" panose="020B0604020202020204" pitchFamily="34" charset="0"/>
                  <a:cs typeface="Arial" panose="020B0604020202020204" pitchFamily="34" charset="0"/>
                </a:rPr>
                <a:t>structural separations between health and care teams </a:t>
              </a:r>
              <a:r>
                <a:rPr lang="en-GB" sz="1000">
                  <a:solidFill>
                    <a:schemeClr val="tx2">
                      <a:lumMod val="65000"/>
                      <a:lumOff val="35000"/>
                    </a:schemeClr>
                  </a:solidFill>
                  <a:latin typeface="Arial" panose="020B0604020202020204" pitchFamily="34" charset="0"/>
                  <a:cs typeface="Arial" panose="020B0604020202020204" pitchFamily="34" charset="0"/>
                </a:rPr>
                <a:t>and limited joint working between physical and mental health teams. </a:t>
              </a:r>
            </a:p>
            <a:p>
              <a:pPr marL="171450" indent="-171450" defTabSz="685800">
                <a:spcBef>
                  <a:spcPts val="400"/>
                </a:spcBef>
                <a:spcAft>
                  <a:spcPts val="400"/>
                </a:spcAft>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There is </a:t>
              </a:r>
              <a:r>
                <a:rPr lang="en-GB" sz="1000" b="1">
                  <a:solidFill>
                    <a:srgbClr val="50235C"/>
                  </a:solidFill>
                  <a:latin typeface="Arial" panose="020B0604020202020204" pitchFamily="34" charset="0"/>
                  <a:cs typeface="Arial" panose="020B0604020202020204" pitchFamily="34" charset="0"/>
                </a:rPr>
                <a:t>limited involvement of Primary Care</a:t>
              </a:r>
              <a:r>
                <a:rPr lang="en-GB" sz="1000">
                  <a:solidFill>
                    <a:srgbClr val="50235C"/>
                  </a:solidFill>
                  <a:latin typeface="Arial" panose="020B0604020202020204" pitchFamily="34" charset="0"/>
                  <a:cs typeface="Arial" panose="020B0604020202020204" pitchFamily="34" charset="0"/>
                </a:rPr>
                <a:t> </a:t>
              </a:r>
              <a:r>
                <a:rPr lang="en-GB" sz="1000">
                  <a:solidFill>
                    <a:schemeClr val="tx2">
                      <a:lumMod val="65000"/>
                      <a:lumOff val="35000"/>
                    </a:schemeClr>
                  </a:solidFill>
                  <a:latin typeface="Arial" panose="020B0604020202020204" pitchFamily="34" charset="0"/>
                  <a:cs typeface="Arial" panose="020B0604020202020204" pitchFamily="34" charset="0"/>
                </a:rPr>
                <a:t>following patient referrals, meaning opportunities are missed to take a holistic approach to a patients physical and mental health care.</a:t>
              </a:r>
            </a:p>
            <a:p>
              <a:pPr marL="171450" indent="-171450" defTabSz="685800">
                <a:spcBef>
                  <a:spcPts val="400"/>
                </a:spcBef>
                <a:spcAft>
                  <a:spcPts val="400"/>
                </a:spcAft>
                <a:buFont typeface="Arial" panose="020B0604020202020204" pitchFamily="34" charset="0"/>
                <a:buChar char="•"/>
                <a:defRPr/>
              </a:pPr>
              <a:r>
                <a:rPr lang="en-GB" sz="1000" b="1">
                  <a:solidFill>
                    <a:srgbClr val="50235C"/>
                  </a:solidFill>
                  <a:latin typeface="Arial" panose="020B0604020202020204" pitchFamily="34" charset="0"/>
                  <a:cs typeface="Arial" panose="020B0604020202020204" pitchFamily="34" charset="0"/>
                </a:rPr>
                <a:t>Relationships between both councils are not always smooth </a:t>
              </a:r>
              <a:r>
                <a:rPr lang="en-GB" sz="1000">
                  <a:solidFill>
                    <a:schemeClr val="tx2">
                      <a:lumMod val="65000"/>
                      <a:lumOff val="35000"/>
                    </a:schemeClr>
                  </a:solidFill>
                  <a:latin typeface="Arial" panose="020B0604020202020204" pitchFamily="34" charset="0"/>
                  <a:cs typeface="Arial" panose="020B0604020202020204" pitchFamily="34" charset="0"/>
                </a:rPr>
                <a:t>and coordinated with a resistance to take a joined-up or consistent approach in the delivery of some services. </a:t>
              </a:r>
            </a:p>
            <a:p>
              <a:pPr marL="171450" indent="-171450" defTabSz="685800">
                <a:spcBef>
                  <a:spcPts val="400"/>
                </a:spcBef>
                <a:spcAft>
                  <a:spcPts val="400"/>
                </a:spcAft>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There is a </a:t>
              </a:r>
              <a:r>
                <a:rPr lang="en-GB" sz="1000" b="1">
                  <a:solidFill>
                    <a:srgbClr val="50235C"/>
                  </a:solidFill>
                  <a:latin typeface="Arial" panose="020B0604020202020204" pitchFamily="34" charset="0"/>
                  <a:cs typeface="Arial" panose="020B0604020202020204" pitchFamily="34" charset="0"/>
                </a:rPr>
                <a:t>shared care working group between MPFT and PCNs</a:t>
              </a:r>
              <a:r>
                <a:rPr lang="en-GB" sz="1000" b="1">
                  <a:solidFill>
                    <a:schemeClr val="tx2">
                      <a:lumMod val="65000"/>
                      <a:lumOff val="35000"/>
                    </a:schemeClr>
                  </a:solidFill>
                  <a:latin typeface="Arial" panose="020B0604020202020204" pitchFamily="34" charset="0"/>
                  <a:cs typeface="Arial" panose="020B0604020202020204" pitchFamily="34" charset="0"/>
                </a:rPr>
                <a:t> </a:t>
              </a:r>
              <a:r>
                <a:rPr lang="en-GB" sz="1000">
                  <a:solidFill>
                    <a:schemeClr val="tx2">
                      <a:lumMod val="65000"/>
                      <a:lumOff val="35000"/>
                    </a:schemeClr>
                  </a:solidFill>
                  <a:latin typeface="Arial" panose="020B0604020202020204" pitchFamily="34" charset="0"/>
                  <a:cs typeface="Arial" panose="020B0604020202020204" pitchFamily="34" charset="0"/>
                </a:rPr>
                <a:t>which is supporting the effective management of patients. </a:t>
              </a:r>
            </a:p>
            <a:p>
              <a:pPr marL="171450" lvl="0" indent="-171450">
                <a:spcBef>
                  <a:spcPts val="400"/>
                </a:spcBef>
                <a:spcAft>
                  <a:spcPts val="400"/>
                </a:spcAft>
                <a:buFont typeface="Arial" panose="020B0604020202020204" pitchFamily="34" charset="0"/>
                <a:buChar char="•"/>
                <a:defRPr/>
              </a:pPr>
              <a:r>
                <a:rPr lang="en-US" sz="1000" b="1">
                  <a:solidFill>
                    <a:srgbClr val="50235C"/>
                  </a:solidFill>
                  <a:latin typeface="Arial" panose="020B0604020202020204" pitchFamily="34" charset="0"/>
                  <a:cs typeface="Arial" panose="020B0604020202020204" pitchFamily="34" charset="0"/>
                </a:rPr>
                <a:t>Mental health and substance misuse teams work in siloes </a:t>
              </a:r>
              <a:r>
                <a:rPr lang="en-US" sz="1000">
                  <a:solidFill>
                    <a:schemeClr val="tx2">
                      <a:lumMod val="65000"/>
                      <a:lumOff val="35000"/>
                    </a:schemeClr>
                  </a:solidFill>
                  <a:latin typeface="Arial" panose="020B0604020202020204" pitchFamily="34" charset="0"/>
                  <a:cs typeface="Arial" panose="020B0604020202020204" pitchFamily="34" charset="0"/>
                </a:rPr>
                <a:t>and are independent from each other due to the structural separations of the MPFT care groups. </a:t>
              </a:r>
              <a:endParaRPr lang="en-US" sz="1000">
                <a:solidFill>
                  <a:schemeClr val="tx2">
                    <a:lumMod val="65000"/>
                    <a:lumOff val="35000"/>
                  </a:schemeClr>
                </a:solidFill>
              </a:endParaRPr>
            </a:p>
          </p:txBody>
        </p:sp>
      </p:grpSp>
      <p:grpSp>
        <p:nvGrpSpPr>
          <p:cNvPr id="25" name="Group 24">
            <a:extLst>
              <a:ext uri="{FF2B5EF4-FFF2-40B4-BE49-F238E27FC236}">
                <a16:creationId xmlns:a16="http://schemas.microsoft.com/office/drawing/2014/main" id="{6E749FC9-89E1-124F-A832-F939520B97F7}"/>
              </a:ext>
            </a:extLst>
          </p:cNvPr>
          <p:cNvGrpSpPr/>
          <p:nvPr/>
        </p:nvGrpSpPr>
        <p:grpSpPr>
          <a:xfrm>
            <a:off x="6414200" y="1546544"/>
            <a:ext cx="5444697" cy="2167753"/>
            <a:chOff x="4782787" y="1094608"/>
            <a:chExt cx="4065938" cy="1507769"/>
          </a:xfrm>
        </p:grpSpPr>
        <p:sp>
          <p:nvSpPr>
            <p:cNvPr id="26" name="Rectangle 25">
              <a:extLst>
                <a:ext uri="{FF2B5EF4-FFF2-40B4-BE49-F238E27FC236}">
                  <a16:creationId xmlns:a16="http://schemas.microsoft.com/office/drawing/2014/main" id="{E25E26F4-E637-704F-B12F-70168E4D4086}"/>
                </a:ext>
              </a:extLst>
            </p:cNvPr>
            <p:cNvSpPr/>
            <p:nvPr/>
          </p:nvSpPr>
          <p:spPr>
            <a:xfrm>
              <a:off x="4782787" y="1094608"/>
              <a:ext cx="4065938" cy="199823"/>
            </a:xfrm>
            <a:prstGeom prst="rect">
              <a:avLst/>
            </a:prstGeom>
            <a:solidFill>
              <a:srgbClr val="F0ECF3"/>
            </a:solidFill>
            <a:ln w="9525" cap="flat" cmpd="sng" algn="ctr">
              <a:solidFill>
                <a:srgbClr val="F0ECF3"/>
              </a:solidFill>
              <a:prstDash val="solid"/>
              <a:miter lim="800000"/>
            </a:ln>
            <a:effectLst/>
          </p:spPr>
          <p:txBody>
            <a:bodyPr rtlCol="0" anchor="ctr"/>
            <a:lstStyle/>
            <a:p>
              <a:r>
                <a:rPr lang="en-GB" sz="1100" b="1">
                  <a:solidFill>
                    <a:srgbClr val="50235C"/>
                  </a:solidFill>
                </a:rPr>
                <a:t>Where do we need to get to? </a:t>
              </a:r>
            </a:p>
          </p:txBody>
        </p:sp>
        <p:sp>
          <p:nvSpPr>
            <p:cNvPr id="27" name="Rectangle 26">
              <a:extLst>
                <a:ext uri="{FF2B5EF4-FFF2-40B4-BE49-F238E27FC236}">
                  <a16:creationId xmlns:a16="http://schemas.microsoft.com/office/drawing/2014/main" id="{B9168E8A-7661-C04B-929C-33F806DED5CE}"/>
                </a:ext>
              </a:extLst>
            </p:cNvPr>
            <p:cNvSpPr/>
            <p:nvPr/>
          </p:nvSpPr>
          <p:spPr>
            <a:xfrm>
              <a:off x="4782787" y="1294430"/>
              <a:ext cx="4065938" cy="1307947"/>
            </a:xfrm>
            <a:prstGeom prst="rect">
              <a:avLst/>
            </a:prstGeom>
            <a:noFill/>
            <a:ln w="3175">
              <a:solidFill>
                <a:srgbClr val="F0ECF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defTabSz="685800">
                <a:spcBef>
                  <a:spcPts val="750"/>
                </a:spcBef>
                <a:spcAft>
                  <a:spcPts val="750"/>
                </a:spcAft>
                <a:buFont typeface="Wingdings" pitchFamily="2" charset="2"/>
                <a:buChar char="ü"/>
              </a:pPr>
              <a:r>
                <a:rPr lang="en-GB" sz="1000">
                  <a:solidFill>
                    <a:srgbClr val="50235B"/>
                  </a:solidFill>
                  <a:latin typeface="Arial" panose="020B0604020202020204" pitchFamily="34" charset="0"/>
                  <a:cs typeface="Arial" panose="020B0604020202020204" pitchFamily="34" charset="0"/>
                </a:rPr>
                <a:t>Provide a safe and effective mental health service offerings for all those who need them</a:t>
              </a:r>
            </a:p>
            <a:p>
              <a:pPr marL="171450" indent="-171450" defTabSz="685800">
                <a:spcBef>
                  <a:spcPts val="750"/>
                </a:spcBef>
                <a:spcAft>
                  <a:spcPts val="750"/>
                </a:spcAft>
                <a:buFont typeface="Wingdings" pitchFamily="2" charset="2"/>
                <a:buChar char="ü"/>
              </a:pPr>
              <a:r>
                <a:rPr lang="en-GB" sz="1000">
                  <a:solidFill>
                    <a:srgbClr val="50235B"/>
                  </a:solidFill>
                  <a:latin typeface="Arial" panose="020B0604020202020204" pitchFamily="34" charset="0"/>
                  <a:cs typeface="Arial" panose="020B0604020202020204" pitchFamily="34" charset="0"/>
                </a:rPr>
                <a:t>Ensure patients receive the right service in the right place</a:t>
              </a:r>
            </a:p>
            <a:p>
              <a:pPr marL="171450" indent="-171450" defTabSz="685800">
                <a:spcBef>
                  <a:spcPts val="750"/>
                </a:spcBef>
                <a:spcAft>
                  <a:spcPts val="750"/>
                </a:spcAft>
                <a:buFont typeface="Wingdings" pitchFamily="2" charset="2"/>
                <a:buChar char="ü"/>
              </a:pPr>
              <a:r>
                <a:rPr lang="en-GB" sz="1000">
                  <a:solidFill>
                    <a:srgbClr val="50235B"/>
                  </a:solidFill>
                  <a:latin typeface="Arial" panose="020B0604020202020204" pitchFamily="34" charset="0"/>
                  <a:cs typeface="Arial" panose="020B0604020202020204" pitchFamily="34" charset="0"/>
                </a:rPr>
                <a:t>Ensure mental health services and their staff are trusted and seen as equal partners</a:t>
              </a:r>
            </a:p>
            <a:p>
              <a:pPr marL="171450" indent="-171450" defTabSz="685800">
                <a:spcBef>
                  <a:spcPts val="750"/>
                </a:spcBef>
                <a:spcAft>
                  <a:spcPts val="750"/>
                </a:spcAft>
                <a:buFont typeface="Wingdings" pitchFamily="2" charset="2"/>
                <a:buChar char="ü"/>
              </a:pPr>
              <a:r>
                <a:rPr lang="en-GB" sz="1000">
                  <a:solidFill>
                    <a:srgbClr val="50235B"/>
                  </a:solidFill>
                  <a:latin typeface="Arial" panose="020B0604020202020204" pitchFamily="34" charset="0"/>
                  <a:cs typeface="Arial" panose="020B0604020202020204" pitchFamily="34" charset="0"/>
                </a:rPr>
                <a:t>Adopt a trauma informed care model across the system</a:t>
              </a:r>
            </a:p>
            <a:p>
              <a:pPr marL="171450" indent="-171450" defTabSz="685800">
                <a:spcBef>
                  <a:spcPts val="750"/>
                </a:spcBef>
                <a:spcAft>
                  <a:spcPts val="750"/>
                </a:spcAft>
                <a:buFont typeface="Wingdings" pitchFamily="2" charset="2"/>
                <a:buChar char="ü"/>
              </a:pPr>
              <a:r>
                <a:rPr lang="en-GB" sz="1000">
                  <a:solidFill>
                    <a:srgbClr val="50235B"/>
                  </a:solidFill>
                  <a:latin typeface="Arial" panose="020B0604020202020204" pitchFamily="34" charset="0"/>
                  <a:cs typeface="Arial" panose="020B0604020202020204" pitchFamily="34" charset="0"/>
                </a:rPr>
                <a:t>A system that shares learnings and best practice across the board while taking local nuances into account</a:t>
              </a:r>
            </a:p>
          </p:txBody>
        </p:sp>
      </p:grpSp>
      <p:grpSp>
        <p:nvGrpSpPr>
          <p:cNvPr id="28" name="Group 27">
            <a:extLst>
              <a:ext uri="{FF2B5EF4-FFF2-40B4-BE49-F238E27FC236}">
                <a16:creationId xmlns:a16="http://schemas.microsoft.com/office/drawing/2014/main" id="{8B771798-42EE-5C4C-84A4-3B741660585C}"/>
              </a:ext>
            </a:extLst>
          </p:cNvPr>
          <p:cNvGrpSpPr/>
          <p:nvPr/>
        </p:nvGrpSpPr>
        <p:grpSpPr>
          <a:xfrm>
            <a:off x="6414200" y="3859779"/>
            <a:ext cx="5444697" cy="2146744"/>
            <a:chOff x="4782787" y="1286823"/>
            <a:chExt cx="4065938" cy="1493156"/>
          </a:xfrm>
        </p:grpSpPr>
        <p:sp>
          <p:nvSpPr>
            <p:cNvPr id="31" name="Rectangle 30">
              <a:extLst>
                <a:ext uri="{FF2B5EF4-FFF2-40B4-BE49-F238E27FC236}">
                  <a16:creationId xmlns:a16="http://schemas.microsoft.com/office/drawing/2014/main" id="{23CD1CFA-944E-104D-90E5-8186CC062DF7}"/>
                </a:ext>
              </a:extLst>
            </p:cNvPr>
            <p:cNvSpPr/>
            <p:nvPr/>
          </p:nvSpPr>
          <p:spPr>
            <a:xfrm>
              <a:off x="4782787" y="1286823"/>
              <a:ext cx="4065938" cy="199823"/>
            </a:xfrm>
            <a:prstGeom prst="rect">
              <a:avLst/>
            </a:prstGeom>
            <a:solidFill>
              <a:srgbClr val="F0ECF3"/>
            </a:solidFill>
            <a:ln w="9525" cap="flat" cmpd="sng" algn="ctr">
              <a:solidFill>
                <a:srgbClr val="F0ECF3"/>
              </a:solidFill>
              <a:prstDash val="solid"/>
              <a:miter lim="800000"/>
            </a:ln>
            <a:effectLst/>
          </p:spPr>
          <p:txBody>
            <a:bodyPr rtlCol="0" anchor="ctr"/>
            <a:lstStyle/>
            <a:p>
              <a:r>
                <a:rPr lang="en-GB" sz="1100" b="1">
                  <a:solidFill>
                    <a:srgbClr val="50235C"/>
                  </a:solidFill>
                </a:rPr>
                <a:t>What are other areas doing?</a:t>
              </a:r>
            </a:p>
          </p:txBody>
        </p:sp>
        <p:sp>
          <p:nvSpPr>
            <p:cNvPr id="32" name="Rectangle 31">
              <a:extLst>
                <a:ext uri="{FF2B5EF4-FFF2-40B4-BE49-F238E27FC236}">
                  <a16:creationId xmlns:a16="http://schemas.microsoft.com/office/drawing/2014/main" id="{FAF789BC-019C-B946-926D-6093AE1A3912}"/>
                </a:ext>
              </a:extLst>
            </p:cNvPr>
            <p:cNvSpPr/>
            <p:nvPr/>
          </p:nvSpPr>
          <p:spPr>
            <a:xfrm>
              <a:off x="4782787" y="1491221"/>
              <a:ext cx="4065938" cy="1288758"/>
            </a:xfrm>
            <a:prstGeom prst="rect">
              <a:avLst/>
            </a:prstGeom>
            <a:solidFill>
              <a:srgbClr val="F1EDF4"/>
            </a:solidFill>
            <a:ln w="3175">
              <a:solidFill>
                <a:srgbClr val="F0EC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62050" lvl="0">
                <a:spcBef>
                  <a:spcPts val="300"/>
                </a:spcBef>
                <a:spcAft>
                  <a:spcPts val="300"/>
                </a:spcAft>
              </a:pPr>
              <a:r>
                <a:rPr lang="en-GB" sz="1000">
                  <a:solidFill>
                    <a:srgbClr val="50235B"/>
                  </a:solidFill>
                  <a:latin typeface="Arial" panose="020B0604020202020204" pitchFamily="34" charset="0"/>
                  <a:cs typeface="Arial" panose="020B0604020202020204" pitchFamily="34" charset="0"/>
                </a:rPr>
                <a:t>The Alcohol Liaison Service in Wakefield supports colleagues in the hospital by working collaboratively to oversee discharge planning between hospital care, recovery services, GP and community services. They also facilitate regular substance misuse training for frontline staff in departments which see the highest levels of alcohol-related admissions.</a:t>
              </a:r>
            </a:p>
            <a:p>
              <a:pPr marL="1162050" lvl="0">
                <a:spcBef>
                  <a:spcPts val="300"/>
                </a:spcBef>
                <a:spcAft>
                  <a:spcPts val="300"/>
                </a:spcAft>
              </a:pPr>
              <a:r>
                <a:rPr lang="en-GB" sz="1000">
                  <a:solidFill>
                    <a:srgbClr val="50235B"/>
                  </a:solidFill>
                  <a:latin typeface="Arial" panose="020B0604020202020204" pitchFamily="34" charset="0"/>
                  <a:cs typeface="Arial" panose="020B0604020202020204" pitchFamily="34" charset="0"/>
                </a:rPr>
                <a:t> The service led to 34% fewer alcohol-specific hospital admission episodes in 2016/17 compared to 2013/14 and saved the local NHS an estimated £1.5M. Over the same period, the number of hospital readmissions reduced by 36% and the number of associated bed days per year by 26%.	</a:t>
              </a:r>
            </a:p>
          </p:txBody>
        </p:sp>
      </p:grpSp>
      <p:pic>
        <p:nvPicPr>
          <p:cNvPr id="30" name="Picture 3">
            <a:extLst>
              <a:ext uri="{FF2B5EF4-FFF2-40B4-BE49-F238E27FC236}">
                <a16:creationId xmlns:a16="http://schemas.microsoft.com/office/drawing/2014/main" id="{A69A534E-FEA8-2B46-8DEA-BD3BF9C68FD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414200" y="4668917"/>
            <a:ext cx="1279555" cy="65577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3" name="Table 32">
            <a:extLst>
              <a:ext uri="{FF2B5EF4-FFF2-40B4-BE49-F238E27FC236}">
                <a16:creationId xmlns:a16="http://schemas.microsoft.com/office/drawing/2014/main" id="{63900EDA-92E5-0C4D-88B7-9D1E3C6B6346}"/>
              </a:ext>
            </a:extLst>
          </p:cNvPr>
          <p:cNvGraphicFramePr>
            <a:graphicFrameLocks noGrp="1"/>
          </p:cNvGraphicFramePr>
          <p:nvPr>
            <p:extLst>
              <p:ext uri="{D42A27DB-BD31-4B8C-83A1-F6EECF244321}">
                <p14:modId xmlns:p14="http://schemas.microsoft.com/office/powerpoint/2010/main" val="1095260840"/>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C"/>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pic>
        <p:nvPicPr>
          <p:cNvPr id="34" name="Graphic 33" descr="Cheers with solid fill">
            <a:extLst>
              <a:ext uri="{FF2B5EF4-FFF2-40B4-BE49-F238E27FC236}">
                <a16:creationId xmlns:a16="http://schemas.microsoft.com/office/drawing/2014/main" id="{11967A17-8015-094E-AD9B-75E3F252A0B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10638" y="185637"/>
            <a:ext cx="594000" cy="594000"/>
          </a:xfrm>
          <a:prstGeom prst="rect">
            <a:avLst/>
          </a:prstGeom>
        </p:spPr>
      </p:pic>
    </p:spTree>
    <p:extLst>
      <p:ext uri="{BB962C8B-B14F-4D97-AF65-F5344CB8AC3E}">
        <p14:creationId xmlns:p14="http://schemas.microsoft.com/office/powerpoint/2010/main" val="1037162619"/>
      </p:ext>
    </p:extLst>
  </p:cSld>
  <p:clrMapOvr>
    <a:overrideClrMapping bg1="lt1" tx1="dk1" bg2="lt2" tx2="dk2" accent1="accent1" accent2="accent2" accent3="accent3" accent4="accent4" accent5="accent5" accent6="accent6" hlink="hlink" folHlink="folHlink"/>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849"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en-IN" sz="2800">
              <a:solidFill>
                <a:srgbClr val="FFFFFF"/>
              </a:solidFill>
              <a:sym typeface="Arial" panose="020B0604020202020204" pitchFamily="34" charset="0"/>
            </a:endParaRPr>
          </a:p>
        </p:txBody>
      </p:sp>
      <p:sp>
        <p:nvSpPr>
          <p:cNvPr id="2" name="Title 1"/>
          <p:cNvSpPr>
            <a:spLocks noGrp="1"/>
          </p:cNvSpPr>
          <p:nvPr>
            <p:ph type="title"/>
          </p:nvPr>
        </p:nvSpPr>
        <p:spPr>
          <a:xfrm>
            <a:off x="1241946" y="297277"/>
            <a:ext cx="8669497" cy="434010"/>
          </a:xfrm>
          <a:prstGeom prst="rect">
            <a:avLst/>
          </a:prstGeom>
        </p:spPr>
        <p:txBody>
          <a:bodyPr/>
          <a:lstStyle/>
          <a:p>
            <a:r>
              <a:rPr lang="en-GB">
                <a:solidFill>
                  <a:srgbClr val="50235B"/>
                </a:solidFill>
              </a:rPr>
              <a:t>Act as one integrated system</a:t>
            </a:r>
            <a:endParaRPr lang="en-IN"/>
          </a:p>
        </p:txBody>
      </p:sp>
      <p:sp>
        <p:nvSpPr>
          <p:cNvPr id="21" name="Rectangle 20">
            <a:extLst>
              <a:ext uri="{FF2B5EF4-FFF2-40B4-BE49-F238E27FC236}">
                <a16:creationId xmlns:a16="http://schemas.microsoft.com/office/drawing/2014/main" id="{FE740462-AEED-0B41-92DC-3A54DEB718C8}"/>
              </a:ext>
            </a:extLst>
          </p:cNvPr>
          <p:cNvSpPr/>
          <p:nvPr/>
        </p:nvSpPr>
        <p:spPr>
          <a:xfrm>
            <a:off x="647407" y="1095781"/>
            <a:ext cx="2355654" cy="434010"/>
          </a:xfrm>
          <a:prstGeom prst="rect">
            <a:avLst/>
          </a:prstGeom>
          <a:noFill/>
          <a:ln w="12700" cap="flat" cmpd="sng" algn="ctr">
            <a:noFill/>
            <a:prstDash val="solid"/>
            <a:miter lim="800000"/>
          </a:ln>
          <a:effectLst/>
        </p:spPr>
        <p:txBody>
          <a:bodyPr rtlCol="0" anchor="ctr"/>
          <a:lstStyle/>
          <a:p>
            <a:pPr lvl="0" algn="ctr" defTabSz="685800">
              <a:defRPr/>
            </a:pPr>
            <a:endParaRPr lang="en-GB" sz="1050" b="1">
              <a:solidFill>
                <a:srgbClr val="50235B"/>
              </a:solidFill>
              <a:latin typeface="Arial" panose="020B0604020202020204" pitchFamily="34" charset="0"/>
              <a:cs typeface="Arial" panose="020B0604020202020204" pitchFamily="34" charset="0"/>
            </a:endParaRPr>
          </a:p>
        </p:txBody>
      </p:sp>
      <p:graphicFrame>
        <p:nvGraphicFramePr>
          <p:cNvPr id="5" name="Table 7">
            <a:extLst>
              <a:ext uri="{FF2B5EF4-FFF2-40B4-BE49-F238E27FC236}">
                <a16:creationId xmlns:a16="http://schemas.microsoft.com/office/drawing/2014/main" id="{1F73E11B-085A-AD47-B820-F62CD6BB7304}"/>
              </a:ext>
            </a:extLst>
          </p:cNvPr>
          <p:cNvGraphicFramePr>
            <a:graphicFrameLocks noGrp="1"/>
          </p:cNvGraphicFramePr>
          <p:nvPr>
            <p:extLst>
              <p:ext uri="{D42A27DB-BD31-4B8C-83A1-F6EECF244321}">
                <p14:modId xmlns:p14="http://schemas.microsoft.com/office/powerpoint/2010/main" val="524296402"/>
              </p:ext>
            </p:extLst>
          </p:nvPr>
        </p:nvGraphicFramePr>
        <p:xfrm>
          <a:off x="510638" y="1095781"/>
          <a:ext cx="11370281" cy="4566464"/>
        </p:xfrm>
        <a:graphic>
          <a:graphicData uri="http://schemas.openxmlformats.org/drawingml/2006/table">
            <a:tbl>
              <a:tblPr firstRow="1" bandRow="1">
                <a:tableStyleId>{5C22544A-7EE6-4342-B048-85BDC9FD1C3A}</a:tableStyleId>
              </a:tblPr>
              <a:tblGrid>
                <a:gridCol w="718087">
                  <a:extLst>
                    <a:ext uri="{9D8B030D-6E8A-4147-A177-3AD203B41FA5}">
                      <a16:colId xmlns:a16="http://schemas.microsoft.com/office/drawing/2014/main" val="4209047126"/>
                    </a:ext>
                  </a:extLst>
                </a:gridCol>
                <a:gridCol w="3577393">
                  <a:extLst>
                    <a:ext uri="{9D8B030D-6E8A-4147-A177-3AD203B41FA5}">
                      <a16:colId xmlns:a16="http://schemas.microsoft.com/office/drawing/2014/main" val="1853970278"/>
                    </a:ext>
                  </a:extLst>
                </a:gridCol>
                <a:gridCol w="3659010">
                  <a:extLst>
                    <a:ext uri="{9D8B030D-6E8A-4147-A177-3AD203B41FA5}">
                      <a16:colId xmlns:a16="http://schemas.microsoft.com/office/drawing/2014/main" val="3087462113"/>
                    </a:ext>
                  </a:extLst>
                </a:gridCol>
                <a:gridCol w="669636">
                  <a:extLst>
                    <a:ext uri="{9D8B030D-6E8A-4147-A177-3AD203B41FA5}">
                      <a16:colId xmlns:a16="http://schemas.microsoft.com/office/drawing/2014/main" val="1029806020"/>
                    </a:ext>
                  </a:extLst>
                </a:gridCol>
                <a:gridCol w="669636">
                  <a:extLst>
                    <a:ext uri="{9D8B030D-6E8A-4147-A177-3AD203B41FA5}">
                      <a16:colId xmlns:a16="http://schemas.microsoft.com/office/drawing/2014/main" val="3714934659"/>
                    </a:ext>
                  </a:extLst>
                </a:gridCol>
                <a:gridCol w="669636">
                  <a:extLst>
                    <a:ext uri="{9D8B030D-6E8A-4147-A177-3AD203B41FA5}">
                      <a16:colId xmlns:a16="http://schemas.microsoft.com/office/drawing/2014/main" val="1845500442"/>
                    </a:ext>
                  </a:extLst>
                </a:gridCol>
                <a:gridCol w="765960">
                  <a:extLst>
                    <a:ext uri="{9D8B030D-6E8A-4147-A177-3AD203B41FA5}">
                      <a16:colId xmlns:a16="http://schemas.microsoft.com/office/drawing/2014/main" val="2590076437"/>
                    </a:ext>
                  </a:extLst>
                </a:gridCol>
                <a:gridCol w="640923">
                  <a:extLst>
                    <a:ext uri="{9D8B030D-6E8A-4147-A177-3AD203B41FA5}">
                      <a16:colId xmlns:a16="http://schemas.microsoft.com/office/drawing/2014/main" val="1385158084"/>
                    </a:ext>
                  </a:extLst>
                </a:gridCol>
              </a:tblGrid>
              <a:tr h="451594">
                <a:tc>
                  <a:txBody>
                    <a:bodyPr/>
                    <a:lstStyle/>
                    <a:p>
                      <a:pPr algn="ctr"/>
                      <a:r>
                        <a:rPr lang="en-GB" sz="900">
                          <a:solidFill>
                            <a:srgbClr val="50235C"/>
                          </a:solidFill>
                        </a:rPr>
                        <a:t>Roadmap ref</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r>
                        <a:rPr lang="en-GB" sz="900">
                          <a:solidFill>
                            <a:srgbClr val="50235C"/>
                          </a:solidFill>
                        </a:rPr>
                        <a:t>Future activity</a:t>
                      </a:r>
                      <a:endParaRPr lang="en-GB" sz="900"/>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algn="ctr" defTabSz="914400" rtl="0" eaLnBrk="1" fontAlgn="ctr" latinLnBrk="0" hangingPunct="1"/>
                      <a:r>
                        <a:rPr lang="en-GB" sz="900" b="1" kern="1200">
                          <a:solidFill>
                            <a:srgbClr val="50235C"/>
                          </a:solidFill>
                          <a:latin typeface="+mn-lt"/>
                          <a:ea typeface="+mn-ea"/>
                          <a:cs typeface="+mn-cs"/>
                        </a:rPr>
                        <a:t>Target outcome / Expected benefit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algn="ctr" defTabSz="914400" rtl="0" eaLnBrk="1" fontAlgn="ctr" latinLnBrk="0" hangingPunct="1"/>
                      <a:r>
                        <a:rPr lang="en-GB" sz="900" b="1" kern="1200">
                          <a:solidFill>
                            <a:srgbClr val="50235C"/>
                          </a:solidFill>
                          <a:latin typeface="+mn-lt"/>
                          <a:ea typeface="+mn-ea"/>
                          <a:cs typeface="+mn-cs"/>
                        </a:rPr>
                        <a:t>Impact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Ease</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algn="ctr" defTabSz="914400" rtl="0" eaLnBrk="1" fontAlgn="ctr" latinLnBrk="0" hangingPunct="1"/>
                      <a:r>
                        <a:rPr lang="en-GB" sz="900" b="1" kern="1200">
                          <a:solidFill>
                            <a:srgbClr val="50235C"/>
                          </a:solidFill>
                          <a:latin typeface="+mn-lt"/>
                          <a:ea typeface="+mn-ea"/>
                          <a:cs typeface="+mn-cs"/>
                        </a:rPr>
                        <a:t>Score</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820" b="1" i="0" u="none" strike="noStrike" kern="1200" cap="none" spc="0" normalizeH="0" baseline="0" noProof="0">
                          <a:ln>
                            <a:noFill/>
                          </a:ln>
                          <a:solidFill>
                            <a:srgbClr val="50235C"/>
                          </a:solidFill>
                          <a:effectLst/>
                          <a:uLnTx/>
                          <a:uFillTx/>
                          <a:latin typeface="+mn-lt"/>
                          <a:ea typeface="+mn-ea"/>
                          <a:cs typeface="+mn-cs"/>
                        </a:rPr>
                        <a:t>Resource required</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r>
                        <a:rPr lang="en-GB" sz="900" b="1">
                          <a:solidFill>
                            <a:srgbClr val="50235C"/>
                          </a:solidFill>
                        </a:rPr>
                        <a:t>Short</a:t>
                      </a:r>
                    </a:p>
                    <a:p>
                      <a:r>
                        <a:rPr lang="en-GB" sz="900" b="1">
                          <a:solidFill>
                            <a:srgbClr val="50235C"/>
                          </a:solidFill>
                        </a:rPr>
                        <a:t>Medium</a:t>
                      </a:r>
                      <a:br>
                        <a:rPr lang="en-GB" sz="900" b="1">
                          <a:solidFill>
                            <a:srgbClr val="50235C"/>
                          </a:solidFill>
                        </a:rPr>
                      </a:br>
                      <a:r>
                        <a:rPr lang="en-GB" sz="900" b="1">
                          <a:solidFill>
                            <a:srgbClr val="50235C"/>
                          </a:solidFill>
                        </a:rPr>
                        <a:t>Long</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extLst>
                  <a:ext uri="{0D108BD9-81ED-4DB2-BD59-A6C34878D82A}">
                    <a16:rowId xmlns:a16="http://schemas.microsoft.com/office/drawing/2014/main" val="466195498"/>
                  </a:ext>
                </a:extLst>
              </a:tr>
              <a:tr h="50794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strike="noStrike">
                          <a:solidFill>
                            <a:srgbClr val="50235C"/>
                          </a:solidFill>
                        </a:rPr>
                        <a:t>D1</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MDT approach (between Primary Care, Secondary care and Third Sector)</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marR="0" lvl="0" indent="-74613" algn="l" defTabSz="914400" rtl="0" eaLnBrk="1" fontAlgn="ctr" latinLnBrk="0" hangingPunct="1">
                        <a:lnSpc>
                          <a:spcPct val="100000"/>
                        </a:lnSpc>
                        <a:spcBef>
                          <a:spcPts val="0"/>
                        </a:spcBef>
                        <a:spcAft>
                          <a:spcPts val="0"/>
                        </a:spcAft>
                        <a:buClr>
                          <a:srgbClr val="000000"/>
                        </a:buClr>
                        <a:buSzPts val="900"/>
                        <a:buFont typeface="Arial" panose="020B0604020202020204" pitchFamily="34" charset="0"/>
                        <a:buChar char="•"/>
                        <a:tabLst/>
                        <a:defRPr/>
                      </a:pPr>
                      <a:r>
                        <a:rPr lang="en-GB" sz="900" b="0" i="0" u="none" strike="noStrike" kern="1200">
                          <a:solidFill>
                            <a:schemeClr val="tx2">
                              <a:lumMod val="65000"/>
                              <a:lumOff val="35000"/>
                            </a:schemeClr>
                          </a:solidFill>
                          <a:effectLst/>
                          <a:latin typeface="Arial" panose="020B0604020202020204" pitchFamily="34" charset="0"/>
                          <a:ea typeface="+mn-ea"/>
                          <a:cs typeface="+mn-cs"/>
                        </a:rPr>
                        <a:t>Better care outcomes for service users, especially those suffering with long-term conditions.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20</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High (but already paid)</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235437093"/>
                  </a:ext>
                </a:extLst>
              </a:tr>
              <a:tr h="50794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strike="noStrike">
                          <a:solidFill>
                            <a:srgbClr val="50235C"/>
                          </a:solidFill>
                        </a:rPr>
                        <a:t>D2</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Nominated and effective place based leadership – focused on prevention and resilience</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indent="-74613" algn="l" defTabSz="914400" rtl="0" eaLnBrk="1" fontAlgn="ctr" latinLnBrk="0" hangingPunct="1">
                        <a:buClr>
                          <a:srgbClr val="000000"/>
                        </a:buClr>
                        <a:buSzPts val="900"/>
                        <a:buFont typeface="Arial" panose="020B0604020202020204" pitchFamily="34" charset="0"/>
                        <a:buChar char="•"/>
                        <a:tabLst/>
                      </a:pPr>
                      <a:r>
                        <a:rPr lang="en-GB" sz="900" b="0" i="0" u="none" strike="noStrike" kern="1200">
                          <a:solidFill>
                            <a:schemeClr val="tx2">
                              <a:lumMod val="65000"/>
                              <a:lumOff val="35000"/>
                            </a:schemeClr>
                          </a:solidFill>
                          <a:effectLst/>
                          <a:latin typeface="Arial" panose="020B0604020202020204" pitchFamily="34" charset="0"/>
                          <a:ea typeface="+mn-ea"/>
                          <a:cs typeface="+mn-cs"/>
                        </a:rPr>
                        <a:t>A localised support offering that supports people wherever they live within the ICS.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1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Low</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Short</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3271128616"/>
                  </a:ext>
                </a:extLst>
              </a:tr>
              <a:tr h="50794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strike="noStrike">
                          <a:solidFill>
                            <a:srgbClr val="50235C"/>
                          </a:solidFill>
                        </a:rPr>
                        <a:t>D3</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kern="1200">
                          <a:solidFill>
                            <a:srgbClr val="50235C"/>
                          </a:solidFill>
                          <a:effectLst/>
                          <a:latin typeface="Arial" panose="020B0604020202020204" pitchFamily="34" charset="0"/>
                          <a:ea typeface="+mn-ea"/>
                          <a:cs typeface="+mn-cs"/>
                        </a:rPr>
                        <a:t>Better collaboration between primary and secondary care around use of medicines and prescribing</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indent="-74613" algn="l" defTabSz="914400" rtl="0" eaLnBrk="1" fontAlgn="ctr" latinLnBrk="0" hangingPunct="1">
                        <a:buClr>
                          <a:srgbClr val="000000"/>
                        </a:buClr>
                        <a:buSzPts val="900"/>
                        <a:buFont typeface="Arial" panose="020B0604020202020204" pitchFamily="34" charset="0"/>
                        <a:buChar char="•"/>
                        <a:tabLst/>
                      </a:pPr>
                      <a:r>
                        <a:rPr lang="en-GB" sz="900" b="0" i="0" u="none" strike="noStrike" kern="1200">
                          <a:solidFill>
                            <a:schemeClr val="tx2">
                              <a:lumMod val="65000"/>
                              <a:lumOff val="35000"/>
                            </a:schemeClr>
                          </a:solidFill>
                          <a:effectLst/>
                          <a:latin typeface="Arial" panose="020B0604020202020204" pitchFamily="34" charset="0"/>
                          <a:ea typeface="+mn-ea"/>
                          <a:cs typeface="+mn-cs"/>
                        </a:rPr>
                        <a:t>Improved patient outcomes through a more coordinated approach to the use of medicines and prescribing.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900" b="0" i="0" u="none" strike="noStrike" kern="1200">
                          <a:solidFill>
                            <a:schemeClr val="tx2">
                              <a:lumMod val="65000"/>
                              <a:lumOff val="35000"/>
                            </a:schemeClr>
                          </a:solidFill>
                          <a:effectLst/>
                          <a:latin typeface="Arial" panose="020B0604020202020204" pitchFamily="34" charset="0"/>
                          <a:ea typeface="+mn-ea"/>
                          <a:cs typeface="+mn-cs"/>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900" b="0" i="0" u="none" strike="noStrike" kern="1200">
                          <a:solidFill>
                            <a:schemeClr val="tx2">
                              <a:lumMod val="65000"/>
                              <a:lumOff val="35000"/>
                            </a:schemeClr>
                          </a:solidFill>
                          <a:effectLst/>
                          <a:latin typeface="Arial" panose="020B0604020202020204" pitchFamily="34" charset="0"/>
                          <a:ea typeface="+mn-ea"/>
                          <a:cs typeface="+mn-cs"/>
                        </a:rPr>
                        <a:t>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900" b="1" i="0" u="none" strike="noStrike" kern="1200">
                          <a:solidFill>
                            <a:schemeClr val="tx2">
                              <a:lumMod val="65000"/>
                              <a:lumOff val="35000"/>
                            </a:schemeClr>
                          </a:solidFill>
                          <a:effectLst/>
                          <a:latin typeface="Arial" panose="020B0604020202020204" pitchFamily="34" charset="0"/>
                          <a:ea typeface="+mn-ea"/>
                          <a:cs typeface="+mn-cs"/>
                        </a:rPr>
                        <a:t>10</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strike="noStrike">
                          <a:solidFill>
                            <a:schemeClr val="tx2">
                              <a:lumMod val="65000"/>
                              <a:lumOff val="35000"/>
                            </a:schemeClr>
                          </a:solidFill>
                        </a:rPr>
                        <a:t>Low</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strike="noStrike">
                          <a:solidFill>
                            <a:schemeClr val="tx2">
                              <a:lumMod val="65000"/>
                              <a:lumOff val="35000"/>
                            </a:schemeClr>
                          </a:solidFill>
                        </a:rPr>
                        <a:t>Long</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4199580168"/>
                  </a:ext>
                </a:extLst>
              </a:tr>
              <a:tr h="50794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D4</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Standardised triage process to signpost people to appropriate support.</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indent="-74613" algn="l" defTabSz="914400" rtl="0" eaLnBrk="1" fontAlgn="ctr" latinLnBrk="0" hangingPunct="1">
                        <a:buClr>
                          <a:srgbClr val="000000"/>
                        </a:buClr>
                        <a:buSzPts val="900"/>
                        <a:buFont typeface="Arial" panose="020B0604020202020204" pitchFamily="34" charset="0"/>
                        <a:buChar char="•"/>
                        <a:tabLst/>
                      </a:pPr>
                      <a:r>
                        <a:rPr lang="en-GB" sz="900" b="0" i="0" u="none" strike="noStrike" kern="1200">
                          <a:solidFill>
                            <a:schemeClr val="tx2">
                              <a:lumMod val="65000"/>
                              <a:lumOff val="35000"/>
                            </a:schemeClr>
                          </a:solidFill>
                          <a:effectLst/>
                          <a:latin typeface="Arial" panose="020B0604020202020204" pitchFamily="34" charset="0"/>
                          <a:ea typeface="+mn-ea"/>
                          <a:cs typeface="+mn-cs"/>
                        </a:rPr>
                        <a:t>Patients are directed the most appropriate support sooner and do not have to repeat themselves at each service.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10</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Med-long</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4190610611"/>
                  </a:ext>
                </a:extLst>
              </a:tr>
              <a:tr h="50794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D5</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One integrated care plan – establish a shared care record</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indent="-74613" algn="l" defTabSz="914400" rtl="0" eaLnBrk="1" fontAlgn="ctr" latinLnBrk="0" hangingPunct="1">
                        <a:buClr>
                          <a:srgbClr val="000000"/>
                        </a:buClr>
                        <a:buSzPts val="900"/>
                        <a:buFont typeface="Arial" panose="020B0604020202020204" pitchFamily="34" charset="0"/>
                        <a:buChar char="•"/>
                        <a:tabLst/>
                      </a:pPr>
                      <a:r>
                        <a:rPr lang="en-GB" sz="900" b="0" i="0" u="none" strike="noStrike" kern="1200">
                          <a:solidFill>
                            <a:schemeClr val="tx2">
                              <a:lumMod val="65000"/>
                              <a:lumOff val="35000"/>
                            </a:schemeClr>
                          </a:solidFill>
                          <a:effectLst/>
                          <a:latin typeface="Arial" panose="020B0604020202020204" pitchFamily="34" charset="0"/>
                          <a:ea typeface="+mn-ea"/>
                          <a:cs typeface="+mn-cs"/>
                        </a:rPr>
                        <a:t>A system that can work collaboratively and take all of patient’s physical and mental health care needs into account.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10</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Medium </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Long</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3198809439"/>
                  </a:ext>
                </a:extLst>
              </a:tr>
              <a:tr h="50794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D6</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Access to professional to professional advice for all staff including the third sector and housing providers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indent="-74613" algn="l" defTabSz="914400" rtl="0" eaLnBrk="1" fontAlgn="ctr" latinLnBrk="0" hangingPunct="1">
                        <a:buClr>
                          <a:srgbClr val="000000"/>
                        </a:buClr>
                        <a:buSzPts val="900"/>
                        <a:buFont typeface="Arial" panose="020B0604020202020204" pitchFamily="34" charset="0"/>
                        <a:buChar char="•"/>
                        <a:tabLst/>
                      </a:pPr>
                      <a:r>
                        <a:rPr lang="en-GB" sz="900" b="0" i="0" u="none" strike="noStrike" kern="1200">
                          <a:solidFill>
                            <a:schemeClr val="tx2">
                              <a:lumMod val="65000"/>
                              <a:lumOff val="35000"/>
                            </a:schemeClr>
                          </a:solidFill>
                          <a:effectLst/>
                          <a:latin typeface="Arial" panose="020B0604020202020204" pitchFamily="34" charset="0"/>
                          <a:ea typeface="+mn-ea"/>
                          <a:cs typeface="+mn-cs"/>
                        </a:rPr>
                        <a:t>Empowered workforce that have access the the best information to support their patients.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9</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High </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Long</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1658197614"/>
                  </a:ext>
                </a:extLst>
              </a:tr>
              <a:tr h="50794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D7</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Make a pledge to our residents that when they approach any of our services they can expect a core set of behaviours / responses and action.</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indent="-74613" algn="l" defTabSz="914400" rtl="0" eaLnBrk="1" fontAlgn="ctr" latinLnBrk="0" hangingPunct="1">
                        <a:buClr>
                          <a:srgbClr val="000000"/>
                        </a:buClr>
                        <a:buSzPts val="900"/>
                        <a:buFont typeface="Arial" panose="020B0604020202020204" pitchFamily="34" charset="0"/>
                        <a:buChar char="•"/>
                        <a:tabLst/>
                      </a:pPr>
                      <a:r>
                        <a:rPr lang="en-GB" sz="900" b="0" i="0" u="none" strike="noStrike" kern="1200">
                          <a:solidFill>
                            <a:schemeClr val="tx2">
                              <a:lumMod val="65000"/>
                              <a:lumOff val="35000"/>
                            </a:schemeClr>
                          </a:solidFill>
                          <a:effectLst/>
                          <a:latin typeface="Arial" panose="020B0604020202020204" pitchFamily="34" charset="0"/>
                          <a:ea typeface="+mn-ea"/>
                          <a:cs typeface="+mn-cs"/>
                        </a:rPr>
                        <a:t>Patients know that they will receive consistent high quality care no matter which service they use.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9</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Medium </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Medium </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74048181"/>
                  </a:ext>
                </a:extLst>
              </a:tr>
              <a:tr h="50794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D8</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Common language / culture across the ICS</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96838" indent="-87313" algn="l" defTabSz="914400" rtl="0" eaLnBrk="1" fontAlgn="ctr" latinLnBrk="0" hangingPunct="1">
                        <a:buClr>
                          <a:srgbClr val="000000"/>
                        </a:buClr>
                        <a:buSzPts val="900"/>
                        <a:buFont typeface="Arial" panose="020B0604020202020204" pitchFamily="34" charset="0"/>
                        <a:buChar char="•"/>
                        <a:tabLst/>
                      </a:pPr>
                      <a:r>
                        <a:rPr lang="en-GB" sz="900" b="0" i="0" u="none" strike="noStrike" kern="1200">
                          <a:solidFill>
                            <a:schemeClr val="tx2">
                              <a:lumMod val="65000"/>
                              <a:lumOff val="35000"/>
                            </a:schemeClr>
                          </a:solidFill>
                          <a:effectLst/>
                          <a:latin typeface="Arial" panose="020B0604020202020204" pitchFamily="34" charset="0"/>
                          <a:ea typeface="+mn-ea"/>
                          <a:cs typeface="+mn-cs"/>
                        </a:rPr>
                        <a:t>A more consistent approach in terms of the language used, expectations and the mental health offering. </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8</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Low</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Medium </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3596645736"/>
                  </a:ext>
                </a:extLst>
              </a:tr>
            </a:tbl>
          </a:graphicData>
        </a:graphic>
      </p:graphicFrame>
      <p:graphicFrame>
        <p:nvGraphicFramePr>
          <p:cNvPr id="11" name="Table 10">
            <a:extLst>
              <a:ext uri="{FF2B5EF4-FFF2-40B4-BE49-F238E27FC236}">
                <a16:creationId xmlns:a16="http://schemas.microsoft.com/office/drawing/2014/main" id="{A8CA4CFD-E2FD-094D-B417-CA4C1C44A4C4}"/>
              </a:ext>
            </a:extLst>
          </p:cNvPr>
          <p:cNvGraphicFramePr>
            <a:graphicFrameLocks noGrp="1"/>
          </p:cNvGraphicFramePr>
          <p:nvPr>
            <p:extLst>
              <p:ext uri="{D42A27DB-BD31-4B8C-83A1-F6EECF244321}">
                <p14:modId xmlns:p14="http://schemas.microsoft.com/office/powerpoint/2010/main" val="1095260840"/>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C"/>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pic>
        <p:nvPicPr>
          <p:cNvPr id="13" name="Graphic 12" descr="Cheers with solid fill">
            <a:extLst>
              <a:ext uri="{FF2B5EF4-FFF2-40B4-BE49-F238E27FC236}">
                <a16:creationId xmlns:a16="http://schemas.microsoft.com/office/drawing/2014/main" id="{27300D11-ED96-AE44-ABFF-91AE9EE5EF5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10638" y="185637"/>
            <a:ext cx="594000" cy="594000"/>
          </a:xfrm>
          <a:prstGeom prst="rect">
            <a:avLst/>
          </a:prstGeom>
        </p:spPr>
      </p:pic>
      <p:sp>
        <p:nvSpPr>
          <p:cNvPr id="12" name="Rectangle 11">
            <a:extLst>
              <a:ext uri="{FF2B5EF4-FFF2-40B4-BE49-F238E27FC236}">
                <a16:creationId xmlns:a16="http://schemas.microsoft.com/office/drawing/2014/main" id="{CAC6B300-589E-0A41-B079-52E5639A24F1}"/>
              </a:ext>
            </a:extLst>
          </p:cNvPr>
          <p:cNvSpPr/>
          <p:nvPr/>
        </p:nvSpPr>
        <p:spPr>
          <a:xfrm>
            <a:off x="8462819" y="184705"/>
            <a:ext cx="1931224" cy="78568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panose="020B0604020202020204"/>
                <a:ea typeface="+mn-ea"/>
                <a:cs typeface="+mn-cs"/>
              </a:rPr>
              <a:t>IMPACT:        </a:t>
            </a: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1 = Low Impact </a:t>
            </a:r>
            <a:b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                       5 = High impa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panose="020B0604020202020204"/>
                <a:ea typeface="+mn-ea"/>
                <a:cs typeface="+mn-cs"/>
              </a:rPr>
              <a:t>EASE:            </a:t>
            </a: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1 = Difficult</a:t>
            </a:r>
            <a:b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                       5 = Straightforward</a:t>
            </a:r>
          </a:p>
          <a:p>
            <a:pPr>
              <a:defRPr/>
            </a:pPr>
            <a:r>
              <a:rPr lang="en-GB" sz="800" b="1">
                <a:solidFill>
                  <a:srgbClr val="000000"/>
                </a:solidFill>
              </a:rPr>
              <a:t>RESOURCE:  </a:t>
            </a:r>
            <a:r>
              <a:rPr lang="en-GB" sz="800">
                <a:solidFill>
                  <a:srgbClr val="000000"/>
                </a:solidFill>
              </a:rPr>
              <a:t>Low, Medium, High </a:t>
            </a:r>
          </a:p>
        </p:txBody>
      </p:sp>
      <p:sp>
        <p:nvSpPr>
          <p:cNvPr id="14" name="Rectangle 13">
            <a:extLst>
              <a:ext uri="{FF2B5EF4-FFF2-40B4-BE49-F238E27FC236}">
                <a16:creationId xmlns:a16="http://schemas.microsoft.com/office/drawing/2014/main" id="{AA334784-EE59-2848-87B5-17C8AE60CCDA}"/>
              </a:ext>
            </a:extLst>
          </p:cNvPr>
          <p:cNvSpPr/>
          <p:nvPr/>
        </p:nvSpPr>
        <p:spPr>
          <a:xfrm>
            <a:off x="10394043" y="184705"/>
            <a:ext cx="1442357" cy="78568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00" b="1">
                <a:solidFill>
                  <a:srgbClr val="000000"/>
                </a:solidFill>
                <a:latin typeface="Arial" panose="020B0604020202020204"/>
              </a:rPr>
              <a:t>SHORT</a:t>
            </a:r>
            <a:r>
              <a:rPr lang="en-GB" sz="900">
                <a:solidFill>
                  <a:srgbClr val="000000"/>
                </a:solidFill>
                <a:latin typeface="Arial" panose="020B0604020202020204"/>
              </a:rPr>
              <a:t> =   0-6 months</a:t>
            </a:r>
          </a:p>
          <a:p>
            <a:r>
              <a:rPr lang="en-GB" sz="900" b="1">
                <a:solidFill>
                  <a:srgbClr val="000000"/>
                </a:solidFill>
                <a:latin typeface="Arial" panose="020B0604020202020204"/>
              </a:rPr>
              <a:t>MEDIUM</a:t>
            </a:r>
            <a:r>
              <a:rPr lang="en-GB" sz="900">
                <a:solidFill>
                  <a:srgbClr val="000000"/>
                </a:solidFill>
                <a:latin typeface="Arial" panose="020B0604020202020204"/>
              </a:rPr>
              <a:t> = 6-18 months</a:t>
            </a:r>
          </a:p>
          <a:p>
            <a:r>
              <a:rPr lang="en-GB" sz="900" b="1">
                <a:solidFill>
                  <a:srgbClr val="000000"/>
                </a:solidFill>
                <a:latin typeface="Arial" panose="020B0604020202020204"/>
              </a:rPr>
              <a:t>LONG</a:t>
            </a:r>
            <a:r>
              <a:rPr lang="en-GB" sz="900">
                <a:solidFill>
                  <a:srgbClr val="000000"/>
                </a:solidFill>
                <a:latin typeface="Arial" panose="020B0604020202020204"/>
              </a:rPr>
              <a:t> =     18 months +</a:t>
            </a:r>
          </a:p>
        </p:txBody>
      </p:sp>
    </p:spTree>
    <p:extLst>
      <p:ext uri="{BB962C8B-B14F-4D97-AF65-F5344CB8AC3E}">
        <p14:creationId xmlns:p14="http://schemas.microsoft.com/office/powerpoint/2010/main" val="18436659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897"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en-IN" sz="2800">
              <a:solidFill>
                <a:srgbClr val="FFFFFF"/>
              </a:solidFill>
              <a:sym typeface="Arial" panose="020B0604020202020204" pitchFamily="34" charset="0"/>
            </a:endParaRPr>
          </a:p>
        </p:txBody>
      </p:sp>
      <p:sp>
        <p:nvSpPr>
          <p:cNvPr id="2" name="Title 1"/>
          <p:cNvSpPr>
            <a:spLocks noGrp="1"/>
          </p:cNvSpPr>
          <p:nvPr>
            <p:ph type="title"/>
          </p:nvPr>
        </p:nvSpPr>
        <p:spPr>
          <a:xfrm>
            <a:off x="1199947" y="297277"/>
            <a:ext cx="8711496" cy="434010"/>
          </a:xfrm>
          <a:prstGeom prst="rect">
            <a:avLst/>
          </a:prstGeom>
        </p:spPr>
        <p:txBody>
          <a:bodyPr/>
          <a:lstStyle/>
          <a:p>
            <a:r>
              <a:rPr lang="en-GB">
                <a:solidFill>
                  <a:srgbClr val="50235B"/>
                </a:solidFill>
              </a:rPr>
              <a:t>Focus on health inequalities</a:t>
            </a:r>
            <a:endParaRPr lang="en-IN"/>
          </a:p>
        </p:txBody>
      </p:sp>
      <p:sp>
        <p:nvSpPr>
          <p:cNvPr id="6" name="Footer Placeholder 5">
            <a:extLst>
              <a:ext uri="{FF2B5EF4-FFF2-40B4-BE49-F238E27FC236}">
                <a16:creationId xmlns:a16="http://schemas.microsoft.com/office/drawing/2014/main" id="{62E3292C-AE15-8E46-8E62-F9C713150B0B}"/>
              </a:ext>
            </a:extLst>
          </p:cNvPr>
          <p:cNvSpPr>
            <a:spLocks noGrp="1"/>
          </p:cNvSpPr>
          <p:nvPr>
            <p:ph type="ftr" sz="quarter" idx="14"/>
          </p:nvPr>
        </p:nvSpPr>
        <p:spPr>
          <a:xfrm>
            <a:off x="6570" y="6674068"/>
            <a:ext cx="1193377" cy="183932"/>
          </a:xfrm>
        </p:spPr>
        <p:txBody>
          <a:bodyPr/>
          <a:lstStyle/>
          <a:p>
            <a:r>
              <a:rPr lang="en-GB"/>
              <a:t>© Moorhouse 2021  </a:t>
            </a:r>
          </a:p>
        </p:txBody>
      </p:sp>
      <p:sp>
        <p:nvSpPr>
          <p:cNvPr id="21" name="Rectangle 20">
            <a:extLst>
              <a:ext uri="{FF2B5EF4-FFF2-40B4-BE49-F238E27FC236}">
                <a16:creationId xmlns:a16="http://schemas.microsoft.com/office/drawing/2014/main" id="{FE740462-AEED-0B41-92DC-3A54DEB718C8}"/>
              </a:ext>
            </a:extLst>
          </p:cNvPr>
          <p:cNvSpPr/>
          <p:nvPr/>
        </p:nvSpPr>
        <p:spPr>
          <a:xfrm>
            <a:off x="647407" y="1095781"/>
            <a:ext cx="2355654" cy="434010"/>
          </a:xfrm>
          <a:prstGeom prst="rect">
            <a:avLst/>
          </a:prstGeom>
          <a:noFill/>
          <a:ln w="12700" cap="flat" cmpd="sng" algn="ctr">
            <a:noFill/>
            <a:prstDash val="solid"/>
            <a:miter lim="800000"/>
          </a:ln>
          <a:effectLst/>
        </p:spPr>
        <p:txBody>
          <a:bodyPr rtlCol="0" anchor="ctr"/>
          <a:lstStyle/>
          <a:p>
            <a:pPr lvl="0" algn="ctr" defTabSz="685800">
              <a:defRPr/>
            </a:pPr>
            <a:endParaRPr lang="en-GB" sz="1050" b="1">
              <a:solidFill>
                <a:srgbClr val="50235B"/>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F19D9738-DFA2-C84F-82CF-6F85573EA287}"/>
              </a:ext>
            </a:extLst>
          </p:cNvPr>
          <p:cNvSpPr txBox="1"/>
          <p:nvPr/>
        </p:nvSpPr>
        <p:spPr>
          <a:xfrm>
            <a:off x="6675555" y="4154773"/>
            <a:ext cx="184731" cy="369332"/>
          </a:xfrm>
          <a:prstGeom prst="rect">
            <a:avLst/>
          </a:prstGeom>
          <a:noFill/>
        </p:spPr>
        <p:txBody>
          <a:bodyPr wrap="none" rtlCol="0">
            <a:spAutoFit/>
          </a:bodyPr>
          <a:lstStyle/>
          <a:p>
            <a:endParaRPr lang="en-US"/>
          </a:p>
        </p:txBody>
      </p:sp>
      <p:sp>
        <p:nvSpPr>
          <p:cNvPr id="51" name="Rectangle 50">
            <a:extLst>
              <a:ext uri="{FF2B5EF4-FFF2-40B4-BE49-F238E27FC236}">
                <a16:creationId xmlns:a16="http://schemas.microsoft.com/office/drawing/2014/main" id="{23228B87-D8A3-AC4B-8389-4FD6CB03BCB4}"/>
              </a:ext>
            </a:extLst>
          </p:cNvPr>
          <p:cNvSpPr/>
          <p:nvPr/>
        </p:nvSpPr>
        <p:spPr>
          <a:xfrm>
            <a:off x="6236659" y="5513696"/>
            <a:ext cx="5509862" cy="1852878"/>
          </a:xfrm>
          <a:prstGeom prst="rect">
            <a:avLst/>
          </a:prstGeom>
          <a:noFill/>
          <a:ln w="12700" cap="flat" cmpd="sng" algn="ctr">
            <a:noFill/>
            <a:prstDash val="solid"/>
            <a:miter lim="800000"/>
          </a:ln>
          <a:effectLst/>
        </p:spPr>
        <p:txBody>
          <a:bodyPr rtlCol="0" anchor="t"/>
          <a:lstStyle/>
          <a:p>
            <a:pPr defTabSz="685800" fontAlgn="base">
              <a:spcBef>
                <a:spcPts val="600"/>
              </a:spcBef>
              <a:spcAft>
                <a:spcPts val="600"/>
              </a:spcAft>
            </a:pPr>
            <a:endParaRPr lang="en-GB" sz="1000">
              <a:solidFill>
                <a:srgbClr val="50235B"/>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187D98F4-EB5A-E04B-B1AB-3062BCA3330F}"/>
              </a:ext>
            </a:extLst>
          </p:cNvPr>
          <p:cNvSpPr/>
          <p:nvPr/>
        </p:nvSpPr>
        <p:spPr>
          <a:xfrm>
            <a:off x="510638" y="855283"/>
            <a:ext cx="11348270" cy="6912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200" b="1">
                <a:solidFill>
                  <a:srgbClr val="50235C"/>
                </a:solidFill>
                <a:latin typeface="Arial" panose="020B0604020202020204" pitchFamily="34" charset="0"/>
                <a:cs typeface="Arial" panose="020B0604020202020204" pitchFamily="34" charset="0"/>
              </a:rPr>
              <a:t>Focusing on health inequalities is essential to ensure the whole population can access the support they need. </a:t>
            </a:r>
          </a:p>
        </p:txBody>
      </p:sp>
      <p:grpSp>
        <p:nvGrpSpPr>
          <p:cNvPr id="20" name="Group 19">
            <a:extLst>
              <a:ext uri="{FF2B5EF4-FFF2-40B4-BE49-F238E27FC236}">
                <a16:creationId xmlns:a16="http://schemas.microsoft.com/office/drawing/2014/main" id="{856DAFD8-FA0A-4949-9E59-48AAEE3EBE5A}"/>
              </a:ext>
            </a:extLst>
          </p:cNvPr>
          <p:cNvGrpSpPr/>
          <p:nvPr/>
        </p:nvGrpSpPr>
        <p:grpSpPr>
          <a:xfrm>
            <a:off x="494449" y="1427082"/>
            <a:ext cx="4906936" cy="4459838"/>
            <a:chOff x="4782787" y="1094608"/>
            <a:chExt cx="4065938" cy="3102016"/>
          </a:xfrm>
        </p:grpSpPr>
        <p:sp>
          <p:nvSpPr>
            <p:cNvPr id="23" name="Rectangle 22">
              <a:extLst>
                <a:ext uri="{FF2B5EF4-FFF2-40B4-BE49-F238E27FC236}">
                  <a16:creationId xmlns:a16="http://schemas.microsoft.com/office/drawing/2014/main" id="{CB1214F5-503D-D44D-8085-7461DE245F94}"/>
                </a:ext>
              </a:extLst>
            </p:cNvPr>
            <p:cNvSpPr/>
            <p:nvPr/>
          </p:nvSpPr>
          <p:spPr>
            <a:xfrm>
              <a:off x="4782787" y="1094608"/>
              <a:ext cx="4065938" cy="199823"/>
            </a:xfrm>
            <a:prstGeom prst="rect">
              <a:avLst/>
            </a:prstGeom>
            <a:solidFill>
              <a:srgbClr val="F0ECF3"/>
            </a:solidFill>
            <a:ln w="9525" cap="flat" cmpd="sng" algn="ctr">
              <a:solidFill>
                <a:srgbClr val="F0ECF3"/>
              </a:solidFill>
              <a:prstDash val="solid"/>
              <a:miter lim="800000"/>
            </a:ln>
            <a:effectLst/>
          </p:spPr>
          <p:txBody>
            <a:bodyPr rtlCol="0" anchor="ctr"/>
            <a:lstStyle/>
            <a:p>
              <a:pPr defTabSz="914377">
                <a:defRPr/>
              </a:pPr>
              <a:r>
                <a:rPr lang="en-GB" sz="1067" b="1">
                  <a:solidFill>
                    <a:srgbClr val="50235B"/>
                  </a:solidFill>
                  <a:latin typeface="Arial" panose="020B0604020202020204"/>
                </a:rPr>
                <a:t>Where are we now?</a:t>
              </a:r>
            </a:p>
          </p:txBody>
        </p:sp>
        <p:sp>
          <p:nvSpPr>
            <p:cNvPr id="24" name="Rectangle 23">
              <a:extLst>
                <a:ext uri="{FF2B5EF4-FFF2-40B4-BE49-F238E27FC236}">
                  <a16:creationId xmlns:a16="http://schemas.microsoft.com/office/drawing/2014/main" id="{BC3BF939-741A-E546-81CE-0D14DDE2E26C}"/>
                </a:ext>
              </a:extLst>
            </p:cNvPr>
            <p:cNvSpPr/>
            <p:nvPr/>
          </p:nvSpPr>
          <p:spPr>
            <a:xfrm>
              <a:off x="4782787" y="1294431"/>
              <a:ext cx="4065938" cy="2902193"/>
            </a:xfrm>
            <a:prstGeom prst="rect">
              <a:avLst/>
            </a:prstGeom>
            <a:noFill/>
            <a:ln w="3175">
              <a:solidFill>
                <a:srgbClr val="F0ECF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685800">
                <a:spcBef>
                  <a:spcPts val="600"/>
                </a:spcBef>
                <a:spcAft>
                  <a:spcPts val="600"/>
                </a:spcAft>
                <a:defRPr/>
              </a:pPr>
              <a:r>
                <a:rPr lang="en-GB" sz="1000">
                  <a:solidFill>
                    <a:schemeClr val="tx2">
                      <a:lumMod val="65000"/>
                      <a:lumOff val="35000"/>
                    </a:schemeClr>
                  </a:solidFill>
                  <a:latin typeface="Arial" panose="020B0604020202020204" pitchFamily="34" charset="0"/>
                  <a:cs typeface="Arial" panose="020B0604020202020204" pitchFamily="34" charset="0"/>
                </a:rPr>
                <a:t>There is compelling evidence of the need to reduce health inequalities across the system. Health inequality indexes show health inequalities are decreasing nationally but increasing in Telford and Wrekin. To address health inequalities and unwarranted variation in the care provided, there is consensus that there needs to be more joined up and and systematic approach across the system. </a:t>
              </a:r>
            </a:p>
            <a:p>
              <a:pPr marL="171450" indent="-171450" defTabSz="685800">
                <a:spcBef>
                  <a:spcPts val="600"/>
                </a:spcBef>
                <a:spcAft>
                  <a:spcPts val="600"/>
                </a:spcAft>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Public Health teams in both councils are developing a more intelligence led approach where data is used to understand what factors are causing poor outcomes in different population groups </a:t>
              </a:r>
            </a:p>
            <a:p>
              <a:pPr marL="171450" lvl="0" indent="-171450" defTabSz="685800">
                <a:spcBef>
                  <a:spcPts val="600"/>
                </a:spcBef>
                <a:spcAft>
                  <a:spcPts val="600"/>
                </a:spcAft>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Addressing inequalities in terms of access, experience and outcomes of mental health services and developing an approach which demonstrates a systematic approach to the social determinants of severe mental ill health</a:t>
              </a:r>
              <a:endParaRPr lang="en-US" sz="1000">
                <a:solidFill>
                  <a:schemeClr val="tx2">
                    <a:lumMod val="65000"/>
                    <a:lumOff val="35000"/>
                  </a:schemeClr>
                </a:solidFill>
                <a:latin typeface="Arial" panose="020B0604020202020204" pitchFamily="34" charset="0"/>
                <a:cs typeface="Arial" panose="020B0604020202020204" pitchFamily="34" charset="0"/>
              </a:endParaRPr>
            </a:p>
            <a:p>
              <a:pPr marL="171450" indent="-171450" defTabSz="685800">
                <a:spcBef>
                  <a:spcPts val="600"/>
                </a:spcBef>
                <a:spcAft>
                  <a:spcPts val="600"/>
                </a:spcAft>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Health inequalities leads appointed across the key provider organisations to create alignment on a health inequality strategy. </a:t>
              </a:r>
            </a:p>
            <a:p>
              <a:pPr marL="171450" indent="-171450" defTabSz="685800">
                <a:spcBef>
                  <a:spcPts val="600"/>
                </a:spcBef>
                <a:spcAft>
                  <a:spcPts val="600"/>
                </a:spcAft>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There is ambition in the system to achieve equitable outcomes, comparable with the general population, by addressing the determinants of health inequalities outlined in the Health Equalities Framework. </a:t>
              </a:r>
            </a:p>
            <a:p>
              <a:pPr marL="171450" indent="-171450" defTabSz="685800">
                <a:spcBef>
                  <a:spcPts val="600"/>
                </a:spcBef>
                <a:spcAft>
                  <a:spcPts val="600"/>
                </a:spcAft>
                <a:buFont typeface="Arial" panose="020B0604020202020204" pitchFamily="34" charset="0"/>
                <a:buChar char="•"/>
                <a:defRPr/>
              </a:pPr>
              <a:endParaRPr lang="en-GB" sz="1000">
                <a:solidFill>
                  <a:schemeClr val="tx2">
                    <a:lumMod val="65000"/>
                    <a:lumOff val="35000"/>
                  </a:schemeClr>
                </a:solidFill>
                <a:latin typeface="Arial" panose="020B0604020202020204" pitchFamily="34" charset="0"/>
                <a:cs typeface="Arial" panose="020B0604020202020204" pitchFamily="34" charset="0"/>
              </a:endParaRPr>
            </a:p>
          </p:txBody>
        </p:sp>
      </p:grpSp>
      <p:grpSp>
        <p:nvGrpSpPr>
          <p:cNvPr id="25" name="Group 24">
            <a:extLst>
              <a:ext uri="{FF2B5EF4-FFF2-40B4-BE49-F238E27FC236}">
                <a16:creationId xmlns:a16="http://schemas.microsoft.com/office/drawing/2014/main" id="{6E749FC9-89E1-124F-A832-F939520B97F7}"/>
              </a:ext>
            </a:extLst>
          </p:cNvPr>
          <p:cNvGrpSpPr/>
          <p:nvPr/>
        </p:nvGrpSpPr>
        <p:grpSpPr>
          <a:xfrm>
            <a:off x="5696353" y="1427082"/>
            <a:ext cx="6146366" cy="1760468"/>
            <a:chOff x="4782787" y="1094608"/>
            <a:chExt cx="4065938" cy="1224484"/>
          </a:xfrm>
        </p:grpSpPr>
        <p:sp>
          <p:nvSpPr>
            <p:cNvPr id="26" name="Rectangle 25">
              <a:extLst>
                <a:ext uri="{FF2B5EF4-FFF2-40B4-BE49-F238E27FC236}">
                  <a16:creationId xmlns:a16="http://schemas.microsoft.com/office/drawing/2014/main" id="{E25E26F4-E637-704F-B12F-70168E4D4086}"/>
                </a:ext>
              </a:extLst>
            </p:cNvPr>
            <p:cNvSpPr/>
            <p:nvPr/>
          </p:nvSpPr>
          <p:spPr>
            <a:xfrm>
              <a:off x="4782787" y="1094608"/>
              <a:ext cx="4065938" cy="199823"/>
            </a:xfrm>
            <a:prstGeom prst="rect">
              <a:avLst/>
            </a:prstGeom>
            <a:solidFill>
              <a:srgbClr val="F0ECF3"/>
            </a:solidFill>
            <a:ln w="9525" cap="flat" cmpd="sng" algn="ctr">
              <a:solidFill>
                <a:srgbClr val="F0ECF3"/>
              </a:solidFill>
              <a:prstDash val="solid"/>
              <a:miter lim="800000"/>
            </a:ln>
            <a:effectLst/>
          </p:spPr>
          <p:txBody>
            <a:bodyPr rtlCol="0" anchor="ctr"/>
            <a:lstStyle/>
            <a:p>
              <a:r>
                <a:rPr lang="en-GB" sz="1100" b="1">
                  <a:solidFill>
                    <a:srgbClr val="50235C"/>
                  </a:solidFill>
                </a:rPr>
                <a:t>Where do we need to get to? </a:t>
              </a:r>
            </a:p>
          </p:txBody>
        </p:sp>
        <p:sp>
          <p:nvSpPr>
            <p:cNvPr id="27" name="Rectangle 26">
              <a:extLst>
                <a:ext uri="{FF2B5EF4-FFF2-40B4-BE49-F238E27FC236}">
                  <a16:creationId xmlns:a16="http://schemas.microsoft.com/office/drawing/2014/main" id="{B9168E8A-7661-C04B-929C-33F806DED5CE}"/>
                </a:ext>
              </a:extLst>
            </p:cNvPr>
            <p:cNvSpPr/>
            <p:nvPr/>
          </p:nvSpPr>
          <p:spPr>
            <a:xfrm>
              <a:off x="4782787" y="1294431"/>
              <a:ext cx="4065938" cy="1024661"/>
            </a:xfrm>
            <a:prstGeom prst="rect">
              <a:avLst/>
            </a:prstGeom>
            <a:noFill/>
            <a:ln w="3175">
              <a:solidFill>
                <a:srgbClr val="F0ECF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defTabSz="685800">
                <a:spcBef>
                  <a:spcPts val="400"/>
                </a:spcBef>
                <a:spcAft>
                  <a:spcPts val="400"/>
                </a:spcAft>
                <a:buFont typeface="Wingdings" pitchFamily="2" charset="2"/>
                <a:buChar char="ü"/>
              </a:pPr>
              <a:r>
                <a:rPr lang="en-GB" sz="1000">
                  <a:solidFill>
                    <a:srgbClr val="50235B"/>
                  </a:solidFill>
                  <a:latin typeface="Arial" panose="020B0604020202020204" pitchFamily="34" charset="0"/>
                  <a:cs typeface="Arial" panose="020B0604020202020204" pitchFamily="34" charset="0"/>
                </a:rPr>
                <a:t>Reduction in health inequalities </a:t>
              </a:r>
            </a:p>
            <a:p>
              <a:pPr marL="171450" indent="-171450" defTabSz="685800">
                <a:spcBef>
                  <a:spcPts val="400"/>
                </a:spcBef>
                <a:spcAft>
                  <a:spcPts val="400"/>
                </a:spcAft>
                <a:buFont typeface="Wingdings" pitchFamily="2" charset="2"/>
                <a:buChar char="ü"/>
              </a:pPr>
              <a:r>
                <a:rPr lang="en-GB" sz="1000">
                  <a:solidFill>
                    <a:srgbClr val="50235B"/>
                  </a:solidFill>
                  <a:latin typeface="Arial" panose="020B0604020202020204" pitchFamily="34" charset="0"/>
                  <a:cs typeface="Arial" panose="020B0604020202020204" pitchFamily="34" charset="0"/>
                </a:rPr>
                <a:t>Increased uptake of IAPT services from the BAME group </a:t>
              </a:r>
            </a:p>
            <a:p>
              <a:pPr marL="171450" indent="-171450" defTabSz="685800">
                <a:spcBef>
                  <a:spcPts val="400"/>
                </a:spcBef>
                <a:spcAft>
                  <a:spcPts val="400"/>
                </a:spcAft>
                <a:buFont typeface="Wingdings" pitchFamily="2" charset="2"/>
                <a:buChar char="ü"/>
              </a:pPr>
              <a:r>
                <a:rPr lang="en-GB" sz="1000">
                  <a:solidFill>
                    <a:srgbClr val="50235B"/>
                  </a:solidFill>
                  <a:latin typeface="Arial" panose="020B0604020202020204" pitchFamily="34" charset="0"/>
                  <a:cs typeface="Arial" panose="020B0604020202020204" pitchFamily="34" charset="0"/>
                </a:rPr>
                <a:t>Addressing health inequalities to be the golden thread through all health and care services    </a:t>
              </a:r>
            </a:p>
            <a:p>
              <a:pPr marL="171450" indent="-171450" defTabSz="685800">
                <a:spcBef>
                  <a:spcPts val="400"/>
                </a:spcBef>
                <a:spcAft>
                  <a:spcPts val="400"/>
                </a:spcAft>
                <a:buFont typeface="Wingdings" pitchFamily="2" charset="2"/>
                <a:buChar char="ü"/>
              </a:pPr>
              <a:r>
                <a:rPr lang="en-GB" sz="1000">
                  <a:solidFill>
                    <a:srgbClr val="50235B"/>
                  </a:solidFill>
                  <a:latin typeface="Arial" panose="020B0604020202020204" pitchFamily="34" charset="0"/>
                  <a:cs typeface="Arial" panose="020B0604020202020204" pitchFamily="34" charset="0"/>
                </a:rPr>
                <a:t>Ensure equitable access to care no matter where you are from</a:t>
              </a:r>
            </a:p>
            <a:p>
              <a:pPr marL="171450" indent="-171450" defTabSz="685800">
                <a:spcBef>
                  <a:spcPts val="400"/>
                </a:spcBef>
                <a:spcAft>
                  <a:spcPts val="400"/>
                </a:spcAft>
                <a:buFont typeface="Wingdings" pitchFamily="2" charset="2"/>
                <a:buChar char="ü"/>
              </a:pPr>
              <a:r>
                <a:rPr lang="en-GB" sz="1000">
                  <a:solidFill>
                    <a:srgbClr val="50235B"/>
                  </a:solidFill>
                  <a:latin typeface="Arial" panose="020B0604020202020204" pitchFamily="34" charset="0"/>
                  <a:cs typeface="Arial" panose="020B0604020202020204" pitchFamily="34" charset="0"/>
                </a:rPr>
                <a:t>Expansion of targeted services at most at risk groups (e.g., those with social isolation, including lonely elderly; parenting; troubled families, poverty, risk of housing loss, etc).  </a:t>
              </a:r>
            </a:p>
          </p:txBody>
        </p:sp>
      </p:grpSp>
      <p:grpSp>
        <p:nvGrpSpPr>
          <p:cNvPr id="28" name="Group 27">
            <a:extLst>
              <a:ext uri="{FF2B5EF4-FFF2-40B4-BE49-F238E27FC236}">
                <a16:creationId xmlns:a16="http://schemas.microsoft.com/office/drawing/2014/main" id="{8B771798-42EE-5C4C-84A4-3B741660585C}"/>
              </a:ext>
            </a:extLst>
          </p:cNvPr>
          <p:cNvGrpSpPr/>
          <p:nvPr/>
        </p:nvGrpSpPr>
        <p:grpSpPr>
          <a:xfrm>
            <a:off x="5681103" y="3294252"/>
            <a:ext cx="6146366" cy="2592671"/>
            <a:chOff x="4782787" y="1286823"/>
            <a:chExt cx="4065938" cy="1803318"/>
          </a:xfrm>
        </p:grpSpPr>
        <p:sp>
          <p:nvSpPr>
            <p:cNvPr id="31" name="Rectangle 30">
              <a:extLst>
                <a:ext uri="{FF2B5EF4-FFF2-40B4-BE49-F238E27FC236}">
                  <a16:creationId xmlns:a16="http://schemas.microsoft.com/office/drawing/2014/main" id="{23CD1CFA-944E-104D-90E5-8186CC062DF7}"/>
                </a:ext>
              </a:extLst>
            </p:cNvPr>
            <p:cNvSpPr/>
            <p:nvPr/>
          </p:nvSpPr>
          <p:spPr>
            <a:xfrm>
              <a:off x="4782787" y="1286823"/>
              <a:ext cx="4065938" cy="199823"/>
            </a:xfrm>
            <a:prstGeom prst="rect">
              <a:avLst/>
            </a:prstGeom>
            <a:solidFill>
              <a:srgbClr val="F0ECF3"/>
            </a:solidFill>
            <a:ln w="9525" cap="flat" cmpd="sng" algn="ctr">
              <a:solidFill>
                <a:srgbClr val="F0ECF3"/>
              </a:solidFill>
              <a:prstDash val="solid"/>
              <a:miter lim="800000"/>
            </a:ln>
            <a:effectLst/>
          </p:spPr>
          <p:txBody>
            <a:bodyPr rtlCol="0" anchor="ctr"/>
            <a:lstStyle/>
            <a:p>
              <a:r>
                <a:rPr lang="en-GB" sz="1100" b="1">
                  <a:solidFill>
                    <a:srgbClr val="50235C"/>
                  </a:solidFill>
                </a:rPr>
                <a:t>What are other areas doing?</a:t>
              </a:r>
            </a:p>
          </p:txBody>
        </p:sp>
        <p:sp>
          <p:nvSpPr>
            <p:cNvPr id="32" name="Rectangle 31">
              <a:extLst>
                <a:ext uri="{FF2B5EF4-FFF2-40B4-BE49-F238E27FC236}">
                  <a16:creationId xmlns:a16="http://schemas.microsoft.com/office/drawing/2014/main" id="{FAF789BC-019C-B946-926D-6093AE1A3912}"/>
                </a:ext>
              </a:extLst>
            </p:cNvPr>
            <p:cNvSpPr/>
            <p:nvPr/>
          </p:nvSpPr>
          <p:spPr>
            <a:xfrm>
              <a:off x="4782787" y="1491221"/>
              <a:ext cx="4065938" cy="1598920"/>
            </a:xfrm>
            <a:prstGeom prst="rect">
              <a:avLst/>
            </a:prstGeom>
            <a:solidFill>
              <a:srgbClr val="F1EDF4"/>
            </a:solidFill>
            <a:ln w="3175">
              <a:solidFill>
                <a:srgbClr val="F0EC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36625" lvl="0">
                <a:spcBef>
                  <a:spcPts val="300"/>
                </a:spcBef>
                <a:spcAft>
                  <a:spcPts val="300"/>
                </a:spcAft>
              </a:pPr>
              <a:r>
                <a:rPr lang="en-GB" sz="1000">
                  <a:solidFill>
                    <a:srgbClr val="50235B"/>
                  </a:solidFill>
                  <a:latin typeface="Arial" panose="020B0604020202020204" pitchFamily="34" charset="0"/>
                  <a:cs typeface="Arial" panose="020B0604020202020204" pitchFamily="34" charset="0"/>
                </a:rPr>
                <a:t>The Royal College of Speech and Language Therapy in London supported a young South Asian male patient diagnosed with schizophrenia and, subsequently, autism. His parents spoke Hindi and lacked awareness about mental health illness, as well as how to navigate the NHS system. In order to help meet the needs of the local population, the service has employed a Band 4 speech and language therapy assistant, who can speak several South Asian languages. Both the assistant and the therapist working with the family are Asian and were able to use their own experiences, alongside knowledge of appropriate vocabulary and possible perceptions of mental health in this community. </a:t>
              </a:r>
            </a:p>
            <a:p>
              <a:pPr marL="936625" lvl="0">
                <a:spcBef>
                  <a:spcPts val="300"/>
                </a:spcBef>
                <a:spcAft>
                  <a:spcPts val="300"/>
                </a:spcAft>
              </a:pPr>
              <a:r>
                <a:rPr lang="en-GB" sz="1000">
                  <a:solidFill>
                    <a:srgbClr val="50235B"/>
                  </a:solidFill>
                  <a:latin typeface="Arial" panose="020B0604020202020204" pitchFamily="34" charset="0"/>
                  <a:cs typeface="Arial" panose="020B0604020202020204" pitchFamily="34" charset="0"/>
                </a:rPr>
                <a:t>The family were given the information in the language and context that they could understand and were also given the time and opportunity to discuss their specific concerns around stigma and their community. Staff worked together to ensure individuals with relevant experience and cultural sensitivity were able to use and share their knowledge. This way of working continues to be embedded in the care of all individuals in this setting.</a:t>
              </a:r>
            </a:p>
          </p:txBody>
        </p:sp>
      </p:grpSp>
      <p:pic>
        <p:nvPicPr>
          <p:cNvPr id="29" name="Picture 4" descr="Frenchay BIRU therapists invited to present at Royal College of Speech and  Language Therapists - The Huntercombe Group">
            <a:extLst>
              <a:ext uri="{FF2B5EF4-FFF2-40B4-BE49-F238E27FC236}">
                <a16:creationId xmlns:a16="http://schemas.microsoft.com/office/drawing/2014/main" id="{A9414BAE-ABF6-584C-9500-320FB717B5C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722139" y="4589922"/>
            <a:ext cx="892887" cy="17751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3" name="Table 32">
            <a:extLst>
              <a:ext uri="{FF2B5EF4-FFF2-40B4-BE49-F238E27FC236}">
                <a16:creationId xmlns:a16="http://schemas.microsoft.com/office/drawing/2014/main" id="{21837EBF-7D98-8944-A610-005EBFFAE2F1}"/>
              </a:ext>
            </a:extLst>
          </p:cNvPr>
          <p:cNvGraphicFramePr>
            <a:graphicFrameLocks noGrp="1"/>
          </p:cNvGraphicFramePr>
          <p:nvPr>
            <p:extLst>
              <p:ext uri="{D42A27DB-BD31-4B8C-83A1-F6EECF244321}">
                <p14:modId xmlns:p14="http://schemas.microsoft.com/office/powerpoint/2010/main" val="1095260840"/>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C"/>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pic>
        <p:nvPicPr>
          <p:cNvPr id="34" name="Graphic 33" descr="Weights Uneven with solid fill">
            <a:extLst>
              <a:ext uri="{FF2B5EF4-FFF2-40B4-BE49-F238E27FC236}">
                <a16:creationId xmlns:a16="http://schemas.microsoft.com/office/drawing/2014/main" id="{56BE1CB2-EBE4-A740-B841-D07C6922BA6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10638" y="159286"/>
            <a:ext cx="594000" cy="594000"/>
          </a:xfrm>
          <a:prstGeom prst="rect">
            <a:avLst/>
          </a:prstGeom>
        </p:spPr>
      </p:pic>
    </p:spTree>
    <p:extLst>
      <p:ext uri="{BB962C8B-B14F-4D97-AF65-F5344CB8AC3E}">
        <p14:creationId xmlns:p14="http://schemas.microsoft.com/office/powerpoint/2010/main" val="348627635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945"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en-IN" sz="2800">
              <a:solidFill>
                <a:srgbClr val="FFFFFF"/>
              </a:solidFill>
              <a:sym typeface="Arial" panose="020B0604020202020204" pitchFamily="34" charset="0"/>
            </a:endParaRPr>
          </a:p>
        </p:txBody>
      </p:sp>
      <p:sp>
        <p:nvSpPr>
          <p:cNvPr id="2" name="Title 1"/>
          <p:cNvSpPr>
            <a:spLocks noGrp="1"/>
          </p:cNvSpPr>
          <p:nvPr>
            <p:ph type="title"/>
          </p:nvPr>
        </p:nvSpPr>
        <p:spPr>
          <a:xfrm>
            <a:off x="1228299" y="297277"/>
            <a:ext cx="8683144" cy="434010"/>
          </a:xfrm>
          <a:prstGeom prst="rect">
            <a:avLst/>
          </a:prstGeom>
        </p:spPr>
        <p:txBody>
          <a:bodyPr/>
          <a:lstStyle/>
          <a:p>
            <a:r>
              <a:rPr lang="en-GB">
                <a:solidFill>
                  <a:srgbClr val="50235B"/>
                </a:solidFill>
              </a:rPr>
              <a:t>Focus on health inequalities</a:t>
            </a:r>
            <a:endParaRPr lang="en-IN"/>
          </a:p>
        </p:txBody>
      </p:sp>
      <p:sp>
        <p:nvSpPr>
          <p:cNvPr id="21" name="Rectangle 20">
            <a:extLst>
              <a:ext uri="{FF2B5EF4-FFF2-40B4-BE49-F238E27FC236}">
                <a16:creationId xmlns:a16="http://schemas.microsoft.com/office/drawing/2014/main" id="{FE740462-AEED-0B41-92DC-3A54DEB718C8}"/>
              </a:ext>
            </a:extLst>
          </p:cNvPr>
          <p:cNvSpPr/>
          <p:nvPr/>
        </p:nvSpPr>
        <p:spPr>
          <a:xfrm>
            <a:off x="647407" y="1095781"/>
            <a:ext cx="2355654" cy="434010"/>
          </a:xfrm>
          <a:prstGeom prst="rect">
            <a:avLst/>
          </a:prstGeom>
          <a:noFill/>
          <a:ln w="12700" cap="flat" cmpd="sng" algn="ctr">
            <a:noFill/>
            <a:prstDash val="solid"/>
            <a:miter lim="800000"/>
          </a:ln>
          <a:effectLst/>
        </p:spPr>
        <p:txBody>
          <a:bodyPr rtlCol="0" anchor="ctr"/>
          <a:lstStyle/>
          <a:p>
            <a:pPr lvl="0" algn="ctr" defTabSz="685800">
              <a:defRPr/>
            </a:pPr>
            <a:endParaRPr lang="en-GB" sz="1050" b="1">
              <a:solidFill>
                <a:srgbClr val="50235B"/>
              </a:solidFill>
              <a:latin typeface="Arial" panose="020B0604020202020204" pitchFamily="34" charset="0"/>
              <a:cs typeface="Arial" panose="020B0604020202020204" pitchFamily="34" charset="0"/>
            </a:endParaRPr>
          </a:p>
        </p:txBody>
      </p:sp>
      <p:graphicFrame>
        <p:nvGraphicFramePr>
          <p:cNvPr id="5" name="Table 7">
            <a:extLst>
              <a:ext uri="{FF2B5EF4-FFF2-40B4-BE49-F238E27FC236}">
                <a16:creationId xmlns:a16="http://schemas.microsoft.com/office/drawing/2014/main" id="{1F73E11B-085A-AD47-B820-F62CD6BB7304}"/>
              </a:ext>
            </a:extLst>
          </p:cNvPr>
          <p:cNvGraphicFramePr>
            <a:graphicFrameLocks noGrp="1"/>
          </p:cNvGraphicFramePr>
          <p:nvPr>
            <p:extLst>
              <p:ext uri="{D42A27DB-BD31-4B8C-83A1-F6EECF244321}">
                <p14:modId xmlns:p14="http://schemas.microsoft.com/office/powerpoint/2010/main" val="253101797"/>
              </p:ext>
            </p:extLst>
          </p:nvPr>
        </p:nvGraphicFramePr>
        <p:xfrm>
          <a:off x="165100" y="1095781"/>
          <a:ext cx="11671300" cy="4890531"/>
        </p:xfrm>
        <a:graphic>
          <a:graphicData uri="http://schemas.openxmlformats.org/drawingml/2006/table">
            <a:tbl>
              <a:tblPr firstRow="1" bandRow="1">
                <a:tableStyleId>{5C22544A-7EE6-4342-B048-85BDC9FD1C3A}</a:tableStyleId>
              </a:tblPr>
              <a:tblGrid>
                <a:gridCol w="720725">
                  <a:extLst>
                    <a:ext uri="{9D8B030D-6E8A-4147-A177-3AD203B41FA5}">
                      <a16:colId xmlns:a16="http://schemas.microsoft.com/office/drawing/2014/main" val="4209047126"/>
                    </a:ext>
                  </a:extLst>
                </a:gridCol>
                <a:gridCol w="3607517">
                  <a:extLst>
                    <a:ext uri="{9D8B030D-6E8A-4147-A177-3AD203B41FA5}">
                      <a16:colId xmlns:a16="http://schemas.microsoft.com/office/drawing/2014/main" val="1853970278"/>
                    </a:ext>
                  </a:extLst>
                </a:gridCol>
                <a:gridCol w="4041058">
                  <a:extLst>
                    <a:ext uri="{9D8B030D-6E8A-4147-A177-3AD203B41FA5}">
                      <a16:colId xmlns:a16="http://schemas.microsoft.com/office/drawing/2014/main" val="3087462113"/>
                    </a:ext>
                  </a:extLst>
                </a:gridCol>
                <a:gridCol w="660400">
                  <a:extLst>
                    <a:ext uri="{9D8B030D-6E8A-4147-A177-3AD203B41FA5}">
                      <a16:colId xmlns:a16="http://schemas.microsoft.com/office/drawing/2014/main" val="1029806020"/>
                    </a:ext>
                  </a:extLst>
                </a:gridCol>
                <a:gridCol w="660400">
                  <a:extLst>
                    <a:ext uri="{9D8B030D-6E8A-4147-A177-3AD203B41FA5}">
                      <a16:colId xmlns:a16="http://schemas.microsoft.com/office/drawing/2014/main" val="3714934659"/>
                    </a:ext>
                  </a:extLst>
                </a:gridCol>
                <a:gridCol w="660400">
                  <a:extLst>
                    <a:ext uri="{9D8B030D-6E8A-4147-A177-3AD203B41FA5}">
                      <a16:colId xmlns:a16="http://schemas.microsoft.com/office/drawing/2014/main" val="1845500442"/>
                    </a:ext>
                  </a:extLst>
                </a:gridCol>
                <a:gridCol w="660400">
                  <a:extLst>
                    <a:ext uri="{9D8B030D-6E8A-4147-A177-3AD203B41FA5}">
                      <a16:colId xmlns:a16="http://schemas.microsoft.com/office/drawing/2014/main" val="2590076437"/>
                    </a:ext>
                  </a:extLst>
                </a:gridCol>
                <a:gridCol w="660400">
                  <a:extLst>
                    <a:ext uri="{9D8B030D-6E8A-4147-A177-3AD203B41FA5}">
                      <a16:colId xmlns:a16="http://schemas.microsoft.com/office/drawing/2014/main" val="1385158084"/>
                    </a:ext>
                  </a:extLst>
                </a:gridCol>
              </a:tblGrid>
              <a:tr h="548891">
                <a:tc>
                  <a:txBody>
                    <a:bodyPr/>
                    <a:lstStyle/>
                    <a:p>
                      <a:pPr algn="ctr"/>
                      <a:r>
                        <a:rPr lang="en-GB" sz="900">
                          <a:solidFill>
                            <a:srgbClr val="50235C"/>
                          </a:solidFill>
                        </a:rPr>
                        <a:t>Roadmap ref</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r>
                        <a:rPr lang="en-GB" sz="900">
                          <a:solidFill>
                            <a:srgbClr val="50235C"/>
                          </a:solidFill>
                        </a:rPr>
                        <a:t>Future activity</a:t>
                      </a:r>
                      <a:endParaRPr lang="en-GB" sz="900"/>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Target outcome / Expected benefit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algn="ctr" defTabSz="914400" rtl="0" eaLnBrk="1" fontAlgn="ctr" latinLnBrk="0" hangingPunct="1"/>
                      <a:r>
                        <a:rPr lang="en-GB" sz="900" b="1" kern="1200">
                          <a:solidFill>
                            <a:srgbClr val="50235C"/>
                          </a:solidFill>
                          <a:latin typeface="+mn-lt"/>
                          <a:ea typeface="+mn-ea"/>
                          <a:cs typeface="+mn-cs"/>
                        </a:rPr>
                        <a:t>Impact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Ease</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algn="ctr" defTabSz="914400" rtl="0" eaLnBrk="1" fontAlgn="ctr" latinLnBrk="0" hangingPunct="1"/>
                      <a:r>
                        <a:rPr lang="en-GB" sz="900" b="1" kern="1200">
                          <a:solidFill>
                            <a:srgbClr val="50235C"/>
                          </a:solidFill>
                          <a:latin typeface="+mn-lt"/>
                          <a:ea typeface="+mn-ea"/>
                          <a:cs typeface="+mn-cs"/>
                        </a:rPr>
                        <a:t>Score</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algn="ctr" defTabSz="914400" rtl="0" eaLnBrk="1" fontAlgn="ctr" latinLnBrk="0" hangingPunct="1"/>
                      <a:r>
                        <a:rPr lang="en-GB" sz="820" b="1" kern="1200">
                          <a:solidFill>
                            <a:srgbClr val="50235C"/>
                          </a:solidFill>
                          <a:latin typeface="+mn-lt"/>
                          <a:ea typeface="+mn-ea"/>
                          <a:cs typeface="+mn-cs"/>
                        </a:rPr>
                        <a:t>Resource required</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r>
                        <a:rPr lang="en-GB" sz="900" b="1">
                          <a:solidFill>
                            <a:srgbClr val="50235C"/>
                          </a:solidFill>
                        </a:rPr>
                        <a:t>Short</a:t>
                      </a:r>
                    </a:p>
                    <a:p>
                      <a:r>
                        <a:rPr lang="en-GB" sz="900" b="1">
                          <a:solidFill>
                            <a:srgbClr val="50235C"/>
                          </a:solidFill>
                        </a:rPr>
                        <a:t>Medium</a:t>
                      </a:r>
                      <a:br>
                        <a:rPr lang="en-GB" sz="900" b="1">
                          <a:solidFill>
                            <a:srgbClr val="50235C"/>
                          </a:solidFill>
                        </a:rPr>
                      </a:br>
                      <a:r>
                        <a:rPr lang="en-GB" sz="900" b="1">
                          <a:solidFill>
                            <a:srgbClr val="50235C"/>
                          </a:solidFill>
                        </a:rPr>
                        <a:t>Long</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extLst>
                  <a:ext uri="{0D108BD9-81ED-4DB2-BD59-A6C34878D82A}">
                    <a16:rowId xmlns:a16="http://schemas.microsoft.com/office/drawing/2014/main" val="466195498"/>
                  </a:ext>
                </a:extLst>
              </a:tr>
              <a:tr h="39919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a:solidFill>
                            <a:srgbClr val="50235C"/>
                          </a:solidFill>
                        </a:rPr>
                        <a:t>E1</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Focus on people with autism – meet the NICE guidance on Autism Including reasonable adjustments for people with Autism</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indent="-171450" algn="l" rtl="0" fontAlgn="ctr">
                        <a:buClr>
                          <a:srgbClr val="000000"/>
                        </a:buClr>
                        <a:buSzPts val="900"/>
                        <a:buFont typeface="Arial" panose="020B0604020202020204" pitchFamily="34" charset="0"/>
                        <a:buChar char="•"/>
                      </a:pPr>
                      <a:r>
                        <a:rPr lang="en-GB" sz="900" b="0" i="0" u="none" strike="noStrike">
                          <a:solidFill>
                            <a:schemeClr val="tx2">
                              <a:lumMod val="65000"/>
                              <a:lumOff val="35000"/>
                            </a:schemeClr>
                          </a:solidFill>
                          <a:effectLst/>
                          <a:latin typeface="Arial" panose="020B0604020202020204" pitchFamily="34" charset="0"/>
                        </a:rPr>
                        <a:t>People with Autism receive the same level of care as the rest of the population and are not left behind.</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20</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Medium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Long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4199580168"/>
                  </a:ext>
                </a:extLst>
              </a:tr>
              <a:tr h="39919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E2</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Build a formalised alliance with the third sector to improve proactive engagement with all community groups.</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indent="-171450" algn="l" rtl="0" fontAlgn="ctr">
                        <a:buClr>
                          <a:srgbClr val="000000"/>
                        </a:buClr>
                        <a:buSzPts val="900"/>
                        <a:buFont typeface="Arial" panose="020B0604020202020204" pitchFamily="34" charset="0"/>
                        <a:buChar char="•"/>
                      </a:pPr>
                      <a:r>
                        <a:rPr lang="en-GB" sz="900" b="0" i="0" u="none" strike="noStrike">
                          <a:solidFill>
                            <a:schemeClr val="tx2">
                              <a:lumMod val="65000"/>
                              <a:lumOff val="35000"/>
                            </a:schemeClr>
                          </a:solidFill>
                          <a:effectLst/>
                          <a:latin typeface="Arial" panose="020B0604020202020204" pitchFamily="34" charset="0"/>
                        </a:rPr>
                        <a:t>Patients who may not otherwise access care and support have the opportunity to do so, supporting their long term health outcomes.</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1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Medium</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Medium</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2752216538"/>
                  </a:ext>
                </a:extLst>
              </a:tr>
              <a:tr h="39919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E3</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Develop and target interventions for particular cohorts linked to place and known population risk</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indent="-171450" algn="l" rtl="0" fontAlgn="ctr">
                        <a:buClr>
                          <a:srgbClr val="000000"/>
                        </a:buClr>
                        <a:buSzPts val="900"/>
                        <a:buFont typeface="Arial" panose="020B0604020202020204" pitchFamily="34" charset="0"/>
                        <a:buChar char="•"/>
                      </a:pPr>
                      <a:r>
                        <a:rPr lang="en-GB" sz="900" b="0" i="0" u="none" strike="noStrike">
                          <a:solidFill>
                            <a:schemeClr val="tx2">
                              <a:lumMod val="65000"/>
                              <a:lumOff val="35000"/>
                            </a:schemeClr>
                          </a:solidFill>
                          <a:effectLst/>
                          <a:latin typeface="Arial" panose="020B0604020202020204" pitchFamily="34" charset="0"/>
                        </a:rPr>
                        <a:t>People most at risk of MH conditions are given proactive care and prevented from needing to be admitted into inpatient units, reducing the pressure on the wider system</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1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Medium</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Medium</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2193687171"/>
                  </a:ext>
                </a:extLst>
              </a:tr>
              <a:tr h="35361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E4</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Target resources at the most deprived wards that have been highlighted e.g. South East Telford PCN footprint</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indent="-171450" algn="l" rtl="0" fontAlgn="ctr">
                        <a:buClr>
                          <a:srgbClr val="000000"/>
                        </a:buClr>
                        <a:buSzPts val="900"/>
                        <a:buFont typeface="Arial" panose="020B0604020202020204" pitchFamily="34" charset="0"/>
                        <a:buChar char="•"/>
                      </a:pPr>
                      <a:r>
                        <a:rPr lang="en-GB" sz="900" b="0" i="0" u="none" strike="noStrike">
                          <a:solidFill>
                            <a:schemeClr val="tx2">
                              <a:lumMod val="65000"/>
                              <a:lumOff val="35000"/>
                            </a:schemeClr>
                          </a:solidFill>
                          <a:effectLst/>
                          <a:latin typeface="Arial" panose="020B0604020202020204" pitchFamily="34" charset="0"/>
                        </a:rPr>
                        <a:t>People most at risk of MH conditions are given proactive care and prevented from needing to be admitted into inpatient units, reducing the pressure on the wider system</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1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Medium</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Medium</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3198809439"/>
                  </a:ext>
                </a:extLst>
              </a:tr>
              <a:tr h="35361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E5</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Translate comms and engagement campaigns into multiple languages to support marginalised communities</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indent="-171450" algn="l" defTabSz="914400" rtl="0" eaLnBrk="1" fontAlgn="ctr" latinLnBrk="0" hangingPunct="1">
                        <a:buClr>
                          <a:srgbClr val="000000"/>
                        </a:buClr>
                        <a:buSzPts val="900"/>
                        <a:buFont typeface="Arial" panose="020B0604020202020204" pitchFamily="34" charset="0"/>
                        <a:buChar char="•"/>
                      </a:pPr>
                      <a:r>
                        <a:rPr lang="en-GB" sz="900" b="0" i="0" u="none" strike="noStrike" kern="1200">
                          <a:solidFill>
                            <a:schemeClr val="tx2">
                              <a:lumMod val="65000"/>
                              <a:lumOff val="35000"/>
                            </a:schemeClr>
                          </a:solidFill>
                          <a:effectLst/>
                          <a:latin typeface="Arial" panose="020B0604020202020204" pitchFamily="34" charset="0"/>
                          <a:ea typeface="+mn-ea"/>
                          <a:cs typeface="+mn-cs"/>
                        </a:rPr>
                        <a:t>More people from ‘hard to reach’ communities to ensure they are sighted on available services and support. </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1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Medium</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Medium</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1658197614"/>
                  </a:ext>
                </a:extLst>
              </a:tr>
              <a:tr h="39919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E6</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Identification of health inequalities leads across the key providers organisations to create alignment on a health inequality strategy.</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indent="-171450" algn="l" defTabSz="914400" rtl="0" eaLnBrk="1" fontAlgn="ctr" latinLnBrk="0" hangingPunct="1">
                        <a:buClr>
                          <a:srgbClr val="000000"/>
                        </a:buClr>
                        <a:buSzPts val="900"/>
                        <a:buFont typeface="Arial" panose="020B0604020202020204" pitchFamily="34" charset="0"/>
                        <a:buChar char="•"/>
                      </a:pPr>
                      <a:r>
                        <a:rPr lang="en-GB" sz="900" b="0" i="0" u="none" strike="noStrike" kern="1200">
                          <a:solidFill>
                            <a:schemeClr val="tx2">
                              <a:lumMod val="65000"/>
                              <a:lumOff val="35000"/>
                            </a:schemeClr>
                          </a:solidFill>
                          <a:effectLst/>
                          <a:latin typeface="Arial" panose="020B0604020202020204" pitchFamily="34" charset="0"/>
                          <a:ea typeface="+mn-ea"/>
                          <a:cs typeface="+mn-cs"/>
                        </a:rPr>
                        <a:t>Health inequalities are considered and targeted by all providers, supporting proactive prevention. </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1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Medium</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Long</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74048181"/>
                  </a:ext>
                </a:extLst>
              </a:tr>
              <a:tr h="35361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E7</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Recruit Mental Health champions / service users in the community</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indent="-171450" algn="l" defTabSz="914400" rtl="0" eaLnBrk="1" fontAlgn="ctr" latinLnBrk="0" hangingPunct="1">
                        <a:buClr>
                          <a:srgbClr val="000000"/>
                        </a:buClr>
                        <a:buSzPts val="900"/>
                        <a:buFont typeface="Arial" panose="020B0604020202020204" pitchFamily="34" charset="0"/>
                        <a:buChar char="•"/>
                      </a:pPr>
                      <a:r>
                        <a:rPr lang="en-GB" sz="900" b="0" i="0" u="none" strike="noStrike" kern="1200">
                          <a:solidFill>
                            <a:schemeClr val="tx2">
                              <a:lumMod val="65000"/>
                              <a:lumOff val="35000"/>
                            </a:schemeClr>
                          </a:solidFill>
                          <a:effectLst/>
                          <a:latin typeface="Arial" panose="020B0604020202020204" pitchFamily="34" charset="0"/>
                          <a:ea typeface="+mn-ea"/>
                          <a:cs typeface="+mn-cs"/>
                        </a:rPr>
                        <a:t>People have trusted peer support available, supporting them to access services sooner and prevent escalation / additional complication. </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1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Medium</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Long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3596645736"/>
                  </a:ext>
                </a:extLst>
              </a:tr>
              <a:tr h="35361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E8</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Dynamic support register and Care Treatment Review process</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indent="-171450" algn="l" defTabSz="914400" rtl="0" eaLnBrk="1" fontAlgn="ctr" latinLnBrk="0" hangingPunct="1">
                        <a:buClr>
                          <a:srgbClr val="000000"/>
                        </a:buClr>
                        <a:buSzPts val="900"/>
                        <a:buFont typeface="Arial" panose="020B0604020202020204" pitchFamily="34" charset="0"/>
                        <a:buChar char="•"/>
                      </a:pPr>
                      <a:r>
                        <a:rPr lang="en-GB" sz="900" b="0" i="0" u="none" strike="noStrike" kern="1200">
                          <a:solidFill>
                            <a:schemeClr val="tx2">
                              <a:lumMod val="65000"/>
                              <a:lumOff val="35000"/>
                            </a:schemeClr>
                          </a:solidFill>
                          <a:effectLst/>
                          <a:latin typeface="Arial" panose="020B0604020202020204" pitchFamily="34" charset="0"/>
                          <a:ea typeface="+mn-ea"/>
                          <a:cs typeface="+mn-cs"/>
                        </a:rPr>
                        <a:t>Knowing the people who are likely to need additional support and are at most risk of admission so extra care and support can be put in place quickly. </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1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Medium</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Medium</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2047930650"/>
                  </a:ext>
                </a:extLst>
              </a:tr>
              <a:tr h="39919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E9</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Improve care for drug and alcohol users through targeted support</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indent="-171450" algn="l" defTabSz="914400" rtl="0" eaLnBrk="1" fontAlgn="ctr" latinLnBrk="0" hangingPunct="1">
                        <a:buClr>
                          <a:srgbClr val="000000"/>
                        </a:buClr>
                        <a:buSzPts val="900"/>
                        <a:buFont typeface="Arial" panose="020B0604020202020204" pitchFamily="34" charset="0"/>
                        <a:buChar char="•"/>
                      </a:pPr>
                      <a:r>
                        <a:rPr lang="en-GB" sz="900" b="0" i="0" u="none" strike="noStrike" kern="1200">
                          <a:solidFill>
                            <a:schemeClr val="tx2">
                              <a:lumMod val="65000"/>
                              <a:lumOff val="35000"/>
                            </a:schemeClr>
                          </a:solidFill>
                          <a:effectLst/>
                          <a:latin typeface="Arial" panose="020B0604020202020204" pitchFamily="34" charset="0"/>
                          <a:ea typeface="+mn-ea"/>
                          <a:cs typeface="+mn-cs"/>
                        </a:rPr>
                        <a:t>People with coexisting conditions are supported to improve their health, thereby reducing the use of services.</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10</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Medium</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Long</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460802319"/>
                  </a:ext>
                </a:extLst>
              </a:tr>
              <a:tr h="35361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E10</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Increase Individual Placement Support</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indent="-171450" algn="l" rtl="0" fontAlgn="ctr">
                        <a:buClr>
                          <a:srgbClr val="000000"/>
                        </a:buClr>
                        <a:buSzPts val="900"/>
                        <a:buFont typeface="Arial" panose="020B0604020202020204" pitchFamily="34" charset="0"/>
                        <a:buChar char="•"/>
                      </a:pPr>
                      <a:r>
                        <a:rPr lang="en-GB" sz="900" b="0" i="0" u="none" strike="noStrike">
                          <a:solidFill>
                            <a:schemeClr val="tx2">
                              <a:lumMod val="65000"/>
                              <a:lumOff val="35000"/>
                            </a:schemeClr>
                          </a:solidFill>
                          <a:effectLst/>
                          <a:latin typeface="Arial" panose="020B0604020202020204" pitchFamily="34" charset="0"/>
                        </a:rPr>
                        <a:t>More people with severe mental health illness being supported to find employment as part of their wider recovery.  </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9</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High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Medium</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4105782681"/>
                  </a:ext>
                </a:extLst>
              </a:tr>
              <a:tr h="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E11</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Build a clear forensic pathway with the provider collaborative</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indent="-171450" algn="l" rtl="0" fontAlgn="ctr">
                        <a:buClr>
                          <a:srgbClr val="000000"/>
                        </a:buClr>
                        <a:buSzPts val="900"/>
                        <a:buFont typeface="Arial" panose="020B0604020202020204" pitchFamily="34" charset="0"/>
                        <a:buChar char="•"/>
                      </a:pPr>
                      <a:r>
                        <a:rPr lang="en-GB" sz="900" b="0" i="0" u="none" strike="noStrike">
                          <a:solidFill>
                            <a:schemeClr val="tx2">
                              <a:lumMod val="65000"/>
                              <a:lumOff val="35000"/>
                            </a:schemeClr>
                          </a:solidFill>
                          <a:effectLst/>
                          <a:latin typeface="Arial" panose="020B0604020202020204" pitchFamily="34" charset="0"/>
                        </a:rPr>
                        <a:t>Bringing together clinical expertise, experience and innovation, aiming to improve quality, use resources most effectively, and deliver best practice consistently to patients. </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9</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Medium</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Medium</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1865496310"/>
                  </a:ext>
                </a:extLst>
              </a:tr>
            </a:tbl>
          </a:graphicData>
        </a:graphic>
      </p:graphicFrame>
      <p:graphicFrame>
        <p:nvGraphicFramePr>
          <p:cNvPr id="11" name="Table 10">
            <a:extLst>
              <a:ext uri="{FF2B5EF4-FFF2-40B4-BE49-F238E27FC236}">
                <a16:creationId xmlns:a16="http://schemas.microsoft.com/office/drawing/2014/main" id="{71EB006F-3F33-4E44-8924-9B3BF75C4228}"/>
              </a:ext>
            </a:extLst>
          </p:cNvPr>
          <p:cNvGraphicFramePr>
            <a:graphicFrameLocks noGrp="1"/>
          </p:cNvGraphicFramePr>
          <p:nvPr>
            <p:extLst>
              <p:ext uri="{D42A27DB-BD31-4B8C-83A1-F6EECF244321}">
                <p14:modId xmlns:p14="http://schemas.microsoft.com/office/powerpoint/2010/main" val="1095260840"/>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C"/>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pic>
        <p:nvPicPr>
          <p:cNvPr id="12" name="Graphic 11" descr="Weights Uneven with solid fill">
            <a:extLst>
              <a:ext uri="{FF2B5EF4-FFF2-40B4-BE49-F238E27FC236}">
                <a16:creationId xmlns:a16="http://schemas.microsoft.com/office/drawing/2014/main" id="{404445F0-D96D-624E-8DA0-588102DA333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10638" y="159286"/>
            <a:ext cx="594000" cy="594000"/>
          </a:xfrm>
          <a:prstGeom prst="rect">
            <a:avLst/>
          </a:prstGeom>
        </p:spPr>
      </p:pic>
      <p:sp>
        <p:nvSpPr>
          <p:cNvPr id="13" name="Rectangle 12">
            <a:extLst>
              <a:ext uri="{FF2B5EF4-FFF2-40B4-BE49-F238E27FC236}">
                <a16:creationId xmlns:a16="http://schemas.microsoft.com/office/drawing/2014/main" id="{AFACEF91-18E4-7D46-888D-2BB7C3C1AC5F}"/>
              </a:ext>
            </a:extLst>
          </p:cNvPr>
          <p:cNvSpPr/>
          <p:nvPr/>
        </p:nvSpPr>
        <p:spPr>
          <a:xfrm>
            <a:off x="8462819" y="184705"/>
            <a:ext cx="1931224" cy="78568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panose="020B0604020202020204"/>
                <a:ea typeface="+mn-ea"/>
                <a:cs typeface="+mn-cs"/>
              </a:rPr>
              <a:t>IMPACT:        </a:t>
            </a: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1 = Low Impact </a:t>
            </a:r>
            <a:b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                       5 = High impa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panose="020B0604020202020204"/>
                <a:ea typeface="+mn-ea"/>
                <a:cs typeface="+mn-cs"/>
              </a:rPr>
              <a:t>EASE:            </a:t>
            </a: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1 = Difficult</a:t>
            </a:r>
            <a:b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                       5 = Straightforward</a:t>
            </a:r>
          </a:p>
          <a:p>
            <a:pPr>
              <a:defRPr/>
            </a:pPr>
            <a:r>
              <a:rPr lang="en-GB" sz="800" b="1">
                <a:solidFill>
                  <a:srgbClr val="000000"/>
                </a:solidFill>
              </a:rPr>
              <a:t>RESOURCE:  </a:t>
            </a:r>
            <a:r>
              <a:rPr lang="en-GB" sz="800">
                <a:solidFill>
                  <a:srgbClr val="000000"/>
                </a:solidFill>
              </a:rPr>
              <a:t>Low, Medium, High </a:t>
            </a:r>
          </a:p>
        </p:txBody>
      </p:sp>
      <p:sp>
        <p:nvSpPr>
          <p:cNvPr id="14" name="Rectangle 13">
            <a:extLst>
              <a:ext uri="{FF2B5EF4-FFF2-40B4-BE49-F238E27FC236}">
                <a16:creationId xmlns:a16="http://schemas.microsoft.com/office/drawing/2014/main" id="{1C93665E-EEE5-2C49-A90E-D5F3B0C6B1DC}"/>
              </a:ext>
            </a:extLst>
          </p:cNvPr>
          <p:cNvSpPr/>
          <p:nvPr/>
        </p:nvSpPr>
        <p:spPr>
          <a:xfrm>
            <a:off x="10394043" y="184705"/>
            <a:ext cx="1442357" cy="78568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00" b="1">
                <a:solidFill>
                  <a:srgbClr val="000000"/>
                </a:solidFill>
                <a:latin typeface="Arial" panose="020B0604020202020204"/>
              </a:rPr>
              <a:t>SHORT</a:t>
            </a:r>
            <a:r>
              <a:rPr lang="en-GB" sz="900">
                <a:solidFill>
                  <a:srgbClr val="000000"/>
                </a:solidFill>
                <a:latin typeface="Arial" panose="020B0604020202020204"/>
              </a:rPr>
              <a:t> =   0-6 months</a:t>
            </a:r>
          </a:p>
          <a:p>
            <a:r>
              <a:rPr lang="en-GB" sz="900" b="1">
                <a:solidFill>
                  <a:srgbClr val="000000"/>
                </a:solidFill>
                <a:latin typeface="Arial" panose="020B0604020202020204"/>
              </a:rPr>
              <a:t>MEDIUM</a:t>
            </a:r>
            <a:r>
              <a:rPr lang="en-GB" sz="900">
                <a:solidFill>
                  <a:srgbClr val="000000"/>
                </a:solidFill>
                <a:latin typeface="Arial" panose="020B0604020202020204"/>
              </a:rPr>
              <a:t> = 6-18 months</a:t>
            </a:r>
          </a:p>
          <a:p>
            <a:r>
              <a:rPr lang="en-GB" sz="900" b="1">
                <a:solidFill>
                  <a:srgbClr val="000000"/>
                </a:solidFill>
                <a:latin typeface="Arial" panose="020B0604020202020204"/>
              </a:rPr>
              <a:t>LONG</a:t>
            </a:r>
            <a:r>
              <a:rPr lang="en-GB" sz="900">
                <a:solidFill>
                  <a:srgbClr val="000000"/>
                </a:solidFill>
                <a:latin typeface="Arial" panose="020B0604020202020204"/>
              </a:rPr>
              <a:t> =     18 months +</a:t>
            </a:r>
          </a:p>
        </p:txBody>
      </p:sp>
    </p:spTree>
    <p:extLst>
      <p:ext uri="{BB962C8B-B14F-4D97-AF65-F5344CB8AC3E}">
        <p14:creationId xmlns:p14="http://schemas.microsoft.com/office/powerpoint/2010/main" val="8142932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41"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800" b="0" i="0" u="none" strike="noStrike" kern="1200" cap="none" spc="0" normalizeH="0" baseline="0" noProof="0">
              <a:ln>
                <a:noFill/>
              </a:ln>
              <a:solidFill>
                <a:srgbClr val="FFFFFF"/>
              </a:solidFill>
              <a:effectLst/>
              <a:uLnTx/>
              <a:uFillTx/>
              <a:latin typeface="Arial" panose="020B0604020202020204"/>
              <a:ea typeface="+mn-ea"/>
              <a:cs typeface="+mn-cs"/>
              <a:sym typeface="Arial" panose="020B0604020202020204" pitchFamily="34" charset="0"/>
            </a:endParaRPr>
          </a:p>
        </p:txBody>
      </p:sp>
      <p:sp>
        <p:nvSpPr>
          <p:cNvPr id="2" name="Title 1"/>
          <p:cNvSpPr>
            <a:spLocks noGrp="1"/>
          </p:cNvSpPr>
          <p:nvPr>
            <p:ph type="title"/>
          </p:nvPr>
        </p:nvSpPr>
        <p:spPr>
          <a:xfrm>
            <a:off x="510638" y="297277"/>
            <a:ext cx="6430489" cy="434010"/>
          </a:xfrm>
          <a:prstGeom prst="rect">
            <a:avLst/>
          </a:prstGeom>
        </p:spPr>
        <p:txBody>
          <a:bodyPr/>
          <a:lstStyle/>
          <a:p>
            <a:r>
              <a:rPr lang="en-GB"/>
              <a:t>Project overview</a:t>
            </a:r>
          </a:p>
        </p:txBody>
      </p:sp>
      <p:sp>
        <p:nvSpPr>
          <p:cNvPr id="5" name="Footer Placeholder 4">
            <a:extLst>
              <a:ext uri="{FF2B5EF4-FFF2-40B4-BE49-F238E27FC236}">
                <a16:creationId xmlns:a16="http://schemas.microsoft.com/office/drawing/2014/main" id="{8378A888-C2F3-1F46-BFE9-6AED0C113342}"/>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50235C"/>
                </a:solidFill>
                <a:effectLst/>
                <a:uLnTx/>
                <a:uFillTx/>
                <a:latin typeface="Arial" panose="020B0604020202020204"/>
                <a:ea typeface="+mn-ea"/>
                <a:cs typeface="+mn-cs"/>
              </a:rPr>
              <a:t>© Moorhouse 2021 [Restricted]</a:t>
            </a:r>
          </a:p>
        </p:txBody>
      </p:sp>
      <p:sp>
        <p:nvSpPr>
          <p:cNvPr id="47" name="Rectangle 46">
            <a:extLst>
              <a:ext uri="{FF2B5EF4-FFF2-40B4-BE49-F238E27FC236}">
                <a16:creationId xmlns:a16="http://schemas.microsoft.com/office/drawing/2014/main" id="{D9C929F6-41CE-AB46-A900-A92451DD1F9A}"/>
              </a:ext>
            </a:extLst>
          </p:cNvPr>
          <p:cNvSpPr/>
          <p:nvPr/>
        </p:nvSpPr>
        <p:spPr>
          <a:xfrm>
            <a:off x="0" y="4769791"/>
            <a:ext cx="12198570" cy="1780286"/>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 name="Rectangle 49">
            <a:extLst>
              <a:ext uri="{FF2B5EF4-FFF2-40B4-BE49-F238E27FC236}">
                <a16:creationId xmlns:a16="http://schemas.microsoft.com/office/drawing/2014/main" id="{12410B54-5493-0A4C-BA4B-0FB4FF08FF7E}"/>
              </a:ext>
            </a:extLst>
          </p:cNvPr>
          <p:cNvSpPr/>
          <p:nvPr/>
        </p:nvSpPr>
        <p:spPr>
          <a:xfrm rot="16200000">
            <a:off x="-177118" y="5486828"/>
            <a:ext cx="923652"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50235C"/>
                </a:solidFill>
                <a:effectLst/>
                <a:uLnTx/>
                <a:uFillTx/>
                <a:latin typeface="Arial" panose="020B0604020202020204"/>
                <a:ea typeface="+mn-ea"/>
                <a:cs typeface="+mn-cs"/>
              </a:rPr>
              <a:t>OUTPUTS</a:t>
            </a:r>
          </a:p>
        </p:txBody>
      </p:sp>
      <p:sp>
        <p:nvSpPr>
          <p:cNvPr id="85" name="Rectangle 84">
            <a:extLst>
              <a:ext uri="{FF2B5EF4-FFF2-40B4-BE49-F238E27FC236}">
                <a16:creationId xmlns:a16="http://schemas.microsoft.com/office/drawing/2014/main" id="{BF87E107-9B05-AD4A-BF17-CE66A1FC31B2}"/>
              </a:ext>
            </a:extLst>
          </p:cNvPr>
          <p:cNvSpPr/>
          <p:nvPr/>
        </p:nvSpPr>
        <p:spPr>
          <a:xfrm rot="16200000">
            <a:off x="-180895" y="3108460"/>
            <a:ext cx="888385"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50235C"/>
                </a:solidFill>
                <a:effectLst/>
                <a:uLnTx/>
                <a:uFillTx/>
                <a:latin typeface="Arial" panose="020B0604020202020204"/>
                <a:ea typeface="+mn-ea"/>
                <a:cs typeface="+mn-cs"/>
              </a:rPr>
              <a:t>ACTIVITIES</a:t>
            </a:r>
          </a:p>
        </p:txBody>
      </p:sp>
      <p:sp>
        <p:nvSpPr>
          <p:cNvPr id="86" name="TextBox 85">
            <a:extLst>
              <a:ext uri="{FF2B5EF4-FFF2-40B4-BE49-F238E27FC236}">
                <a16:creationId xmlns:a16="http://schemas.microsoft.com/office/drawing/2014/main" id="{D8828E80-B7D3-474D-A9F2-7711BEA3B95E}"/>
              </a:ext>
            </a:extLst>
          </p:cNvPr>
          <p:cNvSpPr txBox="1"/>
          <p:nvPr/>
        </p:nvSpPr>
        <p:spPr>
          <a:xfrm>
            <a:off x="3978213" y="5909296"/>
            <a:ext cx="1511215" cy="430887"/>
          </a:xfrm>
          <a:prstGeom prst="rect">
            <a:avLst/>
          </a:prstGeom>
          <a:noFill/>
        </p:spPr>
        <p:txBody>
          <a:bodyPr wrap="square" lIns="91440" tIns="45720" rIns="91440" bIns="45720" rtlCol="0" anchor="t">
            <a:spAutoFit/>
          </a:bodyPr>
          <a:lstStyle/>
          <a:p>
            <a:pPr marR="0" lvl="0" algn="ctr" defTabSz="914400" rtl="0" eaLnBrk="1" fontAlgn="auto" latinLnBrk="0" hangingPunct="1">
              <a:lnSpc>
                <a:spcPct val="100000"/>
              </a:lnSpc>
              <a:spcBef>
                <a:spcPts val="0"/>
              </a:spcBef>
              <a:spcAft>
                <a:spcPts val="600"/>
              </a:spcAft>
              <a:buClr>
                <a:srgbClr val="50235C"/>
              </a:buClr>
              <a:buSzTx/>
              <a:tabLst/>
              <a:defRPr/>
            </a:pPr>
            <a:r>
              <a:rPr kumimoji="0" lang="en-GB" sz="11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rPr>
              <a:t>High-level vision and strategy </a:t>
            </a:r>
          </a:p>
        </p:txBody>
      </p:sp>
      <p:sp>
        <p:nvSpPr>
          <p:cNvPr id="87" name="TextBox 86">
            <a:extLst>
              <a:ext uri="{FF2B5EF4-FFF2-40B4-BE49-F238E27FC236}">
                <a16:creationId xmlns:a16="http://schemas.microsoft.com/office/drawing/2014/main" id="{8A070B73-B7B2-C647-9C66-B06000225C2C}"/>
              </a:ext>
            </a:extLst>
          </p:cNvPr>
          <p:cNvSpPr txBox="1"/>
          <p:nvPr/>
        </p:nvSpPr>
        <p:spPr>
          <a:xfrm>
            <a:off x="883682" y="2266461"/>
            <a:ext cx="4335710" cy="2087330"/>
          </a:xfrm>
          <a:prstGeom prst="rect">
            <a:avLst/>
          </a:prstGeom>
          <a:noFill/>
        </p:spPr>
        <p:txBody>
          <a:bodyPr wrap="square" lIns="91440" tIns="45720" rIns="91440" bIns="45720" rtlCol="0" anchor="t">
            <a:noAutofit/>
          </a:bodyPr>
          <a:lstStyle/>
          <a:p>
            <a:pPr marL="171450" marR="0" lvl="0" indent="-171450" algn="l" defTabSz="914400" rtl="0" eaLnBrk="1" fontAlgn="auto" latinLnBrk="0" hangingPunct="1">
              <a:lnSpc>
                <a:spcPct val="100000"/>
              </a:lnSpc>
              <a:spcBef>
                <a:spcPts val="600"/>
              </a:spcBef>
              <a:spcAft>
                <a:spcPts val="600"/>
              </a:spcAft>
              <a:buClr>
                <a:srgbClr val="000000">
                  <a:lumMod val="75000"/>
                  <a:lumOff val="25000"/>
                </a:srgbClr>
              </a:buClr>
              <a:buSzTx/>
              <a:buFont typeface="Wingdings" pitchFamily="2" charset="2"/>
              <a:buChar char="Ø"/>
              <a:tabLst/>
              <a:defRPr/>
            </a:pPr>
            <a:r>
              <a:rPr kumimoji="0" lang="en-GB" sz="11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rPr>
              <a:t>Conducted interviews with over 60 stakeholders from across STW including front line staff and service users to create a draft </a:t>
            </a:r>
            <a:r>
              <a:rPr kumimoji="0" lang="en-GB" sz="1100" b="1" i="0" u="none" strike="noStrike" kern="1200" cap="none" spc="-5" normalizeH="0" baseline="0" noProof="0">
                <a:ln>
                  <a:noFill/>
                </a:ln>
                <a:solidFill>
                  <a:srgbClr val="50235A"/>
                </a:solidFill>
                <a:effectLst/>
                <a:uLnTx/>
                <a:uFillTx/>
                <a:latin typeface="Arial" panose="020B0604020202020204"/>
                <a:ea typeface="+mn-ea"/>
                <a:cs typeface="Arial"/>
              </a:rPr>
              <a:t>as-is service mapping </a:t>
            </a:r>
            <a:r>
              <a:rPr kumimoji="0" lang="en-GB" sz="110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rPr>
              <a:t>document</a:t>
            </a:r>
            <a:r>
              <a:rPr kumimoji="0" lang="en-GB" sz="1100" b="1"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rPr>
              <a:t> </a:t>
            </a:r>
            <a:r>
              <a:rPr kumimoji="0" lang="en-GB" sz="11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rPr>
              <a:t>of the existing mental health service offerings.</a:t>
            </a:r>
          </a:p>
          <a:p>
            <a:pPr marL="171450" marR="0" lvl="0" indent="-171450" algn="l" defTabSz="914400" rtl="0" eaLnBrk="1" fontAlgn="auto" latinLnBrk="0" hangingPunct="1">
              <a:lnSpc>
                <a:spcPct val="100000"/>
              </a:lnSpc>
              <a:spcBef>
                <a:spcPts val="600"/>
              </a:spcBef>
              <a:spcAft>
                <a:spcPts val="600"/>
              </a:spcAft>
              <a:buClr>
                <a:srgbClr val="000000">
                  <a:lumMod val="75000"/>
                  <a:lumOff val="25000"/>
                </a:srgbClr>
              </a:buClr>
              <a:buSzTx/>
              <a:buFont typeface="Wingdings" pitchFamily="2" charset="2"/>
              <a:buChar char="Ø"/>
              <a:tabLst/>
              <a:defRPr/>
            </a:pPr>
            <a:r>
              <a:rPr lang="en-GB" sz="1100" spc="-5">
                <a:solidFill>
                  <a:schemeClr val="tx1">
                    <a:lumMod val="50000"/>
                    <a:lumOff val="50000"/>
                  </a:schemeClr>
                </a:solidFill>
                <a:latin typeface="Arial" panose="020B0604020202020204"/>
                <a:cs typeface="Arial"/>
              </a:rPr>
              <a:t>Using outputs from the interviews, conduct a high-level </a:t>
            </a:r>
            <a:r>
              <a:rPr lang="en-GB" sz="1100" b="1" spc="-5">
                <a:solidFill>
                  <a:srgbClr val="50235A"/>
                </a:solidFill>
                <a:latin typeface="Arial" panose="020B0604020202020204"/>
                <a:cs typeface="Arial"/>
              </a:rPr>
              <a:t>g</a:t>
            </a:r>
            <a:r>
              <a:rPr kumimoji="0" lang="en-GB" sz="1100" b="1" i="0" u="none" strike="noStrike" kern="1200" cap="none" spc="-5" normalizeH="0" baseline="0" noProof="0">
                <a:ln>
                  <a:noFill/>
                </a:ln>
                <a:solidFill>
                  <a:srgbClr val="50235A"/>
                </a:solidFill>
                <a:effectLst/>
                <a:uLnTx/>
                <a:uFillTx/>
                <a:latin typeface="Arial" panose="020B0604020202020204"/>
                <a:ea typeface="+mn-ea"/>
                <a:cs typeface="Arial"/>
              </a:rPr>
              <a:t>ap analysis</a:t>
            </a:r>
            <a:r>
              <a:rPr kumimoji="0" lang="en-GB" sz="1100" b="1"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rPr>
              <a:t> </a:t>
            </a:r>
            <a:r>
              <a:rPr kumimoji="0" lang="en-GB" sz="11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rPr>
              <a:t>using the as-is service mapping to determine where key service, support and provision gaps lie.</a:t>
            </a:r>
          </a:p>
          <a:p>
            <a:pPr marL="171450" marR="0" lvl="0" indent="-171450" algn="l" defTabSz="914400" rtl="0" eaLnBrk="1" fontAlgn="auto" latinLnBrk="0" hangingPunct="1">
              <a:lnSpc>
                <a:spcPct val="100000"/>
              </a:lnSpc>
              <a:spcBef>
                <a:spcPts val="600"/>
              </a:spcBef>
              <a:spcAft>
                <a:spcPts val="600"/>
              </a:spcAft>
              <a:buClr>
                <a:srgbClr val="000000">
                  <a:lumMod val="75000"/>
                  <a:lumOff val="25000"/>
                </a:srgbClr>
              </a:buClr>
              <a:buSzTx/>
              <a:buFont typeface="Wingdings" pitchFamily="2" charset="2"/>
              <a:buChar char="Ø"/>
              <a:tabLst/>
              <a:defRPr/>
            </a:pPr>
            <a:r>
              <a:rPr lang="en-GB" sz="1100" spc="-5">
                <a:solidFill>
                  <a:schemeClr val="tx1">
                    <a:lumMod val="50000"/>
                    <a:lumOff val="50000"/>
                  </a:schemeClr>
                </a:solidFill>
                <a:latin typeface="Arial" panose="020B0604020202020204"/>
                <a:cs typeface="Arial"/>
              </a:rPr>
              <a:t>Run a series of workshops to shape </a:t>
            </a:r>
            <a:r>
              <a:rPr lang="en-GB" sz="1100" b="1" spc="-5">
                <a:solidFill>
                  <a:srgbClr val="50235A"/>
                </a:solidFill>
                <a:latin typeface="Arial" panose="020B0604020202020204"/>
                <a:cs typeface="Arial"/>
              </a:rPr>
              <a:t>high level vision </a:t>
            </a:r>
            <a:r>
              <a:rPr lang="en-GB" sz="1100" spc="-5">
                <a:solidFill>
                  <a:schemeClr val="tx1">
                    <a:lumMod val="50000"/>
                    <a:lumOff val="50000"/>
                  </a:schemeClr>
                </a:solidFill>
                <a:latin typeface="Arial" panose="020B0604020202020204"/>
                <a:cs typeface="Arial"/>
              </a:rPr>
              <a:t>for future Mental health provision in STW.</a:t>
            </a:r>
            <a:endParaRPr kumimoji="0" lang="en-GB" sz="11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endParaRPr>
          </a:p>
        </p:txBody>
      </p:sp>
      <p:sp>
        <p:nvSpPr>
          <p:cNvPr id="88" name="TextBox 87">
            <a:extLst>
              <a:ext uri="{FF2B5EF4-FFF2-40B4-BE49-F238E27FC236}">
                <a16:creationId xmlns:a16="http://schemas.microsoft.com/office/drawing/2014/main" id="{6E5EE1D9-A36C-5243-813A-6134380E8776}"/>
              </a:ext>
            </a:extLst>
          </p:cNvPr>
          <p:cNvSpPr txBox="1"/>
          <p:nvPr/>
        </p:nvSpPr>
        <p:spPr>
          <a:xfrm>
            <a:off x="1787105" y="1554183"/>
            <a:ext cx="2580924" cy="461665"/>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0235C"/>
                </a:solidFill>
                <a:effectLst/>
                <a:uLnTx/>
                <a:uFillTx/>
                <a:latin typeface="Arial" panose="020B0604020202020204"/>
                <a:ea typeface="+mn-ea"/>
                <a:cs typeface="+mn-cs"/>
              </a:rPr>
              <a:t>Phase 1</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0235C"/>
                </a:solidFill>
                <a:latin typeface="Arial" panose="020B0604020202020204"/>
              </a:rPr>
              <a:t>(27</a:t>
            </a:r>
            <a:r>
              <a:rPr lang="en-GB" sz="1200" baseline="30000">
                <a:solidFill>
                  <a:srgbClr val="50235C"/>
                </a:solidFill>
                <a:latin typeface="Arial" panose="020B0604020202020204"/>
              </a:rPr>
              <a:t>th</a:t>
            </a:r>
            <a:r>
              <a:rPr lang="en-GB" sz="1200">
                <a:solidFill>
                  <a:srgbClr val="50235C"/>
                </a:solidFill>
                <a:latin typeface="Arial" panose="020B0604020202020204"/>
              </a:rPr>
              <a:t> Sep – 10</a:t>
            </a:r>
            <a:r>
              <a:rPr lang="en-GB" sz="1200" baseline="30000">
                <a:solidFill>
                  <a:srgbClr val="50235C"/>
                </a:solidFill>
                <a:latin typeface="Arial" panose="020B0604020202020204"/>
              </a:rPr>
              <a:t>th</a:t>
            </a:r>
            <a:r>
              <a:rPr lang="en-GB" sz="1200">
                <a:solidFill>
                  <a:srgbClr val="50235C"/>
                </a:solidFill>
                <a:latin typeface="Arial" panose="020B0604020202020204"/>
              </a:rPr>
              <a:t> Nov)</a:t>
            </a:r>
            <a:endParaRPr kumimoji="0" lang="en-GB" sz="1200" i="0" u="none" strike="noStrike" kern="1200" cap="none" spc="0" normalizeH="0" baseline="0" noProof="0">
              <a:ln>
                <a:noFill/>
              </a:ln>
              <a:solidFill>
                <a:srgbClr val="50235C"/>
              </a:solidFill>
              <a:effectLst/>
              <a:uLnTx/>
              <a:uFillTx/>
              <a:latin typeface="Arial" panose="020B0604020202020204"/>
              <a:ea typeface="+mn-ea"/>
              <a:cs typeface="+mn-cs"/>
            </a:endParaRPr>
          </a:p>
        </p:txBody>
      </p:sp>
      <p:cxnSp>
        <p:nvCxnSpPr>
          <p:cNvPr id="92" name="Straight Connector 91">
            <a:extLst>
              <a:ext uri="{FF2B5EF4-FFF2-40B4-BE49-F238E27FC236}">
                <a16:creationId xmlns:a16="http://schemas.microsoft.com/office/drawing/2014/main" id="{00CA843C-C4EA-3B42-B2ED-5312039E36F4}"/>
              </a:ext>
            </a:extLst>
          </p:cNvPr>
          <p:cNvCxnSpPr>
            <a:cxnSpLocks/>
          </p:cNvCxnSpPr>
          <p:nvPr/>
        </p:nvCxnSpPr>
        <p:spPr>
          <a:xfrm>
            <a:off x="1698405" y="2155449"/>
            <a:ext cx="2758324"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C5FEB28-39F0-B54D-84E0-A0836B2DE034}"/>
              </a:ext>
            </a:extLst>
          </p:cNvPr>
          <p:cNvCxnSpPr>
            <a:cxnSpLocks/>
          </p:cNvCxnSpPr>
          <p:nvPr/>
        </p:nvCxnSpPr>
        <p:spPr>
          <a:xfrm>
            <a:off x="7218938" y="2155449"/>
            <a:ext cx="2758324"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4ECFF3F3-C2A1-4942-B5EC-E2802E4A8844}"/>
              </a:ext>
            </a:extLst>
          </p:cNvPr>
          <p:cNvSpPr txBox="1"/>
          <p:nvPr/>
        </p:nvSpPr>
        <p:spPr>
          <a:xfrm>
            <a:off x="6430244" y="2266460"/>
            <a:ext cx="4335711" cy="2300976"/>
          </a:xfrm>
          <a:prstGeom prst="rect">
            <a:avLst/>
          </a:prstGeom>
          <a:noFill/>
        </p:spPr>
        <p:txBody>
          <a:bodyPr wrap="square" lIns="91440" tIns="45720" rIns="91440" bIns="45720" rtlCol="0" anchor="t">
            <a:noAutofit/>
          </a:bodyPr>
          <a:lstStyle/>
          <a:p>
            <a:pPr marL="171450" marR="0" lvl="0" indent="-171450" algn="l" defTabSz="914400" rtl="0" eaLnBrk="1" fontAlgn="auto" latinLnBrk="0" hangingPunct="1">
              <a:lnSpc>
                <a:spcPct val="100000"/>
              </a:lnSpc>
              <a:spcBef>
                <a:spcPts val="600"/>
              </a:spcBef>
              <a:spcAft>
                <a:spcPts val="600"/>
              </a:spcAft>
              <a:buClr>
                <a:srgbClr val="000000">
                  <a:lumMod val="75000"/>
                  <a:lumOff val="25000"/>
                </a:srgbClr>
              </a:buClr>
              <a:buSzTx/>
              <a:buFont typeface="Wingdings" pitchFamily="2" charset="2"/>
              <a:buChar char="Ø"/>
              <a:tabLst/>
              <a:defRPr/>
            </a:pPr>
            <a:r>
              <a:rPr kumimoji="0" lang="en-GB" sz="11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rPr>
              <a:t>Complete </a:t>
            </a:r>
            <a:r>
              <a:rPr kumimoji="0" lang="en-GB" sz="110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rPr>
              <a:t>an</a:t>
            </a:r>
            <a:r>
              <a:rPr kumimoji="0" lang="en-GB" sz="1100" b="1"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rPr>
              <a:t> </a:t>
            </a:r>
            <a:r>
              <a:rPr kumimoji="0" lang="en-GB" sz="1100" b="1" i="0" u="none" strike="noStrike" kern="1200" cap="none" spc="-5" normalizeH="0" baseline="0" noProof="0">
                <a:ln>
                  <a:noFill/>
                </a:ln>
                <a:solidFill>
                  <a:srgbClr val="50235A"/>
                </a:solidFill>
                <a:effectLst/>
                <a:uLnTx/>
                <a:uFillTx/>
                <a:latin typeface="Arial" panose="020B0604020202020204"/>
                <a:ea typeface="+mn-ea"/>
                <a:cs typeface="Arial"/>
              </a:rPr>
              <a:t>as-is adult Mental Health service mapping </a:t>
            </a:r>
            <a:r>
              <a:rPr kumimoji="0" lang="en-GB" sz="11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rPr>
              <a:t>that captures the current existing offering across STW.  </a:t>
            </a:r>
          </a:p>
          <a:p>
            <a:pPr marL="171450" lvl="0" indent="-171450">
              <a:spcBef>
                <a:spcPts val="600"/>
              </a:spcBef>
              <a:spcAft>
                <a:spcPts val="600"/>
              </a:spcAft>
              <a:buClr>
                <a:srgbClr val="000000">
                  <a:lumMod val="75000"/>
                  <a:lumOff val="25000"/>
                </a:srgbClr>
              </a:buClr>
              <a:buFont typeface="Wingdings" pitchFamily="2" charset="2"/>
              <a:buChar char="Ø"/>
              <a:defRPr/>
            </a:pPr>
            <a:r>
              <a:rPr lang="en-GB" sz="1100" spc="-5">
                <a:solidFill>
                  <a:schemeClr val="tx1">
                    <a:lumMod val="50000"/>
                    <a:lumOff val="50000"/>
                  </a:schemeClr>
                </a:solidFill>
                <a:latin typeface="Arial" panose="020B0604020202020204"/>
                <a:cs typeface="Arial"/>
              </a:rPr>
              <a:t>Refine and </a:t>
            </a:r>
            <a:r>
              <a:rPr lang="en-GB" sz="1100" b="1" spc="-5">
                <a:solidFill>
                  <a:srgbClr val="50235A"/>
                </a:solidFill>
                <a:latin typeface="Arial" panose="020B0604020202020204"/>
                <a:cs typeface="Arial"/>
              </a:rPr>
              <a:t>validate the high level vision </a:t>
            </a:r>
            <a:r>
              <a:rPr lang="en-GB" sz="1100" spc="-5">
                <a:solidFill>
                  <a:schemeClr val="tx1">
                    <a:lumMod val="50000"/>
                    <a:lumOff val="50000"/>
                  </a:schemeClr>
                </a:solidFill>
                <a:latin typeface="Arial" panose="020B0604020202020204"/>
                <a:cs typeface="Arial"/>
              </a:rPr>
              <a:t>through further workshops with stakeholders and service users from across STW.</a:t>
            </a:r>
            <a:endParaRPr lang="en-GB" sz="1100" spc="-5">
              <a:solidFill>
                <a:schemeClr val="tx1">
                  <a:lumMod val="50000"/>
                  <a:lumOff val="50000"/>
                </a:schemeClr>
              </a:solidFill>
              <a:cs typeface="Arial"/>
            </a:endParaRPr>
          </a:p>
          <a:p>
            <a:pPr marL="171450" indent="-171450">
              <a:spcBef>
                <a:spcPts val="600"/>
              </a:spcBef>
              <a:spcAft>
                <a:spcPts val="600"/>
              </a:spcAft>
              <a:buClr>
                <a:srgbClr val="000000">
                  <a:lumMod val="75000"/>
                  <a:lumOff val="25000"/>
                </a:srgbClr>
              </a:buClr>
              <a:buFont typeface="Wingdings" pitchFamily="2" charset="2"/>
              <a:buChar char="Ø"/>
              <a:defRPr/>
            </a:pPr>
            <a:r>
              <a:rPr lang="en-GB" sz="1100" spc="-5">
                <a:solidFill>
                  <a:schemeClr val="tx1">
                    <a:lumMod val="50000"/>
                    <a:lumOff val="50000"/>
                  </a:schemeClr>
                </a:solidFill>
                <a:cs typeface="Arial"/>
              </a:rPr>
              <a:t>Complete </a:t>
            </a:r>
            <a:r>
              <a:rPr lang="en-GB" sz="1100" b="1" spc="-5">
                <a:solidFill>
                  <a:srgbClr val="50235A"/>
                </a:solidFill>
                <a:cs typeface="Arial"/>
              </a:rPr>
              <a:t>patient journey mapping</a:t>
            </a:r>
            <a:r>
              <a:rPr lang="en-GB" sz="1100" spc="-5">
                <a:solidFill>
                  <a:srgbClr val="50235A"/>
                </a:solidFill>
                <a:cs typeface="Arial"/>
              </a:rPr>
              <a:t> </a:t>
            </a:r>
            <a:r>
              <a:rPr lang="en-GB" sz="1100" spc="-5">
                <a:solidFill>
                  <a:schemeClr val="tx1">
                    <a:lumMod val="50000"/>
                    <a:lumOff val="50000"/>
                  </a:schemeClr>
                </a:solidFill>
                <a:cs typeface="Arial"/>
              </a:rPr>
              <a:t>exercise for 3 pathways to further understand patient experience, gaps and pain points identified through the gap analysis. </a:t>
            </a:r>
          </a:p>
          <a:p>
            <a:pPr marL="171450" indent="-171450">
              <a:spcBef>
                <a:spcPts val="600"/>
              </a:spcBef>
              <a:spcAft>
                <a:spcPts val="600"/>
              </a:spcAft>
              <a:buClr>
                <a:srgbClr val="000000">
                  <a:lumMod val="75000"/>
                  <a:lumOff val="25000"/>
                </a:srgbClr>
              </a:buClr>
              <a:buFont typeface="Wingdings" pitchFamily="2" charset="2"/>
              <a:buChar char="Ø"/>
              <a:defRPr/>
            </a:pPr>
            <a:r>
              <a:rPr lang="en-GB" sz="1100" spc="-5">
                <a:solidFill>
                  <a:schemeClr val="tx1">
                    <a:lumMod val="50000"/>
                    <a:lumOff val="50000"/>
                  </a:schemeClr>
                </a:solidFill>
                <a:cs typeface="Arial"/>
              </a:rPr>
              <a:t>Shape </a:t>
            </a:r>
            <a:r>
              <a:rPr lang="en-GB" sz="1100" b="1" spc="-5">
                <a:solidFill>
                  <a:srgbClr val="50235A"/>
                </a:solidFill>
                <a:cs typeface="Arial"/>
              </a:rPr>
              <a:t>strategy delivery and implementation plan </a:t>
            </a:r>
            <a:r>
              <a:rPr lang="en-GB" sz="1100" spc="-5">
                <a:solidFill>
                  <a:schemeClr val="tx1">
                    <a:lumMod val="50000"/>
                    <a:lumOff val="50000"/>
                  </a:schemeClr>
                </a:solidFill>
                <a:cs typeface="Arial"/>
              </a:rPr>
              <a:t>– roadmap of activities over the next 12-24 months in order to achieve the vision and delivery against the strategy. </a:t>
            </a:r>
          </a:p>
          <a:p>
            <a:pPr marL="171450" lvl="0" indent="-171450">
              <a:spcBef>
                <a:spcPts val="600"/>
              </a:spcBef>
              <a:spcAft>
                <a:spcPts val="600"/>
              </a:spcAft>
              <a:buClr>
                <a:srgbClr val="000000">
                  <a:lumMod val="75000"/>
                  <a:lumOff val="25000"/>
                </a:srgbClr>
              </a:buClr>
              <a:buFont typeface="Wingdings" pitchFamily="2" charset="2"/>
              <a:buChar char="Ø"/>
              <a:defRPr/>
            </a:pPr>
            <a:endParaRPr kumimoji="0" lang="en-GB" sz="11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endParaRPr>
          </a:p>
        </p:txBody>
      </p:sp>
      <p:sp>
        <p:nvSpPr>
          <p:cNvPr id="27" name="Rectangle 26">
            <a:extLst>
              <a:ext uri="{FF2B5EF4-FFF2-40B4-BE49-F238E27FC236}">
                <a16:creationId xmlns:a16="http://schemas.microsoft.com/office/drawing/2014/main" id="{4EFAD1A4-9034-8448-A693-CCB4220B8B5E}"/>
              </a:ext>
            </a:extLst>
          </p:cNvPr>
          <p:cNvSpPr/>
          <p:nvPr/>
        </p:nvSpPr>
        <p:spPr>
          <a:xfrm>
            <a:off x="510638" y="871696"/>
            <a:ext cx="11272233" cy="646331"/>
          </a:xfrm>
          <a:prstGeom prst="rect">
            <a:avLst/>
          </a:prstGeom>
        </p:spPr>
        <p:txBody>
          <a:bodyPr wrap="square" lIns="0">
            <a:spAutoFit/>
          </a:bodyPr>
          <a:lstStyle/>
          <a:p>
            <a:r>
              <a:rPr lang="en-GB" sz="1200" b="1">
                <a:solidFill>
                  <a:srgbClr val="51235C"/>
                </a:solidFill>
                <a:latin typeface="Arial" panose="020B0604020202020204" pitchFamily="34" charset="0"/>
                <a:cs typeface="Arial" panose="020B0604020202020204" pitchFamily="34" charset="0"/>
              </a:rPr>
              <a:t>Shropshire, Telford, and Wrekin (STW) CCG commissioned this work to support the establishment of a single, over-arching vision with a clear direction for the future provision of mental health services within the STW Integrated Care System (ICS).  This work was then expanded to support the development of an implementation roadmap to support STW to implement the vision and prioritised recommendations for adult mental health services. </a:t>
            </a:r>
          </a:p>
        </p:txBody>
      </p:sp>
      <p:sp>
        <p:nvSpPr>
          <p:cNvPr id="28" name="TextBox 27">
            <a:extLst>
              <a:ext uri="{FF2B5EF4-FFF2-40B4-BE49-F238E27FC236}">
                <a16:creationId xmlns:a16="http://schemas.microsoft.com/office/drawing/2014/main" id="{EB83BA76-F5D6-F94D-95C7-D729B2EF3A13}"/>
              </a:ext>
            </a:extLst>
          </p:cNvPr>
          <p:cNvSpPr txBox="1"/>
          <p:nvPr/>
        </p:nvSpPr>
        <p:spPr>
          <a:xfrm>
            <a:off x="7307638" y="1557810"/>
            <a:ext cx="2580924" cy="461665"/>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0235C"/>
                </a:solidFill>
                <a:effectLst/>
                <a:uLnTx/>
                <a:uFillTx/>
                <a:latin typeface="Arial" panose="020B0604020202020204"/>
                <a:ea typeface="+mn-ea"/>
                <a:cs typeface="+mn-cs"/>
              </a:rPr>
              <a:t>Phase 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0235C"/>
                </a:solidFill>
                <a:latin typeface="Arial" panose="020B0604020202020204"/>
              </a:rPr>
              <a:t>(10</a:t>
            </a:r>
            <a:r>
              <a:rPr lang="en-GB" sz="1200" baseline="30000">
                <a:solidFill>
                  <a:srgbClr val="50235C"/>
                </a:solidFill>
                <a:latin typeface="Arial" panose="020B0604020202020204"/>
              </a:rPr>
              <a:t>th</a:t>
            </a:r>
            <a:r>
              <a:rPr lang="en-GB" sz="1200">
                <a:solidFill>
                  <a:srgbClr val="50235C"/>
                </a:solidFill>
                <a:latin typeface="Arial" panose="020B0604020202020204"/>
              </a:rPr>
              <a:t> Nov – 23</a:t>
            </a:r>
            <a:r>
              <a:rPr lang="en-GB" sz="1200" baseline="30000">
                <a:solidFill>
                  <a:srgbClr val="50235C"/>
                </a:solidFill>
                <a:latin typeface="Arial" panose="020B0604020202020204"/>
              </a:rPr>
              <a:t>rd</a:t>
            </a:r>
            <a:r>
              <a:rPr lang="en-GB" sz="1200">
                <a:solidFill>
                  <a:srgbClr val="50235C"/>
                </a:solidFill>
                <a:latin typeface="Arial" panose="020B0604020202020204"/>
              </a:rPr>
              <a:t> Dec)</a:t>
            </a:r>
            <a:endParaRPr kumimoji="0" lang="en-GB" sz="1200" i="0" u="none" strike="noStrike" kern="1200" cap="none" spc="0" normalizeH="0" baseline="0" noProof="0">
              <a:ln>
                <a:noFill/>
              </a:ln>
              <a:solidFill>
                <a:srgbClr val="50235C"/>
              </a:solidFill>
              <a:effectLst/>
              <a:uLnTx/>
              <a:uFillTx/>
              <a:latin typeface="Arial" panose="020B0604020202020204"/>
              <a:ea typeface="+mn-ea"/>
              <a:cs typeface="+mn-cs"/>
            </a:endParaRPr>
          </a:p>
        </p:txBody>
      </p:sp>
      <p:cxnSp>
        <p:nvCxnSpPr>
          <p:cNvPr id="29" name="Straight Connector 28">
            <a:extLst>
              <a:ext uri="{FF2B5EF4-FFF2-40B4-BE49-F238E27FC236}">
                <a16:creationId xmlns:a16="http://schemas.microsoft.com/office/drawing/2014/main" id="{614F206B-05A2-7C4C-95E4-28B2D9B67F64}"/>
              </a:ext>
            </a:extLst>
          </p:cNvPr>
          <p:cNvCxnSpPr>
            <a:cxnSpLocks/>
          </p:cNvCxnSpPr>
          <p:nvPr/>
        </p:nvCxnSpPr>
        <p:spPr>
          <a:xfrm>
            <a:off x="5700878" y="2352878"/>
            <a:ext cx="0" cy="4207845"/>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2" name="Table 21">
            <a:extLst>
              <a:ext uri="{FF2B5EF4-FFF2-40B4-BE49-F238E27FC236}">
                <a16:creationId xmlns:a16="http://schemas.microsoft.com/office/drawing/2014/main" id="{F49BE803-D0CE-E645-BDFC-6EB9FDBDA6A4}"/>
              </a:ext>
            </a:extLst>
          </p:cNvPr>
          <p:cNvGraphicFramePr>
            <a:graphicFrameLocks noGrp="1"/>
          </p:cNvGraphicFramePr>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A"/>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pic>
        <p:nvPicPr>
          <p:cNvPr id="24" name="Picture 23">
            <a:extLst>
              <a:ext uri="{FF2B5EF4-FFF2-40B4-BE49-F238E27FC236}">
                <a16:creationId xmlns:a16="http://schemas.microsoft.com/office/drawing/2014/main" id="{9BAFCD39-0818-9047-9316-95211C85A151}"/>
              </a:ext>
            </a:extLst>
          </p:cNvPr>
          <p:cNvPicPr>
            <a:picLocks noChangeAspect="1"/>
          </p:cNvPicPr>
          <p:nvPr/>
        </p:nvPicPr>
        <p:blipFill>
          <a:blip r:embed="rId8"/>
          <a:stretch>
            <a:fillRect/>
          </a:stretch>
        </p:blipFill>
        <p:spPr>
          <a:xfrm>
            <a:off x="963229" y="4960464"/>
            <a:ext cx="1022878" cy="826848"/>
          </a:xfrm>
          <a:prstGeom prst="rect">
            <a:avLst/>
          </a:prstGeom>
          <a:ln>
            <a:solidFill>
              <a:srgbClr val="50235B"/>
            </a:solidFill>
          </a:ln>
          <a:effectLst>
            <a:outerShdw blurRad="50800" dist="38100" dir="8100000" algn="tr" rotWithShape="0">
              <a:prstClr val="black">
                <a:alpha val="40000"/>
              </a:prstClr>
            </a:outerShdw>
          </a:effectLst>
        </p:spPr>
      </p:pic>
      <p:pic>
        <p:nvPicPr>
          <p:cNvPr id="7" name="Picture 6">
            <a:extLst>
              <a:ext uri="{FF2B5EF4-FFF2-40B4-BE49-F238E27FC236}">
                <a16:creationId xmlns:a16="http://schemas.microsoft.com/office/drawing/2014/main" id="{B35C041F-C13B-6B44-902A-9200732B6C0B}"/>
              </a:ext>
            </a:extLst>
          </p:cNvPr>
          <p:cNvPicPr>
            <a:picLocks noChangeAspect="1"/>
          </p:cNvPicPr>
          <p:nvPr/>
        </p:nvPicPr>
        <p:blipFill>
          <a:blip r:embed="rId9"/>
          <a:stretch>
            <a:fillRect/>
          </a:stretch>
        </p:blipFill>
        <p:spPr>
          <a:xfrm>
            <a:off x="2283520" y="4970222"/>
            <a:ext cx="1435258" cy="807333"/>
          </a:xfrm>
          <a:prstGeom prst="rect">
            <a:avLst/>
          </a:prstGeom>
          <a:ln>
            <a:solidFill>
              <a:srgbClr val="50235B"/>
            </a:solidFill>
          </a:ln>
          <a:effectLst>
            <a:outerShdw blurRad="50800" dist="38100" dir="8100000" algn="tr" rotWithShape="0">
              <a:prstClr val="black">
                <a:alpha val="40000"/>
              </a:prstClr>
            </a:outerShdw>
          </a:effectLst>
        </p:spPr>
      </p:pic>
      <p:pic>
        <p:nvPicPr>
          <p:cNvPr id="8" name="Picture 7">
            <a:extLst>
              <a:ext uri="{FF2B5EF4-FFF2-40B4-BE49-F238E27FC236}">
                <a16:creationId xmlns:a16="http://schemas.microsoft.com/office/drawing/2014/main" id="{EF66DE1A-BF53-C747-B97A-CDF5D0F89A30}"/>
              </a:ext>
            </a:extLst>
          </p:cNvPr>
          <p:cNvPicPr>
            <a:picLocks noChangeAspect="1"/>
          </p:cNvPicPr>
          <p:nvPr/>
        </p:nvPicPr>
        <p:blipFill>
          <a:blip r:embed="rId10"/>
          <a:stretch>
            <a:fillRect/>
          </a:stretch>
        </p:blipFill>
        <p:spPr>
          <a:xfrm>
            <a:off x="4016191" y="4970221"/>
            <a:ext cx="1435261" cy="807334"/>
          </a:xfrm>
          <a:prstGeom prst="rect">
            <a:avLst/>
          </a:prstGeom>
          <a:ln>
            <a:solidFill>
              <a:srgbClr val="50235B"/>
            </a:solidFill>
          </a:ln>
          <a:effectLst>
            <a:outerShdw blurRad="50800" dist="38100" dir="8100000" algn="tr" rotWithShape="0">
              <a:prstClr val="black">
                <a:alpha val="40000"/>
              </a:prstClr>
            </a:outerShdw>
          </a:effectLst>
        </p:spPr>
      </p:pic>
      <p:sp>
        <p:nvSpPr>
          <p:cNvPr id="30" name="TextBox 29">
            <a:extLst>
              <a:ext uri="{FF2B5EF4-FFF2-40B4-BE49-F238E27FC236}">
                <a16:creationId xmlns:a16="http://schemas.microsoft.com/office/drawing/2014/main" id="{FB434F85-74F0-384B-9D7F-FF2A33898709}"/>
              </a:ext>
            </a:extLst>
          </p:cNvPr>
          <p:cNvSpPr txBox="1"/>
          <p:nvPr/>
        </p:nvSpPr>
        <p:spPr>
          <a:xfrm>
            <a:off x="2237033" y="5909296"/>
            <a:ext cx="1511216" cy="430887"/>
          </a:xfrm>
          <a:prstGeom prst="rect">
            <a:avLst/>
          </a:prstGeom>
          <a:noFill/>
        </p:spPr>
        <p:txBody>
          <a:bodyPr wrap="square" lIns="91440" tIns="45720" rIns="91440" bIns="45720" rtlCol="0" anchor="t">
            <a:spAutoFit/>
          </a:bodyPr>
          <a:lstStyle/>
          <a:p>
            <a:pPr marR="0" lvl="0" algn="ctr" defTabSz="914400" rtl="0" eaLnBrk="1" fontAlgn="auto" latinLnBrk="0" hangingPunct="1">
              <a:lnSpc>
                <a:spcPct val="100000"/>
              </a:lnSpc>
              <a:spcBef>
                <a:spcPts val="0"/>
              </a:spcBef>
              <a:spcAft>
                <a:spcPts val="600"/>
              </a:spcAft>
              <a:buClr>
                <a:srgbClr val="50235C"/>
              </a:buClr>
              <a:buSzTx/>
              <a:tabLst/>
              <a:defRPr/>
            </a:pPr>
            <a:r>
              <a:rPr lang="en-GB" sz="1100" spc="-5">
                <a:solidFill>
                  <a:schemeClr val="tx1">
                    <a:lumMod val="50000"/>
                    <a:lumOff val="50000"/>
                  </a:schemeClr>
                </a:solidFill>
                <a:latin typeface="Arial" panose="020B0604020202020204"/>
                <a:cs typeface="Arial"/>
              </a:rPr>
              <a:t>High-level gap analysis</a:t>
            </a:r>
            <a:endParaRPr kumimoji="0" lang="en-GB" sz="11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endParaRPr>
          </a:p>
        </p:txBody>
      </p:sp>
      <p:sp>
        <p:nvSpPr>
          <p:cNvPr id="31" name="TextBox 30">
            <a:extLst>
              <a:ext uri="{FF2B5EF4-FFF2-40B4-BE49-F238E27FC236}">
                <a16:creationId xmlns:a16="http://schemas.microsoft.com/office/drawing/2014/main" id="{52EEF356-4F06-7543-9F4E-C9797686F817}"/>
              </a:ext>
            </a:extLst>
          </p:cNvPr>
          <p:cNvSpPr txBox="1"/>
          <p:nvPr/>
        </p:nvSpPr>
        <p:spPr>
          <a:xfrm>
            <a:off x="719029" y="5909296"/>
            <a:ext cx="1511221" cy="430887"/>
          </a:xfrm>
          <a:prstGeom prst="rect">
            <a:avLst/>
          </a:prstGeom>
          <a:noFill/>
        </p:spPr>
        <p:txBody>
          <a:bodyPr wrap="square" lIns="91440" tIns="45720" rIns="91440" bIns="45720" rtlCol="0" anchor="t">
            <a:spAutoFit/>
          </a:bodyPr>
          <a:lstStyle/>
          <a:p>
            <a:pPr marR="0" lvl="0" algn="ctr" defTabSz="914400" rtl="0" eaLnBrk="1" fontAlgn="auto" latinLnBrk="0" hangingPunct="1">
              <a:lnSpc>
                <a:spcPct val="100000"/>
              </a:lnSpc>
              <a:spcBef>
                <a:spcPts val="0"/>
              </a:spcBef>
              <a:spcAft>
                <a:spcPts val="600"/>
              </a:spcAft>
              <a:buClr>
                <a:srgbClr val="50235C"/>
              </a:buClr>
              <a:buSzTx/>
              <a:tabLst/>
              <a:defRPr/>
            </a:pPr>
            <a:r>
              <a:rPr kumimoji="0" lang="en-GB" sz="11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rPr>
              <a:t>As-is service mapping </a:t>
            </a:r>
          </a:p>
        </p:txBody>
      </p:sp>
      <p:pic>
        <p:nvPicPr>
          <p:cNvPr id="9" name="Picture 8">
            <a:extLst>
              <a:ext uri="{FF2B5EF4-FFF2-40B4-BE49-F238E27FC236}">
                <a16:creationId xmlns:a16="http://schemas.microsoft.com/office/drawing/2014/main" id="{546B8D7F-B499-FB41-B7ED-CB859BC8D8F6}"/>
              </a:ext>
            </a:extLst>
          </p:cNvPr>
          <p:cNvPicPr>
            <a:picLocks noChangeAspect="1"/>
          </p:cNvPicPr>
          <p:nvPr/>
        </p:nvPicPr>
        <p:blipFill>
          <a:blip r:embed="rId11"/>
          <a:stretch>
            <a:fillRect/>
          </a:stretch>
        </p:blipFill>
        <p:spPr>
          <a:xfrm>
            <a:off x="5943161" y="4984297"/>
            <a:ext cx="1433600" cy="806400"/>
          </a:xfrm>
          <a:prstGeom prst="rect">
            <a:avLst/>
          </a:prstGeom>
          <a:ln>
            <a:solidFill>
              <a:srgbClr val="50235B"/>
            </a:solidFill>
          </a:ln>
          <a:effectLst>
            <a:outerShdw blurRad="50800" dist="38100" dir="8100000" algn="tr" rotWithShape="0">
              <a:prstClr val="black">
                <a:alpha val="40000"/>
              </a:prstClr>
            </a:outerShdw>
          </a:effectLst>
        </p:spPr>
      </p:pic>
      <p:pic>
        <p:nvPicPr>
          <p:cNvPr id="10" name="Picture 9">
            <a:extLst>
              <a:ext uri="{FF2B5EF4-FFF2-40B4-BE49-F238E27FC236}">
                <a16:creationId xmlns:a16="http://schemas.microsoft.com/office/drawing/2014/main" id="{61E22803-DF9B-664D-AE0E-AEBA73881D53}"/>
              </a:ext>
            </a:extLst>
          </p:cNvPr>
          <p:cNvPicPr>
            <a:picLocks noChangeAspect="1"/>
          </p:cNvPicPr>
          <p:nvPr/>
        </p:nvPicPr>
        <p:blipFill>
          <a:blip r:embed="rId12"/>
          <a:stretch>
            <a:fillRect/>
          </a:stretch>
        </p:blipFill>
        <p:spPr>
          <a:xfrm>
            <a:off x="7520945" y="4970222"/>
            <a:ext cx="1435258" cy="807333"/>
          </a:xfrm>
          <a:prstGeom prst="rect">
            <a:avLst/>
          </a:prstGeom>
          <a:ln>
            <a:solidFill>
              <a:srgbClr val="50235B"/>
            </a:solidFill>
          </a:ln>
          <a:effectLst>
            <a:outerShdw blurRad="50800" dist="38100" dir="8100000" algn="tr" rotWithShape="0">
              <a:prstClr val="black">
                <a:alpha val="40000"/>
              </a:prstClr>
            </a:outerShdw>
          </a:effectLst>
        </p:spPr>
      </p:pic>
      <p:pic>
        <p:nvPicPr>
          <p:cNvPr id="11" name="Picture 10">
            <a:extLst>
              <a:ext uri="{FF2B5EF4-FFF2-40B4-BE49-F238E27FC236}">
                <a16:creationId xmlns:a16="http://schemas.microsoft.com/office/drawing/2014/main" id="{FCA246B5-E1D9-E348-B811-C499AC042802}"/>
              </a:ext>
            </a:extLst>
          </p:cNvPr>
          <p:cNvPicPr>
            <a:picLocks noChangeAspect="1"/>
          </p:cNvPicPr>
          <p:nvPr/>
        </p:nvPicPr>
        <p:blipFill>
          <a:blip r:embed="rId13"/>
          <a:stretch>
            <a:fillRect/>
          </a:stretch>
        </p:blipFill>
        <p:spPr>
          <a:xfrm>
            <a:off x="9100387" y="4970222"/>
            <a:ext cx="1435255" cy="807331"/>
          </a:xfrm>
          <a:prstGeom prst="rect">
            <a:avLst/>
          </a:prstGeom>
          <a:ln>
            <a:solidFill>
              <a:srgbClr val="50235B"/>
            </a:solidFill>
          </a:ln>
          <a:effectLst>
            <a:outerShdw blurRad="50800" dist="38100" dir="8100000" algn="tr" rotWithShape="0">
              <a:prstClr val="black">
                <a:alpha val="40000"/>
              </a:prstClr>
            </a:outerShdw>
          </a:effectLst>
        </p:spPr>
      </p:pic>
      <p:pic>
        <p:nvPicPr>
          <p:cNvPr id="12" name="Picture 11">
            <a:extLst>
              <a:ext uri="{FF2B5EF4-FFF2-40B4-BE49-F238E27FC236}">
                <a16:creationId xmlns:a16="http://schemas.microsoft.com/office/drawing/2014/main" id="{77E0D068-016F-5843-88BD-786D2579090F}"/>
              </a:ext>
            </a:extLst>
          </p:cNvPr>
          <p:cNvPicPr>
            <a:picLocks noChangeAspect="1"/>
          </p:cNvPicPr>
          <p:nvPr/>
        </p:nvPicPr>
        <p:blipFill>
          <a:blip r:embed="rId14"/>
          <a:stretch>
            <a:fillRect/>
          </a:stretch>
        </p:blipFill>
        <p:spPr>
          <a:xfrm>
            <a:off x="10684549" y="4970221"/>
            <a:ext cx="1435258" cy="807332"/>
          </a:xfrm>
          <a:prstGeom prst="rect">
            <a:avLst/>
          </a:prstGeom>
          <a:ln>
            <a:solidFill>
              <a:srgbClr val="50235B"/>
            </a:solidFill>
          </a:ln>
          <a:effectLst>
            <a:outerShdw blurRad="50800" dist="38100" dir="8100000" algn="tr" rotWithShape="0">
              <a:prstClr val="black">
                <a:alpha val="40000"/>
              </a:prstClr>
            </a:outerShdw>
          </a:effectLst>
        </p:spPr>
      </p:pic>
      <p:sp>
        <p:nvSpPr>
          <p:cNvPr id="33" name="TextBox 32">
            <a:extLst>
              <a:ext uri="{FF2B5EF4-FFF2-40B4-BE49-F238E27FC236}">
                <a16:creationId xmlns:a16="http://schemas.microsoft.com/office/drawing/2014/main" id="{A3D97B83-F595-E648-97CE-CA67B6983869}"/>
              </a:ext>
            </a:extLst>
          </p:cNvPr>
          <p:cNvSpPr txBox="1"/>
          <p:nvPr/>
        </p:nvSpPr>
        <p:spPr>
          <a:xfrm>
            <a:off x="5904353" y="5909296"/>
            <a:ext cx="1511215" cy="261610"/>
          </a:xfrm>
          <a:prstGeom prst="rect">
            <a:avLst/>
          </a:prstGeom>
          <a:noFill/>
        </p:spPr>
        <p:txBody>
          <a:bodyPr wrap="square" lIns="91440" tIns="45720" rIns="91440" bIns="45720" rtlCol="0" anchor="t">
            <a:spAutoFit/>
          </a:bodyPr>
          <a:lstStyle/>
          <a:p>
            <a:pPr marR="0" lvl="0" algn="ctr" defTabSz="914400" rtl="0" eaLnBrk="1" fontAlgn="auto" latinLnBrk="0" hangingPunct="1">
              <a:lnSpc>
                <a:spcPct val="100000"/>
              </a:lnSpc>
              <a:spcBef>
                <a:spcPts val="0"/>
              </a:spcBef>
              <a:spcAft>
                <a:spcPts val="600"/>
              </a:spcAft>
              <a:buClr>
                <a:srgbClr val="50235C"/>
              </a:buClr>
              <a:buSzTx/>
              <a:tabLst/>
              <a:defRPr/>
            </a:pPr>
            <a:r>
              <a:rPr kumimoji="0" lang="en-GB" sz="11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rPr>
              <a:t>Gap analysis</a:t>
            </a:r>
          </a:p>
        </p:txBody>
      </p:sp>
      <p:sp>
        <p:nvSpPr>
          <p:cNvPr id="34" name="TextBox 33">
            <a:extLst>
              <a:ext uri="{FF2B5EF4-FFF2-40B4-BE49-F238E27FC236}">
                <a16:creationId xmlns:a16="http://schemas.microsoft.com/office/drawing/2014/main" id="{E1A5336B-CF28-9048-AA52-D2B8FB259481}"/>
              </a:ext>
            </a:extLst>
          </p:cNvPr>
          <p:cNvSpPr txBox="1"/>
          <p:nvPr/>
        </p:nvSpPr>
        <p:spPr>
          <a:xfrm>
            <a:off x="7478689" y="5909296"/>
            <a:ext cx="1511215" cy="261610"/>
          </a:xfrm>
          <a:prstGeom prst="rect">
            <a:avLst/>
          </a:prstGeom>
          <a:noFill/>
        </p:spPr>
        <p:txBody>
          <a:bodyPr wrap="square" lIns="91440" tIns="45720" rIns="91440" bIns="45720" rtlCol="0" anchor="t">
            <a:spAutoFit/>
          </a:bodyPr>
          <a:lstStyle/>
          <a:p>
            <a:pPr marR="0" lvl="0" algn="ctr" defTabSz="914400" rtl="0" eaLnBrk="1" fontAlgn="auto" latinLnBrk="0" hangingPunct="1">
              <a:lnSpc>
                <a:spcPct val="100000"/>
              </a:lnSpc>
              <a:spcBef>
                <a:spcPts val="0"/>
              </a:spcBef>
              <a:spcAft>
                <a:spcPts val="600"/>
              </a:spcAft>
              <a:buClr>
                <a:srgbClr val="50235C"/>
              </a:buClr>
              <a:buSzTx/>
              <a:tabLst/>
              <a:defRPr/>
            </a:pPr>
            <a:r>
              <a:rPr kumimoji="0" lang="en-GB" sz="11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rPr>
              <a:t>Vision and strategy</a:t>
            </a:r>
          </a:p>
        </p:txBody>
      </p:sp>
      <p:sp>
        <p:nvSpPr>
          <p:cNvPr id="35" name="TextBox 34">
            <a:extLst>
              <a:ext uri="{FF2B5EF4-FFF2-40B4-BE49-F238E27FC236}">
                <a16:creationId xmlns:a16="http://schemas.microsoft.com/office/drawing/2014/main" id="{A870685A-BCC1-F54D-90AE-9C2101354A9B}"/>
              </a:ext>
            </a:extLst>
          </p:cNvPr>
          <p:cNvSpPr txBox="1"/>
          <p:nvPr/>
        </p:nvSpPr>
        <p:spPr>
          <a:xfrm>
            <a:off x="9063771" y="5909296"/>
            <a:ext cx="1511215" cy="430887"/>
          </a:xfrm>
          <a:prstGeom prst="rect">
            <a:avLst/>
          </a:prstGeom>
          <a:noFill/>
        </p:spPr>
        <p:txBody>
          <a:bodyPr wrap="square" lIns="91440" tIns="45720" rIns="91440" bIns="45720" rtlCol="0" anchor="t">
            <a:spAutoFit/>
          </a:bodyPr>
          <a:lstStyle/>
          <a:p>
            <a:pPr marR="0" lvl="0" algn="ctr" defTabSz="914400" rtl="0" eaLnBrk="1" fontAlgn="auto" latinLnBrk="0" hangingPunct="1">
              <a:lnSpc>
                <a:spcPct val="100000"/>
              </a:lnSpc>
              <a:spcBef>
                <a:spcPts val="0"/>
              </a:spcBef>
              <a:spcAft>
                <a:spcPts val="600"/>
              </a:spcAft>
              <a:buClr>
                <a:srgbClr val="50235C"/>
              </a:buClr>
              <a:buSzTx/>
              <a:tabLst/>
              <a:defRPr/>
            </a:pPr>
            <a:r>
              <a:rPr kumimoji="0" lang="en-GB" sz="11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rPr>
              <a:t>Patient journey mapping</a:t>
            </a:r>
          </a:p>
        </p:txBody>
      </p:sp>
      <p:sp>
        <p:nvSpPr>
          <p:cNvPr id="36" name="TextBox 35">
            <a:extLst>
              <a:ext uri="{FF2B5EF4-FFF2-40B4-BE49-F238E27FC236}">
                <a16:creationId xmlns:a16="http://schemas.microsoft.com/office/drawing/2014/main" id="{587F6048-150D-BF44-AFBE-4A02FC8676F2}"/>
              </a:ext>
            </a:extLst>
          </p:cNvPr>
          <p:cNvSpPr txBox="1"/>
          <p:nvPr/>
        </p:nvSpPr>
        <p:spPr>
          <a:xfrm>
            <a:off x="10648853" y="5909296"/>
            <a:ext cx="1511215" cy="600164"/>
          </a:xfrm>
          <a:prstGeom prst="rect">
            <a:avLst/>
          </a:prstGeom>
          <a:noFill/>
        </p:spPr>
        <p:txBody>
          <a:bodyPr wrap="square" lIns="91440" tIns="45720" rIns="91440" bIns="45720" rtlCol="0" anchor="t">
            <a:spAutoFit/>
          </a:bodyPr>
          <a:lstStyle/>
          <a:p>
            <a:pPr marR="0" lvl="0" algn="ctr" defTabSz="914400" rtl="0" eaLnBrk="1" fontAlgn="auto" latinLnBrk="0" hangingPunct="1">
              <a:lnSpc>
                <a:spcPct val="100000"/>
              </a:lnSpc>
              <a:spcBef>
                <a:spcPts val="0"/>
              </a:spcBef>
              <a:spcAft>
                <a:spcPts val="600"/>
              </a:spcAft>
              <a:buClr>
                <a:srgbClr val="50235C"/>
              </a:buClr>
              <a:buSzTx/>
              <a:tabLst/>
              <a:defRPr/>
            </a:pPr>
            <a:r>
              <a:rPr kumimoji="0" lang="en-GB" sz="11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rPr>
              <a:t>Delivery and implementation roadmap</a:t>
            </a:r>
          </a:p>
        </p:txBody>
      </p:sp>
    </p:spTree>
    <p:extLst>
      <p:ext uri="{BB962C8B-B14F-4D97-AF65-F5344CB8AC3E}">
        <p14:creationId xmlns:p14="http://schemas.microsoft.com/office/powerpoint/2010/main" val="422200194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993"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en-IN" sz="2800">
              <a:solidFill>
                <a:srgbClr val="FFFFFF"/>
              </a:solidFill>
              <a:sym typeface="Arial" panose="020B0604020202020204" pitchFamily="34" charset="0"/>
            </a:endParaRPr>
          </a:p>
        </p:txBody>
      </p:sp>
      <p:sp>
        <p:nvSpPr>
          <p:cNvPr id="2" name="Title 1"/>
          <p:cNvSpPr>
            <a:spLocks noGrp="1"/>
          </p:cNvSpPr>
          <p:nvPr>
            <p:ph type="title"/>
          </p:nvPr>
        </p:nvSpPr>
        <p:spPr>
          <a:xfrm>
            <a:off x="1199947" y="297277"/>
            <a:ext cx="8711496" cy="434010"/>
          </a:xfrm>
          <a:prstGeom prst="rect">
            <a:avLst/>
          </a:prstGeom>
        </p:spPr>
        <p:txBody>
          <a:bodyPr/>
          <a:lstStyle/>
          <a:p>
            <a:r>
              <a:rPr lang="en-GB">
                <a:solidFill>
                  <a:srgbClr val="50235B"/>
                </a:solidFill>
              </a:rPr>
              <a:t>Build community resources</a:t>
            </a:r>
            <a:endParaRPr lang="en-IN"/>
          </a:p>
        </p:txBody>
      </p:sp>
      <p:sp>
        <p:nvSpPr>
          <p:cNvPr id="6" name="Footer Placeholder 5">
            <a:extLst>
              <a:ext uri="{FF2B5EF4-FFF2-40B4-BE49-F238E27FC236}">
                <a16:creationId xmlns:a16="http://schemas.microsoft.com/office/drawing/2014/main" id="{62E3292C-AE15-8E46-8E62-F9C713150B0B}"/>
              </a:ext>
            </a:extLst>
          </p:cNvPr>
          <p:cNvSpPr>
            <a:spLocks noGrp="1"/>
          </p:cNvSpPr>
          <p:nvPr>
            <p:ph type="ftr" sz="quarter" idx="14"/>
          </p:nvPr>
        </p:nvSpPr>
        <p:spPr>
          <a:xfrm>
            <a:off x="6570" y="6674068"/>
            <a:ext cx="1193377" cy="183932"/>
          </a:xfrm>
        </p:spPr>
        <p:txBody>
          <a:bodyPr/>
          <a:lstStyle/>
          <a:p>
            <a:r>
              <a:rPr lang="en-GB"/>
              <a:t>© Moorhouse 2021  </a:t>
            </a:r>
          </a:p>
        </p:txBody>
      </p:sp>
      <p:sp>
        <p:nvSpPr>
          <p:cNvPr id="12" name="TextBox 11">
            <a:extLst>
              <a:ext uri="{FF2B5EF4-FFF2-40B4-BE49-F238E27FC236}">
                <a16:creationId xmlns:a16="http://schemas.microsoft.com/office/drawing/2014/main" id="{F19D9738-DFA2-C84F-82CF-6F85573EA287}"/>
              </a:ext>
            </a:extLst>
          </p:cNvPr>
          <p:cNvSpPr txBox="1"/>
          <p:nvPr/>
        </p:nvSpPr>
        <p:spPr>
          <a:xfrm>
            <a:off x="6691745" y="4319995"/>
            <a:ext cx="184731" cy="369332"/>
          </a:xfrm>
          <a:prstGeom prst="rect">
            <a:avLst/>
          </a:prstGeom>
          <a:noFill/>
        </p:spPr>
        <p:txBody>
          <a:bodyPr wrap="none" rtlCol="0">
            <a:spAutoFit/>
          </a:bodyPr>
          <a:lstStyle/>
          <a:p>
            <a:endParaRPr lang="en-US"/>
          </a:p>
        </p:txBody>
      </p:sp>
      <p:sp>
        <p:nvSpPr>
          <p:cNvPr id="51" name="Rectangle 50">
            <a:extLst>
              <a:ext uri="{FF2B5EF4-FFF2-40B4-BE49-F238E27FC236}">
                <a16:creationId xmlns:a16="http://schemas.microsoft.com/office/drawing/2014/main" id="{23228B87-D8A3-AC4B-8389-4FD6CB03BCB4}"/>
              </a:ext>
            </a:extLst>
          </p:cNvPr>
          <p:cNvSpPr/>
          <p:nvPr/>
        </p:nvSpPr>
        <p:spPr>
          <a:xfrm>
            <a:off x="6236659" y="5513696"/>
            <a:ext cx="5509862" cy="1852878"/>
          </a:xfrm>
          <a:prstGeom prst="rect">
            <a:avLst/>
          </a:prstGeom>
          <a:noFill/>
          <a:ln w="12700" cap="flat" cmpd="sng" algn="ctr">
            <a:noFill/>
            <a:prstDash val="solid"/>
            <a:miter lim="800000"/>
          </a:ln>
          <a:effectLst/>
        </p:spPr>
        <p:txBody>
          <a:bodyPr rtlCol="0" anchor="t"/>
          <a:lstStyle/>
          <a:p>
            <a:pPr defTabSz="685800" fontAlgn="base">
              <a:spcBef>
                <a:spcPts val="600"/>
              </a:spcBef>
              <a:spcAft>
                <a:spcPts val="600"/>
              </a:spcAft>
            </a:pPr>
            <a:endParaRPr lang="en-GB" sz="1000">
              <a:solidFill>
                <a:srgbClr val="50235B"/>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187D98F4-EB5A-E04B-B1AB-3062BCA3330F}"/>
              </a:ext>
            </a:extLst>
          </p:cNvPr>
          <p:cNvSpPr/>
          <p:nvPr/>
        </p:nvSpPr>
        <p:spPr>
          <a:xfrm>
            <a:off x="510638" y="855283"/>
            <a:ext cx="11348270" cy="6912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200" b="1">
                <a:solidFill>
                  <a:srgbClr val="50235C"/>
                </a:solidFill>
                <a:latin typeface="Arial" panose="020B0604020202020204" pitchFamily="34" charset="0"/>
                <a:cs typeface="Arial" panose="020B0604020202020204" pitchFamily="34" charset="0"/>
              </a:rPr>
              <a:t>Building community resources is essential to ensure the population has access to mental health services at a place near to where they live. </a:t>
            </a:r>
          </a:p>
        </p:txBody>
      </p:sp>
      <p:grpSp>
        <p:nvGrpSpPr>
          <p:cNvPr id="20" name="Group 19">
            <a:extLst>
              <a:ext uri="{FF2B5EF4-FFF2-40B4-BE49-F238E27FC236}">
                <a16:creationId xmlns:a16="http://schemas.microsoft.com/office/drawing/2014/main" id="{856DAFD8-FA0A-4949-9E59-48AAEE3EBE5A}"/>
              </a:ext>
            </a:extLst>
          </p:cNvPr>
          <p:cNvGrpSpPr/>
          <p:nvPr/>
        </p:nvGrpSpPr>
        <p:grpSpPr>
          <a:xfrm>
            <a:off x="510638" y="1592304"/>
            <a:ext cx="5444697" cy="4459838"/>
            <a:chOff x="4782787" y="1094608"/>
            <a:chExt cx="4065938" cy="3102016"/>
          </a:xfrm>
        </p:grpSpPr>
        <p:sp>
          <p:nvSpPr>
            <p:cNvPr id="23" name="Rectangle 22">
              <a:extLst>
                <a:ext uri="{FF2B5EF4-FFF2-40B4-BE49-F238E27FC236}">
                  <a16:creationId xmlns:a16="http://schemas.microsoft.com/office/drawing/2014/main" id="{CB1214F5-503D-D44D-8085-7461DE245F94}"/>
                </a:ext>
              </a:extLst>
            </p:cNvPr>
            <p:cNvSpPr/>
            <p:nvPr/>
          </p:nvSpPr>
          <p:spPr>
            <a:xfrm>
              <a:off x="4782787" y="1094608"/>
              <a:ext cx="4065938" cy="199823"/>
            </a:xfrm>
            <a:prstGeom prst="rect">
              <a:avLst/>
            </a:prstGeom>
            <a:solidFill>
              <a:srgbClr val="F0ECF3"/>
            </a:solidFill>
            <a:ln w="9525" cap="flat" cmpd="sng" algn="ctr">
              <a:solidFill>
                <a:srgbClr val="F0ECF3"/>
              </a:solidFill>
              <a:prstDash val="solid"/>
              <a:miter lim="800000"/>
            </a:ln>
            <a:effectLst/>
          </p:spPr>
          <p:txBody>
            <a:bodyPr rtlCol="0" anchor="ctr"/>
            <a:lstStyle/>
            <a:p>
              <a:pPr defTabSz="914377">
                <a:defRPr/>
              </a:pPr>
              <a:r>
                <a:rPr lang="en-GB" sz="1067" b="1">
                  <a:solidFill>
                    <a:srgbClr val="50235B"/>
                  </a:solidFill>
                  <a:latin typeface="Arial" panose="020B0604020202020204"/>
                </a:rPr>
                <a:t>Where are we now?</a:t>
              </a:r>
            </a:p>
          </p:txBody>
        </p:sp>
        <p:sp>
          <p:nvSpPr>
            <p:cNvPr id="24" name="Rectangle 23">
              <a:extLst>
                <a:ext uri="{FF2B5EF4-FFF2-40B4-BE49-F238E27FC236}">
                  <a16:creationId xmlns:a16="http://schemas.microsoft.com/office/drawing/2014/main" id="{BC3BF939-741A-E546-81CE-0D14DDE2E26C}"/>
                </a:ext>
              </a:extLst>
            </p:cNvPr>
            <p:cNvSpPr/>
            <p:nvPr/>
          </p:nvSpPr>
          <p:spPr>
            <a:xfrm>
              <a:off x="4782787" y="1294431"/>
              <a:ext cx="4065938" cy="2902193"/>
            </a:xfrm>
            <a:prstGeom prst="rect">
              <a:avLst/>
            </a:prstGeom>
            <a:noFill/>
            <a:ln w="3175">
              <a:solidFill>
                <a:srgbClr val="F0ECF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685800">
                <a:spcBef>
                  <a:spcPts val="400"/>
                </a:spcBef>
                <a:spcAft>
                  <a:spcPts val="400"/>
                </a:spcAft>
                <a:defRPr/>
              </a:pPr>
              <a:r>
                <a:rPr lang="en-GB" sz="1000">
                  <a:solidFill>
                    <a:schemeClr val="tx2">
                      <a:lumMod val="65000"/>
                      <a:lumOff val="35000"/>
                    </a:schemeClr>
                  </a:solidFill>
                  <a:latin typeface="Arial" panose="020B0604020202020204" pitchFamily="34" charset="0"/>
                  <a:cs typeface="Arial" panose="020B0604020202020204" pitchFamily="34" charset="0"/>
                </a:rPr>
                <a:t>It is important that people will be able to access support in their community no matter how complex their mental health condition. People should be able to access support in their community via on line help, locally available support 24/7 and will know what to do to continue to improve their wellbeing.  </a:t>
              </a:r>
            </a:p>
            <a:p>
              <a:pPr marL="171450" indent="-171450" defTabSz="685800">
                <a:spcBef>
                  <a:spcPts val="400"/>
                </a:spcBef>
                <a:spcAft>
                  <a:spcPts val="400"/>
                </a:spcAft>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Existing services include </a:t>
              </a:r>
              <a:r>
                <a:rPr lang="en-GB" sz="1000" b="1">
                  <a:solidFill>
                    <a:srgbClr val="50235C"/>
                  </a:solidFill>
                  <a:latin typeface="Arial" panose="020B0604020202020204" pitchFamily="34" charset="0"/>
                  <a:cs typeface="Arial" panose="020B0604020202020204" pitchFamily="34" charset="0"/>
                </a:rPr>
                <a:t>a strong third sector community offering</a:t>
              </a:r>
              <a:r>
                <a:rPr lang="en-GB" sz="1000">
                  <a:solidFill>
                    <a:schemeClr val="tx2">
                      <a:lumMod val="65000"/>
                      <a:lumOff val="35000"/>
                    </a:schemeClr>
                  </a:solidFill>
                  <a:latin typeface="Arial" panose="020B0604020202020204" pitchFamily="34" charset="0"/>
                  <a:cs typeface="Arial" panose="020B0604020202020204" pitchFamily="34" charset="0"/>
                </a:rPr>
                <a:t>, Rehab part of CMH Transformation, Crisis house and Rough sleepers taskforce(s)</a:t>
              </a:r>
            </a:p>
            <a:p>
              <a:pPr marL="171450" indent="-171450" defTabSz="685800">
                <a:spcBef>
                  <a:spcPts val="400"/>
                </a:spcBef>
                <a:spcAft>
                  <a:spcPts val="400"/>
                </a:spcAft>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CMH Transformation Programme, which is underway and building on collaboration across the system. </a:t>
              </a:r>
            </a:p>
            <a:p>
              <a:pPr marL="171450" indent="-171450" defTabSz="685800">
                <a:spcBef>
                  <a:spcPts val="400"/>
                </a:spcBef>
                <a:spcAft>
                  <a:spcPts val="400"/>
                </a:spcAft>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Recruitment of MH practitioners in PCNs through ARRS &amp; MPFT funding - building better relationships between organisations </a:t>
              </a:r>
            </a:p>
            <a:p>
              <a:pPr marL="171450" indent="-171450" defTabSz="685800">
                <a:spcBef>
                  <a:spcPts val="400"/>
                </a:spcBef>
                <a:spcAft>
                  <a:spcPts val="400"/>
                </a:spcAft>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Support being provided in the community aimed at targeting high-risk people in the community </a:t>
              </a:r>
            </a:p>
            <a:p>
              <a:pPr marL="171450" indent="-171450" defTabSz="685800">
                <a:spcBef>
                  <a:spcPts val="400"/>
                </a:spcBef>
                <a:spcAft>
                  <a:spcPts val="400"/>
                </a:spcAft>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Support and capacity available in the third sector that is assisting with the co-ordination of care and enabling of interventions. </a:t>
              </a:r>
            </a:p>
            <a:p>
              <a:pPr marL="171450" indent="-171450" defTabSz="685800">
                <a:spcBef>
                  <a:spcPts val="400"/>
                </a:spcBef>
                <a:spcAft>
                  <a:spcPts val="400"/>
                </a:spcAft>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Continue to draw on connections with third sector to improve proactive engagement with all community groups (including ‘seldom heard’ groups). </a:t>
              </a:r>
            </a:p>
            <a:p>
              <a:pPr marL="171450" indent="-171450" defTabSz="685800">
                <a:spcBef>
                  <a:spcPts val="400"/>
                </a:spcBef>
                <a:spcAft>
                  <a:spcPts val="400"/>
                </a:spcAft>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Support provided to care homes to proactively manage conditions and avoid unnecessary emergency hospitalisation</a:t>
              </a:r>
            </a:p>
            <a:p>
              <a:pPr marL="171450" lvl="0" indent="-171450" defTabSz="685800">
                <a:spcBef>
                  <a:spcPts val="400"/>
                </a:spcBef>
                <a:spcAft>
                  <a:spcPts val="400"/>
                </a:spcAft>
                <a:buFont typeface="Arial" panose="020B0604020202020204" pitchFamily="34" charset="0"/>
                <a:buChar char="•"/>
                <a:defRPr/>
              </a:pPr>
              <a:endParaRPr lang="en-GB" sz="1000">
                <a:solidFill>
                  <a:schemeClr val="tx2">
                    <a:lumMod val="65000"/>
                    <a:lumOff val="35000"/>
                  </a:schemeClr>
                </a:solidFill>
                <a:latin typeface="Arial" panose="020B0604020202020204" pitchFamily="34" charset="0"/>
                <a:cs typeface="Arial" panose="020B0604020202020204" pitchFamily="34" charset="0"/>
              </a:endParaRPr>
            </a:p>
          </p:txBody>
        </p:sp>
      </p:grpSp>
      <p:grpSp>
        <p:nvGrpSpPr>
          <p:cNvPr id="25" name="Group 24">
            <a:extLst>
              <a:ext uri="{FF2B5EF4-FFF2-40B4-BE49-F238E27FC236}">
                <a16:creationId xmlns:a16="http://schemas.microsoft.com/office/drawing/2014/main" id="{6E749FC9-89E1-124F-A832-F939520B97F7}"/>
              </a:ext>
            </a:extLst>
          </p:cNvPr>
          <p:cNvGrpSpPr/>
          <p:nvPr/>
        </p:nvGrpSpPr>
        <p:grpSpPr>
          <a:xfrm>
            <a:off x="6236659" y="1592304"/>
            <a:ext cx="5622249" cy="1925264"/>
            <a:chOff x="4782787" y="1094608"/>
            <a:chExt cx="4065938" cy="1339107"/>
          </a:xfrm>
        </p:grpSpPr>
        <p:sp>
          <p:nvSpPr>
            <p:cNvPr id="26" name="Rectangle 25">
              <a:extLst>
                <a:ext uri="{FF2B5EF4-FFF2-40B4-BE49-F238E27FC236}">
                  <a16:creationId xmlns:a16="http://schemas.microsoft.com/office/drawing/2014/main" id="{E25E26F4-E637-704F-B12F-70168E4D4086}"/>
                </a:ext>
              </a:extLst>
            </p:cNvPr>
            <p:cNvSpPr/>
            <p:nvPr/>
          </p:nvSpPr>
          <p:spPr>
            <a:xfrm>
              <a:off x="4782787" y="1094608"/>
              <a:ext cx="4065938" cy="199823"/>
            </a:xfrm>
            <a:prstGeom prst="rect">
              <a:avLst/>
            </a:prstGeom>
            <a:solidFill>
              <a:srgbClr val="F0ECF3"/>
            </a:solidFill>
            <a:ln w="9525" cap="flat" cmpd="sng" algn="ctr">
              <a:solidFill>
                <a:srgbClr val="F0ECF3"/>
              </a:solidFill>
              <a:prstDash val="solid"/>
              <a:miter lim="800000"/>
            </a:ln>
            <a:effectLst/>
          </p:spPr>
          <p:txBody>
            <a:bodyPr rtlCol="0" anchor="ctr"/>
            <a:lstStyle/>
            <a:p>
              <a:r>
                <a:rPr lang="en-GB" sz="1100" b="1">
                  <a:solidFill>
                    <a:srgbClr val="50235C"/>
                  </a:solidFill>
                </a:rPr>
                <a:t>Where do we need to get to? </a:t>
              </a:r>
            </a:p>
          </p:txBody>
        </p:sp>
        <p:sp>
          <p:nvSpPr>
            <p:cNvPr id="27" name="Rectangle 26">
              <a:extLst>
                <a:ext uri="{FF2B5EF4-FFF2-40B4-BE49-F238E27FC236}">
                  <a16:creationId xmlns:a16="http://schemas.microsoft.com/office/drawing/2014/main" id="{B9168E8A-7661-C04B-929C-33F806DED5CE}"/>
                </a:ext>
              </a:extLst>
            </p:cNvPr>
            <p:cNvSpPr/>
            <p:nvPr/>
          </p:nvSpPr>
          <p:spPr>
            <a:xfrm>
              <a:off x="4782787" y="1294431"/>
              <a:ext cx="4065938" cy="1139284"/>
            </a:xfrm>
            <a:prstGeom prst="rect">
              <a:avLst/>
            </a:prstGeom>
            <a:noFill/>
            <a:ln w="3175">
              <a:solidFill>
                <a:srgbClr val="F0ECF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defTabSz="685800">
                <a:spcBef>
                  <a:spcPts val="600"/>
                </a:spcBef>
                <a:spcAft>
                  <a:spcPts val="600"/>
                </a:spcAft>
                <a:buFont typeface="Wingdings" pitchFamily="2" charset="2"/>
                <a:buChar char="ü"/>
              </a:pPr>
              <a:r>
                <a:rPr lang="en-GB" sz="1000">
                  <a:solidFill>
                    <a:srgbClr val="50235B"/>
                  </a:solidFill>
                  <a:latin typeface="Arial" panose="020B0604020202020204" pitchFamily="34" charset="0"/>
                  <a:cs typeface="Arial" panose="020B0604020202020204" pitchFamily="34" charset="0"/>
                </a:rPr>
                <a:t>Delivery of the place-based community mental health model outlined in the Long Term Plan</a:t>
              </a:r>
            </a:p>
            <a:p>
              <a:pPr marL="171450" indent="-171450" defTabSz="685800">
                <a:spcBef>
                  <a:spcPts val="600"/>
                </a:spcBef>
                <a:spcAft>
                  <a:spcPts val="600"/>
                </a:spcAft>
                <a:buFont typeface="Wingdings" pitchFamily="2" charset="2"/>
                <a:buChar char="ü"/>
              </a:pPr>
              <a:r>
                <a:rPr lang="en-GB" sz="1000">
                  <a:solidFill>
                    <a:srgbClr val="50235B"/>
                  </a:solidFill>
                  <a:latin typeface="Arial" panose="020B0604020202020204" pitchFamily="34" charset="0"/>
                  <a:cs typeface="Arial" panose="020B0604020202020204" pitchFamily="34" charset="0"/>
                </a:rPr>
                <a:t>Reduction in number of adults in mental health beds with a length of stay over 60 days </a:t>
              </a:r>
            </a:p>
            <a:p>
              <a:pPr marL="171450" indent="-171450" defTabSz="685800">
                <a:spcBef>
                  <a:spcPts val="600"/>
                </a:spcBef>
                <a:spcAft>
                  <a:spcPts val="600"/>
                </a:spcAft>
                <a:buFont typeface="Wingdings" pitchFamily="2" charset="2"/>
                <a:buChar char="ü"/>
              </a:pPr>
              <a:r>
                <a:rPr lang="en-GB" sz="1000">
                  <a:solidFill>
                    <a:srgbClr val="50235B"/>
                  </a:solidFill>
                  <a:latin typeface="Arial" panose="020B0604020202020204" pitchFamily="34" charset="0"/>
                  <a:cs typeface="Arial" panose="020B0604020202020204" pitchFamily="34" charset="0"/>
                </a:rPr>
                <a:t>Reduction in the number of inappropriate out of area bed days </a:t>
              </a:r>
            </a:p>
            <a:p>
              <a:pPr marL="171450" indent="-171450" defTabSz="685800">
                <a:spcBef>
                  <a:spcPts val="600"/>
                </a:spcBef>
                <a:spcAft>
                  <a:spcPts val="600"/>
                </a:spcAft>
                <a:buFont typeface="Wingdings" pitchFamily="2" charset="2"/>
                <a:buChar char="ü"/>
              </a:pPr>
              <a:r>
                <a:rPr lang="en-GB" sz="1000">
                  <a:solidFill>
                    <a:srgbClr val="50235B"/>
                  </a:solidFill>
                  <a:latin typeface="Arial" panose="020B0604020202020204" pitchFamily="34" charset="0"/>
                  <a:cs typeface="Arial" panose="020B0604020202020204" pitchFamily="34" charset="0"/>
                </a:rPr>
                <a:t>Increase community contact from mental health and social care teams </a:t>
              </a:r>
            </a:p>
            <a:p>
              <a:pPr marL="171450" indent="-171450" defTabSz="685800">
                <a:spcBef>
                  <a:spcPts val="600"/>
                </a:spcBef>
                <a:spcAft>
                  <a:spcPts val="600"/>
                </a:spcAft>
                <a:buFont typeface="Wingdings" pitchFamily="2" charset="2"/>
                <a:buChar char="ü"/>
              </a:pPr>
              <a:r>
                <a:rPr lang="en-GB" sz="1000">
                  <a:solidFill>
                    <a:srgbClr val="50235B"/>
                  </a:solidFill>
                  <a:latin typeface="Arial" panose="020B0604020202020204" pitchFamily="34" charset="0"/>
                  <a:cs typeface="Arial" panose="020B0604020202020204" pitchFamily="34" charset="0"/>
                </a:rPr>
                <a:t>Eliminate out of area acute placements </a:t>
              </a:r>
            </a:p>
          </p:txBody>
        </p:sp>
      </p:grpSp>
      <p:grpSp>
        <p:nvGrpSpPr>
          <p:cNvPr id="28" name="Group 27">
            <a:extLst>
              <a:ext uri="{FF2B5EF4-FFF2-40B4-BE49-F238E27FC236}">
                <a16:creationId xmlns:a16="http://schemas.microsoft.com/office/drawing/2014/main" id="{8B771798-42EE-5C4C-84A4-3B741660585C}"/>
              </a:ext>
            </a:extLst>
          </p:cNvPr>
          <p:cNvGrpSpPr/>
          <p:nvPr/>
        </p:nvGrpSpPr>
        <p:grpSpPr>
          <a:xfrm>
            <a:off x="6236659" y="3613345"/>
            <a:ext cx="5622249" cy="2438800"/>
            <a:chOff x="4782787" y="1286823"/>
            <a:chExt cx="4065938" cy="1696294"/>
          </a:xfrm>
        </p:grpSpPr>
        <p:sp>
          <p:nvSpPr>
            <p:cNvPr id="31" name="Rectangle 30">
              <a:extLst>
                <a:ext uri="{FF2B5EF4-FFF2-40B4-BE49-F238E27FC236}">
                  <a16:creationId xmlns:a16="http://schemas.microsoft.com/office/drawing/2014/main" id="{23CD1CFA-944E-104D-90E5-8186CC062DF7}"/>
                </a:ext>
              </a:extLst>
            </p:cNvPr>
            <p:cNvSpPr/>
            <p:nvPr/>
          </p:nvSpPr>
          <p:spPr>
            <a:xfrm>
              <a:off x="4782787" y="1286823"/>
              <a:ext cx="4065938" cy="199823"/>
            </a:xfrm>
            <a:prstGeom prst="rect">
              <a:avLst/>
            </a:prstGeom>
            <a:solidFill>
              <a:srgbClr val="F0ECF3"/>
            </a:solidFill>
            <a:ln w="9525" cap="flat" cmpd="sng" algn="ctr">
              <a:solidFill>
                <a:srgbClr val="F0ECF3"/>
              </a:solidFill>
              <a:prstDash val="solid"/>
              <a:miter lim="800000"/>
            </a:ln>
            <a:effectLst/>
          </p:spPr>
          <p:txBody>
            <a:bodyPr rtlCol="0" anchor="ctr"/>
            <a:lstStyle/>
            <a:p>
              <a:r>
                <a:rPr lang="en-GB" sz="1100" b="1">
                  <a:solidFill>
                    <a:srgbClr val="50235C"/>
                  </a:solidFill>
                </a:rPr>
                <a:t>What are other areas doing?</a:t>
              </a:r>
            </a:p>
          </p:txBody>
        </p:sp>
        <p:sp>
          <p:nvSpPr>
            <p:cNvPr id="32" name="Rectangle 31">
              <a:extLst>
                <a:ext uri="{FF2B5EF4-FFF2-40B4-BE49-F238E27FC236}">
                  <a16:creationId xmlns:a16="http://schemas.microsoft.com/office/drawing/2014/main" id="{FAF789BC-019C-B946-926D-6093AE1A3912}"/>
                </a:ext>
              </a:extLst>
            </p:cNvPr>
            <p:cNvSpPr/>
            <p:nvPr/>
          </p:nvSpPr>
          <p:spPr>
            <a:xfrm>
              <a:off x="4782787" y="1491221"/>
              <a:ext cx="4065938" cy="1491896"/>
            </a:xfrm>
            <a:prstGeom prst="rect">
              <a:avLst/>
            </a:prstGeom>
            <a:solidFill>
              <a:srgbClr val="F1EDF4"/>
            </a:solidFill>
            <a:ln w="3175">
              <a:solidFill>
                <a:srgbClr val="F0EC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98525" lvl="0">
                <a:spcBef>
                  <a:spcPts val="300"/>
                </a:spcBef>
                <a:spcAft>
                  <a:spcPts val="300"/>
                </a:spcAft>
              </a:pPr>
              <a:r>
                <a:rPr lang="en-GB" sz="1000">
                  <a:solidFill>
                    <a:srgbClr val="50235B"/>
                  </a:solidFill>
                  <a:latin typeface="Arial" panose="020B0604020202020204" pitchFamily="34" charset="0"/>
                  <a:cs typeface="Arial" panose="020B0604020202020204" pitchFamily="34" charset="0"/>
                </a:rPr>
                <a:t>West Suffolk Council People are supporting people with low mood and long-term health conditions are by creating a unique partnership aimed at improving patient wellbeing and reducing pressure on doctors. The social prescribing pilot scheme means that GPs are now able to refer people to Haverhill </a:t>
              </a:r>
              <a:r>
                <a:rPr lang="en-GB" sz="1000" err="1">
                  <a:solidFill>
                    <a:srgbClr val="50235B"/>
                  </a:solidFill>
                  <a:latin typeface="Arial" panose="020B0604020202020204" pitchFamily="34" charset="0"/>
                  <a:cs typeface="Arial" panose="020B0604020202020204" pitchFamily="34" charset="0"/>
                </a:rPr>
                <a:t>LifeLink</a:t>
              </a:r>
              <a:r>
                <a:rPr lang="en-GB" sz="1000">
                  <a:solidFill>
                    <a:srgbClr val="50235B"/>
                  </a:solidFill>
                  <a:latin typeface="Arial" panose="020B0604020202020204" pitchFamily="34" charset="0"/>
                  <a:cs typeface="Arial" panose="020B0604020202020204" pitchFamily="34" charset="0"/>
                </a:rPr>
                <a:t>, which helps with low level mental health issues such as loneliness and anxiety, or those with social isolation wanting to improve their life skills or long-term health conditions. Once referred, people meet with a </a:t>
              </a:r>
              <a:r>
                <a:rPr lang="en-GB" sz="1000" err="1">
                  <a:solidFill>
                    <a:srgbClr val="50235B"/>
                  </a:solidFill>
                  <a:latin typeface="Arial" panose="020B0604020202020204" pitchFamily="34" charset="0"/>
                  <a:cs typeface="Arial" panose="020B0604020202020204" pitchFamily="34" charset="0"/>
                </a:rPr>
                <a:t>LifeLink</a:t>
              </a:r>
              <a:r>
                <a:rPr lang="en-GB" sz="1000">
                  <a:solidFill>
                    <a:srgbClr val="50235B"/>
                  </a:solidFill>
                  <a:latin typeface="Arial" panose="020B0604020202020204" pitchFamily="34" charset="0"/>
                  <a:cs typeface="Arial" panose="020B0604020202020204" pitchFamily="34" charset="0"/>
                </a:rPr>
                <a:t> coordinator who spends some time getting to know them and helping them connect with people and activities in their area.</a:t>
              </a:r>
            </a:p>
            <a:p>
              <a:pPr marL="898525" lvl="0">
                <a:spcBef>
                  <a:spcPts val="300"/>
                </a:spcBef>
                <a:spcAft>
                  <a:spcPts val="300"/>
                </a:spcAft>
              </a:pPr>
              <a:r>
                <a:rPr lang="en-GB" sz="1000">
                  <a:solidFill>
                    <a:srgbClr val="50235B"/>
                  </a:solidFill>
                  <a:latin typeface="Arial" panose="020B0604020202020204" pitchFamily="34" charset="0"/>
                  <a:cs typeface="Arial" panose="020B0604020202020204" pitchFamily="34" charset="0"/>
                </a:rPr>
                <a:t>Around one in five visits to the GP are made for social needs such as isolation, debt management, low mood and anxiety. The programme is reducing pressure on GPs and the NHS by reducing repeat GP appointments, wider NHS appointments and prescription costs and increasing employment opportunities.</a:t>
              </a:r>
            </a:p>
          </p:txBody>
        </p:sp>
      </p:grpSp>
      <p:pic>
        <p:nvPicPr>
          <p:cNvPr id="29" name="Picture 3" descr="West Suffolk Council">
            <a:extLst>
              <a:ext uri="{FF2B5EF4-FFF2-40B4-BE49-F238E27FC236}">
                <a16:creationId xmlns:a16="http://schemas.microsoft.com/office/drawing/2014/main" id="{03D3F7FD-4189-2A4C-BC23-49582407364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269883" y="4767540"/>
            <a:ext cx="912334" cy="3421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3" name="Table 32">
            <a:extLst>
              <a:ext uri="{FF2B5EF4-FFF2-40B4-BE49-F238E27FC236}">
                <a16:creationId xmlns:a16="http://schemas.microsoft.com/office/drawing/2014/main" id="{2CAEA450-E62D-E841-A267-C3518425157E}"/>
              </a:ext>
            </a:extLst>
          </p:cNvPr>
          <p:cNvGraphicFramePr>
            <a:graphicFrameLocks noGrp="1"/>
          </p:cNvGraphicFramePr>
          <p:nvPr>
            <p:extLst>
              <p:ext uri="{D42A27DB-BD31-4B8C-83A1-F6EECF244321}">
                <p14:modId xmlns:p14="http://schemas.microsoft.com/office/powerpoint/2010/main" val="1095260840"/>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C"/>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pic>
        <p:nvPicPr>
          <p:cNvPr id="34" name="Graphic 33" descr="Viral with solid fill">
            <a:extLst>
              <a:ext uri="{FF2B5EF4-FFF2-40B4-BE49-F238E27FC236}">
                <a16:creationId xmlns:a16="http://schemas.microsoft.com/office/drawing/2014/main" id="{17A94871-D9ED-3E45-A137-A9C3A8CDFDC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10638" y="137287"/>
            <a:ext cx="594000" cy="594000"/>
          </a:xfrm>
          <a:prstGeom prst="rect">
            <a:avLst/>
          </a:prstGeom>
        </p:spPr>
      </p:pic>
    </p:spTree>
    <p:extLst>
      <p:ext uri="{BB962C8B-B14F-4D97-AF65-F5344CB8AC3E}">
        <p14:creationId xmlns:p14="http://schemas.microsoft.com/office/powerpoint/2010/main" val="90570163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41"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en-IN" sz="2800">
              <a:solidFill>
                <a:srgbClr val="FFFFFF"/>
              </a:solidFill>
              <a:sym typeface="Arial" panose="020B0604020202020204" pitchFamily="34" charset="0"/>
            </a:endParaRPr>
          </a:p>
        </p:txBody>
      </p:sp>
      <p:sp>
        <p:nvSpPr>
          <p:cNvPr id="2" name="Title 1"/>
          <p:cNvSpPr>
            <a:spLocks noGrp="1"/>
          </p:cNvSpPr>
          <p:nvPr>
            <p:ph type="title"/>
          </p:nvPr>
        </p:nvSpPr>
        <p:spPr>
          <a:xfrm>
            <a:off x="1228299" y="297277"/>
            <a:ext cx="8683144" cy="434010"/>
          </a:xfrm>
          <a:prstGeom prst="rect">
            <a:avLst/>
          </a:prstGeom>
        </p:spPr>
        <p:txBody>
          <a:bodyPr/>
          <a:lstStyle/>
          <a:p>
            <a:r>
              <a:rPr lang="en-GB">
                <a:solidFill>
                  <a:srgbClr val="50235B"/>
                </a:solidFill>
              </a:rPr>
              <a:t>Build community resources</a:t>
            </a:r>
            <a:endParaRPr lang="en-IN"/>
          </a:p>
        </p:txBody>
      </p:sp>
      <p:sp>
        <p:nvSpPr>
          <p:cNvPr id="21" name="Rectangle 20">
            <a:extLst>
              <a:ext uri="{FF2B5EF4-FFF2-40B4-BE49-F238E27FC236}">
                <a16:creationId xmlns:a16="http://schemas.microsoft.com/office/drawing/2014/main" id="{FE740462-AEED-0B41-92DC-3A54DEB718C8}"/>
              </a:ext>
            </a:extLst>
          </p:cNvPr>
          <p:cNvSpPr/>
          <p:nvPr/>
        </p:nvSpPr>
        <p:spPr>
          <a:xfrm>
            <a:off x="647407" y="1095781"/>
            <a:ext cx="2355654" cy="434010"/>
          </a:xfrm>
          <a:prstGeom prst="rect">
            <a:avLst/>
          </a:prstGeom>
          <a:noFill/>
          <a:ln w="12700" cap="flat" cmpd="sng" algn="ctr">
            <a:noFill/>
            <a:prstDash val="solid"/>
            <a:miter lim="800000"/>
          </a:ln>
          <a:effectLst/>
        </p:spPr>
        <p:txBody>
          <a:bodyPr rtlCol="0" anchor="ctr"/>
          <a:lstStyle/>
          <a:p>
            <a:pPr lvl="0" algn="ctr" defTabSz="685800">
              <a:defRPr/>
            </a:pPr>
            <a:endParaRPr lang="en-GB" sz="1050" b="1">
              <a:solidFill>
                <a:srgbClr val="50235B"/>
              </a:solidFill>
              <a:latin typeface="Arial" panose="020B0604020202020204" pitchFamily="34" charset="0"/>
              <a:cs typeface="Arial" panose="020B0604020202020204" pitchFamily="34" charset="0"/>
            </a:endParaRPr>
          </a:p>
        </p:txBody>
      </p:sp>
      <p:graphicFrame>
        <p:nvGraphicFramePr>
          <p:cNvPr id="5" name="Table 7">
            <a:extLst>
              <a:ext uri="{FF2B5EF4-FFF2-40B4-BE49-F238E27FC236}">
                <a16:creationId xmlns:a16="http://schemas.microsoft.com/office/drawing/2014/main" id="{1F73E11B-085A-AD47-B820-F62CD6BB7304}"/>
              </a:ext>
            </a:extLst>
          </p:cNvPr>
          <p:cNvGraphicFramePr>
            <a:graphicFrameLocks noGrp="1"/>
          </p:cNvGraphicFramePr>
          <p:nvPr>
            <p:extLst>
              <p:ext uri="{D42A27DB-BD31-4B8C-83A1-F6EECF244321}">
                <p14:modId xmlns:p14="http://schemas.microsoft.com/office/powerpoint/2010/main" val="1796713930"/>
              </p:ext>
            </p:extLst>
          </p:nvPr>
        </p:nvGraphicFramePr>
        <p:xfrm>
          <a:off x="165100" y="1095780"/>
          <a:ext cx="11671301" cy="4921561"/>
        </p:xfrm>
        <a:graphic>
          <a:graphicData uri="http://schemas.openxmlformats.org/drawingml/2006/table">
            <a:tbl>
              <a:tblPr firstRow="1" bandRow="1">
                <a:tableStyleId>{5C22544A-7EE6-4342-B048-85BDC9FD1C3A}</a:tableStyleId>
              </a:tblPr>
              <a:tblGrid>
                <a:gridCol w="735013">
                  <a:extLst>
                    <a:ext uri="{9D8B030D-6E8A-4147-A177-3AD203B41FA5}">
                      <a16:colId xmlns:a16="http://schemas.microsoft.com/office/drawing/2014/main" val="4209047126"/>
                    </a:ext>
                  </a:extLst>
                </a:gridCol>
                <a:gridCol w="3612893">
                  <a:extLst>
                    <a:ext uri="{9D8B030D-6E8A-4147-A177-3AD203B41FA5}">
                      <a16:colId xmlns:a16="http://schemas.microsoft.com/office/drawing/2014/main" val="1853970278"/>
                    </a:ext>
                  </a:extLst>
                </a:gridCol>
                <a:gridCol w="3893575">
                  <a:extLst>
                    <a:ext uri="{9D8B030D-6E8A-4147-A177-3AD203B41FA5}">
                      <a16:colId xmlns:a16="http://schemas.microsoft.com/office/drawing/2014/main" val="3087462113"/>
                    </a:ext>
                  </a:extLst>
                </a:gridCol>
                <a:gridCol w="649344">
                  <a:extLst>
                    <a:ext uri="{9D8B030D-6E8A-4147-A177-3AD203B41FA5}">
                      <a16:colId xmlns:a16="http://schemas.microsoft.com/office/drawing/2014/main" val="1029806020"/>
                    </a:ext>
                  </a:extLst>
                </a:gridCol>
                <a:gridCol w="649344">
                  <a:extLst>
                    <a:ext uri="{9D8B030D-6E8A-4147-A177-3AD203B41FA5}">
                      <a16:colId xmlns:a16="http://schemas.microsoft.com/office/drawing/2014/main" val="3714934659"/>
                    </a:ext>
                  </a:extLst>
                </a:gridCol>
                <a:gridCol w="649344">
                  <a:extLst>
                    <a:ext uri="{9D8B030D-6E8A-4147-A177-3AD203B41FA5}">
                      <a16:colId xmlns:a16="http://schemas.microsoft.com/office/drawing/2014/main" val="1845500442"/>
                    </a:ext>
                  </a:extLst>
                </a:gridCol>
                <a:gridCol w="740894">
                  <a:extLst>
                    <a:ext uri="{9D8B030D-6E8A-4147-A177-3AD203B41FA5}">
                      <a16:colId xmlns:a16="http://schemas.microsoft.com/office/drawing/2014/main" val="2590076437"/>
                    </a:ext>
                  </a:extLst>
                </a:gridCol>
                <a:gridCol w="740894">
                  <a:extLst>
                    <a:ext uri="{9D8B030D-6E8A-4147-A177-3AD203B41FA5}">
                      <a16:colId xmlns:a16="http://schemas.microsoft.com/office/drawing/2014/main" val="1385158084"/>
                    </a:ext>
                  </a:extLst>
                </a:gridCol>
              </a:tblGrid>
              <a:tr h="625209">
                <a:tc>
                  <a:txBody>
                    <a:bodyPr/>
                    <a:lstStyle/>
                    <a:p>
                      <a:pPr algn="ctr"/>
                      <a:r>
                        <a:rPr lang="en-GB" sz="900">
                          <a:solidFill>
                            <a:srgbClr val="50235C"/>
                          </a:solidFill>
                        </a:rPr>
                        <a:t>Roadmap ref</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r>
                        <a:rPr lang="en-GB" sz="900">
                          <a:solidFill>
                            <a:srgbClr val="50235C"/>
                          </a:solidFill>
                        </a:rPr>
                        <a:t>Future activity</a:t>
                      </a:r>
                      <a:endParaRPr lang="en-GB" sz="900"/>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algn="ctr" defTabSz="914400" rtl="0" eaLnBrk="1" fontAlgn="ctr" latinLnBrk="0" hangingPunct="1"/>
                      <a:r>
                        <a:rPr lang="en-GB" sz="900" b="1" kern="1200">
                          <a:solidFill>
                            <a:srgbClr val="50235C"/>
                          </a:solidFill>
                          <a:latin typeface="+mn-lt"/>
                          <a:ea typeface="+mn-ea"/>
                          <a:cs typeface="+mn-cs"/>
                        </a:rPr>
                        <a:t>Target outcome / Expected benefit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algn="ctr" defTabSz="914400" rtl="0" eaLnBrk="1" fontAlgn="ctr" latinLnBrk="0" hangingPunct="1"/>
                      <a:r>
                        <a:rPr lang="en-GB" sz="900" b="1" kern="1200">
                          <a:solidFill>
                            <a:srgbClr val="50235C"/>
                          </a:solidFill>
                          <a:latin typeface="+mn-lt"/>
                          <a:ea typeface="+mn-ea"/>
                          <a:cs typeface="+mn-cs"/>
                        </a:rPr>
                        <a:t>Impact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Ease</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algn="ctr" defTabSz="914400" rtl="0" eaLnBrk="1" fontAlgn="ctr" latinLnBrk="0" hangingPunct="1"/>
                      <a:r>
                        <a:rPr lang="en-GB" sz="900" b="1" kern="1200">
                          <a:solidFill>
                            <a:srgbClr val="50235C"/>
                          </a:solidFill>
                          <a:latin typeface="+mn-lt"/>
                          <a:ea typeface="+mn-ea"/>
                          <a:cs typeface="+mn-cs"/>
                        </a:rPr>
                        <a:t>Score</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algn="ctr"/>
                      <a:r>
                        <a:rPr lang="en-GB" sz="800">
                          <a:solidFill>
                            <a:srgbClr val="50235C"/>
                          </a:solidFill>
                        </a:rPr>
                        <a:t>Resource Required</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r>
                        <a:rPr lang="en-GB" sz="900" b="1">
                          <a:solidFill>
                            <a:srgbClr val="50235C"/>
                          </a:solidFill>
                        </a:rPr>
                        <a:t>Short</a:t>
                      </a:r>
                    </a:p>
                    <a:p>
                      <a:r>
                        <a:rPr lang="en-GB" sz="900" b="1">
                          <a:solidFill>
                            <a:srgbClr val="50235C"/>
                          </a:solidFill>
                        </a:rPr>
                        <a:t>Medium</a:t>
                      </a:r>
                      <a:br>
                        <a:rPr lang="en-GB" sz="900" b="1">
                          <a:solidFill>
                            <a:srgbClr val="50235C"/>
                          </a:solidFill>
                        </a:rPr>
                      </a:br>
                      <a:r>
                        <a:rPr lang="en-GB" sz="900" b="1">
                          <a:solidFill>
                            <a:srgbClr val="50235C"/>
                          </a:solidFill>
                        </a:rPr>
                        <a:t>Long</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extLst>
                  <a:ext uri="{0D108BD9-81ED-4DB2-BD59-A6C34878D82A}">
                    <a16:rowId xmlns:a16="http://schemas.microsoft.com/office/drawing/2014/main" val="466195498"/>
                  </a:ext>
                </a:extLst>
              </a:tr>
              <a:tr h="53704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a:solidFill>
                            <a:srgbClr val="50235C"/>
                          </a:solidFill>
                        </a:rPr>
                        <a:t>F1</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Complete the build of a seclusion suite at Redwoods</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88913" indent="-95250" algn="l" defTabSz="914400" rtl="0" eaLnBrk="1" fontAlgn="ctr" latinLnBrk="0" hangingPunct="1">
                        <a:buClr>
                          <a:srgbClr val="000000"/>
                        </a:buClr>
                        <a:buSzPts val="900"/>
                        <a:buFont typeface="Arial" panose="020B0604020202020204" pitchFamily="34" charset="0"/>
                        <a:buChar char="•"/>
                        <a:tabLst/>
                      </a:pPr>
                      <a:r>
                        <a:rPr lang="en-GB" sz="900" b="0" i="0" u="none" strike="noStrike" kern="1200">
                          <a:solidFill>
                            <a:schemeClr val="tx2">
                              <a:lumMod val="65000"/>
                              <a:lumOff val="35000"/>
                            </a:schemeClr>
                          </a:solidFill>
                          <a:effectLst/>
                          <a:latin typeface="Arial" panose="020B0604020202020204" pitchFamily="34" charset="0"/>
                          <a:ea typeface="+mn-ea"/>
                          <a:cs typeface="+mn-cs"/>
                        </a:rPr>
                        <a:t>This would reduce the demand on the S136 suite and support the reduction in out of area placements.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20</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Low</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Short</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4199580168"/>
                  </a:ext>
                </a:extLst>
              </a:tr>
              <a:tr h="53704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F2</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Build stronger partnerships with the third sector to facilitate a more formal handover into the community</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84150" indent="-87313" algn="l" defTabSz="914400" rtl="0" eaLnBrk="1" fontAlgn="ctr" latinLnBrk="0" hangingPunct="1">
                        <a:buFont typeface="Arial" panose="020B0604020202020204" pitchFamily="34" charset="0"/>
                        <a:buChar char="•"/>
                        <a:tabLst/>
                      </a:pPr>
                      <a:r>
                        <a:rPr lang="en-GB" sz="900" b="0" i="0" u="none" strike="noStrike" kern="1200">
                          <a:solidFill>
                            <a:schemeClr val="tx2">
                              <a:lumMod val="65000"/>
                              <a:lumOff val="35000"/>
                            </a:schemeClr>
                          </a:solidFill>
                          <a:effectLst/>
                          <a:latin typeface="Arial" panose="020B0604020202020204" pitchFamily="34" charset="0"/>
                          <a:ea typeface="+mn-ea"/>
                          <a:cs typeface="+mn-cs"/>
                        </a:rPr>
                        <a:t>Service users always have support and care available whatever stage of their health journey they are in.</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1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Medium </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Medium </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2752032402"/>
                  </a:ext>
                </a:extLst>
              </a:tr>
              <a:tr h="53704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F3</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kern="1200">
                          <a:solidFill>
                            <a:srgbClr val="50235C"/>
                          </a:solidFill>
                          <a:effectLst/>
                          <a:latin typeface="Arial" panose="020B0604020202020204" pitchFamily="34" charset="0"/>
                          <a:ea typeface="+mn-ea"/>
                          <a:cs typeface="+mn-cs"/>
                        </a:rPr>
                        <a:t>Better collaboration between primary and secondary care around use of medicines and prescribing</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indent="-74613" algn="l" defTabSz="914400" rtl="0" eaLnBrk="1" fontAlgn="ctr" latinLnBrk="0" hangingPunct="1">
                        <a:buClr>
                          <a:srgbClr val="000000"/>
                        </a:buClr>
                        <a:buSzPts val="900"/>
                        <a:buFont typeface="Arial" panose="020B0604020202020204" pitchFamily="34" charset="0"/>
                        <a:buChar char="•"/>
                        <a:tabLst/>
                      </a:pPr>
                      <a:r>
                        <a:rPr lang="en-GB" sz="900" b="0" i="0" u="none" strike="noStrike" kern="1200">
                          <a:solidFill>
                            <a:schemeClr val="tx2">
                              <a:lumMod val="65000"/>
                              <a:lumOff val="35000"/>
                            </a:schemeClr>
                          </a:solidFill>
                          <a:effectLst/>
                          <a:latin typeface="Arial" panose="020B0604020202020204" pitchFamily="34" charset="0"/>
                          <a:ea typeface="+mn-ea"/>
                          <a:cs typeface="+mn-cs"/>
                        </a:rPr>
                        <a:t>Improved patient outcomes through a more coordinated approach to the use of medicines and prescribing.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900" b="0" i="0" u="none" strike="noStrike" kern="1200">
                          <a:solidFill>
                            <a:schemeClr val="tx2">
                              <a:lumMod val="65000"/>
                              <a:lumOff val="35000"/>
                            </a:schemeClr>
                          </a:solidFill>
                          <a:effectLst/>
                          <a:latin typeface="Arial" panose="020B0604020202020204" pitchFamily="34" charset="0"/>
                          <a:ea typeface="+mn-ea"/>
                          <a:cs typeface="+mn-cs"/>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900" b="0" i="0" u="none" strike="noStrike" kern="1200">
                          <a:solidFill>
                            <a:schemeClr val="tx2">
                              <a:lumMod val="65000"/>
                              <a:lumOff val="35000"/>
                            </a:schemeClr>
                          </a:solidFill>
                          <a:effectLst/>
                          <a:latin typeface="Arial" panose="020B0604020202020204" pitchFamily="34" charset="0"/>
                          <a:ea typeface="+mn-ea"/>
                          <a:cs typeface="+mn-cs"/>
                        </a:rPr>
                        <a:t>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900" b="1" i="0" u="none" strike="noStrike" kern="1200">
                          <a:solidFill>
                            <a:schemeClr val="tx2">
                              <a:lumMod val="65000"/>
                              <a:lumOff val="35000"/>
                            </a:schemeClr>
                          </a:solidFill>
                          <a:effectLst/>
                          <a:latin typeface="Arial" panose="020B0604020202020204" pitchFamily="34" charset="0"/>
                          <a:ea typeface="+mn-ea"/>
                          <a:cs typeface="+mn-cs"/>
                        </a:rPr>
                        <a:t>10</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strike="noStrike">
                          <a:solidFill>
                            <a:schemeClr val="tx2">
                              <a:lumMod val="65000"/>
                              <a:lumOff val="35000"/>
                            </a:schemeClr>
                          </a:solidFill>
                        </a:rPr>
                        <a:t>Low</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strike="noStrike">
                          <a:solidFill>
                            <a:schemeClr val="tx2">
                              <a:lumMod val="65000"/>
                              <a:lumOff val="35000"/>
                            </a:schemeClr>
                          </a:solidFill>
                        </a:rPr>
                        <a:t>Long</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2752216538"/>
                  </a:ext>
                </a:extLst>
              </a:tr>
              <a:tr h="53704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F4</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Increase offering of mental health housing / accommodation</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84150" indent="-87313" algn="l" defTabSz="914400" rtl="0" eaLnBrk="1" fontAlgn="ctr" latinLnBrk="0" hangingPunct="1">
                        <a:buFont typeface="Arial" panose="020B0604020202020204" pitchFamily="34" charset="0"/>
                        <a:buChar char="•"/>
                        <a:tabLst/>
                      </a:pPr>
                      <a:r>
                        <a:rPr lang="en-GB" sz="900" b="0" i="0" u="none" strike="noStrike" kern="1200">
                          <a:solidFill>
                            <a:schemeClr val="tx2">
                              <a:lumMod val="65000"/>
                              <a:lumOff val="35000"/>
                            </a:schemeClr>
                          </a:solidFill>
                          <a:effectLst/>
                          <a:latin typeface="Arial" panose="020B0604020202020204" pitchFamily="34" charset="0"/>
                          <a:ea typeface="+mn-ea"/>
                          <a:cs typeface="+mn-cs"/>
                        </a:rPr>
                        <a:t>Supporting people to live independently and access the support and accommodation to allow timely discharge and prevent readmissions.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9</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tx2">
                              <a:lumMod val="65000"/>
                              <a:lumOff val="35000"/>
                            </a:schemeClr>
                          </a:solidFill>
                        </a:rPr>
                        <a:t>Medium-high</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Long</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792501966"/>
                  </a:ext>
                </a:extLst>
              </a:tr>
              <a:tr h="53704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F5</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More rehab facilities</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84150" indent="-87313" algn="l" defTabSz="914400" rtl="0" eaLnBrk="1" fontAlgn="ctr" latinLnBrk="0" hangingPunct="1">
                        <a:buFont typeface="Arial" panose="020B0604020202020204" pitchFamily="34" charset="0"/>
                        <a:buChar char="•"/>
                        <a:tabLst/>
                      </a:pPr>
                      <a:r>
                        <a:rPr lang="en-GB" sz="900" b="0" i="0" u="none" strike="noStrike" kern="1200">
                          <a:solidFill>
                            <a:schemeClr val="tx2">
                              <a:lumMod val="65000"/>
                              <a:lumOff val="35000"/>
                            </a:schemeClr>
                          </a:solidFill>
                          <a:effectLst/>
                          <a:latin typeface="Arial" panose="020B0604020202020204" pitchFamily="34" charset="0"/>
                          <a:ea typeface="+mn-ea"/>
                          <a:cs typeface="+mn-cs"/>
                        </a:rPr>
                        <a:t>Reduced wait times and increased health outcomes for service users.</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8</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High</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Long</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2193687171"/>
                  </a:ext>
                </a:extLst>
              </a:tr>
              <a:tr h="53704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F6</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More supported living for those with complex needs</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84150" indent="-87313" algn="l" defTabSz="914400" rtl="0" eaLnBrk="1" fontAlgn="ctr" latinLnBrk="0" hangingPunct="1">
                        <a:buFont typeface="Arial" panose="020B0604020202020204" pitchFamily="34" charset="0"/>
                        <a:buChar char="•"/>
                        <a:tabLst/>
                      </a:pPr>
                      <a:r>
                        <a:rPr lang="en-GB" sz="900" b="0" i="0" u="none" strike="noStrike" kern="1200">
                          <a:solidFill>
                            <a:schemeClr val="tx2">
                              <a:lumMod val="65000"/>
                              <a:lumOff val="35000"/>
                            </a:schemeClr>
                          </a:solidFill>
                          <a:effectLst/>
                          <a:latin typeface="Arial" panose="020B0604020202020204" pitchFamily="34" charset="0"/>
                          <a:ea typeface="+mn-ea"/>
                          <a:cs typeface="+mn-cs"/>
                        </a:rPr>
                        <a:t>Supporting people to live independently and access the support and accommodation to allow timely discharge and prevent readmissions.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8</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High</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Long</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3198809439"/>
                  </a:ext>
                </a:extLst>
              </a:tr>
              <a:tr h="53704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F7</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Improved shared Decision making around the application of the MH Act in the community</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84150" indent="-87313" algn="l" defTabSz="914400" rtl="0" eaLnBrk="1" fontAlgn="ctr" latinLnBrk="0" hangingPunct="1">
                        <a:buFont typeface="Arial" panose="020B0604020202020204" pitchFamily="34" charset="0"/>
                        <a:buChar char="•"/>
                        <a:tabLst/>
                      </a:pPr>
                      <a:r>
                        <a:rPr lang="en-GB" sz="900" b="0" i="0" u="none" strike="noStrike" kern="1200">
                          <a:solidFill>
                            <a:schemeClr val="tx2">
                              <a:lumMod val="65000"/>
                              <a:lumOff val="35000"/>
                            </a:schemeClr>
                          </a:solidFill>
                          <a:effectLst/>
                          <a:latin typeface="Arial" panose="020B0604020202020204" pitchFamily="34" charset="0"/>
                          <a:ea typeface="+mn-ea"/>
                          <a:cs typeface="+mn-cs"/>
                        </a:rPr>
                        <a:t>Organisations undertaking mental health act assessments have a robust package of support available to deliver effective and appropriate assessments and support to service users.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8</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High</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3590939758"/>
                  </a:ext>
                </a:extLst>
              </a:tr>
              <a:tr h="53704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F8</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Recruit Mental Health champions / service users in the community</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84150" marR="0" lvl="0" indent="-87313"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GB" sz="900" b="0" i="0" u="none" strike="noStrike" kern="1200">
                          <a:solidFill>
                            <a:schemeClr val="tx2">
                              <a:lumMod val="65000"/>
                              <a:lumOff val="35000"/>
                            </a:schemeClr>
                          </a:solidFill>
                          <a:effectLst/>
                          <a:latin typeface="Arial" panose="020B0604020202020204" pitchFamily="34" charset="0"/>
                          <a:ea typeface="+mn-ea"/>
                          <a:cs typeface="+mn-cs"/>
                        </a:rPr>
                        <a:t>People have trusted peer support available, supporting them to access services sooner and prevent escalation / additional complication.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6</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1658197614"/>
                  </a:ext>
                </a:extLst>
              </a:tr>
            </a:tbl>
          </a:graphicData>
        </a:graphic>
      </p:graphicFrame>
      <p:graphicFrame>
        <p:nvGraphicFramePr>
          <p:cNvPr id="11" name="Table 10">
            <a:extLst>
              <a:ext uri="{FF2B5EF4-FFF2-40B4-BE49-F238E27FC236}">
                <a16:creationId xmlns:a16="http://schemas.microsoft.com/office/drawing/2014/main" id="{00BD52CC-2655-B643-82B3-7C2F2DFA4908}"/>
              </a:ext>
            </a:extLst>
          </p:cNvPr>
          <p:cNvGraphicFramePr>
            <a:graphicFrameLocks noGrp="1"/>
          </p:cNvGraphicFramePr>
          <p:nvPr>
            <p:extLst>
              <p:ext uri="{D42A27DB-BD31-4B8C-83A1-F6EECF244321}">
                <p14:modId xmlns:p14="http://schemas.microsoft.com/office/powerpoint/2010/main" val="1095260840"/>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C"/>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pic>
        <p:nvPicPr>
          <p:cNvPr id="12" name="Graphic 11" descr="Viral with solid fill">
            <a:extLst>
              <a:ext uri="{FF2B5EF4-FFF2-40B4-BE49-F238E27FC236}">
                <a16:creationId xmlns:a16="http://schemas.microsoft.com/office/drawing/2014/main" id="{F8FAAAAD-95FF-EB4A-B116-9410EC646A1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10638" y="137287"/>
            <a:ext cx="594000" cy="594000"/>
          </a:xfrm>
          <a:prstGeom prst="rect">
            <a:avLst/>
          </a:prstGeom>
        </p:spPr>
      </p:pic>
      <p:sp>
        <p:nvSpPr>
          <p:cNvPr id="13" name="Rectangle 12">
            <a:extLst>
              <a:ext uri="{FF2B5EF4-FFF2-40B4-BE49-F238E27FC236}">
                <a16:creationId xmlns:a16="http://schemas.microsoft.com/office/drawing/2014/main" id="{004CB4A5-2935-2B45-BCF7-9D2DCA856830}"/>
              </a:ext>
            </a:extLst>
          </p:cNvPr>
          <p:cNvSpPr/>
          <p:nvPr/>
        </p:nvSpPr>
        <p:spPr>
          <a:xfrm>
            <a:off x="8462819" y="184705"/>
            <a:ext cx="1931224" cy="78568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panose="020B0604020202020204"/>
                <a:ea typeface="+mn-ea"/>
                <a:cs typeface="+mn-cs"/>
              </a:rPr>
              <a:t>IMPACT:        </a:t>
            </a: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1 = Low Impact </a:t>
            </a:r>
            <a:b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                       5 = High impa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panose="020B0604020202020204"/>
                <a:ea typeface="+mn-ea"/>
                <a:cs typeface="+mn-cs"/>
              </a:rPr>
              <a:t>EASE:            </a:t>
            </a: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1 = Difficult</a:t>
            </a:r>
            <a:b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                       5 = Straightforward</a:t>
            </a:r>
          </a:p>
          <a:p>
            <a:pPr>
              <a:defRPr/>
            </a:pPr>
            <a:r>
              <a:rPr lang="en-GB" sz="800" b="1">
                <a:solidFill>
                  <a:srgbClr val="000000"/>
                </a:solidFill>
              </a:rPr>
              <a:t>RESOURCE:  </a:t>
            </a:r>
            <a:r>
              <a:rPr lang="en-GB" sz="800">
                <a:solidFill>
                  <a:srgbClr val="000000"/>
                </a:solidFill>
              </a:rPr>
              <a:t>Low, Medium, High </a:t>
            </a:r>
          </a:p>
        </p:txBody>
      </p:sp>
      <p:sp>
        <p:nvSpPr>
          <p:cNvPr id="14" name="Rectangle 13">
            <a:extLst>
              <a:ext uri="{FF2B5EF4-FFF2-40B4-BE49-F238E27FC236}">
                <a16:creationId xmlns:a16="http://schemas.microsoft.com/office/drawing/2014/main" id="{84181E8C-1286-F242-A75A-862975276B5D}"/>
              </a:ext>
            </a:extLst>
          </p:cNvPr>
          <p:cNvSpPr/>
          <p:nvPr/>
        </p:nvSpPr>
        <p:spPr>
          <a:xfrm>
            <a:off x="10394043" y="184705"/>
            <a:ext cx="1442357" cy="78568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00" b="1">
                <a:solidFill>
                  <a:srgbClr val="000000"/>
                </a:solidFill>
                <a:latin typeface="Arial" panose="020B0604020202020204"/>
              </a:rPr>
              <a:t>SHORT</a:t>
            </a:r>
            <a:r>
              <a:rPr lang="en-GB" sz="900">
                <a:solidFill>
                  <a:srgbClr val="000000"/>
                </a:solidFill>
                <a:latin typeface="Arial" panose="020B0604020202020204"/>
              </a:rPr>
              <a:t> =   0-6 months</a:t>
            </a:r>
          </a:p>
          <a:p>
            <a:r>
              <a:rPr lang="en-GB" sz="900" b="1">
                <a:solidFill>
                  <a:srgbClr val="000000"/>
                </a:solidFill>
                <a:latin typeface="Arial" panose="020B0604020202020204"/>
              </a:rPr>
              <a:t>MEDIUM</a:t>
            </a:r>
            <a:r>
              <a:rPr lang="en-GB" sz="900">
                <a:solidFill>
                  <a:srgbClr val="000000"/>
                </a:solidFill>
                <a:latin typeface="Arial" panose="020B0604020202020204"/>
              </a:rPr>
              <a:t> = 6-18 months</a:t>
            </a:r>
          </a:p>
          <a:p>
            <a:r>
              <a:rPr lang="en-GB" sz="900" b="1">
                <a:solidFill>
                  <a:srgbClr val="000000"/>
                </a:solidFill>
                <a:latin typeface="Arial" panose="020B0604020202020204"/>
              </a:rPr>
              <a:t>LONG</a:t>
            </a:r>
            <a:r>
              <a:rPr lang="en-GB" sz="900">
                <a:solidFill>
                  <a:srgbClr val="000000"/>
                </a:solidFill>
                <a:latin typeface="Arial" panose="020B0604020202020204"/>
              </a:rPr>
              <a:t> =     18 months +</a:t>
            </a:r>
          </a:p>
        </p:txBody>
      </p:sp>
    </p:spTree>
    <p:extLst>
      <p:ext uri="{BB962C8B-B14F-4D97-AF65-F5344CB8AC3E}">
        <p14:creationId xmlns:p14="http://schemas.microsoft.com/office/powerpoint/2010/main" val="405863808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089"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en-IN" sz="2800">
              <a:solidFill>
                <a:srgbClr val="FFFFFF"/>
              </a:solidFill>
              <a:sym typeface="Arial" panose="020B0604020202020204" pitchFamily="34" charset="0"/>
            </a:endParaRPr>
          </a:p>
        </p:txBody>
      </p:sp>
      <p:sp>
        <p:nvSpPr>
          <p:cNvPr id="2" name="Title 1"/>
          <p:cNvSpPr>
            <a:spLocks noGrp="1"/>
          </p:cNvSpPr>
          <p:nvPr>
            <p:ph type="title"/>
          </p:nvPr>
        </p:nvSpPr>
        <p:spPr>
          <a:xfrm>
            <a:off x="1199947" y="297277"/>
            <a:ext cx="8711496" cy="434010"/>
          </a:xfrm>
          <a:prstGeom prst="rect">
            <a:avLst/>
          </a:prstGeom>
        </p:spPr>
        <p:txBody>
          <a:bodyPr/>
          <a:lstStyle/>
          <a:p>
            <a:r>
              <a:rPr lang="en-GB">
                <a:solidFill>
                  <a:srgbClr val="50235B"/>
                </a:solidFill>
              </a:rPr>
              <a:t>Support the workforce and their wellbeing</a:t>
            </a:r>
            <a:endParaRPr lang="en-IN"/>
          </a:p>
        </p:txBody>
      </p:sp>
      <p:sp>
        <p:nvSpPr>
          <p:cNvPr id="6" name="Footer Placeholder 5">
            <a:extLst>
              <a:ext uri="{FF2B5EF4-FFF2-40B4-BE49-F238E27FC236}">
                <a16:creationId xmlns:a16="http://schemas.microsoft.com/office/drawing/2014/main" id="{62E3292C-AE15-8E46-8E62-F9C713150B0B}"/>
              </a:ext>
            </a:extLst>
          </p:cNvPr>
          <p:cNvSpPr>
            <a:spLocks noGrp="1"/>
          </p:cNvSpPr>
          <p:nvPr>
            <p:ph type="ftr" sz="quarter" idx="14"/>
          </p:nvPr>
        </p:nvSpPr>
        <p:spPr>
          <a:xfrm>
            <a:off x="6570" y="6674068"/>
            <a:ext cx="1193377" cy="183932"/>
          </a:xfrm>
        </p:spPr>
        <p:txBody>
          <a:bodyPr/>
          <a:lstStyle/>
          <a:p>
            <a:r>
              <a:rPr lang="en-GB"/>
              <a:t>© Moorhouse 2021  </a:t>
            </a:r>
          </a:p>
        </p:txBody>
      </p:sp>
      <p:sp>
        <p:nvSpPr>
          <p:cNvPr id="21" name="Rectangle 20">
            <a:extLst>
              <a:ext uri="{FF2B5EF4-FFF2-40B4-BE49-F238E27FC236}">
                <a16:creationId xmlns:a16="http://schemas.microsoft.com/office/drawing/2014/main" id="{FE740462-AEED-0B41-92DC-3A54DEB718C8}"/>
              </a:ext>
            </a:extLst>
          </p:cNvPr>
          <p:cNvSpPr/>
          <p:nvPr/>
        </p:nvSpPr>
        <p:spPr>
          <a:xfrm>
            <a:off x="647407" y="1095781"/>
            <a:ext cx="2355654" cy="434010"/>
          </a:xfrm>
          <a:prstGeom prst="rect">
            <a:avLst/>
          </a:prstGeom>
          <a:noFill/>
          <a:ln w="12700" cap="flat" cmpd="sng" algn="ctr">
            <a:noFill/>
            <a:prstDash val="solid"/>
            <a:miter lim="800000"/>
          </a:ln>
          <a:effectLst/>
        </p:spPr>
        <p:txBody>
          <a:bodyPr rtlCol="0" anchor="ctr"/>
          <a:lstStyle/>
          <a:p>
            <a:pPr lvl="0" algn="ctr" defTabSz="685800">
              <a:defRPr/>
            </a:pPr>
            <a:endParaRPr lang="en-GB" sz="1050" b="1">
              <a:solidFill>
                <a:srgbClr val="50235B"/>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F19D9738-DFA2-C84F-82CF-6F85573EA287}"/>
              </a:ext>
            </a:extLst>
          </p:cNvPr>
          <p:cNvSpPr txBox="1"/>
          <p:nvPr/>
        </p:nvSpPr>
        <p:spPr>
          <a:xfrm>
            <a:off x="6691744" y="4319857"/>
            <a:ext cx="184731" cy="369332"/>
          </a:xfrm>
          <a:prstGeom prst="rect">
            <a:avLst/>
          </a:prstGeom>
          <a:noFill/>
        </p:spPr>
        <p:txBody>
          <a:bodyPr wrap="none" rtlCol="0">
            <a:spAutoFit/>
          </a:bodyPr>
          <a:lstStyle/>
          <a:p>
            <a:endParaRPr lang="en-US"/>
          </a:p>
        </p:txBody>
      </p:sp>
      <p:sp>
        <p:nvSpPr>
          <p:cNvPr id="51" name="Rectangle 50">
            <a:extLst>
              <a:ext uri="{FF2B5EF4-FFF2-40B4-BE49-F238E27FC236}">
                <a16:creationId xmlns:a16="http://schemas.microsoft.com/office/drawing/2014/main" id="{23228B87-D8A3-AC4B-8389-4FD6CB03BCB4}"/>
              </a:ext>
            </a:extLst>
          </p:cNvPr>
          <p:cNvSpPr/>
          <p:nvPr/>
        </p:nvSpPr>
        <p:spPr>
          <a:xfrm>
            <a:off x="6236659" y="5513696"/>
            <a:ext cx="5509862" cy="1852878"/>
          </a:xfrm>
          <a:prstGeom prst="rect">
            <a:avLst/>
          </a:prstGeom>
          <a:noFill/>
          <a:ln w="12700" cap="flat" cmpd="sng" algn="ctr">
            <a:noFill/>
            <a:prstDash val="solid"/>
            <a:miter lim="800000"/>
          </a:ln>
          <a:effectLst/>
        </p:spPr>
        <p:txBody>
          <a:bodyPr rtlCol="0" anchor="t"/>
          <a:lstStyle/>
          <a:p>
            <a:pPr defTabSz="685800" fontAlgn="base">
              <a:spcBef>
                <a:spcPts val="600"/>
              </a:spcBef>
              <a:spcAft>
                <a:spcPts val="600"/>
              </a:spcAft>
            </a:pPr>
            <a:endParaRPr lang="en-GB" sz="1000">
              <a:solidFill>
                <a:srgbClr val="50235B"/>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187D98F4-EB5A-E04B-B1AB-3062BCA3330F}"/>
              </a:ext>
            </a:extLst>
          </p:cNvPr>
          <p:cNvSpPr/>
          <p:nvPr/>
        </p:nvSpPr>
        <p:spPr>
          <a:xfrm>
            <a:off x="510638" y="855283"/>
            <a:ext cx="11348270" cy="6912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200" b="1">
                <a:solidFill>
                  <a:srgbClr val="50235C"/>
                </a:solidFill>
                <a:latin typeface="Arial" panose="020B0604020202020204" pitchFamily="34" charset="0"/>
                <a:cs typeface="Arial" panose="020B0604020202020204" pitchFamily="34" charset="0"/>
              </a:rPr>
              <a:t>Supporting the workforce and their wellbeing is essential to ensuring the delivery of high quality services and care for patients. Staff require easy access to support, and opportunities for development and career progression.  </a:t>
            </a:r>
          </a:p>
        </p:txBody>
      </p:sp>
      <p:grpSp>
        <p:nvGrpSpPr>
          <p:cNvPr id="20" name="Group 19">
            <a:extLst>
              <a:ext uri="{FF2B5EF4-FFF2-40B4-BE49-F238E27FC236}">
                <a16:creationId xmlns:a16="http://schemas.microsoft.com/office/drawing/2014/main" id="{856DAFD8-FA0A-4949-9E59-48AAEE3EBE5A}"/>
              </a:ext>
            </a:extLst>
          </p:cNvPr>
          <p:cNvGrpSpPr/>
          <p:nvPr/>
        </p:nvGrpSpPr>
        <p:grpSpPr>
          <a:xfrm>
            <a:off x="510638" y="1592166"/>
            <a:ext cx="4454652" cy="4459838"/>
            <a:chOff x="4782787" y="1094608"/>
            <a:chExt cx="4065938" cy="3102016"/>
          </a:xfrm>
        </p:grpSpPr>
        <p:sp>
          <p:nvSpPr>
            <p:cNvPr id="23" name="Rectangle 22">
              <a:extLst>
                <a:ext uri="{FF2B5EF4-FFF2-40B4-BE49-F238E27FC236}">
                  <a16:creationId xmlns:a16="http://schemas.microsoft.com/office/drawing/2014/main" id="{CB1214F5-503D-D44D-8085-7461DE245F94}"/>
                </a:ext>
              </a:extLst>
            </p:cNvPr>
            <p:cNvSpPr/>
            <p:nvPr/>
          </p:nvSpPr>
          <p:spPr>
            <a:xfrm>
              <a:off x="4782787" y="1094608"/>
              <a:ext cx="4065938" cy="199823"/>
            </a:xfrm>
            <a:prstGeom prst="rect">
              <a:avLst/>
            </a:prstGeom>
            <a:solidFill>
              <a:srgbClr val="F0ECF3"/>
            </a:solidFill>
            <a:ln w="9525" cap="flat" cmpd="sng" algn="ctr">
              <a:solidFill>
                <a:srgbClr val="F0ECF3"/>
              </a:solidFill>
              <a:prstDash val="solid"/>
              <a:miter lim="800000"/>
            </a:ln>
            <a:effectLst/>
          </p:spPr>
          <p:txBody>
            <a:bodyPr rtlCol="0" anchor="ctr"/>
            <a:lstStyle/>
            <a:p>
              <a:pPr defTabSz="914377">
                <a:defRPr/>
              </a:pPr>
              <a:r>
                <a:rPr lang="en-GB" sz="1067" b="1">
                  <a:solidFill>
                    <a:srgbClr val="50235B"/>
                  </a:solidFill>
                  <a:latin typeface="Arial" panose="020B0604020202020204"/>
                </a:rPr>
                <a:t>Where are we now?</a:t>
              </a:r>
            </a:p>
          </p:txBody>
        </p:sp>
        <p:sp>
          <p:nvSpPr>
            <p:cNvPr id="24" name="Rectangle 23">
              <a:extLst>
                <a:ext uri="{FF2B5EF4-FFF2-40B4-BE49-F238E27FC236}">
                  <a16:creationId xmlns:a16="http://schemas.microsoft.com/office/drawing/2014/main" id="{BC3BF939-741A-E546-81CE-0D14DDE2E26C}"/>
                </a:ext>
              </a:extLst>
            </p:cNvPr>
            <p:cNvSpPr/>
            <p:nvPr/>
          </p:nvSpPr>
          <p:spPr>
            <a:xfrm>
              <a:off x="4782787" y="1294431"/>
              <a:ext cx="4065938" cy="2902193"/>
            </a:xfrm>
            <a:prstGeom prst="rect">
              <a:avLst/>
            </a:prstGeom>
            <a:noFill/>
            <a:ln w="3175">
              <a:solidFill>
                <a:srgbClr val="F0ECF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defTabSz="685800">
                <a:spcBef>
                  <a:spcPts val="600"/>
                </a:spcBef>
                <a:spcAft>
                  <a:spcPts val="600"/>
                </a:spcAft>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There is a </a:t>
              </a:r>
              <a:r>
                <a:rPr lang="en-GB" sz="1000" b="1">
                  <a:solidFill>
                    <a:srgbClr val="50235C"/>
                  </a:solidFill>
                  <a:latin typeface="Arial" panose="020B0604020202020204" pitchFamily="34" charset="0"/>
                  <a:cs typeface="Arial" panose="020B0604020202020204" pitchFamily="34" charset="0"/>
                </a:rPr>
                <a:t>24 hour mental health hotline </a:t>
              </a:r>
              <a:r>
                <a:rPr lang="en-GB" sz="1000">
                  <a:solidFill>
                    <a:schemeClr val="tx2">
                      <a:lumMod val="65000"/>
                      <a:lumOff val="35000"/>
                    </a:schemeClr>
                  </a:solidFill>
                  <a:latin typeface="Arial" panose="020B0604020202020204" pitchFamily="34" charset="0"/>
                  <a:cs typeface="Arial" panose="020B0604020202020204" pitchFamily="34" charset="0"/>
                </a:rPr>
                <a:t>to give psychological support to staff and signposting to other services ranging from financial assistance through to bereavement and psychological support.  </a:t>
              </a:r>
            </a:p>
            <a:p>
              <a:pPr marL="171450" indent="-171450" defTabSz="685800">
                <a:spcBef>
                  <a:spcPts val="600"/>
                </a:spcBef>
                <a:spcAft>
                  <a:spcPts val="600"/>
                </a:spcAft>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STW </a:t>
              </a:r>
              <a:r>
                <a:rPr lang="en-GB" sz="1000" b="1">
                  <a:solidFill>
                    <a:srgbClr val="50235C"/>
                  </a:solidFill>
                  <a:latin typeface="Arial" panose="020B0604020202020204" pitchFamily="34" charset="0"/>
                  <a:cs typeface="Arial" panose="020B0604020202020204" pitchFamily="34" charset="0"/>
                </a:rPr>
                <a:t>Staff Psychological Wellbeing Hub </a:t>
              </a:r>
              <a:r>
                <a:rPr lang="en-GB" sz="1000">
                  <a:solidFill>
                    <a:schemeClr val="tx2">
                      <a:lumMod val="65000"/>
                      <a:lumOff val="35000"/>
                    </a:schemeClr>
                  </a:solidFill>
                  <a:latin typeface="Arial" panose="020B0604020202020204" pitchFamily="34" charset="0"/>
                  <a:cs typeface="Arial" panose="020B0604020202020204" pitchFamily="34" charset="0"/>
                </a:rPr>
                <a:t>promoted on STW ICS Twitter page with link to website and phoneline.</a:t>
              </a:r>
            </a:p>
            <a:p>
              <a:pPr marL="171450" indent="-171450" defTabSz="685800">
                <a:spcBef>
                  <a:spcPts val="600"/>
                </a:spcBef>
                <a:spcAft>
                  <a:spcPts val="600"/>
                </a:spcAft>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A </a:t>
              </a:r>
              <a:r>
                <a:rPr lang="en-GB" sz="1000" b="1">
                  <a:solidFill>
                    <a:srgbClr val="50235C"/>
                  </a:solidFill>
                  <a:latin typeface="Arial" panose="020B0604020202020204" pitchFamily="34" charset="0"/>
                  <a:cs typeface="Arial" panose="020B0604020202020204" pitchFamily="34" charset="0"/>
                </a:rPr>
                <a:t>service mapping exercise </a:t>
              </a:r>
              <a:r>
                <a:rPr lang="en-GB" sz="1000">
                  <a:solidFill>
                    <a:schemeClr val="tx2">
                      <a:lumMod val="65000"/>
                      <a:lumOff val="35000"/>
                    </a:schemeClr>
                  </a:solidFill>
                  <a:latin typeface="Arial" panose="020B0604020202020204" pitchFamily="34" charset="0"/>
                  <a:cs typeface="Arial" panose="020B0604020202020204" pitchFamily="34" charset="0"/>
                </a:rPr>
                <a:t>has been completed to capture the mental health service offering across STW. </a:t>
              </a:r>
            </a:p>
            <a:p>
              <a:pPr marL="171450" indent="-171450" defTabSz="685800">
                <a:spcBef>
                  <a:spcPts val="600"/>
                </a:spcBef>
                <a:spcAft>
                  <a:spcPts val="600"/>
                </a:spcAft>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Mental health services have been under </a:t>
              </a:r>
              <a:r>
                <a:rPr lang="en-GB" sz="1000" b="1">
                  <a:solidFill>
                    <a:srgbClr val="50235C"/>
                  </a:solidFill>
                  <a:latin typeface="Arial" panose="020B0604020202020204" pitchFamily="34" charset="0"/>
                  <a:cs typeface="Arial" panose="020B0604020202020204" pitchFamily="34" charset="0"/>
                </a:rPr>
                <a:t>unprecedented demand induced pressure</a:t>
              </a:r>
              <a:r>
                <a:rPr lang="en-GB" sz="1000">
                  <a:solidFill>
                    <a:schemeClr val="tx2">
                      <a:lumMod val="65000"/>
                      <a:lumOff val="35000"/>
                    </a:schemeClr>
                  </a:solidFill>
                  <a:latin typeface="Arial" panose="020B0604020202020204" pitchFamily="34" charset="0"/>
                  <a:cs typeface="Arial" panose="020B0604020202020204" pitchFamily="34" charset="0"/>
                </a:rPr>
                <a:t>, this is is causing challenges across the system, with services often being unable to keep up with demand. </a:t>
              </a:r>
            </a:p>
            <a:p>
              <a:pPr marL="171450" indent="-171450" defTabSz="685800">
                <a:spcBef>
                  <a:spcPts val="600"/>
                </a:spcBef>
                <a:spcAft>
                  <a:spcPts val="600"/>
                </a:spcAft>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Unfortunately a number of mental health providers across STW are </a:t>
              </a:r>
              <a:r>
                <a:rPr lang="en-GB" sz="1000" b="1">
                  <a:solidFill>
                    <a:srgbClr val="50235C"/>
                  </a:solidFill>
                  <a:latin typeface="Arial" panose="020B0604020202020204" pitchFamily="34" charset="0"/>
                  <a:cs typeface="Arial" panose="020B0604020202020204" pitchFamily="34" charset="0"/>
                </a:rPr>
                <a:t>unable to hire adequately trained staff</a:t>
              </a:r>
              <a:r>
                <a:rPr lang="en-GB" sz="1000">
                  <a:solidFill>
                    <a:schemeClr val="tx2">
                      <a:lumMod val="65000"/>
                      <a:lumOff val="35000"/>
                    </a:schemeClr>
                  </a:solidFill>
                  <a:latin typeface="Arial" panose="020B0604020202020204" pitchFamily="34" charset="0"/>
                  <a:cs typeface="Arial" panose="020B0604020202020204" pitchFamily="34" charset="0"/>
                </a:rPr>
                <a:t> to reach the staffing levels that are required to match the increased demand. </a:t>
              </a:r>
            </a:p>
            <a:p>
              <a:pPr marL="171450" indent="-171450" defTabSz="685800">
                <a:spcBef>
                  <a:spcPts val="600"/>
                </a:spcBef>
                <a:spcAft>
                  <a:spcPts val="600"/>
                </a:spcAft>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The system has begun capitalising on </a:t>
              </a:r>
              <a:r>
                <a:rPr lang="en-GB" sz="1000" b="1">
                  <a:solidFill>
                    <a:srgbClr val="50235C"/>
                  </a:solidFill>
                  <a:latin typeface="Arial" panose="020B0604020202020204" pitchFamily="34" charset="0"/>
                  <a:cs typeface="Arial" panose="020B0604020202020204" pitchFamily="34" charset="0"/>
                </a:rPr>
                <a:t>Additional Roles Reimbursement Scheme (ARRS) in primary care </a:t>
              </a:r>
              <a:r>
                <a:rPr lang="en-GB" sz="1000">
                  <a:solidFill>
                    <a:schemeClr val="tx2">
                      <a:lumMod val="65000"/>
                      <a:lumOff val="35000"/>
                    </a:schemeClr>
                  </a:solidFill>
                  <a:latin typeface="Arial" panose="020B0604020202020204" pitchFamily="34" charset="0"/>
                  <a:cs typeface="Arial" panose="020B0604020202020204" pitchFamily="34" charset="0"/>
                </a:rPr>
                <a:t>to recruit more mental health professionals into front line services, supporting effective triage and management of patient with mental ill health.</a:t>
              </a:r>
            </a:p>
          </p:txBody>
        </p:sp>
      </p:grpSp>
      <p:grpSp>
        <p:nvGrpSpPr>
          <p:cNvPr id="25" name="Group 24">
            <a:extLst>
              <a:ext uri="{FF2B5EF4-FFF2-40B4-BE49-F238E27FC236}">
                <a16:creationId xmlns:a16="http://schemas.microsoft.com/office/drawing/2014/main" id="{6E749FC9-89E1-124F-A832-F939520B97F7}"/>
              </a:ext>
            </a:extLst>
          </p:cNvPr>
          <p:cNvGrpSpPr/>
          <p:nvPr/>
        </p:nvGrpSpPr>
        <p:grpSpPr>
          <a:xfrm>
            <a:off x="5220929" y="1592166"/>
            <a:ext cx="6637980" cy="2219112"/>
            <a:chOff x="4782787" y="1094608"/>
            <a:chExt cx="4065938" cy="1543491"/>
          </a:xfrm>
        </p:grpSpPr>
        <p:sp>
          <p:nvSpPr>
            <p:cNvPr id="26" name="Rectangle 25">
              <a:extLst>
                <a:ext uri="{FF2B5EF4-FFF2-40B4-BE49-F238E27FC236}">
                  <a16:creationId xmlns:a16="http://schemas.microsoft.com/office/drawing/2014/main" id="{E25E26F4-E637-704F-B12F-70168E4D4086}"/>
                </a:ext>
              </a:extLst>
            </p:cNvPr>
            <p:cNvSpPr/>
            <p:nvPr/>
          </p:nvSpPr>
          <p:spPr>
            <a:xfrm>
              <a:off x="4782787" y="1094608"/>
              <a:ext cx="4065938" cy="199823"/>
            </a:xfrm>
            <a:prstGeom prst="rect">
              <a:avLst/>
            </a:prstGeom>
            <a:solidFill>
              <a:srgbClr val="F0ECF3"/>
            </a:solidFill>
            <a:ln w="9525" cap="flat" cmpd="sng" algn="ctr">
              <a:solidFill>
                <a:srgbClr val="F0ECF3"/>
              </a:solidFill>
              <a:prstDash val="solid"/>
              <a:miter lim="800000"/>
            </a:ln>
            <a:effectLst/>
          </p:spPr>
          <p:txBody>
            <a:bodyPr rtlCol="0" anchor="ctr"/>
            <a:lstStyle/>
            <a:p>
              <a:r>
                <a:rPr lang="en-GB" sz="1100" b="1">
                  <a:solidFill>
                    <a:srgbClr val="50235C"/>
                  </a:solidFill>
                </a:rPr>
                <a:t>Where do we need to get to? </a:t>
              </a:r>
            </a:p>
          </p:txBody>
        </p:sp>
        <p:sp>
          <p:nvSpPr>
            <p:cNvPr id="27" name="Rectangle 26">
              <a:extLst>
                <a:ext uri="{FF2B5EF4-FFF2-40B4-BE49-F238E27FC236}">
                  <a16:creationId xmlns:a16="http://schemas.microsoft.com/office/drawing/2014/main" id="{B9168E8A-7661-C04B-929C-33F806DED5CE}"/>
                </a:ext>
              </a:extLst>
            </p:cNvPr>
            <p:cNvSpPr/>
            <p:nvPr/>
          </p:nvSpPr>
          <p:spPr>
            <a:xfrm>
              <a:off x="4782787" y="1294430"/>
              <a:ext cx="4065938" cy="1343669"/>
            </a:xfrm>
            <a:prstGeom prst="rect">
              <a:avLst/>
            </a:prstGeom>
            <a:noFill/>
            <a:ln w="3175">
              <a:solidFill>
                <a:srgbClr val="F0ECF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defTabSz="685800">
                <a:spcBef>
                  <a:spcPts val="600"/>
                </a:spcBef>
                <a:spcAft>
                  <a:spcPts val="600"/>
                </a:spcAft>
                <a:buFont typeface="Wingdings" pitchFamily="2" charset="2"/>
                <a:buChar char="ü"/>
              </a:pPr>
              <a:r>
                <a:rPr lang="en-GB" sz="1000">
                  <a:solidFill>
                    <a:srgbClr val="50235B"/>
                  </a:solidFill>
                  <a:latin typeface="Arial" panose="020B0604020202020204" pitchFamily="34" charset="0"/>
                  <a:cs typeface="Arial" panose="020B0604020202020204" pitchFamily="34" charset="0"/>
                </a:rPr>
                <a:t>Reduction in the stigma around MH conditions in the workplace </a:t>
              </a:r>
            </a:p>
            <a:p>
              <a:pPr marL="171450" indent="-171450" defTabSz="685800">
                <a:spcBef>
                  <a:spcPts val="600"/>
                </a:spcBef>
                <a:spcAft>
                  <a:spcPts val="600"/>
                </a:spcAft>
                <a:buFont typeface="Wingdings" pitchFamily="2" charset="2"/>
                <a:buChar char="ü"/>
              </a:pPr>
              <a:r>
                <a:rPr lang="en-GB" sz="1000">
                  <a:solidFill>
                    <a:srgbClr val="50235B"/>
                  </a:solidFill>
                  <a:latin typeface="Arial" panose="020B0604020202020204" pitchFamily="34" charset="0"/>
                  <a:cs typeface="Arial" panose="020B0604020202020204" pitchFamily="34" charset="0"/>
                </a:rPr>
                <a:t>More awareness of the MH front door and phone lines</a:t>
              </a:r>
            </a:p>
            <a:p>
              <a:pPr marL="171450" indent="-171450" defTabSz="685800">
                <a:spcBef>
                  <a:spcPts val="600"/>
                </a:spcBef>
                <a:spcAft>
                  <a:spcPts val="600"/>
                </a:spcAft>
                <a:buFont typeface="Wingdings" pitchFamily="2" charset="2"/>
                <a:buChar char="ü"/>
              </a:pPr>
              <a:r>
                <a:rPr lang="en-GB" sz="1000">
                  <a:solidFill>
                    <a:srgbClr val="50235B"/>
                  </a:solidFill>
                  <a:latin typeface="Arial" panose="020B0604020202020204" pitchFamily="34" charset="0"/>
                  <a:cs typeface="Arial" panose="020B0604020202020204" pitchFamily="34" charset="0"/>
                </a:rPr>
                <a:t>Increased visibility of mental health and the support services on offer </a:t>
              </a:r>
            </a:p>
            <a:p>
              <a:pPr marL="171450" indent="-171450" defTabSz="685800">
                <a:spcBef>
                  <a:spcPts val="600"/>
                </a:spcBef>
                <a:spcAft>
                  <a:spcPts val="600"/>
                </a:spcAft>
                <a:buFont typeface="Wingdings" pitchFamily="2" charset="2"/>
                <a:buChar char="ü"/>
              </a:pPr>
              <a:r>
                <a:rPr lang="en-GB" sz="1000">
                  <a:solidFill>
                    <a:srgbClr val="50235B"/>
                  </a:solidFill>
                  <a:latin typeface="Arial" panose="020B0604020202020204" pitchFamily="34" charset="0"/>
                  <a:cs typeface="Arial" panose="020B0604020202020204" pitchFamily="34" charset="0"/>
                </a:rPr>
                <a:t>Supported workforce who can access support for their own MH</a:t>
              </a:r>
            </a:p>
            <a:p>
              <a:pPr marL="171450" indent="-171450" defTabSz="685800">
                <a:spcBef>
                  <a:spcPts val="600"/>
                </a:spcBef>
                <a:spcAft>
                  <a:spcPts val="600"/>
                </a:spcAft>
                <a:buFont typeface="Wingdings" pitchFamily="2" charset="2"/>
                <a:buChar char="ü"/>
              </a:pPr>
              <a:r>
                <a:rPr lang="en-GB" sz="1000">
                  <a:solidFill>
                    <a:srgbClr val="50235B"/>
                  </a:solidFill>
                  <a:latin typeface="Arial" panose="020B0604020202020204" pitchFamily="34" charset="0"/>
                  <a:cs typeface="Arial" panose="020B0604020202020204" pitchFamily="34" charset="0"/>
                </a:rPr>
                <a:t>Support employers to understand importance of wellbeing in the workplace aligned to system workforce plan.</a:t>
              </a:r>
            </a:p>
            <a:p>
              <a:pPr marL="171450" indent="-171450" defTabSz="685800">
                <a:spcBef>
                  <a:spcPts val="600"/>
                </a:spcBef>
                <a:spcAft>
                  <a:spcPts val="600"/>
                </a:spcAft>
                <a:buFont typeface="Wingdings" pitchFamily="2" charset="2"/>
                <a:buChar char="ü"/>
              </a:pPr>
              <a:r>
                <a:rPr lang="en-GB" sz="1000">
                  <a:solidFill>
                    <a:srgbClr val="50235B"/>
                  </a:solidFill>
                  <a:latin typeface="Arial" panose="020B0604020202020204" pitchFamily="34" charset="0"/>
                  <a:cs typeface="Arial" panose="020B0604020202020204" pitchFamily="34" charset="0"/>
                </a:rPr>
                <a:t>Increase staff resources across mental health</a:t>
              </a:r>
            </a:p>
          </p:txBody>
        </p:sp>
      </p:grpSp>
      <p:grpSp>
        <p:nvGrpSpPr>
          <p:cNvPr id="28" name="Group 27">
            <a:extLst>
              <a:ext uri="{FF2B5EF4-FFF2-40B4-BE49-F238E27FC236}">
                <a16:creationId xmlns:a16="http://schemas.microsoft.com/office/drawing/2014/main" id="{8B771798-42EE-5C4C-84A4-3B741660585C}"/>
              </a:ext>
            </a:extLst>
          </p:cNvPr>
          <p:cNvGrpSpPr/>
          <p:nvPr/>
        </p:nvGrpSpPr>
        <p:grpSpPr>
          <a:xfrm>
            <a:off x="5220928" y="3905401"/>
            <a:ext cx="6637979" cy="2146744"/>
            <a:chOff x="4782787" y="1286823"/>
            <a:chExt cx="4065938" cy="1493156"/>
          </a:xfrm>
        </p:grpSpPr>
        <p:sp>
          <p:nvSpPr>
            <p:cNvPr id="31" name="Rectangle 30">
              <a:extLst>
                <a:ext uri="{FF2B5EF4-FFF2-40B4-BE49-F238E27FC236}">
                  <a16:creationId xmlns:a16="http://schemas.microsoft.com/office/drawing/2014/main" id="{23CD1CFA-944E-104D-90E5-8186CC062DF7}"/>
                </a:ext>
              </a:extLst>
            </p:cNvPr>
            <p:cNvSpPr/>
            <p:nvPr/>
          </p:nvSpPr>
          <p:spPr>
            <a:xfrm>
              <a:off x="4782787" y="1286823"/>
              <a:ext cx="4065938" cy="199823"/>
            </a:xfrm>
            <a:prstGeom prst="rect">
              <a:avLst/>
            </a:prstGeom>
            <a:solidFill>
              <a:srgbClr val="F0ECF3"/>
            </a:solidFill>
            <a:ln w="9525" cap="flat" cmpd="sng" algn="ctr">
              <a:solidFill>
                <a:srgbClr val="F0ECF3"/>
              </a:solidFill>
              <a:prstDash val="solid"/>
              <a:miter lim="800000"/>
            </a:ln>
            <a:effectLst/>
          </p:spPr>
          <p:txBody>
            <a:bodyPr rtlCol="0" anchor="ctr"/>
            <a:lstStyle/>
            <a:p>
              <a:r>
                <a:rPr lang="en-GB" sz="1100" b="1">
                  <a:solidFill>
                    <a:srgbClr val="50235C"/>
                  </a:solidFill>
                </a:rPr>
                <a:t>What are other areas doing?</a:t>
              </a:r>
            </a:p>
          </p:txBody>
        </p:sp>
        <p:sp>
          <p:nvSpPr>
            <p:cNvPr id="32" name="Rectangle 31">
              <a:extLst>
                <a:ext uri="{FF2B5EF4-FFF2-40B4-BE49-F238E27FC236}">
                  <a16:creationId xmlns:a16="http://schemas.microsoft.com/office/drawing/2014/main" id="{FAF789BC-019C-B946-926D-6093AE1A3912}"/>
                </a:ext>
              </a:extLst>
            </p:cNvPr>
            <p:cNvSpPr/>
            <p:nvPr/>
          </p:nvSpPr>
          <p:spPr>
            <a:xfrm>
              <a:off x="4782787" y="1491221"/>
              <a:ext cx="4065938" cy="1288758"/>
            </a:xfrm>
            <a:prstGeom prst="rect">
              <a:avLst/>
            </a:prstGeom>
            <a:solidFill>
              <a:srgbClr val="F1EDF4"/>
            </a:solidFill>
            <a:ln w="3175">
              <a:solidFill>
                <a:srgbClr val="F0EC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62000" defTabSz="685800">
                <a:spcBef>
                  <a:spcPts val="600"/>
                </a:spcBef>
                <a:spcAft>
                  <a:spcPts val="600"/>
                </a:spcAft>
              </a:pPr>
              <a:r>
                <a:rPr lang="en-GB" sz="1000">
                  <a:solidFill>
                    <a:srgbClr val="50235B"/>
                  </a:solidFill>
                  <a:latin typeface="Arial" panose="020B0604020202020204" pitchFamily="34" charset="0"/>
                  <a:cs typeface="Arial" panose="020B0604020202020204" pitchFamily="34" charset="0"/>
                </a:rPr>
                <a:t>Mid Essex CCG and Mid and South Essex STP have addressed some of the common challenges of limited GP resource and safe staffing by creating an alternative staffing pool within a typical primary care setting. There was a limited resource of qualified GPs, which meant that maintaining a safe and sustainable service for the local population was becoming difficult. The aim of the approach was to estimate the likely case mix of attendances in primary care, and then secure an estimation of alternative staff needed to deliver against that need. </a:t>
              </a:r>
            </a:p>
            <a:p>
              <a:pPr marL="762000" defTabSz="685800">
                <a:spcBef>
                  <a:spcPts val="600"/>
                </a:spcBef>
                <a:spcAft>
                  <a:spcPts val="600"/>
                </a:spcAft>
              </a:pPr>
              <a:r>
                <a:rPr lang="en-GB" sz="1000">
                  <a:solidFill>
                    <a:srgbClr val="50235B"/>
                  </a:solidFill>
                  <a:latin typeface="Arial" panose="020B0604020202020204" pitchFamily="34" charset="0"/>
                  <a:cs typeface="Arial" panose="020B0604020202020204" pitchFamily="34" charset="0"/>
                </a:rPr>
                <a:t>Data collected from a network of 37 practices on reported morbidity problems was interpreted by a number of health professionals who captured the proportion of cases that could only be seen by a GP, and the proportion that could be seen by other appropriately qualified professionals. It was estimated that 37% of appointments require a GP with 63% potentially deliverable via another appropriately skilled member of the primary care workforce, allowing them to resource effectively.</a:t>
              </a:r>
            </a:p>
          </p:txBody>
        </p:sp>
      </p:grpSp>
      <p:pic>
        <p:nvPicPr>
          <p:cNvPr id="29" name="Picture 6" descr="Mid and South Essex CCG Joint Committee - NHS Basildon and Brentwood CCG">
            <a:extLst>
              <a:ext uri="{FF2B5EF4-FFF2-40B4-BE49-F238E27FC236}">
                <a16:creationId xmlns:a16="http://schemas.microsoft.com/office/drawing/2014/main" id="{03FDB918-8971-A046-942C-7EAEF623588A}"/>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5112" t="16068" r="5175" b="22855"/>
          <a:stretch/>
        </p:blipFill>
        <p:spPr bwMode="auto">
          <a:xfrm>
            <a:off x="5292563" y="4970612"/>
            <a:ext cx="719618" cy="25810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3" name="Table 32">
            <a:extLst>
              <a:ext uri="{FF2B5EF4-FFF2-40B4-BE49-F238E27FC236}">
                <a16:creationId xmlns:a16="http://schemas.microsoft.com/office/drawing/2014/main" id="{340EC8DA-1CEE-174D-B094-5C55A04FBAA8}"/>
              </a:ext>
            </a:extLst>
          </p:cNvPr>
          <p:cNvGraphicFramePr>
            <a:graphicFrameLocks noGrp="1"/>
          </p:cNvGraphicFramePr>
          <p:nvPr>
            <p:extLst>
              <p:ext uri="{D42A27DB-BD31-4B8C-83A1-F6EECF244321}">
                <p14:modId xmlns:p14="http://schemas.microsoft.com/office/powerpoint/2010/main" val="1095260840"/>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C"/>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pic>
        <p:nvPicPr>
          <p:cNvPr id="34" name="Graphic 33" descr="Group of people with solid fill">
            <a:extLst>
              <a:ext uri="{FF2B5EF4-FFF2-40B4-BE49-F238E27FC236}">
                <a16:creationId xmlns:a16="http://schemas.microsoft.com/office/drawing/2014/main" id="{16FEEABD-22D8-EC4B-91E4-F877684C59E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10638" y="148109"/>
            <a:ext cx="594000" cy="594000"/>
          </a:xfrm>
          <a:prstGeom prst="rect">
            <a:avLst/>
          </a:prstGeom>
        </p:spPr>
      </p:pic>
    </p:spTree>
    <p:extLst>
      <p:ext uri="{BB962C8B-B14F-4D97-AF65-F5344CB8AC3E}">
        <p14:creationId xmlns:p14="http://schemas.microsoft.com/office/powerpoint/2010/main" val="4036663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9137"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en-IN" sz="2800">
              <a:solidFill>
                <a:srgbClr val="FFFFFF"/>
              </a:solidFill>
              <a:sym typeface="Arial" panose="020B0604020202020204" pitchFamily="34" charset="0"/>
            </a:endParaRPr>
          </a:p>
        </p:txBody>
      </p:sp>
      <p:sp>
        <p:nvSpPr>
          <p:cNvPr id="2" name="Title 1"/>
          <p:cNvSpPr>
            <a:spLocks noGrp="1"/>
          </p:cNvSpPr>
          <p:nvPr>
            <p:ph type="title"/>
          </p:nvPr>
        </p:nvSpPr>
        <p:spPr>
          <a:xfrm>
            <a:off x="1214651" y="297277"/>
            <a:ext cx="8696792" cy="434010"/>
          </a:xfrm>
          <a:prstGeom prst="rect">
            <a:avLst/>
          </a:prstGeom>
        </p:spPr>
        <p:txBody>
          <a:bodyPr/>
          <a:lstStyle/>
          <a:p>
            <a:r>
              <a:rPr lang="en-GB">
                <a:solidFill>
                  <a:srgbClr val="50235B"/>
                </a:solidFill>
              </a:rPr>
              <a:t>Support the workforce and their wellbeing</a:t>
            </a:r>
            <a:endParaRPr lang="en-IN"/>
          </a:p>
        </p:txBody>
      </p:sp>
      <p:sp>
        <p:nvSpPr>
          <p:cNvPr id="21" name="Rectangle 20">
            <a:extLst>
              <a:ext uri="{FF2B5EF4-FFF2-40B4-BE49-F238E27FC236}">
                <a16:creationId xmlns:a16="http://schemas.microsoft.com/office/drawing/2014/main" id="{FE740462-AEED-0B41-92DC-3A54DEB718C8}"/>
              </a:ext>
            </a:extLst>
          </p:cNvPr>
          <p:cNvSpPr/>
          <p:nvPr/>
        </p:nvSpPr>
        <p:spPr>
          <a:xfrm>
            <a:off x="647407" y="1095781"/>
            <a:ext cx="2355654" cy="434010"/>
          </a:xfrm>
          <a:prstGeom prst="rect">
            <a:avLst/>
          </a:prstGeom>
          <a:noFill/>
          <a:ln w="12700" cap="flat" cmpd="sng" algn="ctr">
            <a:noFill/>
            <a:prstDash val="solid"/>
            <a:miter lim="800000"/>
          </a:ln>
          <a:effectLst/>
        </p:spPr>
        <p:txBody>
          <a:bodyPr rtlCol="0" anchor="ctr"/>
          <a:lstStyle/>
          <a:p>
            <a:pPr lvl="0" algn="ctr" defTabSz="685800">
              <a:defRPr/>
            </a:pPr>
            <a:endParaRPr lang="en-GB" sz="1050" b="1">
              <a:solidFill>
                <a:srgbClr val="50235B"/>
              </a:solidFill>
              <a:latin typeface="Arial" panose="020B0604020202020204" pitchFamily="34" charset="0"/>
              <a:cs typeface="Arial" panose="020B0604020202020204" pitchFamily="34" charset="0"/>
            </a:endParaRPr>
          </a:p>
        </p:txBody>
      </p:sp>
      <p:graphicFrame>
        <p:nvGraphicFramePr>
          <p:cNvPr id="5" name="Table 7">
            <a:extLst>
              <a:ext uri="{FF2B5EF4-FFF2-40B4-BE49-F238E27FC236}">
                <a16:creationId xmlns:a16="http://schemas.microsoft.com/office/drawing/2014/main" id="{1F73E11B-085A-AD47-B820-F62CD6BB7304}"/>
              </a:ext>
            </a:extLst>
          </p:cNvPr>
          <p:cNvGraphicFramePr>
            <a:graphicFrameLocks noGrp="1"/>
          </p:cNvGraphicFramePr>
          <p:nvPr>
            <p:extLst>
              <p:ext uri="{D42A27DB-BD31-4B8C-83A1-F6EECF244321}">
                <p14:modId xmlns:p14="http://schemas.microsoft.com/office/powerpoint/2010/main" val="3200883172"/>
              </p:ext>
            </p:extLst>
          </p:nvPr>
        </p:nvGraphicFramePr>
        <p:xfrm>
          <a:off x="510637" y="1095781"/>
          <a:ext cx="11325756" cy="4803576"/>
        </p:xfrm>
        <a:graphic>
          <a:graphicData uri="http://schemas.openxmlformats.org/drawingml/2006/table">
            <a:tbl>
              <a:tblPr firstRow="1" bandRow="1">
                <a:tableStyleId>{5C22544A-7EE6-4342-B048-85BDC9FD1C3A}</a:tableStyleId>
              </a:tblPr>
              <a:tblGrid>
                <a:gridCol w="718088">
                  <a:extLst>
                    <a:ext uri="{9D8B030D-6E8A-4147-A177-3AD203B41FA5}">
                      <a16:colId xmlns:a16="http://schemas.microsoft.com/office/drawing/2014/main" val="4209047126"/>
                    </a:ext>
                  </a:extLst>
                </a:gridCol>
                <a:gridCol w="3866440">
                  <a:extLst>
                    <a:ext uri="{9D8B030D-6E8A-4147-A177-3AD203B41FA5}">
                      <a16:colId xmlns:a16="http://schemas.microsoft.com/office/drawing/2014/main" val="1853970278"/>
                    </a:ext>
                  </a:extLst>
                </a:gridCol>
                <a:gridCol w="3598608">
                  <a:extLst>
                    <a:ext uri="{9D8B030D-6E8A-4147-A177-3AD203B41FA5}">
                      <a16:colId xmlns:a16="http://schemas.microsoft.com/office/drawing/2014/main" val="3087462113"/>
                    </a:ext>
                  </a:extLst>
                </a:gridCol>
                <a:gridCol w="628524">
                  <a:extLst>
                    <a:ext uri="{9D8B030D-6E8A-4147-A177-3AD203B41FA5}">
                      <a16:colId xmlns:a16="http://schemas.microsoft.com/office/drawing/2014/main" val="1029806020"/>
                    </a:ext>
                  </a:extLst>
                </a:gridCol>
                <a:gridCol w="628524">
                  <a:extLst>
                    <a:ext uri="{9D8B030D-6E8A-4147-A177-3AD203B41FA5}">
                      <a16:colId xmlns:a16="http://schemas.microsoft.com/office/drawing/2014/main" val="3714934659"/>
                    </a:ext>
                  </a:extLst>
                </a:gridCol>
                <a:gridCol w="628524">
                  <a:extLst>
                    <a:ext uri="{9D8B030D-6E8A-4147-A177-3AD203B41FA5}">
                      <a16:colId xmlns:a16="http://schemas.microsoft.com/office/drawing/2014/main" val="1245362172"/>
                    </a:ext>
                  </a:extLst>
                </a:gridCol>
                <a:gridCol w="628524">
                  <a:extLst>
                    <a:ext uri="{9D8B030D-6E8A-4147-A177-3AD203B41FA5}">
                      <a16:colId xmlns:a16="http://schemas.microsoft.com/office/drawing/2014/main" val="1845500442"/>
                    </a:ext>
                  </a:extLst>
                </a:gridCol>
                <a:gridCol w="628524">
                  <a:extLst>
                    <a:ext uri="{9D8B030D-6E8A-4147-A177-3AD203B41FA5}">
                      <a16:colId xmlns:a16="http://schemas.microsoft.com/office/drawing/2014/main" val="1385158084"/>
                    </a:ext>
                  </a:extLst>
                </a:gridCol>
              </a:tblGrid>
              <a:tr h="451594">
                <a:tc>
                  <a:txBody>
                    <a:bodyPr/>
                    <a:lstStyle/>
                    <a:p>
                      <a:pPr algn="ctr"/>
                      <a:r>
                        <a:rPr lang="en-GB" sz="900">
                          <a:solidFill>
                            <a:srgbClr val="50235C"/>
                          </a:solidFill>
                        </a:rPr>
                        <a:t>Roadmap ref</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r>
                        <a:rPr lang="en-GB" sz="900">
                          <a:solidFill>
                            <a:srgbClr val="50235C"/>
                          </a:solidFill>
                        </a:rPr>
                        <a:t>Future activity</a:t>
                      </a:r>
                      <a:endParaRPr lang="en-GB" sz="900"/>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algn="ctr" defTabSz="914400" rtl="0" eaLnBrk="1" fontAlgn="ctr" latinLnBrk="0" hangingPunct="1"/>
                      <a:r>
                        <a:rPr lang="en-GB" sz="900" b="1" kern="1200">
                          <a:solidFill>
                            <a:srgbClr val="50235C"/>
                          </a:solidFill>
                          <a:latin typeface="+mn-lt"/>
                          <a:ea typeface="+mn-ea"/>
                          <a:cs typeface="+mn-cs"/>
                        </a:rPr>
                        <a:t>Target outcome / Expected benefit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algn="ctr" defTabSz="914400" rtl="0" eaLnBrk="1" fontAlgn="ctr" latinLnBrk="0" hangingPunct="1"/>
                      <a:r>
                        <a:rPr lang="en-GB" sz="900" b="1" kern="1200">
                          <a:solidFill>
                            <a:srgbClr val="50235C"/>
                          </a:solidFill>
                          <a:latin typeface="+mn-lt"/>
                          <a:ea typeface="+mn-ea"/>
                          <a:cs typeface="+mn-cs"/>
                        </a:rPr>
                        <a:t>Impact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Ease</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algn="ctr" defTabSz="914400" rtl="0" eaLnBrk="1" fontAlgn="ctr" latinLnBrk="0" hangingPunct="1"/>
                      <a:r>
                        <a:rPr lang="en-GB" sz="900" b="1" kern="1200">
                          <a:solidFill>
                            <a:srgbClr val="50235C"/>
                          </a:solidFill>
                          <a:latin typeface="+mn-lt"/>
                          <a:ea typeface="+mn-ea"/>
                          <a:cs typeface="+mn-cs"/>
                        </a:rPr>
                        <a:t>Score</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algn="ctr" defTabSz="914400" rtl="0" eaLnBrk="1" fontAlgn="ctr" latinLnBrk="0" hangingPunct="1"/>
                      <a:r>
                        <a:rPr lang="en-GB" sz="900" b="1" kern="1200">
                          <a:solidFill>
                            <a:srgbClr val="50235C"/>
                          </a:solidFill>
                          <a:latin typeface="+mn-lt"/>
                          <a:ea typeface="+mn-ea"/>
                          <a:cs typeface="+mn-cs"/>
                        </a:rPr>
                        <a:t>Resource required</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r>
                        <a:rPr lang="en-GB" sz="900" b="1">
                          <a:solidFill>
                            <a:srgbClr val="50235C"/>
                          </a:solidFill>
                        </a:rPr>
                        <a:t>Short</a:t>
                      </a:r>
                    </a:p>
                    <a:p>
                      <a:r>
                        <a:rPr lang="en-GB" sz="900" b="1">
                          <a:solidFill>
                            <a:srgbClr val="50235C"/>
                          </a:solidFill>
                        </a:rPr>
                        <a:t>Medium</a:t>
                      </a:r>
                      <a:br>
                        <a:rPr lang="en-GB" sz="900" b="1">
                          <a:solidFill>
                            <a:srgbClr val="50235C"/>
                          </a:solidFill>
                        </a:rPr>
                      </a:br>
                      <a:r>
                        <a:rPr lang="en-GB" sz="900" b="1">
                          <a:solidFill>
                            <a:srgbClr val="50235C"/>
                          </a:solidFill>
                        </a:rPr>
                        <a:t>Long</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extLst>
                  <a:ext uri="{0D108BD9-81ED-4DB2-BD59-A6C34878D82A}">
                    <a16:rowId xmlns:a16="http://schemas.microsoft.com/office/drawing/2014/main" val="466195498"/>
                  </a:ext>
                </a:extLst>
              </a:tr>
              <a:tr h="53758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a:solidFill>
                            <a:srgbClr val="50235C"/>
                          </a:solidFill>
                        </a:rPr>
                        <a:t>G1</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Include voluntary sector in training opportunities</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84150" indent="-87313" algn="l" defTabSz="914400" rtl="0" eaLnBrk="1" fontAlgn="ctr" latinLnBrk="0" hangingPunct="1">
                        <a:buFont typeface="Arial" panose="020B0604020202020204" pitchFamily="34" charset="0"/>
                        <a:buChar char="•"/>
                        <a:tabLst/>
                      </a:pPr>
                      <a:r>
                        <a:rPr lang="en-GB" sz="900" b="0" i="0" u="none" strike="noStrike" kern="1200">
                          <a:solidFill>
                            <a:schemeClr val="tx2">
                              <a:lumMod val="65000"/>
                              <a:lumOff val="35000"/>
                            </a:schemeClr>
                          </a:solidFill>
                          <a:effectLst/>
                          <a:latin typeface="Arial" panose="020B0604020202020204" pitchFamily="34" charset="0"/>
                          <a:ea typeface="+mn-ea"/>
                          <a:cs typeface="+mn-cs"/>
                        </a:rPr>
                        <a:t>Voluntary sector are better equipped to support service users, reducing referrals into physical care settings.</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1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4199580168"/>
                  </a:ext>
                </a:extLst>
              </a:tr>
              <a:tr h="53758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G2</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Support for voluntary services with incident reviewing and reporting</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84150" indent="-87313" algn="l" defTabSz="914400" rtl="0" eaLnBrk="1" fontAlgn="ctr" latinLnBrk="0" hangingPunct="1">
                        <a:buFont typeface="Arial" panose="020B0604020202020204" pitchFamily="34" charset="0"/>
                        <a:buChar char="•"/>
                        <a:tabLst/>
                      </a:pPr>
                      <a:r>
                        <a:rPr lang="en-GB" sz="900" b="0" i="0" u="none" strike="noStrike" kern="1200">
                          <a:solidFill>
                            <a:schemeClr val="tx2">
                              <a:lumMod val="65000"/>
                              <a:lumOff val="35000"/>
                            </a:schemeClr>
                          </a:solidFill>
                          <a:effectLst/>
                          <a:latin typeface="Arial" panose="020B0604020202020204" pitchFamily="34" charset="0"/>
                          <a:ea typeface="+mn-ea"/>
                          <a:cs typeface="+mn-cs"/>
                        </a:rPr>
                        <a:t>Voluntary sector that is more confident and better equipped to offer services to users.</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1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3245170574"/>
                  </a:ext>
                </a:extLst>
              </a:tr>
              <a:tr h="53758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G3</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Appropriate funding for third sector</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84150" indent="-87313" algn="l" defTabSz="914400" rtl="0" eaLnBrk="1" fontAlgn="ctr" latinLnBrk="0" hangingPunct="1">
                        <a:buFont typeface="Arial" panose="020B0604020202020204" pitchFamily="34" charset="0"/>
                        <a:buChar char="•"/>
                        <a:tabLst/>
                      </a:pPr>
                      <a:r>
                        <a:rPr lang="en-GB" sz="900" b="0" i="0" u="none" strike="noStrike" kern="1200">
                          <a:solidFill>
                            <a:schemeClr val="tx2">
                              <a:lumMod val="65000"/>
                              <a:lumOff val="35000"/>
                            </a:schemeClr>
                          </a:solidFill>
                          <a:effectLst/>
                          <a:latin typeface="Arial" panose="020B0604020202020204" pitchFamily="34" charset="0"/>
                          <a:ea typeface="+mn-ea"/>
                          <a:cs typeface="+mn-cs"/>
                        </a:rPr>
                        <a:t>Third sector has adequate resources to support users in the community, thereby reducing demand for services.</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1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High</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1008083075"/>
                  </a:ext>
                </a:extLst>
              </a:tr>
              <a:tr h="53758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G4</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More shared experiences/training for workforce to help them feel connected</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84150" indent="-87313" algn="l" defTabSz="914400" rtl="0" eaLnBrk="1" fontAlgn="ctr" latinLnBrk="0" hangingPunct="1">
                        <a:buFont typeface="Arial" panose="020B0604020202020204" pitchFamily="34" charset="0"/>
                        <a:buChar char="•"/>
                        <a:tabLst/>
                      </a:pPr>
                      <a:r>
                        <a:rPr lang="en-GB" sz="900" b="0" i="0" u="none" strike="noStrike" kern="1200">
                          <a:solidFill>
                            <a:schemeClr val="tx2">
                              <a:lumMod val="65000"/>
                              <a:lumOff val="35000"/>
                            </a:schemeClr>
                          </a:solidFill>
                          <a:effectLst/>
                          <a:latin typeface="Arial" panose="020B0604020202020204" pitchFamily="34" charset="0"/>
                          <a:ea typeface="+mn-ea"/>
                          <a:cs typeface="+mn-cs"/>
                        </a:rPr>
                        <a:t>Workforce feel connected and part of the system, supporting their job satisfaction and reducing staff turnover.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9</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indent="0" algn="ctr" rtl="0" fontAlgn="ctr">
                        <a:buClr>
                          <a:srgbClr val="000000"/>
                        </a:buClr>
                        <a:buSzPts val="900"/>
                        <a:buFont typeface="Arial" panose="020B0604020202020204" pitchFamily="34" charset="0"/>
                        <a:buNone/>
                      </a:pPr>
                      <a:r>
                        <a:rPr lang="en-GB" sz="900" b="0" i="0" u="none" strike="noStrike">
                          <a:solidFill>
                            <a:schemeClr val="tx2">
                              <a:lumMod val="65000"/>
                              <a:lumOff val="35000"/>
                            </a:schemeClr>
                          </a:solidFill>
                          <a:effectLst/>
                          <a:latin typeface="Arial" panose="020B0604020202020204" pitchFamily="34" charset="0"/>
                        </a:rPr>
                        <a:t>Medium</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Medium</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3736406657"/>
                  </a:ext>
                </a:extLst>
              </a:tr>
              <a:tr h="53758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strike="noStrike" kern="1200">
                          <a:solidFill>
                            <a:srgbClr val="50235C"/>
                          </a:solidFill>
                          <a:latin typeface="+mn-lt"/>
                          <a:ea typeface="+mn-ea"/>
                          <a:cs typeface="+mn-cs"/>
                        </a:rPr>
                        <a:t>G5</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Work with HEE and national to assess tasks needed to be complete to support flexible recruitment</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84150" indent="-87313" algn="l" defTabSz="914400" rtl="0" eaLnBrk="1" fontAlgn="ctr" latinLnBrk="0" hangingPunct="1">
                        <a:buFont typeface="Arial" panose="020B0604020202020204" pitchFamily="34" charset="0"/>
                        <a:buChar char="•"/>
                        <a:tabLst/>
                      </a:pPr>
                      <a:r>
                        <a:rPr lang="en-GB" sz="900" b="0" i="0" u="none" strike="noStrike" kern="1200">
                          <a:solidFill>
                            <a:schemeClr val="tx2">
                              <a:lumMod val="65000"/>
                              <a:lumOff val="35000"/>
                            </a:schemeClr>
                          </a:solidFill>
                          <a:effectLst/>
                          <a:latin typeface="Arial" panose="020B0604020202020204" pitchFamily="34" charset="0"/>
                          <a:ea typeface="+mn-ea"/>
                          <a:cs typeface="+mn-cs"/>
                        </a:rPr>
                        <a:t>Workforce are not overburdened and a reduction in staff turnover.</a:t>
                      </a:r>
                    </a:p>
                    <a:p>
                      <a:pPr marL="184150" indent="-87313" algn="l" defTabSz="914400" rtl="0" eaLnBrk="1" fontAlgn="ctr" latinLnBrk="0" hangingPunct="1">
                        <a:buFont typeface="Arial" panose="020B0604020202020204" pitchFamily="34" charset="0"/>
                        <a:buChar char="•"/>
                        <a:tabLst/>
                      </a:pPr>
                      <a:r>
                        <a:rPr lang="en-GB" sz="900" b="0" i="0" u="none" strike="noStrike" kern="1200">
                          <a:solidFill>
                            <a:schemeClr val="tx2">
                              <a:lumMod val="65000"/>
                              <a:lumOff val="35000"/>
                            </a:schemeClr>
                          </a:solidFill>
                          <a:effectLst/>
                          <a:latin typeface="Arial" panose="020B0604020202020204" pitchFamily="34" charset="0"/>
                          <a:ea typeface="+mn-ea"/>
                          <a:cs typeface="+mn-cs"/>
                        </a:rPr>
                        <a:t>Varied workforce with diverse skills</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9</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strike="noStrike">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strike="noStrike">
                          <a:solidFill>
                            <a:schemeClr val="tx2">
                              <a:lumMod val="65000"/>
                              <a:lumOff val="35000"/>
                            </a:schemeClr>
                          </a:solidFill>
                        </a:rPr>
                        <a:t>Long</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2752216538"/>
                  </a:ext>
                </a:extLst>
              </a:tr>
              <a:tr h="53758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G6</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Releasing existing staff to take advantage of training opportunities in psychological therapies</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84150" indent="-87313" algn="l" defTabSz="914400" rtl="0" eaLnBrk="1" fontAlgn="ctr" latinLnBrk="0" hangingPunct="1">
                        <a:buFont typeface="Arial" panose="020B0604020202020204" pitchFamily="34" charset="0"/>
                        <a:buChar char="•"/>
                        <a:tabLst/>
                      </a:pPr>
                      <a:r>
                        <a:rPr lang="en-GB" sz="900" b="0" i="0" u="none" strike="noStrike" kern="1200">
                          <a:solidFill>
                            <a:schemeClr val="tx2">
                              <a:lumMod val="65000"/>
                              <a:lumOff val="35000"/>
                            </a:schemeClr>
                          </a:solidFill>
                          <a:effectLst/>
                          <a:latin typeface="Arial" panose="020B0604020202020204" pitchFamily="34" charset="0"/>
                          <a:ea typeface="+mn-ea"/>
                          <a:cs typeface="+mn-cs"/>
                        </a:rPr>
                        <a:t>More resources available across the system for user support as well as providing good development opportunities for existing staff.</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8</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High</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Long</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4190610611"/>
                  </a:ext>
                </a:extLst>
              </a:tr>
              <a:tr h="53758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G7</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Review workforce structure with career progression</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84150" indent="-87313" algn="l" defTabSz="914400" rtl="0" eaLnBrk="1" fontAlgn="ctr" latinLnBrk="0" hangingPunct="1">
                        <a:buFont typeface="Arial" panose="020B0604020202020204" pitchFamily="34" charset="0"/>
                        <a:buChar char="•"/>
                        <a:tabLst/>
                      </a:pPr>
                      <a:r>
                        <a:rPr lang="en-GB" sz="900" b="0" i="0" u="none" strike="noStrike" kern="1200">
                          <a:solidFill>
                            <a:schemeClr val="tx2">
                              <a:lumMod val="65000"/>
                              <a:lumOff val="35000"/>
                            </a:schemeClr>
                          </a:solidFill>
                          <a:effectLst/>
                          <a:latin typeface="Arial" panose="020B0604020202020204" pitchFamily="34" charset="0"/>
                          <a:ea typeface="+mn-ea"/>
                          <a:cs typeface="+mn-cs"/>
                        </a:rPr>
                        <a:t>Staff have improved long term career progression opportunities and are happier in their job.</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8</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Long</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2193687171"/>
                  </a:ext>
                </a:extLst>
              </a:tr>
              <a:tr h="53758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G8</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Designated Mental Health First Aiders (peer support)</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84150" indent="-87313" algn="l" defTabSz="914400" rtl="0" eaLnBrk="1" fontAlgn="ctr" latinLnBrk="0" hangingPunct="1">
                        <a:buFont typeface="Arial" panose="020B0604020202020204" pitchFamily="34" charset="0"/>
                        <a:buChar char="•"/>
                        <a:tabLst/>
                      </a:pPr>
                      <a:r>
                        <a:rPr lang="en-GB" sz="900" b="0" i="0" u="none" strike="noStrike" kern="1200">
                          <a:solidFill>
                            <a:schemeClr val="tx2">
                              <a:lumMod val="65000"/>
                              <a:lumOff val="35000"/>
                            </a:schemeClr>
                          </a:solidFill>
                          <a:effectLst/>
                          <a:latin typeface="Arial" panose="020B0604020202020204" pitchFamily="34" charset="0"/>
                          <a:ea typeface="+mn-ea"/>
                          <a:cs typeface="+mn-cs"/>
                        </a:rPr>
                        <a:t>Staff have peer support with their own mental health.</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1" i="0" u="none" strike="noStrike">
                          <a:solidFill>
                            <a:schemeClr val="tx2">
                              <a:lumMod val="65000"/>
                              <a:lumOff val="35000"/>
                            </a:schemeClr>
                          </a:solidFill>
                          <a:effectLst/>
                          <a:latin typeface="Arial" panose="020B0604020202020204" pitchFamily="34" charset="0"/>
                        </a:rPr>
                        <a:t>8</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1760215113"/>
                  </a:ext>
                </a:extLst>
              </a:tr>
            </a:tbl>
          </a:graphicData>
        </a:graphic>
      </p:graphicFrame>
      <p:graphicFrame>
        <p:nvGraphicFramePr>
          <p:cNvPr id="11" name="Table 10">
            <a:extLst>
              <a:ext uri="{FF2B5EF4-FFF2-40B4-BE49-F238E27FC236}">
                <a16:creationId xmlns:a16="http://schemas.microsoft.com/office/drawing/2014/main" id="{9C087DE1-578F-684E-A0AD-C9E00305F5C2}"/>
              </a:ext>
            </a:extLst>
          </p:cNvPr>
          <p:cNvGraphicFramePr>
            <a:graphicFrameLocks noGrp="1"/>
          </p:cNvGraphicFramePr>
          <p:nvPr>
            <p:extLst>
              <p:ext uri="{D42A27DB-BD31-4B8C-83A1-F6EECF244321}">
                <p14:modId xmlns:p14="http://schemas.microsoft.com/office/powerpoint/2010/main" val="1095260840"/>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C"/>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pic>
        <p:nvPicPr>
          <p:cNvPr id="12" name="Graphic 11" descr="Group of people with solid fill">
            <a:extLst>
              <a:ext uri="{FF2B5EF4-FFF2-40B4-BE49-F238E27FC236}">
                <a16:creationId xmlns:a16="http://schemas.microsoft.com/office/drawing/2014/main" id="{256B76CA-8D45-F54E-9922-0667D452FAC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10638" y="148109"/>
            <a:ext cx="594000" cy="594000"/>
          </a:xfrm>
          <a:prstGeom prst="rect">
            <a:avLst/>
          </a:prstGeom>
        </p:spPr>
      </p:pic>
      <p:sp>
        <p:nvSpPr>
          <p:cNvPr id="13" name="Rectangle 12">
            <a:extLst>
              <a:ext uri="{FF2B5EF4-FFF2-40B4-BE49-F238E27FC236}">
                <a16:creationId xmlns:a16="http://schemas.microsoft.com/office/drawing/2014/main" id="{DD55208A-2A86-A242-B446-302F08FCEE7C}"/>
              </a:ext>
            </a:extLst>
          </p:cNvPr>
          <p:cNvSpPr/>
          <p:nvPr/>
        </p:nvSpPr>
        <p:spPr>
          <a:xfrm>
            <a:off x="8462819" y="184705"/>
            <a:ext cx="1931224" cy="78568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panose="020B0604020202020204"/>
                <a:ea typeface="+mn-ea"/>
                <a:cs typeface="+mn-cs"/>
              </a:rPr>
              <a:t>IMPACT:        </a:t>
            </a: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1 = Low Impact </a:t>
            </a:r>
            <a:b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                       5 = High impa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panose="020B0604020202020204"/>
                <a:ea typeface="+mn-ea"/>
                <a:cs typeface="+mn-cs"/>
              </a:rPr>
              <a:t>EASE:            </a:t>
            </a: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1 = Difficult</a:t>
            </a:r>
            <a:b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                       5 = Straightforward</a:t>
            </a:r>
          </a:p>
          <a:p>
            <a:pPr>
              <a:defRPr/>
            </a:pPr>
            <a:r>
              <a:rPr lang="en-GB" sz="800" b="1">
                <a:solidFill>
                  <a:srgbClr val="000000"/>
                </a:solidFill>
              </a:rPr>
              <a:t>RESOURCE:  </a:t>
            </a:r>
            <a:r>
              <a:rPr lang="en-GB" sz="800">
                <a:solidFill>
                  <a:srgbClr val="000000"/>
                </a:solidFill>
              </a:rPr>
              <a:t>Low, Medium, High </a:t>
            </a:r>
          </a:p>
        </p:txBody>
      </p:sp>
      <p:sp>
        <p:nvSpPr>
          <p:cNvPr id="14" name="Rectangle 13">
            <a:extLst>
              <a:ext uri="{FF2B5EF4-FFF2-40B4-BE49-F238E27FC236}">
                <a16:creationId xmlns:a16="http://schemas.microsoft.com/office/drawing/2014/main" id="{0B9134BD-40D8-6E4D-811A-FE108E110ECE}"/>
              </a:ext>
            </a:extLst>
          </p:cNvPr>
          <p:cNvSpPr/>
          <p:nvPr/>
        </p:nvSpPr>
        <p:spPr>
          <a:xfrm>
            <a:off x="10394043" y="184705"/>
            <a:ext cx="1442357" cy="78568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00" b="1">
                <a:solidFill>
                  <a:srgbClr val="000000"/>
                </a:solidFill>
                <a:latin typeface="Arial" panose="020B0604020202020204"/>
              </a:rPr>
              <a:t>SHORT</a:t>
            </a:r>
            <a:r>
              <a:rPr lang="en-GB" sz="900">
                <a:solidFill>
                  <a:srgbClr val="000000"/>
                </a:solidFill>
                <a:latin typeface="Arial" panose="020B0604020202020204"/>
              </a:rPr>
              <a:t> =   0-6 months</a:t>
            </a:r>
          </a:p>
          <a:p>
            <a:r>
              <a:rPr lang="en-GB" sz="900" b="1">
                <a:solidFill>
                  <a:srgbClr val="000000"/>
                </a:solidFill>
                <a:latin typeface="Arial" panose="020B0604020202020204"/>
              </a:rPr>
              <a:t>MEDIUM</a:t>
            </a:r>
            <a:r>
              <a:rPr lang="en-GB" sz="900">
                <a:solidFill>
                  <a:srgbClr val="000000"/>
                </a:solidFill>
                <a:latin typeface="Arial" panose="020B0604020202020204"/>
              </a:rPr>
              <a:t> = 6-18 months</a:t>
            </a:r>
          </a:p>
          <a:p>
            <a:r>
              <a:rPr lang="en-GB" sz="900" b="1">
                <a:solidFill>
                  <a:srgbClr val="000000"/>
                </a:solidFill>
                <a:latin typeface="Arial" panose="020B0604020202020204"/>
              </a:rPr>
              <a:t>LONG</a:t>
            </a:r>
            <a:r>
              <a:rPr lang="en-GB" sz="900">
                <a:solidFill>
                  <a:srgbClr val="000000"/>
                </a:solidFill>
                <a:latin typeface="Arial" panose="020B0604020202020204"/>
              </a:rPr>
              <a:t> =     18 months +</a:t>
            </a:r>
          </a:p>
        </p:txBody>
      </p:sp>
    </p:spTree>
    <p:extLst>
      <p:ext uri="{BB962C8B-B14F-4D97-AF65-F5344CB8AC3E}">
        <p14:creationId xmlns:p14="http://schemas.microsoft.com/office/powerpoint/2010/main" val="381086658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1185"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en-IN" sz="2800">
              <a:solidFill>
                <a:srgbClr val="FFFFFF"/>
              </a:solidFill>
              <a:sym typeface="Arial" panose="020B0604020202020204" pitchFamily="34" charset="0"/>
            </a:endParaRPr>
          </a:p>
        </p:txBody>
      </p:sp>
      <p:sp>
        <p:nvSpPr>
          <p:cNvPr id="2" name="Title 1"/>
          <p:cNvSpPr>
            <a:spLocks noGrp="1"/>
          </p:cNvSpPr>
          <p:nvPr>
            <p:ph type="title"/>
          </p:nvPr>
        </p:nvSpPr>
        <p:spPr>
          <a:xfrm>
            <a:off x="1199947" y="297277"/>
            <a:ext cx="8711496" cy="434010"/>
          </a:xfrm>
          <a:prstGeom prst="rect">
            <a:avLst/>
          </a:prstGeom>
        </p:spPr>
        <p:txBody>
          <a:bodyPr/>
          <a:lstStyle/>
          <a:p>
            <a:r>
              <a:rPr lang="en-GB">
                <a:solidFill>
                  <a:srgbClr val="50235B"/>
                </a:solidFill>
              </a:rPr>
              <a:t>Supported transition from services</a:t>
            </a:r>
            <a:endParaRPr lang="en-IN"/>
          </a:p>
        </p:txBody>
      </p:sp>
      <p:sp>
        <p:nvSpPr>
          <p:cNvPr id="6" name="Footer Placeholder 5">
            <a:extLst>
              <a:ext uri="{FF2B5EF4-FFF2-40B4-BE49-F238E27FC236}">
                <a16:creationId xmlns:a16="http://schemas.microsoft.com/office/drawing/2014/main" id="{62E3292C-AE15-8E46-8E62-F9C713150B0B}"/>
              </a:ext>
            </a:extLst>
          </p:cNvPr>
          <p:cNvSpPr>
            <a:spLocks noGrp="1"/>
          </p:cNvSpPr>
          <p:nvPr>
            <p:ph type="ftr" sz="quarter" idx="14"/>
          </p:nvPr>
        </p:nvSpPr>
        <p:spPr>
          <a:xfrm>
            <a:off x="6570" y="6674068"/>
            <a:ext cx="1193377" cy="183932"/>
          </a:xfrm>
        </p:spPr>
        <p:txBody>
          <a:bodyPr/>
          <a:lstStyle/>
          <a:p>
            <a:r>
              <a:rPr lang="en-GB"/>
              <a:t>© Moorhouse 2021  </a:t>
            </a:r>
          </a:p>
        </p:txBody>
      </p:sp>
      <p:sp>
        <p:nvSpPr>
          <p:cNvPr id="21" name="Rectangle 20">
            <a:extLst>
              <a:ext uri="{FF2B5EF4-FFF2-40B4-BE49-F238E27FC236}">
                <a16:creationId xmlns:a16="http://schemas.microsoft.com/office/drawing/2014/main" id="{FE740462-AEED-0B41-92DC-3A54DEB718C8}"/>
              </a:ext>
            </a:extLst>
          </p:cNvPr>
          <p:cNvSpPr/>
          <p:nvPr/>
        </p:nvSpPr>
        <p:spPr>
          <a:xfrm>
            <a:off x="647407" y="1095781"/>
            <a:ext cx="2355654" cy="434010"/>
          </a:xfrm>
          <a:prstGeom prst="rect">
            <a:avLst/>
          </a:prstGeom>
          <a:noFill/>
          <a:ln w="12700" cap="flat" cmpd="sng" algn="ctr">
            <a:noFill/>
            <a:prstDash val="solid"/>
            <a:miter lim="800000"/>
          </a:ln>
          <a:effectLst/>
        </p:spPr>
        <p:txBody>
          <a:bodyPr rtlCol="0" anchor="ctr"/>
          <a:lstStyle/>
          <a:p>
            <a:pPr lvl="0" algn="ctr" defTabSz="685800">
              <a:defRPr/>
            </a:pPr>
            <a:endParaRPr lang="en-GB" sz="1050" b="1">
              <a:solidFill>
                <a:srgbClr val="50235B"/>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F19D9738-DFA2-C84F-82CF-6F85573EA287}"/>
              </a:ext>
            </a:extLst>
          </p:cNvPr>
          <p:cNvSpPr txBox="1"/>
          <p:nvPr/>
        </p:nvSpPr>
        <p:spPr>
          <a:xfrm>
            <a:off x="6691733" y="4336233"/>
            <a:ext cx="184731" cy="369332"/>
          </a:xfrm>
          <a:prstGeom prst="rect">
            <a:avLst/>
          </a:prstGeom>
          <a:noFill/>
        </p:spPr>
        <p:txBody>
          <a:bodyPr wrap="none" rtlCol="0">
            <a:spAutoFit/>
          </a:bodyPr>
          <a:lstStyle/>
          <a:p>
            <a:endParaRPr lang="en-US"/>
          </a:p>
        </p:txBody>
      </p:sp>
      <p:sp>
        <p:nvSpPr>
          <p:cNvPr id="51" name="Rectangle 50">
            <a:extLst>
              <a:ext uri="{FF2B5EF4-FFF2-40B4-BE49-F238E27FC236}">
                <a16:creationId xmlns:a16="http://schemas.microsoft.com/office/drawing/2014/main" id="{23228B87-D8A3-AC4B-8389-4FD6CB03BCB4}"/>
              </a:ext>
            </a:extLst>
          </p:cNvPr>
          <p:cNvSpPr/>
          <p:nvPr/>
        </p:nvSpPr>
        <p:spPr>
          <a:xfrm>
            <a:off x="6236659" y="5513696"/>
            <a:ext cx="5509862" cy="1852878"/>
          </a:xfrm>
          <a:prstGeom prst="rect">
            <a:avLst/>
          </a:prstGeom>
          <a:noFill/>
          <a:ln w="12700" cap="flat" cmpd="sng" algn="ctr">
            <a:noFill/>
            <a:prstDash val="solid"/>
            <a:miter lim="800000"/>
          </a:ln>
          <a:effectLst/>
        </p:spPr>
        <p:txBody>
          <a:bodyPr rtlCol="0" anchor="t"/>
          <a:lstStyle/>
          <a:p>
            <a:pPr defTabSz="685800" fontAlgn="base">
              <a:spcBef>
                <a:spcPts val="600"/>
              </a:spcBef>
              <a:spcAft>
                <a:spcPts val="600"/>
              </a:spcAft>
            </a:pPr>
            <a:endParaRPr lang="en-GB" sz="1000">
              <a:solidFill>
                <a:srgbClr val="50235B"/>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187D98F4-EB5A-E04B-B1AB-3062BCA3330F}"/>
              </a:ext>
            </a:extLst>
          </p:cNvPr>
          <p:cNvSpPr/>
          <p:nvPr/>
        </p:nvSpPr>
        <p:spPr>
          <a:xfrm>
            <a:off x="510638" y="855283"/>
            <a:ext cx="11348270" cy="6912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200" b="1">
                <a:solidFill>
                  <a:srgbClr val="50235C"/>
                </a:solidFill>
                <a:latin typeface="Arial" panose="020B0604020202020204" pitchFamily="34" charset="0"/>
                <a:cs typeface="Arial" panose="020B0604020202020204" pitchFamily="34" charset="0"/>
              </a:rPr>
              <a:t>It is essential that when people leave care settings, they will know what to do to continue to improve their wellbeing and feel supported to experience their best mental health and wellbeing. </a:t>
            </a:r>
          </a:p>
        </p:txBody>
      </p:sp>
      <p:grpSp>
        <p:nvGrpSpPr>
          <p:cNvPr id="20" name="Group 19">
            <a:extLst>
              <a:ext uri="{FF2B5EF4-FFF2-40B4-BE49-F238E27FC236}">
                <a16:creationId xmlns:a16="http://schemas.microsoft.com/office/drawing/2014/main" id="{856DAFD8-FA0A-4949-9E59-48AAEE3EBE5A}"/>
              </a:ext>
            </a:extLst>
          </p:cNvPr>
          <p:cNvGrpSpPr/>
          <p:nvPr/>
        </p:nvGrpSpPr>
        <p:grpSpPr>
          <a:xfrm>
            <a:off x="510626" y="1608542"/>
            <a:ext cx="5211146" cy="4459838"/>
            <a:chOff x="4782787" y="1094608"/>
            <a:chExt cx="4065938" cy="3102016"/>
          </a:xfrm>
        </p:grpSpPr>
        <p:sp>
          <p:nvSpPr>
            <p:cNvPr id="23" name="Rectangle 22">
              <a:extLst>
                <a:ext uri="{FF2B5EF4-FFF2-40B4-BE49-F238E27FC236}">
                  <a16:creationId xmlns:a16="http://schemas.microsoft.com/office/drawing/2014/main" id="{CB1214F5-503D-D44D-8085-7461DE245F94}"/>
                </a:ext>
              </a:extLst>
            </p:cNvPr>
            <p:cNvSpPr/>
            <p:nvPr/>
          </p:nvSpPr>
          <p:spPr>
            <a:xfrm>
              <a:off x="4782787" y="1094608"/>
              <a:ext cx="4065938" cy="199823"/>
            </a:xfrm>
            <a:prstGeom prst="rect">
              <a:avLst/>
            </a:prstGeom>
            <a:solidFill>
              <a:srgbClr val="F0ECF3"/>
            </a:solidFill>
            <a:ln w="9525" cap="flat" cmpd="sng" algn="ctr">
              <a:solidFill>
                <a:srgbClr val="F0ECF3"/>
              </a:solidFill>
              <a:prstDash val="solid"/>
              <a:miter lim="800000"/>
            </a:ln>
            <a:effectLst/>
          </p:spPr>
          <p:txBody>
            <a:bodyPr rtlCol="0" anchor="ctr"/>
            <a:lstStyle/>
            <a:p>
              <a:pPr defTabSz="914377">
                <a:defRPr/>
              </a:pPr>
              <a:r>
                <a:rPr lang="en-GB" sz="1067" b="1">
                  <a:solidFill>
                    <a:srgbClr val="50235B"/>
                  </a:solidFill>
                  <a:latin typeface="Arial" panose="020B0604020202020204"/>
                </a:rPr>
                <a:t>Where are we now?</a:t>
              </a:r>
            </a:p>
          </p:txBody>
        </p:sp>
        <p:sp>
          <p:nvSpPr>
            <p:cNvPr id="24" name="Rectangle 23">
              <a:extLst>
                <a:ext uri="{FF2B5EF4-FFF2-40B4-BE49-F238E27FC236}">
                  <a16:creationId xmlns:a16="http://schemas.microsoft.com/office/drawing/2014/main" id="{BC3BF939-741A-E546-81CE-0D14DDE2E26C}"/>
                </a:ext>
              </a:extLst>
            </p:cNvPr>
            <p:cNvSpPr/>
            <p:nvPr/>
          </p:nvSpPr>
          <p:spPr>
            <a:xfrm>
              <a:off x="4782787" y="1294431"/>
              <a:ext cx="4065938" cy="2902193"/>
            </a:xfrm>
            <a:prstGeom prst="rect">
              <a:avLst/>
            </a:prstGeom>
            <a:noFill/>
            <a:ln w="3175">
              <a:solidFill>
                <a:srgbClr val="F0ECF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685800">
                <a:spcBef>
                  <a:spcPts val="400"/>
                </a:spcBef>
                <a:spcAft>
                  <a:spcPts val="400"/>
                </a:spcAft>
                <a:defRPr/>
              </a:pPr>
              <a:r>
                <a:rPr lang="en-GB" sz="1000">
                  <a:solidFill>
                    <a:schemeClr val="tx2">
                      <a:lumMod val="65000"/>
                      <a:lumOff val="35000"/>
                    </a:schemeClr>
                  </a:solidFill>
                  <a:latin typeface="Arial" panose="020B0604020202020204" pitchFamily="34" charset="0"/>
                  <a:cs typeface="Arial" panose="020B0604020202020204" pitchFamily="34" charset="0"/>
                </a:rPr>
                <a:t>It is vital to ensure people transitioning from Mental health services are appropriately supported and have individual care plans to support people to experience their best mental health and wellbeing.  </a:t>
              </a:r>
            </a:p>
            <a:p>
              <a:pPr marL="171450" indent="-171450" defTabSz="685800">
                <a:spcBef>
                  <a:spcPts val="400"/>
                </a:spcBef>
                <a:spcAft>
                  <a:spcPts val="400"/>
                </a:spcAft>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Existing services include </a:t>
              </a:r>
              <a:r>
                <a:rPr lang="en-GB" sz="1000" b="1">
                  <a:solidFill>
                    <a:srgbClr val="50235C"/>
                  </a:solidFill>
                  <a:latin typeface="Arial" panose="020B0604020202020204" pitchFamily="34" charset="0"/>
                  <a:cs typeface="Arial" panose="020B0604020202020204" pitchFamily="34" charset="0"/>
                </a:rPr>
                <a:t>Intensive Life Skills pathway</a:t>
              </a:r>
              <a:r>
                <a:rPr lang="en-GB" sz="1000">
                  <a:solidFill>
                    <a:schemeClr val="tx2">
                      <a:lumMod val="65000"/>
                      <a:lumOff val="35000"/>
                    </a:schemeClr>
                  </a:solidFill>
                  <a:latin typeface="Arial" panose="020B0604020202020204" pitchFamily="34" charset="0"/>
                  <a:cs typeface="Arial" panose="020B0604020202020204" pitchFamily="34" charset="0"/>
                </a:rPr>
                <a:t>, </a:t>
              </a:r>
              <a:r>
                <a:rPr lang="en-GB" sz="1000" b="1">
                  <a:solidFill>
                    <a:srgbClr val="50235C"/>
                  </a:solidFill>
                  <a:latin typeface="Arial" panose="020B0604020202020204" pitchFamily="34" charset="0"/>
                  <a:cs typeface="Arial" panose="020B0604020202020204" pitchFamily="34" charset="0"/>
                </a:rPr>
                <a:t>coordinators from both councils </a:t>
              </a:r>
              <a:r>
                <a:rPr lang="en-GB" sz="1000">
                  <a:solidFill>
                    <a:schemeClr val="tx2">
                      <a:lumMod val="65000"/>
                      <a:lumOff val="35000"/>
                    </a:schemeClr>
                  </a:solidFill>
                  <a:latin typeface="Arial" panose="020B0604020202020204" pitchFamily="34" charset="0"/>
                  <a:cs typeface="Arial" panose="020B0604020202020204" pitchFamily="34" charset="0"/>
                </a:rPr>
                <a:t>who support people to find employment opportunities with supportive employers who they maintain relationships with, and there are a number of </a:t>
              </a:r>
              <a:r>
                <a:rPr lang="en-GB" sz="1000" b="1">
                  <a:solidFill>
                    <a:srgbClr val="50235C"/>
                  </a:solidFill>
                  <a:latin typeface="Arial" panose="020B0604020202020204" pitchFamily="34" charset="0"/>
                  <a:cs typeface="Arial" panose="020B0604020202020204" pitchFamily="34" charset="0"/>
                </a:rPr>
                <a:t>supported housing facilities </a:t>
              </a:r>
              <a:r>
                <a:rPr lang="en-GB" sz="1000">
                  <a:solidFill>
                    <a:schemeClr val="tx2">
                      <a:lumMod val="65000"/>
                      <a:lumOff val="35000"/>
                    </a:schemeClr>
                  </a:solidFill>
                  <a:latin typeface="Arial" panose="020B0604020202020204" pitchFamily="34" charset="0"/>
                  <a:cs typeface="Arial" panose="020B0604020202020204" pitchFamily="34" charset="0"/>
                </a:rPr>
                <a:t>that accommodate varies levels of care to support those discharged from inpatient care settings. </a:t>
              </a:r>
            </a:p>
            <a:p>
              <a:pPr marL="171450" indent="-171450" defTabSz="685800">
                <a:spcBef>
                  <a:spcPts val="400"/>
                </a:spcBef>
                <a:spcAft>
                  <a:spcPts val="400"/>
                </a:spcAft>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There are a number of services in </a:t>
              </a:r>
              <a:r>
                <a:rPr lang="en-GB" sz="1000" b="1">
                  <a:solidFill>
                    <a:srgbClr val="50235C"/>
                  </a:solidFill>
                  <a:latin typeface="Arial" panose="020B0604020202020204" pitchFamily="34" charset="0"/>
                  <a:cs typeface="Arial" panose="020B0604020202020204" pitchFamily="34" charset="0"/>
                </a:rPr>
                <a:t>third sector offering life skills and employment </a:t>
              </a:r>
              <a:r>
                <a:rPr lang="en-GB" sz="1000">
                  <a:solidFill>
                    <a:schemeClr val="tx2">
                      <a:lumMod val="65000"/>
                      <a:lumOff val="35000"/>
                    </a:schemeClr>
                  </a:solidFill>
                  <a:latin typeface="Arial" panose="020B0604020202020204" pitchFamily="34" charset="0"/>
                  <a:cs typeface="Arial" panose="020B0604020202020204" pitchFamily="34" charset="0"/>
                </a:rPr>
                <a:t>support. </a:t>
              </a:r>
            </a:p>
            <a:p>
              <a:pPr marL="171450" indent="-171450" defTabSz="685800">
                <a:spcBef>
                  <a:spcPts val="400"/>
                </a:spcBef>
                <a:spcAft>
                  <a:spcPts val="400"/>
                </a:spcAft>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MPFT demonstrate </a:t>
              </a:r>
              <a:r>
                <a:rPr lang="en-GB" sz="1000" b="1">
                  <a:solidFill>
                    <a:srgbClr val="50235C"/>
                  </a:solidFill>
                  <a:latin typeface="Arial" panose="020B0604020202020204" pitchFamily="34" charset="0"/>
                  <a:cs typeface="Arial" panose="020B0604020202020204" pitchFamily="34" charset="0"/>
                </a:rPr>
                <a:t>good practice in planning discharges </a:t>
              </a:r>
              <a:r>
                <a:rPr lang="en-GB" sz="1000">
                  <a:solidFill>
                    <a:schemeClr val="tx2">
                      <a:lumMod val="65000"/>
                      <a:lumOff val="35000"/>
                    </a:schemeClr>
                  </a:solidFill>
                  <a:latin typeface="Arial" panose="020B0604020202020204" pitchFamily="34" charset="0"/>
                  <a:cs typeface="Arial" panose="020B0604020202020204" pitchFamily="34" charset="0"/>
                </a:rPr>
                <a:t>starting as soon as the person is admitted to hospital. </a:t>
              </a:r>
            </a:p>
            <a:p>
              <a:pPr marL="171450" indent="-171450" defTabSz="685800">
                <a:spcBef>
                  <a:spcPts val="400"/>
                </a:spcBef>
                <a:spcAft>
                  <a:spcPts val="400"/>
                </a:spcAft>
                <a:buFont typeface="Arial" panose="020B0604020202020204" pitchFamily="34" charset="0"/>
                <a:buChar char="•"/>
                <a:defRPr/>
              </a:pPr>
              <a:r>
                <a:rPr lang="en-GB" sz="1000" b="1">
                  <a:solidFill>
                    <a:srgbClr val="50235C"/>
                  </a:solidFill>
                  <a:latin typeface="Arial" panose="020B0604020202020204" pitchFamily="34" charset="0"/>
                  <a:cs typeface="Arial" panose="020B0604020202020204" pitchFamily="34" charset="0"/>
                </a:rPr>
                <a:t>Care offered in system is not always responsive enough</a:t>
              </a:r>
              <a:r>
                <a:rPr lang="en-GB" sz="1000">
                  <a:solidFill>
                    <a:schemeClr val="tx2">
                      <a:lumMod val="65000"/>
                      <a:lumOff val="35000"/>
                    </a:schemeClr>
                  </a:solidFill>
                  <a:latin typeface="Arial" panose="020B0604020202020204" pitchFamily="34" charset="0"/>
                  <a:cs typeface="Arial" panose="020B0604020202020204" pitchFamily="34" charset="0"/>
                </a:rPr>
                <a:t>, people have to wait for the care they need.  </a:t>
              </a:r>
            </a:p>
            <a:p>
              <a:pPr marL="171450" indent="-171450" defTabSz="685800">
                <a:spcBef>
                  <a:spcPts val="400"/>
                </a:spcBef>
                <a:spcAft>
                  <a:spcPts val="400"/>
                </a:spcAft>
                <a:buFont typeface="Arial" panose="020B0604020202020204" pitchFamily="34" charset="0"/>
                <a:buChar char="•"/>
                <a:defRPr/>
              </a:pPr>
              <a:r>
                <a:rPr lang="en-GB" sz="1000" b="1">
                  <a:solidFill>
                    <a:srgbClr val="50235C"/>
                  </a:solidFill>
                  <a:latin typeface="Arial" panose="020B0604020202020204" pitchFamily="34" charset="0"/>
                  <a:cs typeface="Arial" panose="020B0604020202020204" pitchFamily="34" charset="0"/>
                </a:rPr>
                <a:t>Care coordinators </a:t>
              </a:r>
              <a:r>
                <a:rPr lang="en-GB" sz="1000">
                  <a:solidFill>
                    <a:schemeClr val="tx2">
                      <a:lumMod val="65000"/>
                      <a:lumOff val="35000"/>
                    </a:schemeClr>
                  </a:solidFill>
                  <a:latin typeface="Arial" panose="020B0604020202020204" pitchFamily="34" charset="0"/>
                  <a:cs typeface="Arial" panose="020B0604020202020204" pitchFamily="34" charset="0"/>
                </a:rPr>
                <a:t>provide support to high intensity service users in the community.  </a:t>
              </a:r>
            </a:p>
          </p:txBody>
        </p:sp>
      </p:grpSp>
      <p:grpSp>
        <p:nvGrpSpPr>
          <p:cNvPr id="25" name="Group 24">
            <a:extLst>
              <a:ext uri="{FF2B5EF4-FFF2-40B4-BE49-F238E27FC236}">
                <a16:creationId xmlns:a16="http://schemas.microsoft.com/office/drawing/2014/main" id="{6E749FC9-89E1-124F-A832-F939520B97F7}"/>
              </a:ext>
            </a:extLst>
          </p:cNvPr>
          <p:cNvGrpSpPr/>
          <p:nvPr/>
        </p:nvGrpSpPr>
        <p:grpSpPr>
          <a:xfrm>
            <a:off x="6095989" y="1608542"/>
            <a:ext cx="5762908" cy="1925264"/>
            <a:chOff x="4782787" y="1094608"/>
            <a:chExt cx="4065938" cy="1339107"/>
          </a:xfrm>
        </p:grpSpPr>
        <p:sp>
          <p:nvSpPr>
            <p:cNvPr id="26" name="Rectangle 25">
              <a:extLst>
                <a:ext uri="{FF2B5EF4-FFF2-40B4-BE49-F238E27FC236}">
                  <a16:creationId xmlns:a16="http://schemas.microsoft.com/office/drawing/2014/main" id="{E25E26F4-E637-704F-B12F-70168E4D4086}"/>
                </a:ext>
              </a:extLst>
            </p:cNvPr>
            <p:cNvSpPr/>
            <p:nvPr/>
          </p:nvSpPr>
          <p:spPr>
            <a:xfrm>
              <a:off x="4782787" y="1094608"/>
              <a:ext cx="4065938" cy="199823"/>
            </a:xfrm>
            <a:prstGeom prst="rect">
              <a:avLst/>
            </a:prstGeom>
            <a:solidFill>
              <a:srgbClr val="F0ECF3"/>
            </a:solidFill>
            <a:ln w="9525" cap="flat" cmpd="sng" algn="ctr">
              <a:solidFill>
                <a:srgbClr val="F0ECF3"/>
              </a:solidFill>
              <a:prstDash val="solid"/>
              <a:miter lim="800000"/>
            </a:ln>
            <a:effectLst/>
          </p:spPr>
          <p:txBody>
            <a:bodyPr rtlCol="0" anchor="ctr"/>
            <a:lstStyle/>
            <a:p>
              <a:r>
                <a:rPr lang="en-GB" sz="1100" b="1">
                  <a:solidFill>
                    <a:srgbClr val="50235C"/>
                  </a:solidFill>
                </a:rPr>
                <a:t>Where do we need to get to? </a:t>
              </a:r>
            </a:p>
          </p:txBody>
        </p:sp>
        <p:sp>
          <p:nvSpPr>
            <p:cNvPr id="27" name="Rectangle 26">
              <a:extLst>
                <a:ext uri="{FF2B5EF4-FFF2-40B4-BE49-F238E27FC236}">
                  <a16:creationId xmlns:a16="http://schemas.microsoft.com/office/drawing/2014/main" id="{B9168E8A-7661-C04B-929C-33F806DED5CE}"/>
                </a:ext>
              </a:extLst>
            </p:cNvPr>
            <p:cNvSpPr/>
            <p:nvPr/>
          </p:nvSpPr>
          <p:spPr>
            <a:xfrm>
              <a:off x="4782787" y="1294431"/>
              <a:ext cx="4065938" cy="1139284"/>
            </a:xfrm>
            <a:prstGeom prst="rect">
              <a:avLst/>
            </a:prstGeom>
            <a:noFill/>
            <a:ln w="3175">
              <a:solidFill>
                <a:srgbClr val="F0ECF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defTabSz="685800">
                <a:spcBef>
                  <a:spcPts val="600"/>
                </a:spcBef>
                <a:spcAft>
                  <a:spcPts val="600"/>
                </a:spcAft>
                <a:buFont typeface="Wingdings" pitchFamily="2" charset="2"/>
                <a:buChar char="ü"/>
              </a:pPr>
              <a:r>
                <a:rPr lang="en-GB" sz="1000">
                  <a:solidFill>
                    <a:srgbClr val="50235B"/>
                  </a:solidFill>
                  <a:latin typeface="Arial" panose="020B0604020202020204" pitchFamily="34" charset="0"/>
                  <a:cs typeface="Arial" panose="020B0604020202020204" pitchFamily="34" charset="0"/>
                </a:rPr>
                <a:t>Reduction in readmissions to in-patient care settings</a:t>
              </a:r>
            </a:p>
            <a:p>
              <a:pPr marL="171450" indent="-171450" defTabSz="685800">
                <a:spcBef>
                  <a:spcPts val="600"/>
                </a:spcBef>
                <a:spcAft>
                  <a:spcPts val="600"/>
                </a:spcAft>
                <a:buFont typeface="Wingdings" pitchFamily="2" charset="2"/>
                <a:buChar char="ü"/>
              </a:pPr>
              <a:r>
                <a:rPr lang="en-GB" sz="1000">
                  <a:solidFill>
                    <a:srgbClr val="50235B"/>
                  </a:solidFill>
                  <a:latin typeface="Arial" panose="020B0604020202020204" pitchFamily="34" charset="0"/>
                  <a:cs typeface="Arial" panose="020B0604020202020204" pitchFamily="34" charset="0"/>
                </a:rPr>
                <a:t>Reduction in people reaching crisis who have been discharged from inpatient and secondary care settings </a:t>
              </a:r>
            </a:p>
            <a:p>
              <a:pPr marL="171450" indent="-171450" defTabSz="685800">
                <a:spcBef>
                  <a:spcPts val="600"/>
                </a:spcBef>
                <a:spcAft>
                  <a:spcPts val="600"/>
                </a:spcAft>
                <a:buFont typeface="Wingdings" pitchFamily="2" charset="2"/>
                <a:buChar char="ü"/>
              </a:pPr>
              <a:r>
                <a:rPr lang="en-GB" sz="1000">
                  <a:solidFill>
                    <a:srgbClr val="50235B"/>
                  </a:solidFill>
                  <a:latin typeface="Arial" panose="020B0604020202020204" pitchFamily="34" charset="0"/>
                  <a:cs typeface="Arial" panose="020B0604020202020204" pitchFamily="34" charset="0"/>
                </a:rPr>
                <a:t>Soft and supported landing out of care settings</a:t>
              </a:r>
            </a:p>
            <a:p>
              <a:pPr marL="171450" indent="-171450" defTabSz="685800">
                <a:spcBef>
                  <a:spcPts val="600"/>
                </a:spcBef>
                <a:spcAft>
                  <a:spcPts val="600"/>
                </a:spcAft>
                <a:buFont typeface="Wingdings" pitchFamily="2" charset="2"/>
                <a:buChar char="ü"/>
              </a:pPr>
              <a:r>
                <a:rPr lang="en-GB" sz="1000">
                  <a:solidFill>
                    <a:srgbClr val="50235B"/>
                  </a:solidFill>
                  <a:latin typeface="Arial" panose="020B0604020202020204" pitchFamily="34" charset="0"/>
                  <a:cs typeface="Arial" panose="020B0604020202020204" pitchFamily="34" charset="0"/>
                </a:rPr>
                <a:t>When people leave care settings, they know what to do to continue to improve their wellbeing and feel supported to experience their best mental health and wellbeing. </a:t>
              </a:r>
            </a:p>
          </p:txBody>
        </p:sp>
      </p:grpSp>
      <p:grpSp>
        <p:nvGrpSpPr>
          <p:cNvPr id="28" name="Group 27">
            <a:extLst>
              <a:ext uri="{FF2B5EF4-FFF2-40B4-BE49-F238E27FC236}">
                <a16:creationId xmlns:a16="http://schemas.microsoft.com/office/drawing/2014/main" id="{8B771798-42EE-5C4C-84A4-3B741660585C}"/>
              </a:ext>
            </a:extLst>
          </p:cNvPr>
          <p:cNvGrpSpPr/>
          <p:nvPr/>
        </p:nvGrpSpPr>
        <p:grpSpPr>
          <a:xfrm>
            <a:off x="6095989" y="3631799"/>
            <a:ext cx="5762908" cy="2436736"/>
            <a:chOff x="4782787" y="1262327"/>
            <a:chExt cx="4065938" cy="1517653"/>
          </a:xfrm>
        </p:grpSpPr>
        <p:sp>
          <p:nvSpPr>
            <p:cNvPr id="31" name="Rectangle 30">
              <a:extLst>
                <a:ext uri="{FF2B5EF4-FFF2-40B4-BE49-F238E27FC236}">
                  <a16:creationId xmlns:a16="http://schemas.microsoft.com/office/drawing/2014/main" id="{23CD1CFA-944E-104D-90E5-8186CC062DF7}"/>
                </a:ext>
              </a:extLst>
            </p:cNvPr>
            <p:cNvSpPr/>
            <p:nvPr/>
          </p:nvSpPr>
          <p:spPr>
            <a:xfrm>
              <a:off x="4782787" y="1262327"/>
              <a:ext cx="4065938" cy="167437"/>
            </a:xfrm>
            <a:prstGeom prst="rect">
              <a:avLst/>
            </a:prstGeom>
            <a:solidFill>
              <a:srgbClr val="F0ECF3"/>
            </a:solidFill>
            <a:ln w="9525" cap="flat" cmpd="sng" algn="ctr">
              <a:solidFill>
                <a:srgbClr val="F0ECF3"/>
              </a:solidFill>
              <a:prstDash val="solid"/>
              <a:miter lim="800000"/>
            </a:ln>
            <a:effectLst/>
          </p:spPr>
          <p:txBody>
            <a:bodyPr rtlCol="0" anchor="ctr"/>
            <a:lstStyle/>
            <a:p>
              <a:r>
                <a:rPr lang="en-GB" sz="1100" b="1">
                  <a:solidFill>
                    <a:srgbClr val="50235C"/>
                  </a:solidFill>
                </a:rPr>
                <a:t>What are other areas doing?</a:t>
              </a:r>
            </a:p>
          </p:txBody>
        </p:sp>
        <p:sp>
          <p:nvSpPr>
            <p:cNvPr id="32" name="Rectangle 31">
              <a:extLst>
                <a:ext uri="{FF2B5EF4-FFF2-40B4-BE49-F238E27FC236}">
                  <a16:creationId xmlns:a16="http://schemas.microsoft.com/office/drawing/2014/main" id="{FAF789BC-019C-B946-926D-6093AE1A3912}"/>
                </a:ext>
              </a:extLst>
            </p:cNvPr>
            <p:cNvSpPr/>
            <p:nvPr/>
          </p:nvSpPr>
          <p:spPr>
            <a:xfrm>
              <a:off x="4782787" y="1429765"/>
              <a:ext cx="4065938" cy="1350215"/>
            </a:xfrm>
            <a:prstGeom prst="rect">
              <a:avLst/>
            </a:prstGeom>
            <a:solidFill>
              <a:srgbClr val="F1EDF4"/>
            </a:solidFill>
            <a:ln w="3175">
              <a:solidFill>
                <a:srgbClr val="F0EC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25525" lvl="0">
                <a:spcBef>
                  <a:spcPts val="300"/>
                </a:spcBef>
                <a:spcAft>
                  <a:spcPts val="300"/>
                </a:spcAft>
              </a:pPr>
              <a:r>
                <a:rPr lang="en-GB" sz="1000">
                  <a:solidFill>
                    <a:srgbClr val="50235B"/>
                  </a:solidFill>
                  <a:latin typeface="Arial" panose="020B0604020202020204" pitchFamily="34" charset="0"/>
                  <a:cs typeface="Arial" panose="020B0604020202020204" pitchFamily="34" charset="0"/>
                </a:rPr>
                <a:t>Central and North West London provide a new short term, community-based accommodation service in Central and North West London which supports the move of individuals from inpatient services back to the community. The service facilitates early discharge from hospital, reduces the length of stay on acute mental health wards and enable people to reintegrate back into the community in a safe and supported way. Step-Down offers 24-hour live-in care in one of our temporary accommodations with in-reach from a community team made up of occupational therapist, nurse, social worker and support worker. </a:t>
              </a:r>
            </a:p>
            <a:p>
              <a:pPr marL="1025525" lvl="0">
                <a:spcBef>
                  <a:spcPts val="300"/>
                </a:spcBef>
                <a:spcAft>
                  <a:spcPts val="300"/>
                </a:spcAft>
              </a:pPr>
              <a:r>
                <a:rPr lang="en-GB" sz="1000">
                  <a:solidFill>
                    <a:srgbClr val="50235B"/>
                  </a:solidFill>
                  <a:latin typeface="Arial" panose="020B0604020202020204" pitchFamily="34" charset="0"/>
                  <a:cs typeface="Arial" panose="020B0604020202020204" pitchFamily="34" charset="0"/>
                </a:rPr>
                <a:t>The service takes an innovative approach to supporting patients who could benefit from continuing care in a community based, recovery-focused environment. Residents are supported with activities of daily living and any social or practical needs for up to a 12 week stay.</a:t>
              </a:r>
            </a:p>
          </p:txBody>
        </p:sp>
      </p:grpSp>
      <p:pic>
        <p:nvPicPr>
          <p:cNvPr id="29" name="Picture 3" descr="Central and North West London NHS Foundation Trust - Allen Lane">
            <a:extLst>
              <a:ext uri="{FF2B5EF4-FFF2-40B4-BE49-F238E27FC236}">
                <a16:creationId xmlns:a16="http://schemas.microsoft.com/office/drawing/2014/main" id="{8331FEE8-377D-EE4F-A697-1520E3AA31DC}"/>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5763" t="23076" r="15489" b="22476"/>
          <a:stretch/>
        </p:blipFill>
        <p:spPr bwMode="auto">
          <a:xfrm>
            <a:off x="6180870" y="4658991"/>
            <a:ext cx="939797" cy="48217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3" name="Table 32">
            <a:extLst>
              <a:ext uri="{FF2B5EF4-FFF2-40B4-BE49-F238E27FC236}">
                <a16:creationId xmlns:a16="http://schemas.microsoft.com/office/drawing/2014/main" id="{ABBF6F65-97DE-1048-A910-A5A3DAA6D906}"/>
              </a:ext>
            </a:extLst>
          </p:cNvPr>
          <p:cNvGraphicFramePr>
            <a:graphicFrameLocks noGrp="1"/>
          </p:cNvGraphicFramePr>
          <p:nvPr>
            <p:extLst>
              <p:ext uri="{D42A27DB-BD31-4B8C-83A1-F6EECF244321}">
                <p14:modId xmlns:p14="http://schemas.microsoft.com/office/powerpoint/2010/main" val="1095260840"/>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C"/>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pic>
        <p:nvPicPr>
          <p:cNvPr id="34" name="Graphic 33" descr="Handshake with solid fill">
            <a:extLst>
              <a:ext uri="{FF2B5EF4-FFF2-40B4-BE49-F238E27FC236}">
                <a16:creationId xmlns:a16="http://schemas.microsoft.com/office/drawing/2014/main" id="{9FCBB765-C13A-BE4A-BC47-C03EA623A35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10638" y="199285"/>
            <a:ext cx="594000" cy="594000"/>
          </a:xfrm>
          <a:prstGeom prst="rect">
            <a:avLst/>
          </a:prstGeom>
        </p:spPr>
      </p:pic>
    </p:spTree>
    <p:extLst>
      <p:ext uri="{BB962C8B-B14F-4D97-AF65-F5344CB8AC3E}">
        <p14:creationId xmlns:p14="http://schemas.microsoft.com/office/powerpoint/2010/main" val="129277565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3233"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en-IN" sz="2800">
              <a:solidFill>
                <a:srgbClr val="FFFFFF"/>
              </a:solidFill>
              <a:sym typeface="Arial" panose="020B0604020202020204" pitchFamily="34" charset="0"/>
            </a:endParaRPr>
          </a:p>
        </p:txBody>
      </p:sp>
      <p:sp>
        <p:nvSpPr>
          <p:cNvPr id="2" name="Title 1"/>
          <p:cNvSpPr>
            <a:spLocks noGrp="1"/>
          </p:cNvSpPr>
          <p:nvPr>
            <p:ph type="title"/>
          </p:nvPr>
        </p:nvSpPr>
        <p:spPr>
          <a:xfrm>
            <a:off x="1282890" y="297277"/>
            <a:ext cx="8628553" cy="434010"/>
          </a:xfrm>
          <a:prstGeom prst="rect">
            <a:avLst/>
          </a:prstGeom>
        </p:spPr>
        <p:txBody>
          <a:bodyPr/>
          <a:lstStyle/>
          <a:p>
            <a:r>
              <a:rPr lang="en-GB">
                <a:solidFill>
                  <a:srgbClr val="50235B"/>
                </a:solidFill>
              </a:rPr>
              <a:t>Supported transition from services</a:t>
            </a:r>
            <a:endParaRPr lang="en-IN"/>
          </a:p>
        </p:txBody>
      </p:sp>
      <p:sp>
        <p:nvSpPr>
          <p:cNvPr id="21" name="Rectangle 20">
            <a:extLst>
              <a:ext uri="{FF2B5EF4-FFF2-40B4-BE49-F238E27FC236}">
                <a16:creationId xmlns:a16="http://schemas.microsoft.com/office/drawing/2014/main" id="{FE740462-AEED-0B41-92DC-3A54DEB718C8}"/>
              </a:ext>
            </a:extLst>
          </p:cNvPr>
          <p:cNvSpPr/>
          <p:nvPr/>
        </p:nvSpPr>
        <p:spPr>
          <a:xfrm>
            <a:off x="647407" y="1095781"/>
            <a:ext cx="2355654" cy="434010"/>
          </a:xfrm>
          <a:prstGeom prst="rect">
            <a:avLst/>
          </a:prstGeom>
          <a:noFill/>
          <a:ln w="12700" cap="flat" cmpd="sng" algn="ctr">
            <a:noFill/>
            <a:prstDash val="solid"/>
            <a:miter lim="800000"/>
          </a:ln>
          <a:effectLst/>
        </p:spPr>
        <p:txBody>
          <a:bodyPr rtlCol="0" anchor="ctr"/>
          <a:lstStyle/>
          <a:p>
            <a:pPr lvl="0" algn="ctr" defTabSz="685800">
              <a:defRPr/>
            </a:pPr>
            <a:endParaRPr lang="en-GB" sz="1050" b="1">
              <a:solidFill>
                <a:srgbClr val="50235B"/>
              </a:solidFill>
              <a:latin typeface="Arial" panose="020B0604020202020204" pitchFamily="34" charset="0"/>
              <a:cs typeface="Arial" panose="020B0604020202020204" pitchFamily="34" charset="0"/>
            </a:endParaRPr>
          </a:p>
        </p:txBody>
      </p:sp>
      <p:graphicFrame>
        <p:nvGraphicFramePr>
          <p:cNvPr id="5" name="Table 7">
            <a:extLst>
              <a:ext uri="{FF2B5EF4-FFF2-40B4-BE49-F238E27FC236}">
                <a16:creationId xmlns:a16="http://schemas.microsoft.com/office/drawing/2014/main" id="{1F73E11B-085A-AD47-B820-F62CD6BB7304}"/>
              </a:ext>
            </a:extLst>
          </p:cNvPr>
          <p:cNvGraphicFramePr>
            <a:graphicFrameLocks noGrp="1"/>
          </p:cNvGraphicFramePr>
          <p:nvPr>
            <p:extLst>
              <p:ext uri="{D42A27DB-BD31-4B8C-83A1-F6EECF244321}">
                <p14:modId xmlns:p14="http://schemas.microsoft.com/office/powerpoint/2010/main" val="4270833097"/>
              </p:ext>
            </p:extLst>
          </p:nvPr>
        </p:nvGraphicFramePr>
        <p:xfrm>
          <a:off x="510638" y="1095780"/>
          <a:ext cx="11325765" cy="3997426"/>
        </p:xfrm>
        <a:graphic>
          <a:graphicData uri="http://schemas.openxmlformats.org/drawingml/2006/table">
            <a:tbl>
              <a:tblPr firstRow="1" bandRow="1">
                <a:tableStyleId>{5C22544A-7EE6-4342-B048-85BDC9FD1C3A}</a:tableStyleId>
              </a:tblPr>
              <a:tblGrid>
                <a:gridCol w="732375">
                  <a:extLst>
                    <a:ext uri="{9D8B030D-6E8A-4147-A177-3AD203B41FA5}">
                      <a16:colId xmlns:a16="http://schemas.microsoft.com/office/drawing/2014/main" val="4209047126"/>
                    </a:ext>
                  </a:extLst>
                </a:gridCol>
                <a:gridCol w="2836619">
                  <a:extLst>
                    <a:ext uri="{9D8B030D-6E8A-4147-A177-3AD203B41FA5}">
                      <a16:colId xmlns:a16="http://schemas.microsoft.com/office/drawing/2014/main" val="1853970278"/>
                    </a:ext>
                  </a:extLst>
                </a:gridCol>
                <a:gridCol w="3892061">
                  <a:extLst>
                    <a:ext uri="{9D8B030D-6E8A-4147-A177-3AD203B41FA5}">
                      <a16:colId xmlns:a16="http://schemas.microsoft.com/office/drawing/2014/main" val="3087462113"/>
                    </a:ext>
                  </a:extLst>
                </a:gridCol>
                <a:gridCol w="772942">
                  <a:extLst>
                    <a:ext uri="{9D8B030D-6E8A-4147-A177-3AD203B41FA5}">
                      <a16:colId xmlns:a16="http://schemas.microsoft.com/office/drawing/2014/main" val="1029806020"/>
                    </a:ext>
                  </a:extLst>
                </a:gridCol>
                <a:gridCol w="772942">
                  <a:extLst>
                    <a:ext uri="{9D8B030D-6E8A-4147-A177-3AD203B41FA5}">
                      <a16:colId xmlns:a16="http://schemas.microsoft.com/office/drawing/2014/main" val="3714934659"/>
                    </a:ext>
                  </a:extLst>
                </a:gridCol>
                <a:gridCol w="772942">
                  <a:extLst>
                    <a:ext uri="{9D8B030D-6E8A-4147-A177-3AD203B41FA5}">
                      <a16:colId xmlns:a16="http://schemas.microsoft.com/office/drawing/2014/main" val="1845500442"/>
                    </a:ext>
                  </a:extLst>
                </a:gridCol>
                <a:gridCol w="772942">
                  <a:extLst>
                    <a:ext uri="{9D8B030D-6E8A-4147-A177-3AD203B41FA5}">
                      <a16:colId xmlns:a16="http://schemas.microsoft.com/office/drawing/2014/main" val="2590076437"/>
                    </a:ext>
                  </a:extLst>
                </a:gridCol>
                <a:gridCol w="772942">
                  <a:extLst>
                    <a:ext uri="{9D8B030D-6E8A-4147-A177-3AD203B41FA5}">
                      <a16:colId xmlns:a16="http://schemas.microsoft.com/office/drawing/2014/main" val="1385158084"/>
                    </a:ext>
                  </a:extLst>
                </a:gridCol>
              </a:tblGrid>
              <a:tr h="581616">
                <a:tc>
                  <a:txBody>
                    <a:bodyPr/>
                    <a:lstStyle/>
                    <a:p>
                      <a:pPr algn="ctr"/>
                      <a:r>
                        <a:rPr lang="en-GB" sz="900">
                          <a:solidFill>
                            <a:srgbClr val="50235C"/>
                          </a:solidFill>
                        </a:rPr>
                        <a:t>Roadmap ref</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r>
                        <a:rPr lang="en-GB" sz="900">
                          <a:solidFill>
                            <a:srgbClr val="50235C"/>
                          </a:solidFill>
                        </a:rPr>
                        <a:t>Future activity</a:t>
                      </a:r>
                      <a:endParaRPr lang="en-GB" sz="900"/>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algn="ctr" defTabSz="914400" rtl="0" eaLnBrk="1" fontAlgn="ctr" latinLnBrk="0" hangingPunct="1"/>
                      <a:r>
                        <a:rPr lang="en-GB" sz="900" b="1" kern="1200">
                          <a:solidFill>
                            <a:srgbClr val="50235C"/>
                          </a:solidFill>
                          <a:latin typeface="+mn-lt"/>
                          <a:ea typeface="+mn-ea"/>
                          <a:cs typeface="+mn-cs"/>
                        </a:rPr>
                        <a:t>Target outcome / Expected benefit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algn="ctr" defTabSz="914400" rtl="0" eaLnBrk="1" fontAlgn="ctr" latinLnBrk="0" hangingPunct="1"/>
                      <a:r>
                        <a:rPr lang="en-GB" sz="900" b="1" kern="1200">
                          <a:solidFill>
                            <a:srgbClr val="50235C"/>
                          </a:solidFill>
                          <a:latin typeface="+mn-lt"/>
                          <a:ea typeface="+mn-ea"/>
                          <a:cs typeface="+mn-cs"/>
                        </a:rPr>
                        <a:t>Impact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Ease</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algn="ctr" defTabSz="914400" rtl="0" eaLnBrk="1" fontAlgn="ctr" latinLnBrk="0" hangingPunct="1"/>
                      <a:r>
                        <a:rPr lang="en-GB" sz="900" b="1" kern="1200">
                          <a:solidFill>
                            <a:srgbClr val="50235C"/>
                          </a:solidFill>
                          <a:latin typeface="+mn-lt"/>
                          <a:ea typeface="+mn-ea"/>
                          <a:cs typeface="+mn-cs"/>
                        </a:rPr>
                        <a:t>Score</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algn="ctr" defTabSz="914400" rtl="0" eaLnBrk="1" fontAlgn="ctr" latinLnBrk="0" hangingPunct="1"/>
                      <a:r>
                        <a:rPr lang="en-GB" sz="900" b="1" kern="1200">
                          <a:solidFill>
                            <a:srgbClr val="50235C"/>
                          </a:solidFill>
                          <a:latin typeface="+mn-lt"/>
                          <a:ea typeface="+mn-ea"/>
                          <a:cs typeface="+mn-cs"/>
                        </a:rPr>
                        <a:t>Resource required</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r>
                        <a:rPr lang="en-GB" sz="900" b="1">
                          <a:solidFill>
                            <a:srgbClr val="50235C"/>
                          </a:solidFill>
                        </a:rPr>
                        <a:t>Short</a:t>
                      </a:r>
                    </a:p>
                    <a:p>
                      <a:r>
                        <a:rPr lang="en-GB" sz="900" b="1">
                          <a:solidFill>
                            <a:srgbClr val="50235C"/>
                          </a:solidFill>
                        </a:rPr>
                        <a:t>Medium</a:t>
                      </a:r>
                      <a:br>
                        <a:rPr lang="en-GB" sz="900" b="1">
                          <a:solidFill>
                            <a:srgbClr val="50235C"/>
                          </a:solidFill>
                        </a:rPr>
                      </a:br>
                      <a:r>
                        <a:rPr lang="en-GB" sz="900" b="1">
                          <a:solidFill>
                            <a:srgbClr val="50235C"/>
                          </a:solidFill>
                        </a:rPr>
                        <a:t>Long</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extLst>
                  <a:ext uri="{0D108BD9-81ED-4DB2-BD59-A6C34878D82A}">
                    <a16:rowId xmlns:a16="http://schemas.microsoft.com/office/drawing/2014/main" val="466195498"/>
                  </a:ext>
                </a:extLst>
              </a:tr>
              <a:tr h="683162">
                <a:tc>
                  <a:txBody>
                    <a:bodyPr/>
                    <a:lstStyle/>
                    <a:p>
                      <a:pPr algn="ctr" rtl="0" fontAlgn="ctr"/>
                      <a:r>
                        <a:rPr lang="en-GB" sz="900" b="1" i="0" u="none" strike="noStrike">
                          <a:solidFill>
                            <a:srgbClr val="50235C"/>
                          </a:solidFill>
                          <a:effectLst/>
                          <a:latin typeface="Arial" panose="020B0604020202020204" pitchFamily="34" charset="0"/>
                        </a:rPr>
                        <a:t>H1</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Plans to build a seclusion suite at redwoods</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88913" indent="-95250" algn="l" defTabSz="914400" rtl="0" eaLnBrk="1" fontAlgn="ctr" latinLnBrk="0" hangingPunct="1">
                        <a:buClr>
                          <a:srgbClr val="000000"/>
                        </a:buClr>
                        <a:buSzPts val="900"/>
                        <a:buFont typeface="Arial" panose="020B0604020202020204" pitchFamily="34" charset="0"/>
                        <a:buChar char="•"/>
                        <a:tabLst/>
                      </a:pPr>
                      <a:r>
                        <a:rPr lang="en-GB" sz="900" b="0" i="0" u="none" strike="noStrike" kern="1200">
                          <a:solidFill>
                            <a:schemeClr val="tx2">
                              <a:lumMod val="65000"/>
                              <a:lumOff val="35000"/>
                            </a:schemeClr>
                          </a:solidFill>
                          <a:effectLst/>
                          <a:latin typeface="Arial" panose="020B0604020202020204" pitchFamily="34" charset="0"/>
                          <a:ea typeface="+mn-ea"/>
                          <a:cs typeface="+mn-cs"/>
                        </a:rPr>
                        <a:t>This would reduce the demand on the S136 suite and support the reduction in out of area placements. </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900" b="0" i="0" u="none" strike="noStrike" kern="1200">
                          <a:solidFill>
                            <a:schemeClr val="tx2">
                              <a:lumMod val="65000"/>
                              <a:lumOff val="35000"/>
                            </a:schemeClr>
                          </a:solidFill>
                          <a:effectLst/>
                          <a:latin typeface="Arial" panose="020B0604020202020204" pitchFamily="34" charset="0"/>
                          <a:ea typeface="+mn-ea"/>
                          <a:cs typeface="+mn-cs"/>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900" b="0" i="0" u="none" strike="noStrike" kern="1200">
                          <a:solidFill>
                            <a:schemeClr val="tx2">
                              <a:lumMod val="65000"/>
                              <a:lumOff val="35000"/>
                            </a:schemeClr>
                          </a:solidFill>
                          <a:effectLst/>
                          <a:latin typeface="Arial" panose="020B0604020202020204" pitchFamily="34" charset="0"/>
                          <a:ea typeface="+mn-ea"/>
                          <a:cs typeface="+mn-cs"/>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900" b="1" i="0" u="none" strike="noStrike" kern="1200">
                          <a:solidFill>
                            <a:schemeClr val="tx2">
                              <a:lumMod val="65000"/>
                              <a:lumOff val="35000"/>
                            </a:schemeClr>
                          </a:solidFill>
                          <a:effectLst/>
                          <a:latin typeface="Arial" panose="020B0604020202020204" pitchFamily="34" charset="0"/>
                          <a:ea typeface="+mn-ea"/>
                          <a:cs typeface="+mn-cs"/>
                        </a:rPr>
                        <a:t>20</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900" b="0" i="0" u="none" strike="noStrike" kern="1200">
                          <a:solidFill>
                            <a:schemeClr val="tx2">
                              <a:lumMod val="65000"/>
                              <a:lumOff val="35000"/>
                            </a:schemeClr>
                          </a:solidFill>
                          <a:effectLst/>
                          <a:latin typeface="Arial" panose="020B0604020202020204" pitchFamily="34" charset="0"/>
                          <a:ea typeface="+mn-ea"/>
                          <a:cs typeface="+mn-cs"/>
                        </a:rPr>
                        <a:t>Low</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900" b="1" i="0" u="none" strike="noStrike" kern="1200">
                          <a:solidFill>
                            <a:schemeClr val="tx2">
                              <a:lumMod val="65000"/>
                              <a:lumOff val="35000"/>
                            </a:schemeClr>
                          </a:solidFill>
                          <a:effectLst/>
                          <a:latin typeface="Arial" panose="020B0604020202020204" pitchFamily="34" charset="0"/>
                          <a:ea typeface="+mn-ea"/>
                          <a:cs typeface="+mn-cs"/>
                        </a:rPr>
                        <a:t>Short</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4199580168"/>
                  </a:ext>
                </a:extLst>
              </a:tr>
              <a:tr h="683162">
                <a:tc>
                  <a:txBody>
                    <a:bodyPr/>
                    <a:lstStyle/>
                    <a:p>
                      <a:pPr algn="ctr" rtl="0" fontAlgn="ctr"/>
                      <a:r>
                        <a:rPr lang="en-GB" sz="900" b="1" i="0" u="none" strike="noStrike">
                          <a:solidFill>
                            <a:srgbClr val="50235C"/>
                          </a:solidFill>
                          <a:effectLst/>
                          <a:latin typeface="Arial" panose="020B0604020202020204" pitchFamily="34" charset="0"/>
                        </a:rPr>
                        <a:t>H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Build stronger partnerships with the third sector to facilitate a more formal handover into the community</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indent="-171450" algn="l" rtl="0" fontAlgn="ctr">
                        <a:buClr>
                          <a:srgbClr val="000000"/>
                        </a:buClr>
                        <a:buSzPts val="900"/>
                        <a:buFont typeface="Arial" panose="020B0604020202020204" pitchFamily="34" charset="0"/>
                        <a:buChar char="•"/>
                      </a:pPr>
                      <a:r>
                        <a:rPr lang="en-GB" sz="900" b="0" i="0" u="none" strike="noStrike">
                          <a:solidFill>
                            <a:schemeClr val="tx2">
                              <a:lumMod val="65000"/>
                              <a:lumOff val="35000"/>
                            </a:schemeClr>
                          </a:solidFill>
                          <a:effectLst/>
                          <a:latin typeface="Arial" panose="020B0604020202020204" pitchFamily="34" charset="0"/>
                        </a:rPr>
                        <a:t>Service users always have support and care available whatever stage of their health journey they are in.</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900" b="0" i="0" u="none" strike="noStrike" kern="1200">
                          <a:solidFill>
                            <a:schemeClr val="tx2">
                              <a:lumMod val="65000"/>
                              <a:lumOff val="35000"/>
                            </a:schemeClr>
                          </a:solidFill>
                          <a:effectLst/>
                          <a:latin typeface="Arial" panose="020B0604020202020204" pitchFamily="34" charset="0"/>
                          <a:ea typeface="+mn-ea"/>
                          <a:cs typeface="+mn-cs"/>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900" b="0" i="0" u="none" strike="noStrike" kern="1200">
                          <a:solidFill>
                            <a:schemeClr val="tx2">
                              <a:lumMod val="65000"/>
                              <a:lumOff val="35000"/>
                            </a:schemeClr>
                          </a:solidFill>
                          <a:effectLst/>
                          <a:latin typeface="Arial" panose="020B0604020202020204" pitchFamily="34" charset="0"/>
                          <a:ea typeface="+mn-ea"/>
                          <a:cs typeface="+mn-cs"/>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900" b="1" i="0" u="none" strike="noStrike" kern="1200">
                          <a:solidFill>
                            <a:schemeClr val="tx2">
                              <a:lumMod val="65000"/>
                              <a:lumOff val="35000"/>
                            </a:schemeClr>
                          </a:solidFill>
                          <a:effectLst/>
                          <a:latin typeface="Arial" panose="020B0604020202020204" pitchFamily="34" charset="0"/>
                          <a:ea typeface="+mn-ea"/>
                          <a:cs typeface="+mn-cs"/>
                        </a:rPr>
                        <a:t>1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900" b="0" i="0" u="none" strike="noStrike" kern="1200">
                          <a:solidFill>
                            <a:schemeClr val="tx2">
                              <a:lumMod val="65000"/>
                              <a:lumOff val="35000"/>
                            </a:schemeClr>
                          </a:solidFill>
                          <a:effectLst/>
                          <a:latin typeface="Arial" panose="020B0604020202020204" pitchFamily="34" charset="0"/>
                          <a:ea typeface="+mn-ea"/>
                          <a:cs typeface="+mn-cs"/>
                        </a:rPr>
                        <a:t>Medium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900" b="1" i="0" u="none" strike="noStrike" kern="1200">
                          <a:solidFill>
                            <a:schemeClr val="tx2">
                              <a:lumMod val="65000"/>
                              <a:lumOff val="35000"/>
                            </a:schemeClr>
                          </a:solidFill>
                          <a:effectLst/>
                          <a:latin typeface="Arial" panose="020B0604020202020204" pitchFamily="34" charset="0"/>
                          <a:ea typeface="+mn-ea"/>
                          <a:cs typeface="+mn-cs"/>
                        </a:rPr>
                        <a:t>Medium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2752216538"/>
                  </a:ext>
                </a:extLst>
              </a:tr>
              <a:tr h="683162">
                <a:tc>
                  <a:txBody>
                    <a:bodyPr/>
                    <a:lstStyle/>
                    <a:p>
                      <a:pPr algn="ctr" rtl="0" fontAlgn="ctr"/>
                      <a:r>
                        <a:rPr lang="en-GB" sz="900" b="1" i="0" u="none" strike="noStrike">
                          <a:solidFill>
                            <a:srgbClr val="50235C"/>
                          </a:solidFill>
                          <a:effectLst/>
                          <a:latin typeface="Arial" panose="020B0604020202020204" pitchFamily="34" charset="0"/>
                        </a:rPr>
                        <a:t>H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Better collaboration between primary and secondary care around use of medicines and prescribing</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marR="0" lvl="0" indent="-171450" algn="l" defTabSz="914400" rtl="0" eaLnBrk="1" fontAlgn="ctr" latinLnBrk="0" hangingPunct="1">
                        <a:lnSpc>
                          <a:spcPct val="100000"/>
                        </a:lnSpc>
                        <a:spcBef>
                          <a:spcPts val="0"/>
                        </a:spcBef>
                        <a:spcAft>
                          <a:spcPts val="0"/>
                        </a:spcAft>
                        <a:buClr>
                          <a:srgbClr val="000000"/>
                        </a:buClr>
                        <a:buSzPts val="900"/>
                        <a:buFont typeface="Arial" panose="020B0604020202020204" pitchFamily="34" charset="0"/>
                        <a:buChar char="•"/>
                        <a:tabLst/>
                        <a:defRPr/>
                      </a:pPr>
                      <a:r>
                        <a:rPr lang="en-GB" sz="900" b="0" i="0" u="none" strike="noStrike" kern="1200">
                          <a:solidFill>
                            <a:schemeClr val="tx2">
                              <a:lumMod val="65000"/>
                              <a:lumOff val="35000"/>
                            </a:schemeClr>
                          </a:solidFill>
                          <a:effectLst/>
                          <a:latin typeface="Arial" panose="020B0604020202020204" pitchFamily="34" charset="0"/>
                          <a:ea typeface="+mn-ea"/>
                          <a:cs typeface="+mn-cs"/>
                        </a:rPr>
                        <a:t>Improved patient outcomes through a more coordinated approach to the use of medicines and prescribing. </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900" b="0" i="0" u="none" strike="noStrike" kern="1200">
                          <a:solidFill>
                            <a:schemeClr val="tx2">
                              <a:lumMod val="65000"/>
                              <a:lumOff val="35000"/>
                            </a:schemeClr>
                          </a:solidFill>
                          <a:effectLst/>
                          <a:latin typeface="Arial" panose="020B0604020202020204" pitchFamily="34" charset="0"/>
                          <a:ea typeface="+mn-ea"/>
                          <a:cs typeface="+mn-cs"/>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900" b="0" i="0" u="none" strike="noStrike" kern="1200">
                          <a:solidFill>
                            <a:schemeClr val="tx2">
                              <a:lumMod val="65000"/>
                              <a:lumOff val="35000"/>
                            </a:schemeClr>
                          </a:solidFill>
                          <a:effectLst/>
                          <a:latin typeface="Arial" panose="020B0604020202020204" pitchFamily="34" charset="0"/>
                          <a:ea typeface="+mn-ea"/>
                          <a:cs typeface="+mn-cs"/>
                        </a:rPr>
                        <a:t>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900" b="1" i="0" u="none" strike="noStrike" kern="1200">
                          <a:solidFill>
                            <a:schemeClr val="tx2">
                              <a:lumMod val="65000"/>
                              <a:lumOff val="35000"/>
                            </a:schemeClr>
                          </a:solidFill>
                          <a:effectLst/>
                          <a:latin typeface="Arial" panose="020B0604020202020204" pitchFamily="34" charset="0"/>
                          <a:ea typeface="+mn-ea"/>
                          <a:cs typeface="+mn-cs"/>
                        </a:rPr>
                        <a:t>10</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900" b="0" i="0" u="none" strike="noStrike" kern="1200">
                          <a:solidFill>
                            <a:schemeClr val="tx2">
                              <a:lumMod val="65000"/>
                              <a:lumOff val="35000"/>
                            </a:schemeClr>
                          </a:solidFill>
                          <a:effectLst/>
                          <a:latin typeface="Arial" panose="020B0604020202020204" pitchFamily="34" charset="0"/>
                          <a:ea typeface="+mn-ea"/>
                          <a:cs typeface="+mn-cs"/>
                        </a:rPr>
                        <a:t>Low</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900" b="1" i="0" u="none" strike="noStrike" kern="1200">
                          <a:solidFill>
                            <a:schemeClr val="tx2">
                              <a:lumMod val="65000"/>
                              <a:lumOff val="35000"/>
                            </a:schemeClr>
                          </a:solidFill>
                          <a:effectLst/>
                          <a:latin typeface="Arial" panose="020B0604020202020204" pitchFamily="34" charset="0"/>
                          <a:ea typeface="+mn-ea"/>
                          <a:cs typeface="+mn-cs"/>
                        </a:rPr>
                        <a:t>Long</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792501966"/>
                  </a:ext>
                </a:extLst>
              </a:tr>
              <a:tr h="683162">
                <a:tc>
                  <a:txBody>
                    <a:bodyPr/>
                    <a:lstStyle/>
                    <a:p>
                      <a:pPr algn="ctr" rtl="0" fontAlgn="ctr"/>
                      <a:r>
                        <a:rPr lang="en-GB" sz="900" b="1" i="0" u="none" strike="noStrike">
                          <a:solidFill>
                            <a:srgbClr val="50235C"/>
                          </a:solidFill>
                          <a:effectLst/>
                          <a:latin typeface="Arial" panose="020B0604020202020204" pitchFamily="34" charset="0"/>
                        </a:rPr>
                        <a:t>H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Increase offering of mental health housing / accommodation</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84150" indent="-87313" algn="l" defTabSz="914400" rtl="0" eaLnBrk="1" fontAlgn="ctr" latinLnBrk="0" hangingPunct="1">
                        <a:buFont typeface="Arial" panose="020B0604020202020204" pitchFamily="34" charset="0"/>
                        <a:buChar char="•"/>
                        <a:tabLst/>
                      </a:pPr>
                      <a:r>
                        <a:rPr lang="en-GB" sz="900" b="0" i="0" u="none" strike="noStrike" kern="1200">
                          <a:solidFill>
                            <a:schemeClr val="tx2">
                              <a:lumMod val="65000"/>
                              <a:lumOff val="35000"/>
                            </a:schemeClr>
                          </a:solidFill>
                          <a:effectLst/>
                          <a:latin typeface="Arial" panose="020B0604020202020204" pitchFamily="34" charset="0"/>
                          <a:ea typeface="+mn-ea"/>
                          <a:cs typeface="+mn-cs"/>
                        </a:rPr>
                        <a:t>Supporting people to live independently and access the support and accommodation to allow timely discharge and prevent readmissions. </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900" b="0" i="0" u="none" strike="noStrike" kern="1200">
                          <a:solidFill>
                            <a:schemeClr val="tx2">
                              <a:lumMod val="65000"/>
                              <a:lumOff val="35000"/>
                            </a:schemeClr>
                          </a:solidFill>
                          <a:effectLst/>
                          <a:latin typeface="Arial" panose="020B0604020202020204" pitchFamily="34" charset="0"/>
                          <a:ea typeface="+mn-ea"/>
                          <a:cs typeface="+mn-cs"/>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900" b="0" i="0" u="none" strike="noStrike" kern="1200">
                          <a:solidFill>
                            <a:schemeClr val="tx2">
                              <a:lumMod val="65000"/>
                              <a:lumOff val="35000"/>
                            </a:schemeClr>
                          </a:solidFill>
                          <a:effectLst/>
                          <a:latin typeface="Arial" panose="020B0604020202020204" pitchFamily="34" charset="0"/>
                          <a:ea typeface="+mn-ea"/>
                          <a:cs typeface="+mn-cs"/>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900" b="1" i="0" u="none" strike="noStrike" kern="1200">
                          <a:solidFill>
                            <a:schemeClr val="tx2">
                              <a:lumMod val="65000"/>
                              <a:lumOff val="35000"/>
                            </a:schemeClr>
                          </a:solidFill>
                          <a:effectLst/>
                          <a:latin typeface="Arial" panose="020B0604020202020204" pitchFamily="34" charset="0"/>
                          <a:ea typeface="+mn-ea"/>
                          <a:cs typeface="+mn-cs"/>
                        </a:rPr>
                        <a:t>9</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900" b="0" i="0" u="none" strike="noStrike" kern="1200">
                          <a:solidFill>
                            <a:schemeClr val="tx2">
                              <a:lumMod val="65000"/>
                              <a:lumOff val="35000"/>
                            </a:schemeClr>
                          </a:solidFill>
                          <a:effectLst/>
                          <a:latin typeface="Arial" panose="020B0604020202020204" pitchFamily="34" charset="0"/>
                          <a:ea typeface="+mn-ea"/>
                          <a:cs typeface="+mn-cs"/>
                        </a:rPr>
                        <a:t>Medium - high</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900" b="1" i="0" u="none" strike="noStrike" kern="1200">
                          <a:solidFill>
                            <a:schemeClr val="tx2">
                              <a:lumMod val="65000"/>
                              <a:lumOff val="35000"/>
                            </a:schemeClr>
                          </a:solidFill>
                          <a:effectLst/>
                          <a:latin typeface="Arial" panose="020B0604020202020204" pitchFamily="34" charset="0"/>
                          <a:ea typeface="+mn-ea"/>
                          <a:cs typeface="+mn-cs"/>
                        </a:rPr>
                        <a:t>Long</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4190610611"/>
                  </a:ext>
                </a:extLst>
              </a:tr>
              <a:tr h="683162">
                <a:tc>
                  <a:txBody>
                    <a:bodyPr/>
                    <a:lstStyle/>
                    <a:p>
                      <a:pPr algn="ctr" rtl="0" fontAlgn="ctr"/>
                      <a:r>
                        <a:rPr lang="en-GB" sz="900" b="1" i="0" u="none" strike="noStrike">
                          <a:solidFill>
                            <a:srgbClr val="50235C"/>
                          </a:solidFill>
                          <a:effectLst/>
                          <a:latin typeface="Arial" panose="020B0604020202020204" pitchFamily="34" charset="0"/>
                        </a:rPr>
                        <a:t>H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More rehab facilities</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indent="-171450" algn="l" defTabSz="914400" rtl="0" eaLnBrk="1" fontAlgn="ctr" latinLnBrk="0" hangingPunct="1">
                        <a:buClr>
                          <a:srgbClr val="000000"/>
                        </a:buClr>
                        <a:buSzPts val="900"/>
                        <a:buFont typeface="Arial" panose="020B0604020202020204" pitchFamily="34" charset="0"/>
                        <a:buChar char="•"/>
                      </a:pPr>
                      <a:r>
                        <a:rPr lang="en-GB" sz="900" b="0" i="0" u="none" strike="noStrike" kern="1200">
                          <a:solidFill>
                            <a:schemeClr val="tx2">
                              <a:lumMod val="65000"/>
                              <a:lumOff val="35000"/>
                            </a:schemeClr>
                          </a:solidFill>
                          <a:effectLst/>
                          <a:latin typeface="Arial" panose="020B0604020202020204" pitchFamily="34" charset="0"/>
                          <a:ea typeface="+mn-ea"/>
                          <a:cs typeface="+mn-cs"/>
                        </a:rPr>
                        <a:t>Developing independence, support when someone needs it to maximise their independence in the least restrictive environment.</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900" b="0" i="0" u="none" strike="noStrike" kern="1200">
                          <a:solidFill>
                            <a:schemeClr val="tx2">
                              <a:lumMod val="65000"/>
                              <a:lumOff val="35000"/>
                            </a:schemeClr>
                          </a:solidFill>
                          <a:effectLst/>
                          <a:latin typeface="Arial" panose="020B0604020202020204" pitchFamily="34" charset="0"/>
                          <a:ea typeface="+mn-ea"/>
                          <a:cs typeface="+mn-cs"/>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900" b="0" i="0" u="none" strike="noStrike" kern="1200">
                          <a:solidFill>
                            <a:schemeClr val="tx2">
                              <a:lumMod val="65000"/>
                              <a:lumOff val="35000"/>
                            </a:schemeClr>
                          </a:solidFill>
                          <a:effectLst/>
                          <a:latin typeface="Arial" panose="020B0604020202020204" pitchFamily="34" charset="0"/>
                          <a:ea typeface="+mn-ea"/>
                          <a:cs typeface="+mn-cs"/>
                        </a:rPr>
                        <a:t>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900" b="1" i="0" u="none" strike="noStrike" kern="1200">
                          <a:solidFill>
                            <a:schemeClr val="tx2">
                              <a:lumMod val="65000"/>
                              <a:lumOff val="35000"/>
                            </a:schemeClr>
                          </a:solidFill>
                          <a:effectLst/>
                          <a:latin typeface="Arial" panose="020B0604020202020204" pitchFamily="34" charset="0"/>
                          <a:ea typeface="+mn-ea"/>
                          <a:cs typeface="+mn-cs"/>
                        </a:rPr>
                        <a:t>8</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900" b="0" i="0" u="none" strike="noStrike" kern="1200">
                          <a:solidFill>
                            <a:schemeClr val="tx2">
                              <a:lumMod val="65000"/>
                              <a:lumOff val="35000"/>
                            </a:schemeClr>
                          </a:solidFill>
                          <a:effectLst/>
                          <a:latin typeface="Arial" panose="020B0604020202020204" pitchFamily="34" charset="0"/>
                          <a:ea typeface="+mn-ea"/>
                          <a:cs typeface="+mn-cs"/>
                        </a:rPr>
                        <a:t>High</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900" b="1" i="0" u="none" strike="noStrike" kern="1200">
                          <a:solidFill>
                            <a:schemeClr val="tx2">
                              <a:lumMod val="65000"/>
                              <a:lumOff val="35000"/>
                            </a:schemeClr>
                          </a:solidFill>
                          <a:effectLst/>
                          <a:latin typeface="Arial" panose="020B0604020202020204" pitchFamily="34" charset="0"/>
                          <a:ea typeface="+mn-ea"/>
                          <a:cs typeface="+mn-cs"/>
                        </a:rPr>
                        <a:t>Long</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2193687171"/>
                  </a:ext>
                </a:extLst>
              </a:tr>
            </a:tbl>
          </a:graphicData>
        </a:graphic>
      </p:graphicFrame>
      <p:graphicFrame>
        <p:nvGraphicFramePr>
          <p:cNvPr id="11" name="Table 10">
            <a:extLst>
              <a:ext uri="{FF2B5EF4-FFF2-40B4-BE49-F238E27FC236}">
                <a16:creationId xmlns:a16="http://schemas.microsoft.com/office/drawing/2014/main" id="{3FD8C16F-1070-434D-9ACC-08484209CB16}"/>
              </a:ext>
            </a:extLst>
          </p:cNvPr>
          <p:cNvGraphicFramePr>
            <a:graphicFrameLocks noGrp="1"/>
          </p:cNvGraphicFramePr>
          <p:nvPr>
            <p:extLst>
              <p:ext uri="{D42A27DB-BD31-4B8C-83A1-F6EECF244321}">
                <p14:modId xmlns:p14="http://schemas.microsoft.com/office/powerpoint/2010/main" val="1095260840"/>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C"/>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pic>
        <p:nvPicPr>
          <p:cNvPr id="13" name="Graphic 12" descr="Handshake with solid fill">
            <a:extLst>
              <a:ext uri="{FF2B5EF4-FFF2-40B4-BE49-F238E27FC236}">
                <a16:creationId xmlns:a16="http://schemas.microsoft.com/office/drawing/2014/main" id="{D1242095-E255-CC49-B1A4-B6FAEE29CE2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10638" y="199285"/>
            <a:ext cx="594000" cy="594000"/>
          </a:xfrm>
          <a:prstGeom prst="rect">
            <a:avLst/>
          </a:prstGeom>
        </p:spPr>
      </p:pic>
      <p:sp>
        <p:nvSpPr>
          <p:cNvPr id="12" name="Rectangle 11">
            <a:extLst>
              <a:ext uri="{FF2B5EF4-FFF2-40B4-BE49-F238E27FC236}">
                <a16:creationId xmlns:a16="http://schemas.microsoft.com/office/drawing/2014/main" id="{C1B9014A-025C-A44B-9C5C-E0D19EECF9B5}"/>
              </a:ext>
            </a:extLst>
          </p:cNvPr>
          <p:cNvSpPr/>
          <p:nvPr/>
        </p:nvSpPr>
        <p:spPr>
          <a:xfrm>
            <a:off x="8462819" y="184705"/>
            <a:ext cx="1931224" cy="78568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panose="020B0604020202020204"/>
                <a:ea typeface="+mn-ea"/>
                <a:cs typeface="+mn-cs"/>
              </a:rPr>
              <a:t>IMPACT:        </a:t>
            </a: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1 = Low Impact </a:t>
            </a:r>
            <a:b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                       5 = High impa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panose="020B0604020202020204"/>
                <a:ea typeface="+mn-ea"/>
                <a:cs typeface="+mn-cs"/>
              </a:rPr>
              <a:t>EASE:            </a:t>
            </a: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1 = Difficult</a:t>
            </a:r>
            <a:b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                       5 = Straightforward</a:t>
            </a:r>
          </a:p>
          <a:p>
            <a:pPr>
              <a:defRPr/>
            </a:pPr>
            <a:r>
              <a:rPr lang="en-GB" sz="800" b="1">
                <a:solidFill>
                  <a:srgbClr val="000000"/>
                </a:solidFill>
              </a:rPr>
              <a:t>RESOURCE:  </a:t>
            </a:r>
            <a:r>
              <a:rPr lang="en-GB" sz="800">
                <a:solidFill>
                  <a:srgbClr val="000000"/>
                </a:solidFill>
              </a:rPr>
              <a:t>Low, Medium, High </a:t>
            </a:r>
          </a:p>
        </p:txBody>
      </p:sp>
      <p:sp>
        <p:nvSpPr>
          <p:cNvPr id="14" name="Rectangle 13">
            <a:extLst>
              <a:ext uri="{FF2B5EF4-FFF2-40B4-BE49-F238E27FC236}">
                <a16:creationId xmlns:a16="http://schemas.microsoft.com/office/drawing/2014/main" id="{130FEDCA-B5D3-8448-B396-D3D67D03408A}"/>
              </a:ext>
            </a:extLst>
          </p:cNvPr>
          <p:cNvSpPr/>
          <p:nvPr/>
        </p:nvSpPr>
        <p:spPr>
          <a:xfrm>
            <a:off x="10394043" y="184705"/>
            <a:ext cx="1442357" cy="78568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00" b="1">
                <a:solidFill>
                  <a:srgbClr val="000000"/>
                </a:solidFill>
                <a:latin typeface="Arial" panose="020B0604020202020204"/>
              </a:rPr>
              <a:t>SHORT</a:t>
            </a:r>
            <a:r>
              <a:rPr lang="en-GB" sz="900">
                <a:solidFill>
                  <a:srgbClr val="000000"/>
                </a:solidFill>
                <a:latin typeface="Arial" panose="020B0604020202020204"/>
              </a:rPr>
              <a:t> =   0-6 months</a:t>
            </a:r>
          </a:p>
          <a:p>
            <a:r>
              <a:rPr lang="en-GB" sz="900" b="1">
                <a:solidFill>
                  <a:srgbClr val="000000"/>
                </a:solidFill>
                <a:latin typeface="Arial" panose="020B0604020202020204"/>
              </a:rPr>
              <a:t>MEDIUM</a:t>
            </a:r>
            <a:r>
              <a:rPr lang="en-GB" sz="900">
                <a:solidFill>
                  <a:srgbClr val="000000"/>
                </a:solidFill>
                <a:latin typeface="Arial" panose="020B0604020202020204"/>
              </a:rPr>
              <a:t> = 6-18 months</a:t>
            </a:r>
          </a:p>
          <a:p>
            <a:r>
              <a:rPr lang="en-GB" sz="900" b="1">
                <a:solidFill>
                  <a:srgbClr val="000000"/>
                </a:solidFill>
                <a:latin typeface="Arial" panose="020B0604020202020204"/>
              </a:rPr>
              <a:t>LONG</a:t>
            </a:r>
            <a:r>
              <a:rPr lang="en-GB" sz="900">
                <a:solidFill>
                  <a:srgbClr val="000000"/>
                </a:solidFill>
                <a:latin typeface="Arial" panose="020B0604020202020204"/>
              </a:rPr>
              <a:t> =     18 months +</a:t>
            </a:r>
          </a:p>
        </p:txBody>
      </p:sp>
    </p:spTree>
    <p:extLst>
      <p:ext uri="{BB962C8B-B14F-4D97-AF65-F5344CB8AC3E}">
        <p14:creationId xmlns:p14="http://schemas.microsoft.com/office/powerpoint/2010/main" val="90154559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3FE2F85-5478-7B4D-A181-E85728796F24}"/>
              </a:ext>
            </a:extLst>
          </p:cNvPr>
          <p:cNvSpPr>
            <a:spLocks noGrp="1"/>
          </p:cNvSpPr>
          <p:nvPr>
            <p:ph sz="quarter" idx="10"/>
          </p:nvPr>
        </p:nvSpPr>
        <p:spPr>
          <a:xfrm>
            <a:off x="1881187" y="1983582"/>
            <a:ext cx="9973355" cy="2890837"/>
          </a:xfrm>
        </p:spPr>
        <p:txBody>
          <a:bodyPr/>
          <a:lstStyle/>
          <a:p>
            <a:r>
              <a:rPr lang="en-GB" sz="6600"/>
              <a:t>Roadmap</a:t>
            </a:r>
          </a:p>
        </p:txBody>
      </p:sp>
      <p:graphicFrame>
        <p:nvGraphicFramePr>
          <p:cNvPr id="3" name="Table 2">
            <a:extLst>
              <a:ext uri="{FF2B5EF4-FFF2-40B4-BE49-F238E27FC236}">
                <a16:creationId xmlns:a16="http://schemas.microsoft.com/office/drawing/2014/main" id="{F27F71C4-F075-1249-973D-91202A2D14F8}"/>
              </a:ext>
            </a:extLst>
          </p:cNvPr>
          <p:cNvGraphicFramePr>
            <a:graphicFrameLocks noGrp="1"/>
          </p:cNvGraphicFramePr>
          <p:nvPr/>
        </p:nvGraphicFramePr>
        <p:xfrm>
          <a:off x="1" y="6560723"/>
          <a:ext cx="12191998" cy="297277"/>
        </p:xfrm>
        <a:graphic>
          <a:graphicData uri="http://schemas.openxmlformats.org/drawingml/2006/table">
            <a:tbl>
              <a:tblPr>
                <a:tableStyleId>{5C22544A-7EE6-4342-B048-85BDC9FD1C3A}</a:tableStyleId>
              </a:tblPr>
              <a:tblGrid>
                <a:gridCol w="1741714">
                  <a:extLst>
                    <a:ext uri="{9D8B030D-6E8A-4147-A177-3AD203B41FA5}">
                      <a16:colId xmlns:a16="http://schemas.microsoft.com/office/drawing/2014/main" val="3508502722"/>
                    </a:ext>
                  </a:extLst>
                </a:gridCol>
                <a:gridCol w="1741714">
                  <a:extLst>
                    <a:ext uri="{9D8B030D-6E8A-4147-A177-3AD203B41FA5}">
                      <a16:colId xmlns:a16="http://schemas.microsoft.com/office/drawing/2014/main" val="1894411863"/>
                    </a:ext>
                  </a:extLst>
                </a:gridCol>
                <a:gridCol w="1741714">
                  <a:extLst>
                    <a:ext uri="{9D8B030D-6E8A-4147-A177-3AD203B41FA5}">
                      <a16:colId xmlns:a16="http://schemas.microsoft.com/office/drawing/2014/main" val="1998335409"/>
                    </a:ext>
                  </a:extLst>
                </a:gridCol>
                <a:gridCol w="1741714">
                  <a:extLst>
                    <a:ext uri="{9D8B030D-6E8A-4147-A177-3AD203B41FA5}">
                      <a16:colId xmlns:a16="http://schemas.microsoft.com/office/drawing/2014/main" val="202640554"/>
                    </a:ext>
                  </a:extLst>
                </a:gridCol>
                <a:gridCol w="1741714">
                  <a:extLst>
                    <a:ext uri="{9D8B030D-6E8A-4147-A177-3AD203B41FA5}">
                      <a16:colId xmlns:a16="http://schemas.microsoft.com/office/drawing/2014/main" val="3019704548"/>
                    </a:ext>
                  </a:extLst>
                </a:gridCol>
                <a:gridCol w="1741714">
                  <a:extLst>
                    <a:ext uri="{9D8B030D-6E8A-4147-A177-3AD203B41FA5}">
                      <a16:colId xmlns:a16="http://schemas.microsoft.com/office/drawing/2014/main" val="1364401804"/>
                    </a:ext>
                  </a:extLst>
                </a:gridCol>
                <a:gridCol w="1741714">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A"/>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Tree>
    <p:extLst>
      <p:ext uri="{BB962C8B-B14F-4D97-AF65-F5344CB8AC3E}">
        <p14:creationId xmlns:p14="http://schemas.microsoft.com/office/powerpoint/2010/main" val="90588787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305"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en-IN" sz="2800">
              <a:solidFill>
                <a:srgbClr val="FFFFFF"/>
              </a:solidFill>
              <a:sym typeface="Arial" panose="020B0604020202020204" pitchFamily="34" charset="0"/>
            </a:endParaRPr>
          </a:p>
        </p:txBody>
      </p:sp>
      <p:sp>
        <p:nvSpPr>
          <p:cNvPr id="2" name="Title 1"/>
          <p:cNvSpPr>
            <a:spLocks noGrp="1"/>
          </p:cNvSpPr>
          <p:nvPr>
            <p:ph type="title"/>
          </p:nvPr>
        </p:nvSpPr>
        <p:spPr>
          <a:xfrm>
            <a:off x="545264" y="297277"/>
            <a:ext cx="9366179" cy="434010"/>
          </a:xfrm>
          <a:prstGeom prst="rect">
            <a:avLst/>
          </a:prstGeom>
        </p:spPr>
        <p:txBody>
          <a:bodyPr/>
          <a:lstStyle/>
          <a:p>
            <a:r>
              <a:rPr lang="en-US"/>
              <a:t>Roadmap sunray</a:t>
            </a:r>
            <a:endParaRPr lang="en-IN"/>
          </a:p>
        </p:txBody>
      </p:sp>
      <p:sp>
        <p:nvSpPr>
          <p:cNvPr id="6" name="Footer Placeholder 5">
            <a:extLst>
              <a:ext uri="{FF2B5EF4-FFF2-40B4-BE49-F238E27FC236}">
                <a16:creationId xmlns:a16="http://schemas.microsoft.com/office/drawing/2014/main" id="{62E3292C-AE15-8E46-8E62-F9C713150B0B}"/>
              </a:ext>
            </a:extLst>
          </p:cNvPr>
          <p:cNvSpPr>
            <a:spLocks noGrp="1"/>
          </p:cNvSpPr>
          <p:nvPr>
            <p:ph type="ftr" sz="quarter" idx="14"/>
          </p:nvPr>
        </p:nvSpPr>
        <p:spPr/>
        <p:txBody>
          <a:bodyPr/>
          <a:lstStyle/>
          <a:p>
            <a:r>
              <a:rPr lang="en-GB"/>
              <a:t>© Moorhouse 2021  </a:t>
            </a:r>
          </a:p>
        </p:txBody>
      </p:sp>
      <p:graphicFrame>
        <p:nvGraphicFramePr>
          <p:cNvPr id="296" name="Table 295">
            <a:extLst>
              <a:ext uri="{FF2B5EF4-FFF2-40B4-BE49-F238E27FC236}">
                <a16:creationId xmlns:a16="http://schemas.microsoft.com/office/drawing/2014/main" id="{C44ACD9A-94B9-1D47-9BC3-85A41E9F66CE}"/>
              </a:ext>
            </a:extLst>
          </p:cNvPr>
          <p:cNvGraphicFramePr>
            <a:graphicFrameLocks noGrp="1"/>
          </p:cNvGraphicFramePr>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C"/>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grpSp>
        <p:nvGrpSpPr>
          <p:cNvPr id="332" name="Group 331">
            <a:extLst>
              <a:ext uri="{FF2B5EF4-FFF2-40B4-BE49-F238E27FC236}">
                <a16:creationId xmlns:a16="http://schemas.microsoft.com/office/drawing/2014/main" id="{96330E01-B0C0-9D4C-8733-BECAFFFA47C6}"/>
              </a:ext>
            </a:extLst>
          </p:cNvPr>
          <p:cNvGrpSpPr/>
          <p:nvPr/>
        </p:nvGrpSpPr>
        <p:grpSpPr>
          <a:xfrm>
            <a:off x="306002" y="1470856"/>
            <a:ext cx="11342995" cy="4975368"/>
            <a:chOff x="739788" y="731397"/>
            <a:chExt cx="8071949" cy="5370572"/>
          </a:xfrm>
        </p:grpSpPr>
        <p:grpSp>
          <p:nvGrpSpPr>
            <p:cNvPr id="333" name="Group 332">
              <a:extLst>
                <a:ext uri="{FF2B5EF4-FFF2-40B4-BE49-F238E27FC236}">
                  <a16:creationId xmlns:a16="http://schemas.microsoft.com/office/drawing/2014/main" id="{F7D773FF-F92D-4B47-AAD0-AC6DB1FDFCEF}"/>
                </a:ext>
              </a:extLst>
            </p:cNvPr>
            <p:cNvGrpSpPr/>
            <p:nvPr/>
          </p:nvGrpSpPr>
          <p:grpSpPr>
            <a:xfrm>
              <a:off x="739788" y="948609"/>
              <a:ext cx="8018843" cy="4865822"/>
              <a:chOff x="739788" y="948609"/>
              <a:chExt cx="8018843" cy="4865822"/>
            </a:xfrm>
          </p:grpSpPr>
          <p:sp>
            <p:nvSpPr>
              <p:cNvPr id="353" name="Arc 10">
                <a:extLst>
                  <a:ext uri="{FF2B5EF4-FFF2-40B4-BE49-F238E27FC236}">
                    <a16:creationId xmlns:a16="http://schemas.microsoft.com/office/drawing/2014/main" id="{D71EA720-55CF-8647-B314-ECB9C72D87D8}"/>
                  </a:ext>
                </a:extLst>
              </p:cNvPr>
              <p:cNvSpPr>
                <a:spLocks/>
              </p:cNvSpPr>
              <p:nvPr/>
            </p:nvSpPr>
            <p:spPr bwMode="auto">
              <a:xfrm rot="10800000">
                <a:off x="1163024" y="1420250"/>
                <a:ext cx="7528093" cy="4394181"/>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bg1">
                  <a:lumMod val="85000"/>
                  <a:alpha val="24706"/>
                </a:schemeClr>
              </a:solidFill>
              <a:ln w="31750">
                <a:noFill/>
                <a:round/>
                <a:headEnd/>
                <a:tailEnd/>
              </a:ln>
              <a:effectLst/>
            </p:spPr>
            <p:txBody>
              <a:bodyPr wrap="none" anchor="ctr"/>
              <a:lstStyle/>
              <a:p>
                <a:pPr defTabSz="1219170">
                  <a:defRPr/>
                </a:pPr>
                <a:endParaRPr lang="en-GB" sz="2400">
                  <a:solidFill>
                    <a:srgbClr val="595959"/>
                  </a:solidFill>
                  <a:latin typeface="Calibri"/>
                  <a:cs typeface="Arial"/>
                  <a:sym typeface="Arial"/>
                </a:endParaRPr>
              </a:p>
            </p:txBody>
          </p:sp>
          <p:sp>
            <p:nvSpPr>
              <p:cNvPr id="354" name="Arc 21">
                <a:extLst>
                  <a:ext uri="{FF2B5EF4-FFF2-40B4-BE49-F238E27FC236}">
                    <a16:creationId xmlns:a16="http://schemas.microsoft.com/office/drawing/2014/main" id="{BF5B735A-5A32-934D-A256-F2808B598700}"/>
                  </a:ext>
                </a:extLst>
              </p:cNvPr>
              <p:cNvSpPr>
                <a:spLocks/>
              </p:cNvSpPr>
              <p:nvPr/>
            </p:nvSpPr>
            <p:spPr bwMode="auto">
              <a:xfrm rot="10800000">
                <a:off x="1833051" y="1406030"/>
                <a:ext cx="6925580" cy="4000707"/>
              </a:xfrm>
              <a:custGeom>
                <a:avLst/>
                <a:gdLst>
                  <a:gd name="G0" fmla="+- 338 0 0"/>
                  <a:gd name="G1" fmla="+- 21600 0 0"/>
                  <a:gd name="G2" fmla="+- 21600 0 0"/>
                  <a:gd name="T0" fmla="*/ 0 w 21938"/>
                  <a:gd name="T1" fmla="*/ 3 h 22126"/>
                  <a:gd name="T2" fmla="*/ 21932 w 21938"/>
                  <a:gd name="T3" fmla="*/ 22126 h 22126"/>
                  <a:gd name="T4" fmla="*/ 338 w 21938"/>
                  <a:gd name="T5" fmla="*/ 21600 h 22126"/>
                </a:gdLst>
                <a:ahLst/>
                <a:cxnLst>
                  <a:cxn ang="0">
                    <a:pos x="T0" y="T1"/>
                  </a:cxn>
                  <a:cxn ang="0">
                    <a:pos x="T2" y="T3"/>
                  </a:cxn>
                  <a:cxn ang="0">
                    <a:pos x="T4" y="T5"/>
                  </a:cxn>
                </a:cxnLst>
                <a:rect l="0" t="0" r="r" b="b"/>
                <a:pathLst>
                  <a:path w="21938" h="22126" fill="none" extrusionOk="0">
                    <a:moveTo>
                      <a:pt x="-1" y="2"/>
                    </a:moveTo>
                    <a:cubicBezTo>
                      <a:pt x="112" y="0"/>
                      <a:pt x="225" y="-1"/>
                      <a:pt x="338" y="0"/>
                    </a:cubicBezTo>
                    <a:cubicBezTo>
                      <a:pt x="12267" y="0"/>
                      <a:pt x="21938" y="9670"/>
                      <a:pt x="21938" y="21600"/>
                    </a:cubicBezTo>
                    <a:cubicBezTo>
                      <a:pt x="21938" y="21775"/>
                      <a:pt x="21935" y="21950"/>
                      <a:pt x="21931" y="22125"/>
                    </a:cubicBezTo>
                  </a:path>
                  <a:path w="21938" h="22126" stroke="0" extrusionOk="0">
                    <a:moveTo>
                      <a:pt x="-1" y="2"/>
                    </a:moveTo>
                    <a:cubicBezTo>
                      <a:pt x="112" y="0"/>
                      <a:pt x="225" y="-1"/>
                      <a:pt x="338" y="0"/>
                    </a:cubicBezTo>
                    <a:cubicBezTo>
                      <a:pt x="12267" y="0"/>
                      <a:pt x="21938" y="9670"/>
                      <a:pt x="21938" y="21600"/>
                    </a:cubicBezTo>
                    <a:cubicBezTo>
                      <a:pt x="21938" y="21775"/>
                      <a:pt x="21935" y="21950"/>
                      <a:pt x="21931" y="22125"/>
                    </a:cubicBezTo>
                    <a:lnTo>
                      <a:pt x="338" y="21600"/>
                    </a:lnTo>
                    <a:close/>
                  </a:path>
                </a:pathLst>
              </a:custGeom>
              <a:solidFill>
                <a:srgbClr val="C7C8CA">
                  <a:alpha val="50196"/>
                </a:srgbClr>
              </a:solidFill>
              <a:ln w="31750">
                <a:noFill/>
                <a:round/>
                <a:headEnd/>
                <a:tailEnd/>
              </a:ln>
              <a:effectLst/>
            </p:spPr>
            <p:txBody>
              <a:bodyPr wrap="none" anchor="ctr"/>
              <a:lstStyle/>
              <a:p>
                <a:pPr defTabSz="1219170">
                  <a:defRPr/>
                </a:pPr>
                <a:endParaRPr lang="en-GB" sz="2400">
                  <a:solidFill>
                    <a:srgbClr val="595959"/>
                  </a:solidFill>
                  <a:latin typeface="Calibri"/>
                  <a:cs typeface="Arial"/>
                  <a:sym typeface="Arial"/>
                </a:endParaRPr>
              </a:p>
            </p:txBody>
          </p:sp>
          <p:sp>
            <p:nvSpPr>
              <p:cNvPr id="355" name="Rectangle 14">
                <a:extLst>
                  <a:ext uri="{FF2B5EF4-FFF2-40B4-BE49-F238E27FC236}">
                    <a16:creationId xmlns:a16="http://schemas.microsoft.com/office/drawing/2014/main" id="{5B0924CC-D138-864A-9CF6-74BBF77123CE}"/>
                  </a:ext>
                </a:extLst>
              </p:cNvPr>
              <p:cNvSpPr>
                <a:spLocks noChangeArrowheads="1"/>
              </p:cNvSpPr>
              <p:nvPr/>
            </p:nvSpPr>
            <p:spPr bwMode="auto">
              <a:xfrm>
                <a:off x="1153314" y="953609"/>
                <a:ext cx="679738" cy="398195"/>
              </a:xfrm>
              <a:prstGeom prst="rect">
                <a:avLst/>
              </a:prstGeom>
              <a:solidFill>
                <a:srgbClr val="F1F1F2"/>
              </a:solidFill>
              <a:ln w="12700">
                <a:noFill/>
                <a:miter lim="800000"/>
                <a:headEnd/>
                <a:tailEnd/>
              </a:ln>
              <a:effectLst/>
            </p:spPr>
            <p:txBody>
              <a:bodyPr wrap="none" lIns="121900" tIns="60951" rIns="121900" bIns="60951" anchor="ctr"/>
              <a:lstStyle>
                <a:lvl1pPr defTabSz="912813">
                  <a:defRPr sz="2400">
                    <a:solidFill>
                      <a:schemeClr val="tx1"/>
                    </a:solidFill>
                    <a:latin typeface="Times" pitchFamily="18" charset="0"/>
                  </a:defRPr>
                </a:lvl1pPr>
                <a:lvl2pPr defTabSz="912813">
                  <a:defRPr sz="2400">
                    <a:solidFill>
                      <a:schemeClr val="tx1"/>
                    </a:solidFill>
                    <a:latin typeface="Times" pitchFamily="18" charset="0"/>
                  </a:defRPr>
                </a:lvl2pPr>
                <a:lvl3pPr marL="912813" defTabSz="912813">
                  <a:defRPr sz="2400">
                    <a:solidFill>
                      <a:schemeClr val="tx1"/>
                    </a:solidFill>
                    <a:latin typeface="Times" pitchFamily="18" charset="0"/>
                  </a:defRPr>
                </a:lvl3pPr>
                <a:lvl4pPr defTabSz="912813">
                  <a:defRPr sz="2400">
                    <a:solidFill>
                      <a:schemeClr val="tx1"/>
                    </a:solidFill>
                    <a:latin typeface="Times" pitchFamily="18" charset="0"/>
                  </a:defRPr>
                </a:lvl4pPr>
                <a:lvl5pPr defTabSz="912813">
                  <a:defRPr sz="2400">
                    <a:solidFill>
                      <a:schemeClr val="tx1"/>
                    </a:solidFill>
                    <a:latin typeface="Times" pitchFamily="18" charset="0"/>
                  </a:defRPr>
                </a:lvl5pPr>
                <a:lvl6pPr defTabSz="912813" eaLnBrk="0" fontAlgn="base" hangingPunct="0">
                  <a:spcBef>
                    <a:spcPct val="0"/>
                  </a:spcBef>
                  <a:spcAft>
                    <a:spcPct val="0"/>
                  </a:spcAft>
                  <a:defRPr sz="2400">
                    <a:solidFill>
                      <a:schemeClr val="tx1"/>
                    </a:solidFill>
                    <a:latin typeface="Times" pitchFamily="18" charset="0"/>
                  </a:defRPr>
                </a:lvl6pPr>
                <a:lvl7pPr defTabSz="912813" eaLnBrk="0" fontAlgn="base" hangingPunct="0">
                  <a:spcBef>
                    <a:spcPct val="0"/>
                  </a:spcBef>
                  <a:spcAft>
                    <a:spcPct val="0"/>
                  </a:spcAft>
                  <a:defRPr sz="2400">
                    <a:solidFill>
                      <a:schemeClr val="tx1"/>
                    </a:solidFill>
                    <a:latin typeface="Times" pitchFamily="18" charset="0"/>
                  </a:defRPr>
                </a:lvl7pPr>
                <a:lvl8pPr defTabSz="912813" eaLnBrk="0" fontAlgn="base" hangingPunct="0">
                  <a:spcBef>
                    <a:spcPct val="0"/>
                  </a:spcBef>
                  <a:spcAft>
                    <a:spcPct val="0"/>
                  </a:spcAft>
                  <a:defRPr sz="2400">
                    <a:solidFill>
                      <a:schemeClr val="tx1"/>
                    </a:solidFill>
                    <a:latin typeface="Times" pitchFamily="18" charset="0"/>
                  </a:defRPr>
                </a:lvl8pPr>
                <a:lvl9pPr defTabSz="912813" eaLnBrk="0" fontAlgn="base" hangingPunct="0">
                  <a:spcBef>
                    <a:spcPct val="0"/>
                  </a:spcBef>
                  <a:spcAft>
                    <a:spcPct val="0"/>
                  </a:spcAft>
                  <a:defRPr sz="2400">
                    <a:solidFill>
                      <a:schemeClr val="tx1"/>
                    </a:solidFill>
                    <a:latin typeface="Times" pitchFamily="18" charset="0"/>
                  </a:defRPr>
                </a:lvl9pPr>
              </a:lstStyle>
              <a:p>
                <a:pPr algn="ctr" defTabSz="1217054">
                  <a:defRPr/>
                </a:pPr>
                <a:r>
                  <a:rPr lang="en-GB" altLang="en-US" sz="1200" b="1">
                    <a:solidFill>
                      <a:srgbClr val="595959"/>
                    </a:solidFill>
                    <a:latin typeface="Calibri" panose="020F0502020204030204" pitchFamily="34" charset="0"/>
                    <a:ea typeface="Arial" charset="0"/>
                    <a:cs typeface="Calibri" panose="020F0502020204030204" pitchFamily="34" charset="0"/>
                    <a:sym typeface="Arial"/>
                  </a:rPr>
                  <a:t>0-6 months</a:t>
                </a:r>
                <a:endParaRPr lang="en-GB" altLang="en-US" sz="1200">
                  <a:solidFill>
                    <a:srgbClr val="595959"/>
                  </a:solidFill>
                  <a:latin typeface="Calibri" panose="020F0502020204030204" pitchFamily="34" charset="0"/>
                  <a:ea typeface="Arial" charset="0"/>
                  <a:cs typeface="Calibri" panose="020F0502020204030204" pitchFamily="34" charset="0"/>
                  <a:sym typeface="Arial"/>
                </a:endParaRPr>
              </a:p>
            </p:txBody>
          </p:sp>
          <p:sp>
            <p:nvSpPr>
              <p:cNvPr id="356" name="Rectangle 13">
                <a:extLst>
                  <a:ext uri="{FF2B5EF4-FFF2-40B4-BE49-F238E27FC236}">
                    <a16:creationId xmlns:a16="http://schemas.microsoft.com/office/drawing/2014/main" id="{EDCBF29A-386B-314C-B214-2735823D7C2E}"/>
                  </a:ext>
                </a:extLst>
              </p:cNvPr>
              <p:cNvSpPr>
                <a:spLocks noChangeArrowheads="1"/>
              </p:cNvSpPr>
              <p:nvPr/>
            </p:nvSpPr>
            <p:spPr bwMode="auto">
              <a:xfrm>
                <a:off x="1833051" y="948609"/>
                <a:ext cx="2938730" cy="393892"/>
              </a:xfrm>
              <a:prstGeom prst="rect">
                <a:avLst/>
              </a:prstGeom>
              <a:solidFill>
                <a:srgbClr val="DCDCDD"/>
              </a:solidFill>
              <a:ln w="12700">
                <a:noFill/>
                <a:miter lim="800000"/>
                <a:headEnd/>
                <a:tailEnd/>
              </a:ln>
              <a:effectLst/>
            </p:spPr>
            <p:txBody>
              <a:bodyPr wrap="none" anchor="ctr"/>
              <a:lstStyle/>
              <a:p>
                <a:pPr algn="ctr" defTabSz="1219170">
                  <a:buClr>
                    <a:srgbClr val="000000"/>
                  </a:buClr>
                  <a:defRPr/>
                </a:pPr>
                <a:r>
                  <a:rPr lang="en-GB" altLang="en-US" sz="1200" b="1">
                    <a:solidFill>
                      <a:srgbClr val="595959"/>
                    </a:solidFill>
                    <a:latin typeface="Calibri" panose="020F0502020204030204" pitchFamily="34" charset="0"/>
                    <a:ea typeface="Arial" charset="0"/>
                    <a:cs typeface="Calibri" panose="020F0502020204030204" pitchFamily="34" charset="0"/>
                    <a:sym typeface="Arial"/>
                  </a:rPr>
                  <a:t>6</a:t>
                </a:r>
                <a:r>
                  <a:rPr lang="en-GB" altLang="en-US" sz="1200" b="1" kern="0">
                    <a:solidFill>
                      <a:srgbClr val="595959"/>
                    </a:solidFill>
                    <a:latin typeface="Calibri" panose="020F0502020204030204" pitchFamily="34" charset="0"/>
                    <a:ea typeface="Arial" charset="0"/>
                    <a:cs typeface="Calibri" panose="020F0502020204030204" pitchFamily="34" charset="0"/>
                    <a:sym typeface="Arial"/>
                  </a:rPr>
                  <a:t>-18 months</a:t>
                </a:r>
                <a:endParaRPr lang="en-GB" altLang="en-US" sz="1200" b="1">
                  <a:solidFill>
                    <a:srgbClr val="595959"/>
                  </a:solidFill>
                  <a:latin typeface="Calibri" panose="020F0502020204030204" pitchFamily="34" charset="0"/>
                  <a:ea typeface="Arial" charset="0"/>
                  <a:cs typeface="Calibri" panose="020F0502020204030204" pitchFamily="34" charset="0"/>
                  <a:sym typeface="Arial"/>
                </a:endParaRPr>
              </a:p>
            </p:txBody>
          </p:sp>
          <p:sp>
            <p:nvSpPr>
              <p:cNvPr id="357" name="Rectangle 356">
                <a:extLst>
                  <a:ext uri="{FF2B5EF4-FFF2-40B4-BE49-F238E27FC236}">
                    <a16:creationId xmlns:a16="http://schemas.microsoft.com/office/drawing/2014/main" id="{3AEE194F-3CE5-114D-98E2-CC75B9EA7FB3}"/>
                  </a:ext>
                </a:extLst>
              </p:cNvPr>
              <p:cNvSpPr/>
              <p:nvPr/>
            </p:nvSpPr>
            <p:spPr>
              <a:xfrm>
                <a:off x="739788" y="1363941"/>
                <a:ext cx="7930959" cy="5882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a:solidFill>
                    <a:srgbClr val="595959"/>
                  </a:solidFill>
                  <a:latin typeface="Calibri"/>
                  <a:sym typeface="Arial"/>
                </a:endParaRPr>
              </a:p>
            </p:txBody>
          </p:sp>
          <p:sp>
            <p:nvSpPr>
              <p:cNvPr id="358" name="Line 16">
                <a:extLst>
                  <a:ext uri="{FF2B5EF4-FFF2-40B4-BE49-F238E27FC236}">
                    <a16:creationId xmlns:a16="http://schemas.microsoft.com/office/drawing/2014/main" id="{0EDA9308-7CF2-1347-A5F6-AEF1CF290F28}"/>
                  </a:ext>
                </a:extLst>
              </p:cNvPr>
              <p:cNvSpPr>
                <a:spLocks noChangeShapeType="1"/>
              </p:cNvSpPr>
              <p:nvPr/>
            </p:nvSpPr>
            <p:spPr bwMode="auto">
              <a:xfrm rot="10800000" flipV="1">
                <a:off x="1529579" y="1433607"/>
                <a:ext cx="7141161" cy="2047620"/>
              </a:xfrm>
              <a:prstGeom prst="line">
                <a:avLst/>
              </a:prstGeom>
              <a:noFill/>
              <a:ln w="38100">
                <a:solidFill>
                  <a:schemeClr val="bg1"/>
                </a:solidFill>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9170">
                  <a:defRPr/>
                </a:pPr>
                <a:endParaRPr lang="en-GB" sz="2400">
                  <a:solidFill>
                    <a:srgbClr val="595959"/>
                  </a:solidFill>
                  <a:latin typeface="Calibri"/>
                  <a:cs typeface="Arial"/>
                  <a:sym typeface="Arial"/>
                </a:endParaRPr>
              </a:p>
            </p:txBody>
          </p:sp>
          <p:sp>
            <p:nvSpPr>
              <p:cNvPr id="359" name="Line 16">
                <a:extLst>
                  <a:ext uri="{FF2B5EF4-FFF2-40B4-BE49-F238E27FC236}">
                    <a16:creationId xmlns:a16="http://schemas.microsoft.com/office/drawing/2014/main" id="{361C7D22-800D-4D49-B943-47594E0F4F6A}"/>
                  </a:ext>
                </a:extLst>
              </p:cNvPr>
              <p:cNvSpPr>
                <a:spLocks noChangeShapeType="1"/>
              </p:cNvSpPr>
              <p:nvPr/>
            </p:nvSpPr>
            <p:spPr bwMode="auto">
              <a:xfrm rot="10800000" flipV="1">
                <a:off x="860496" y="1433055"/>
                <a:ext cx="7810246" cy="982188"/>
              </a:xfrm>
              <a:prstGeom prst="line">
                <a:avLst/>
              </a:prstGeom>
              <a:noFill/>
              <a:ln w="38100">
                <a:solidFill>
                  <a:schemeClr val="bg1"/>
                </a:solidFill>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9170">
                  <a:defRPr/>
                </a:pPr>
                <a:endParaRPr lang="en-GB" sz="2400">
                  <a:solidFill>
                    <a:srgbClr val="595959"/>
                  </a:solidFill>
                  <a:latin typeface="Calibri"/>
                  <a:cs typeface="Arial"/>
                  <a:sym typeface="Arial"/>
                </a:endParaRPr>
              </a:p>
            </p:txBody>
          </p:sp>
        </p:grpSp>
        <p:sp>
          <p:nvSpPr>
            <p:cNvPr id="334" name="Rectangle 333">
              <a:extLst>
                <a:ext uri="{FF2B5EF4-FFF2-40B4-BE49-F238E27FC236}">
                  <a16:creationId xmlns:a16="http://schemas.microsoft.com/office/drawing/2014/main" id="{0670644B-DA0A-854E-9D45-00534A6D28D4}"/>
                </a:ext>
              </a:extLst>
            </p:cNvPr>
            <p:cNvSpPr/>
            <p:nvPr/>
          </p:nvSpPr>
          <p:spPr>
            <a:xfrm rot="5400000">
              <a:off x="6066143" y="3356374"/>
              <a:ext cx="5370572" cy="12061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a:solidFill>
                  <a:srgbClr val="595959"/>
                </a:solidFill>
                <a:latin typeface="Calibri"/>
                <a:sym typeface="Arial"/>
              </a:endParaRPr>
            </a:p>
          </p:txBody>
        </p:sp>
      </p:grpSp>
      <p:sp>
        <p:nvSpPr>
          <p:cNvPr id="360" name="Rounded Rectangle 359">
            <a:extLst>
              <a:ext uri="{FF2B5EF4-FFF2-40B4-BE49-F238E27FC236}">
                <a16:creationId xmlns:a16="http://schemas.microsoft.com/office/drawing/2014/main" id="{871EBADB-F32A-774F-8504-D235988BAF8C}"/>
              </a:ext>
            </a:extLst>
          </p:cNvPr>
          <p:cNvSpPr/>
          <p:nvPr/>
        </p:nvSpPr>
        <p:spPr>
          <a:xfrm>
            <a:off x="155993" y="5625747"/>
            <a:ext cx="4695018" cy="903606"/>
          </a:xfrm>
          <a:prstGeom prst="roundRect">
            <a:avLst>
              <a:gd name="adj" fmla="val 721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1867" kern="0">
              <a:solidFill>
                <a:srgbClr val="FFFFFF"/>
              </a:solidFill>
              <a:latin typeface="Arial"/>
              <a:sym typeface="Arial"/>
            </a:endParaRPr>
          </a:p>
        </p:txBody>
      </p:sp>
      <p:sp>
        <p:nvSpPr>
          <p:cNvPr id="361" name="Rectangle 360">
            <a:extLst>
              <a:ext uri="{FF2B5EF4-FFF2-40B4-BE49-F238E27FC236}">
                <a16:creationId xmlns:a16="http://schemas.microsoft.com/office/drawing/2014/main" id="{F209A0E1-B5CC-F74F-8F09-C4FA62376197}"/>
              </a:ext>
            </a:extLst>
          </p:cNvPr>
          <p:cNvSpPr/>
          <p:nvPr/>
        </p:nvSpPr>
        <p:spPr>
          <a:xfrm>
            <a:off x="184316" y="4223671"/>
            <a:ext cx="1246583" cy="32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defTabSz="914377">
              <a:defRPr/>
            </a:pPr>
            <a:r>
              <a:rPr lang="en-GB" sz="933" b="1" kern="0">
                <a:solidFill>
                  <a:srgbClr val="50235A"/>
                </a:solidFill>
                <a:latin typeface="Frutiger LT Std 65"/>
                <a:sym typeface="Arial"/>
              </a:rPr>
              <a:t>Key:</a:t>
            </a:r>
            <a:endParaRPr lang="en-GB" sz="933" b="1" kern="0">
              <a:solidFill>
                <a:srgbClr val="50235A"/>
              </a:solidFill>
              <a:latin typeface="Calibri" panose="020F0502020204030204" pitchFamily="34" charset="0"/>
              <a:cs typeface="Calibri" panose="020F0502020204030204" pitchFamily="34" charset="0"/>
              <a:sym typeface="Arial"/>
            </a:endParaRPr>
          </a:p>
        </p:txBody>
      </p:sp>
      <p:sp>
        <p:nvSpPr>
          <p:cNvPr id="362" name="Rectangle 361">
            <a:extLst>
              <a:ext uri="{FF2B5EF4-FFF2-40B4-BE49-F238E27FC236}">
                <a16:creationId xmlns:a16="http://schemas.microsoft.com/office/drawing/2014/main" id="{25998F0A-16B7-5947-8669-59B354E24DBA}"/>
              </a:ext>
            </a:extLst>
          </p:cNvPr>
          <p:cNvSpPr/>
          <p:nvPr/>
        </p:nvSpPr>
        <p:spPr>
          <a:xfrm>
            <a:off x="527342" y="5636006"/>
            <a:ext cx="1280897" cy="3322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defTabSz="914377">
              <a:defRPr/>
            </a:pPr>
            <a:r>
              <a:rPr lang="en-GB" sz="800" kern="0">
                <a:solidFill>
                  <a:srgbClr val="595959"/>
                </a:solidFill>
                <a:latin typeface="Calibri" panose="020F0502020204030204" pitchFamily="34" charset="0"/>
                <a:cs typeface="Calibri" panose="020F0502020204030204" pitchFamily="34" charset="0"/>
                <a:sym typeface="Arial"/>
              </a:rPr>
              <a:t>Raise the profile and awareness of mental health</a:t>
            </a:r>
          </a:p>
        </p:txBody>
      </p:sp>
      <p:sp>
        <p:nvSpPr>
          <p:cNvPr id="363" name="Rectangle 362">
            <a:extLst>
              <a:ext uri="{FF2B5EF4-FFF2-40B4-BE49-F238E27FC236}">
                <a16:creationId xmlns:a16="http://schemas.microsoft.com/office/drawing/2014/main" id="{090E91EB-F688-2C4C-8D08-799020230CF6}"/>
              </a:ext>
            </a:extLst>
          </p:cNvPr>
          <p:cNvSpPr/>
          <p:nvPr/>
        </p:nvSpPr>
        <p:spPr>
          <a:xfrm>
            <a:off x="527342" y="6245612"/>
            <a:ext cx="1280897" cy="3322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defTabSz="914377">
              <a:defRPr/>
            </a:pPr>
            <a:r>
              <a:rPr lang="en-GB" sz="800" kern="0">
                <a:solidFill>
                  <a:srgbClr val="595959"/>
                </a:solidFill>
                <a:latin typeface="Calibri" panose="020F0502020204030204" pitchFamily="34" charset="0"/>
                <a:cs typeface="Calibri" panose="020F0502020204030204" pitchFamily="34" charset="0"/>
                <a:sym typeface="Arial"/>
              </a:rPr>
              <a:t>Easy and timely access to support and services</a:t>
            </a:r>
          </a:p>
        </p:txBody>
      </p:sp>
      <p:sp>
        <p:nvSpPr>
          <p:cNvPr id="364" name="Rectangle 363">
            <a:extLst>
              <a:ext uri="{FF2B5EF4-FFF2-40B4-BE49-F238E27FC236}">
                <a16:creationId xmlns:a16="http://schemas.microsoft.com/office/drawing/2014/main" id="{33E1C776-16CC-7A42-B607-D17620DCA9F0}"/>
              </a:ext>
            </a:extLst>
          </p:cNvPr>
          <p:cNvSpPr/>
          <p:nvPr/>
        </p:nvSpPr>
        <p:spPr>
          <a:xfrm>
            <a:off x="2106018" y="5634600"/>
            <a:ext cx="1165820" cy="3204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defTabSz="914377">
              <a:defRPr/>
            </a:pPr>
            <a:r>
              <a:rPr lang="en-GB" sz="800" kern="0">
                <a:solidFill>
                  <a:srgbClr val="595959"/>
                </a:solidFill>
                <a:latin typeface="Calibri" panose="020F0502020204030204" pitchFamily="34" charset="0"/>
                <a:cs typeface="Calibri" panose="020F0502020204030204" pitchFamily="34" charset="0"/>
                <a:sym typeface="Arial"/>
              </a:rPr>
              <a:t>Act as one integrated system</a:t>
            </a:r>
          </a:p>
        </p:txBody>
      </p:sp>
      <p:sp>
        <p:nvSpPr>
          <p:cNvPr id="365" name="Rectangle 364">
            <a:extLst>
              <a:ext uri="{FF2B5EF4-FFF2-40B4-BE49-F238E27FC236}">
                <a16:creationId xmlns:a16="http://schemas.microsoft.com/office/drawing/2014/main" id="{DF9B834C-722D-4345-91D3-E4C23D016EB6}"/>
              </a:ext>
            </a:extLst>
          </p:cNvPr>
          <p:cNvSpPr/>
          <p:nvPr/>
        </p:nvSpPr>
        <p:spPr>
          <a:xfrm>
            <a:off x="2106018" y="5923659"/>
            <a:ext cx="1299296" cy="3322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defTabSz="914377">
              <a:defRPr/>
            </a:pPr>
            <a:r>
              <a:rPr lang="en-GB" sz="800" kern="0">
                <a:solidFill>
                  <a:srgbClr val="595959"/>
                </a:solidFill>
                <a:latin typeface="Calibri" panose="020F0502020204030204" pitchFamily="34" charset="0"/>
                <a:cs typeface="Calibri" panose="020F0502020204030204" pitchFamily="34" charset="0"/>
                <a:sym typeface="Arial"/>
              </a:rPr>
              <a:t>Focus on health inequalities</a:t>
            </a:r>
          </a:p>
        </p:txBody>
      </p:sp>
      <p:sp>
        <p:nvSpPr>
          <p:cNvPr id="366" name="Rectangle 365">
            <a:extLst>
              <a:ext uri="{FF2B5EF4-FFF2-40B4-BE49-F238E27FC236}">
                <a16:creationId xmlns:a16="http://schemas.microsoft.com/office/drawing/2014/main" id="{89C55481-7C76-694B-9872-52A7C8DCB825}"/>
              </a:ext>
            </a:extLst>
          </p:cNvPr>
          <p:cNvSpPr/>
          <p:nvPr/>
        </p:nvSpPr>
        <p:spPr>
          <a:xfrm>
            <a:off x="2106018" y="6228463"/>
            <a:ext cx="1165820" cy="2990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defTabSz="914377">
              <a:defRPr/>
            </a:pPr>
            <a:r>
              <a:rPr lang="en-GB" sz="800" kern="0">
                <a:solidFill>
                  <a:srgbClr val="595959"/>
                </a:solidFill>
                <a:latin typeface="Calibri" panose="020F0502020204030204" pitchFamily="34" charset="0"/>
                <a:cs typeface="Calibri" panose="020F0502020204030204" pitchFamily="34" charset="0"/>
                <a:sym typeface="Arial"/>
              </a:rPr>
              <a:t>Build Community resources</a:t>
            </a:r>
          </a:p>
        </p:txBody>
      </p:sp>
      <p:sp>
        <p:nvSpPr>
          <p:cNvPr id="367" name="Rectangle 366">
            <a:extLst>
              <a:ext uri="{FF2B5EF4-FFF2-40B4-BE49-F238E27FC236}">
                <a16:creationId xmlns:a16="http://schemas.microsoft.com/office/drawing/2014/main" id="{C11E1712-53AF-DB4E-86F1-812CF58B56B7}"/>
              </a:ext>
            </a:extLst>
          </p:cNvPr>
          <p:cNvSpPr/>
          <p:nvPr/>
        </p:nvSpPr>
        <p:spPr>
          <a:xfrm>
            <a:off x="3507777" y="5623211"/>
            <a:ext cx="1299296" cy="3322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defTabSz="914377">
              <a:defRPr/>
            </a:pPr>
            <a:r>
              <a:rPr lang="en-GB" sz="800" kern="0">
                <a:solidFill>
                  <a:srgbClr val="595959"/>
                </a:solidFill>
                <a:latin typeface="Calibri" panose="020F0502020204030204" pitchFamily="34" charset="0"/>
                <a:cs typeface="Calibri" panose="020F0502020204030204" pitchFamily="34" charset="0"/>
                <a:sym typeface="Arial"/>
              </a:rPr>
              <a:t>Support the workforce and their wellbeing</a:t>
            </a:r>
          </a:p>
        </p:txBody>
      </p:sp>
      <p:sp>
        <p:nvSpPr>
          <p:cNvPr id="368" name="Rectangle 367">
            <a:extLst>
              <a:ext uri="{FF2B5EF4-FFF2-40B4-BE49-F238E27FC236}">
                <a16:creationId xmlns:a16="http://schemas.microsoft.com/office/drawing/2014/main" id="{4423D3D0-E913-6E4C-B292-E0C6FB49E57B}"/>
              </a:ext>
            </a:extLst>
          </p:cNvPr>
          <p:cNvSpPr/>
          <p:nvPr/>
        </p:nvSpPr>
        <p:spPr>
          <a:xfrm>
            <a:off x="3507777" y="5928016"/>
            <a:ext cx="1299296" cy="3322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defTabSz="914377">
              <a:defRPr/>
            </a:pPr>
            <a:r>
              <a:rPr lang="en-GB" sz="800" kern="0">
                <a:solidFill>
                  <a:srgbClr val="595959"/>
                </a:solidFill>
                <a:latin typeface="Calibri" panose="020F0502020204030204" pitchFamily="34" charset="0"/>
                <a:cs typeface="Calibri" panose="020F0502020204030204" pitchFamily="34" charset="0"/>
                <a:sym typeface="Arial"/>
              </a:rPr>
              <a:t>Supported transition from services</a:t>
            </a:r>
          </a:p>
        </p:txBody>
      </p:sp>
      <p:sp>
        <p:nvSpPr>
          <p:cNvPr id="369" name="Rectangle 13">
            <a:extLst>
              <a:ext uri="{FF2B5EF4-FFF2-40B4-BE49-F238E27FC236}">
                <a16:creationId xmlns:a16="http://schemas.microsoft.com/office/drawing/2014/main" id="{6501FB08-87A8-9141-9515-DA1F59CD03C2}"/>
              </a:ext>
            </a:extLst>
          </p:cNvPr>
          <p:cNvSpPr>
            <a:spLocks noChangeArrowheads="1"/>
          </p:cNvSpPr>
          <p:nvPr/>
        </p:nvSpPr>
        <p:spPr bwMode="auto">
          <a:xfrm>
            <a:off x="5971906" y="1674431"/>
            <a:ext cx="5495383" cy="364907"/>
          </a:xfrm>
          <a:prstGeom prst="rect">
            <a:avLst/>
          </a:prstGeom>
          <a:solidFill>
            <a:srgbClr val="D1D1D2"/>
          </a:solidFill>
          <a:ln w="12700">
            <a:noFill/>
            <a:miter lim="800000"/>
            <a:headEnd/>
            <a:tailEnd/>
          </a:ln>
          <a:effectLst/>
        </p:spPr>
        <p:txBody>
          <a:bodyPr wrap="none" anchor="ctr"/>
          <a:lstStyle/>
          <a:p>
            <a:pPr algn="ctr" defTabSz="1219170">
              <a:buClr>
                <a:srgbClr val="000000"/>
              </a:buClr>
              <a:defRPr/>
            </a:pPr>
            <a:r>
              <a:rPr lang="en-GB" altLang="en-US" sz="1200" b="1" kern="0">
                <a:solidFill>
                  <a:srgbClr val="595959"/>
                </a:solidFill>
                <a:latin typeface="Calibri" panose="020F0502020204030204" pitchFamily="34" charset="0"/>
                <a:ea typeface="Arial" charset="0"/>
                <a:cs typeface="Calibri" panose="020F0502020204030204" pitchFamily="34" charset="0"/>
                <a:sym typeface="Arial"/>
              </a:rPr>
              <a:t>18+ months</a:t>
            </a:r>
            <a:endParaRPr lang="en-GB" altLang="en-US" sz="1200" b="1">
              <a:solidFill>
                <a:srgbClr val="595959"/>
              </a:solidFill>
              <a:latin typeface="Calibri" panose="020F0502020204030204" pitchFamily="34" charset="0"/>
              <a:ea typeface="Arial" charset="0"/>
              <a:cs typeface="Calibri" panose="020F0502020204030204" pitchFamily="34" charset="0"/>
              <a:sym typeface="Arial"/>
            </a:endParaRPr>
          </a:p>
        </p:txBody>
      </p:sp>
      <p:sp>
        <p:nvSpPr>
          <p:cNvPr id="370" name="Line 16">
            <a:extLst>
              <a:ext uri="{FF2B5EF4-FFF2-40B4-BE49-F238E27FC236}">
                <a16:creationId xmlns:a16="http://schemas.microsoft.com/office/drawing/2014/main" id="{27C80200-B306-8545-AEB1-3AA5E1551D17}"/>
              </a:ext>
            </a:extLst>
          </p:cNvPr>
          <p:cNvSpPr>
            <a:spLocks noChangeShapeType="1"/>
          </p:cNvSpPr>
          <p:nvPr/>
        </p:nvSpPr>
        <p:spPr bwMode="auto">
          <a:xfrm rot="10800000" flipV="1">
            <a:off x="2868236" y="2120881"/>
            <a:ext cx="8582625" cy="2795745"/>
          </a:xfrm>
          <a:prstGeom prst="line">
            <a:avLst/>
          </a:prstGeom>
          <a:noFill/>
          <a:ln w="38100">
            <a:solidFill>
              <a:schemeClr val="bg1"/>
            </a:solidFill>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9170">
              <a:defRPr/>
            </a:pPr>
            <a:endParaRPr lang="en-GB" sz="2400">
              <a:solidFill>
                <a:srgbClr val="595959"/>
              </a:solidFill>
              <a:latin typeface="Calibri"/>
              <a:cs typeface="Arial"/>
              <a:sym typeface="Arial"/>
            </a:endParaRPr>
          </a:p>
        </p:txBody>
      </p:sp>
      <p:sp>
        <p:nvSpPr>
          <p:cNvPr id="371" name="Line 16">
            <a:extLst>
              <a:ext uri="{FF2B5EF4-FFF2-40B4-BE49-F238E27FC236}">
                <a16:creationId xmlns:a16="http://schemas.microsoft.com/office/drawing/2014/main" id="{466D428A-8DAC-1B41-BCA9-683150C5E1DE}"/>
              </a:ext>
            </a:extLst>
          </p:cNvPr>
          <p:cNvSpPr>
            <a:spLocks noChangeShapeType="1"/>
          </p:cNvSpPr>
          <p:nvPr/>
        </p:nvSpPr>
        <p:spPr bwMode="auto">
          <a:xfrm rot="10800000" flipV="1">
            <a:off x="4861155" y="2127422"/>
            <a:ext cx="6589706" cy="3490399"/>
          </a:xfrm>
          <a:prstGeom prst="line">
            <a:avLst/>
          </a:prstGeom>
          <a:noFill/>
          <a:ln w="38100">
            <a:solidFill>
              <a:schemeClr val="bg1"/>
            </a:solidFill>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9170">
              <a:defRPr/>
            </a:pPr>
            <a:endParaRPr lang="en-GB" sz="2400">
              <a:solidFill>
                <a:srgbClr val="595959"/>
              </a:solidFill>
              <a:latin typeface="Calibri"/>
              <a:cs typeface="Arial"/>
              <a:sym typeface="Arial"/>
            </a:endParaRPr>
          </a:p>
        </p:txBody>
      </p:sp>
      <p:sp>
        <p:nvSpPr>
          <p:cNvPr id="372" name="Line 16">
            <a:extLst>
              <a:ext uri="{FF2B5EF4-FFF2-40B4-BE49-F238E27FC236}">
                <a16:creationId xmlns:a16="http://schemas.microsoft.com/office/drawing/2014/main" id="{D7B02BF3-AF4B-3444-AF31-7E6A339C9CDE}"/>
              </a:ext>
            </a:extLst>
          </p:cNvPr>
          <p:cNvSpPr>
            <a:spLocks noChangeShapeType="1"/>
          </p:cNvSpPr>
          <p:nvPr/>
        </p:nvSpPr>
        <p:spPr bwMode="auto">
          <a:xfrm rot="10800000" flipV="1">
            <a:off x="6928338" y="2114956"/>
            <a:ext cx="4532667" cy="3962854"/>
          </a:xfrm>
          <a:prstGeom prst="line">
            <a:avLst/>
          </a:prstGeom>
          <a:noFill/>
          <a:ln w="38100">
            <a:solidFill>
              <a:schemeClr val="bg1"/>
            </a:solidFill>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9170">
              <a:defRPr/>
            </a:pPr>
            <a:endParaRPr lang="en-GB" sz="2400">
              <a:solidFill>
                <a:srgbClr val="595959"/>
              </a:solidFill>
              <a:latin typeface="Calibri"/>
              <a:cs typeface="Arial"/>
              <a:sym typeface="Arial"/>
            </a:endParaRPr>
          </a:p>
        </p:txBody>
      </p:sp>
      <p:sp>
        <p:nvSpPr>
          <p:cNvPr id="373" name="Line 16">
            <a:extLst>
              <a:ext uri="{FF2B5EF4-FFF2-40B4-BE49-F238E27FC236}">
                <a16:creationId xmlns:a16="http://schemas.microsoft.com/office/drawing/2014/main" id="{C06CE678-7296-AE4B-9DC0-86C8B4C49671}"/>
              </a:ext>
            </a:extLst>
          </p:cNvPr>
          <p:cNvSpPr>
            <a:spLocks noChangeShapeType="1"/>
          </p:cNvSpPr>
          <p:nvPr/>
        </p:nvSpPr>
        <p:spPr bwMode="auto">
          <a:xfrm rot="10800000" flipV="1">
            <a:off x="8886092" y="2139792"/>
            <a:ext cx="2564769" cy="4143931"/>
          </a:xfrm>
          <a:prstGeom prst="line">
            <a:avLst/>
          </a:prstGeom>
          <a:noFill/>
          <a:ln w="38100">
            <a:solidFill>
              <a:schemeClr val="bg1"/>
            </a:solidFill>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9170">
              <a:defRPr/>
            </a:pPr>
            <a:endParaRPr lang="en-GB" sz="2400">
              <a:solidFill>
                <a:srgbClr val="595959"/>
              </a:solidFill>
              <a:latin typeface="Calibri"/>
              <a:cs typeface="Arial"/>
              <a:sym typeface="Arial"/>
            </a:endParaRPr>
          </a:p>
        </p:txBody>
      </p:sp>
      <p:sp>
        <p:nvSpPr>
          <p:cNvPr id="374" name="Arc 10">
            <a:extLst>
              <a:ext uri="{FF2B5EF4-FFF2-40B4-BE49-F238E27FC236}">
                <a16:creationId xmlns:a16="http://schemas.microsoft.com/office/drawing/2014/main" id="{4DB01846-F703-604C-B9C8-98E965F647FA}"/>
              </a:ext>
            </a:extLst>
          </p:cNvPr>
          <p:cNvSpPr>
            <a:spLocks/>
          </p:cNvSpPr>
          <p:nvPr/>
        </p:nvSpPr>
        <p:spPr bwMode="auto">
          <a:xfrm rot="10800000">
            <a:off x="5971905" y="2139791"/>
            <a:ext cx="5478955" cy="2043448"/>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BFBFBF"/>
          </a:solidFill>
          <a:ln w="31750">
            <a:noFill/>
            <a:round/>
            <a:headEnd/>
            <a:tailEnd/>
          </a:ln>
          <a:effectLst/>
        </p:spPr>
        <p:txBody>
          <a:bodyPr wrap="none" anchor="ctr"/>
          <a:lstStyle/>
          <a:p>
            <a:pPr defTabSz="1219170">
              <a:defRPr/>
            </a:pPr>
            <a:endParaRPr lang="en-GB" sz="2400">
              <a:solidFill>
                <a:srgbClr val="595959"/>
              </a:solidFill>
              <a:latin typeface="Calibri"/>
              <a:cs typeface="Arial"/>
              <a:sym typeface="Arial"/>
            </a:endParaRPr>
          </a:p>
        </p:txBody>
      </p:sp>
      <p:grpSp>
        <p:nvGrpSpPr>
          <p:cNvPr id="375" name="Group 374">
            <a:extLst>
              <a:ext uri="{FF2B5EF4-FFF2-40B4-BE49-F238E27FC236}">
                <a16:creationId xmlns:a16="http://schemas.microsoft.com/office/drawing/2014/main" id="{2C5677B7-A715-FB43-9058-E4CB9B6B25FF}"/>
              </a:ext>
            </a:extLst>
          </p:cNvPr>
          <p:cNvGrpSpPr/>
          <p:nvPr/>
        </p:nvGrpSpPr>
        <p:grpSpPr>
          <a:xfrm>
            <a:off x="2027394" y="2347692"/>
            <a:ext cx="338415" cy="254400"/>
            <a:chOff x="-1176915" y="3508496"/>
            <a:chExt cx="338415" cy="254400"/>
          </a:xfrm>
        </p:grpSpPr>
        <p:sp>
          <p:nvSpPr>
            <p:cNvPr id="376" name="Oval 375">
              <a:extLst>
                <a:ext uri="{FF2B5EF4-FFF2-40B4-BE49-F238E27FC236}">
                  <a16:creationId xmlns:a16="http://schemas.microsoft.com/office/drawing/2014/main" id="{ED889246-1DD3-6747-A1C7-4B8E4EE356B1}"/>
                </a:ext>
              </a:extLst>
            </p:cNvPr>
            <p:cNvSpPr/>
            <p:nvPr/>
          </p:nvSpPr>
          <p:spPr>
            <a:xfrm>
              <a:off x="-1133852" y="3508496"/>
              <a:ext cx="254400" cy="254400"/>
            </a:xfrm>
            <a:prstGeom prst="ellipse">
              <a:avLst/>
            </a:prstGeom>
            <a:solidFill>
              <a:srgbClr val="FF0000"/>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377" name="TextBox 376">
              <a:extLst>
                <a:ext uri="{FF2B5EF4-FFF2-40B4-BE49-F238E27FC236}">
                  <a16:creationId xmlns:a16="http://schemas.microsoft.com/office/drawing/2014/main" id="{683E7A56-7B59-A74D-A415-5F7FB46BC86E}"/>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A1</a:t>
              </a:r>
            </a:p>
          </p:txBody>
        </p:sp>
      </p:grpSp>
      <p:grpSp>
        <p:nvGrpSpPr>
          <p:cNvPr id="378" name="Group 377">
            <a:extLst>
              <a:ext uri="{FF2B5EF4-FFF2-40B4-BE49-F238E27FC236}">
                <a16:creationId xmlns:a16="http://schemas.microsoft.com/office/drawing/2014/main" id="{230AC2D1-DBEF-6F45-A396-49DBF9CC9653}"/>
              </a:ext>
            </a:extLst>
          </p:cNvPr>
          <p:cNvGrpSpPr/>
          <p:nvPr/>
        </p:nvGrpSpPr>
        <p:grpSpPr>
          <a:xfrm>
            <a:off x="3058843" y="2302260"/>
            <a:ext cx="338415" cy="254400"/>
            <a:chOff x="-1176915" y="3508496"/>
            <a:chExt cx="338415" cy="254400"/>
          </a:xfrm>
        </p:grpSpPr>
        <p:sp>
          <p:nvSpPr>
            <p:cNvPr id="379" name="Oval 378">
              <a:extLst>
                <a:ext uri="{FF2B5EF4-FFF2-40B4-BE49-F238E27FC236}">
                  <a16:creationId xmlns:a16="http://schemas.microsoft.com/office/drawing/2014/main" id="{B2D7AD1F-8210-C24C-9851-AAA434A0AC0C}"/>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380" name="TextBox 379">
              <a:extLst>
                <a:ext uri="{FF2B5EF4-FFF2-40B4-BE49-F238E27FC236}">
                  <a16:creationId xmlns:a16="http://schemas.microsoft.com/office/drawing/2014/main" id="{77A65330-BBDA-F54F-BC6A-C4768311B6F5}"/>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A3</a:t>
              </a:r>
            </a:p>
          </p:txBody>
        </p:sp>
      </p:grpSp>
      <p:grpSp>
        <p:nvGrpSpPr>
          <p:cNvPr id="381" name="Group 380">
            <a:extLst>
              <a:ext uri="{FF2B5EF4-FFF2-40B4-BE49-F238E27FC236}">
                <a16:creationId xmlns:a16="http://schemas.microsoft.com/office/drawing/2014/main" id="{031B5CEA-B20D-064B-8768-60957E1DBB7B}"/>
              </a:ext>
            </a:extLst>
          </p:cNvPr>
          <p:cNvGrpSpPr/>
          <p:nvPr/>
        </p:nvGrpSpPr>
        <p:grpSpPr>
          <a:xfrm>
            <a:off x="5866466" y="2181819"/>
            <a:ext cx="338415" cy="254400"/>
            <a:chOff x="-1176915" y="3508496"/>
            <a:chExt cx="338415" cy="254400"/>
          </a:xfrm>
        </p:grpSpPr>
        <p:sp>
          <p:nvSpPr>
            <p:cNvPr id="382" name="Oval 381">
              <a:extLst>
                <a:ext uri="{FF2B5EF4-FFF2-40B4-BE49-F238E27FC236}">
                  <a16:creationId xmlns:a16="http://schemas.microsoft.com/office/drawing/2014/main" id="{80892CAC-7231-FE49-8317-8802B822D368}"/>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383" name="TextBox 382">
              <a:extLst>
                <a:ext uri="{FF2B5EF4-FFF2-40B4-BE49-F238E27FC236}">
                  <a16:creationId xmlns:a16="http://schemas.microsoft.com/office/drawing/2014/main" id="{DCD73C9C-6196-F94F-B040-FFF3A0ACEA9B}"/>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A4</a:t>
              </a:r>
            </a:p>
          </p:txBody>
        </p:sp>
      </p:grpSp>
      <p:grpSp>
        <p:nvGrpSpPr>
          <p:cNvPr id="384" name="Group 383">
            <a:extLst>
              <a:ext uri="{FF2B5EF4-FFF2-40B4-BE49-F238E27FC236}">
                <a16:creationId xmlns:a16="http://schemas.microsoft.com/office/drawing/2014/main" id="{2D86A11A-D159-5940-9659-45F73D25FF7C}"/>
              </a:ext>
            </a:extLst>
          </p:cNvPr>
          <p:cNvGrpSpPr/>
          <p:nvPr/>
        </p:nvGrpSpPr>
        <p:grpSpPr>
          <a:xfrm>
            <a:off x="3543863" y="2278981"/>
            <a:ext cx="338415" cy="254400"/>
            <a:chOff x="-1176915" y="3508496"/>
            <a:chExt cx="338415" cy="254400"/>
          </a:xfrm>
        </p:grpSpPr>
        <p:sp>
          <p:nvSpPr>
            <p:cNvPr id="385" name="Oval 384">
              <a:extLst>
                <a:ext uri="{FF2B5EF4-FFF2-40B4-BE49-F238E27FC236}">
                  <a16:creationId xmlns:a16="http://schemas.microsoft.com/office/drawing/2014/main" id="{807EC24F-E913-384F-9CBB-3A1528976581}"/>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386" name="TextBox 385">
              <a:extLst>
                <a:ext uri="{FF2B5EF4-FFF2-40B4-BE49-F238E27FC236}">
                  <a16:creationId xmlns:a16="http://schemas.microsoft.com/office/drawing/2014/main" id="{2F3D1708-8D29-5C45-A64B-62929019DC59}"/>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A5</a:t>
              </a:r>
            </a:p>
          </p:txBody>
        </p:sp>
      </p:grpSp>
      <p:grpSp>
        <p:nvGrpSpPr>
          <p:cNvPr id="387" name="Group 386">
            <a:extLst>
              <a:ext uri="{FF2B5EF4-FFF2-40B4-BE49-F238E27FC236}">
                <a16:creationId xmlns:a16="http://schemas.microsoft.com/office/drawing/2014/main" id="{1AE86045-D921-D547-8EC1-1577AB336613}"/>
              </a:ext>
            </a:extLst>
          </p:cNvPr>
          <p:cNvGrpSpPr/>
          <p:nvPr/>
        </p:nvGrpSpPr>
        <p:grpSpPr>
          <a:xfrm>
            <a:off x="1294906" y="2371380"/>
            <a:ext cx="338415" cy="254400"/>
            <a:chOff x="-1176915" y="3508496"/>
            <a:chExt cx="338415" cy="254400"/>
          </a:xfrm>
        </p:grpSpPr>
        <p:sp>
          <p:nvSpPr>
            <p:cNvPr id="388" name="Oval 387">
              <a:extLst>
                <a:ext uri="{FF2B5EF4-FFF2-40B4-BE49-F238E27FC236}">
                  <a16:creationId xmlns:a16="http://schemas.microsoft.com/office/drawing/2014/main" id="{7DBDF985-53D7-2243-A2E4-D318623331AD}"/>
                </a:ext>
              </a:extLst>
            </p:cNvPr>
            <p:cNvSpPr/>
            <p:nvPr/>
          </p:nvSpPr>
          <p:spPr>
            <a:xfrm>
              <a:off x="-1133852" y="3508496"/>
              <a:ext cx="254400" cy="254400"/>
            </a:xfrm>
            <a:prstGeom prst="ellipse">
              <a:avLst/>
            </a:prstGeom>
            <a:solidFill>
              <a:srgbClr val="00B050"/>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389" name="TextBox 388">
              <a:extLst>
                <a:ext uri="{FF2B5EF4-FFF2-40B4-BE49-F238E27FC236}">
                  <a16:creationId xmlns:a16="http://schemas.microsoft.com/office/drawing/2014/main" id="{A9FC7D4E-8A87-B84F-89EF-209B00F51EF9}"/>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A6</a:t>
              </a:r>
            </a:p>
          </p:txBody>
        </p:sp>
      </p:grpSp>
      <p:grpSp>
        <p:nvGrpSpPr>
          <p:cNvPr id="390" name="Group 389">
            <a:extLst>
              <a:ext uri="{FF2B5EF4-FFF2-40B4-BE49-F238E27FC236}">
                <a16:creationId xmlns:a16="http://schemas.microsoft.com/office/drawing/2014/main" id="{5E361934-A40E-2348-9B79-4DDCC0763F8E}"/>
              </a:ext>
            </a:extLst>
          </p:cNvPr>
          <p:cNvGrpSpPr/>
          <p:nvPr/>
        </p:nvGrpSpPr>
        <p:grpSpPr>
          <a:xfrm>
            <a:off x="2355542" y="2332895"/>
            <a:ext cx="338415" cy="254400"/>
            <a:chOff x="-1176915" y="3508496"/>
            <a:chExt cx="338415" cy="254400"/>
          </a:xfrm>
        </p:grpSpPr>
        <p:sp>
          <p:nvSpPr>
            <p:cNvPr id="391" name="Oval 390">
              <a:extLst>
                <a:ext uri="{FF2B5EF4-FFF2-40B4-BE49-F238E27FC236}">
                  <a16:creationId xmlns:a16="http://schemas.microsoft.com/office/drawing/2014/main" id="{E41745B9-E5C7-8343-83A9-D897389A263E}"/>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392" name="TextBox 391">
              <a:extLst>
                <a:ext uri="{FF2B5EF4-FFF2-40B4-BE49-F238E27FC236}">
                  <a16:creationId xmlns:a16="http://schemas.microsoft.com/office/drawing/2014/main" id="{0A99A900-5DB5-5849-BED7-4175258230AD}"/>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A2</a:t>
              </a:r>
            </a:p>
          </p:txBody>
        </p:sp>
      </p:grpSp>
      <p:grpSp>
        <p:nvGrpSpPr>
          <p:cNvPr id="393" name="Group 392">
            <a:extLst>
              <a:ext uri="{FF2B5EF4-FFF2-40B4-BE49-F238E27FC236}">
                <a16:creationId xmlns:a16="http://schemas.microsoft.com/office/drawing/2014/main" id="{AE112AEE-9C83-D448-B174-7A6ED62D0A46}"/>
              </a:ext>
            </a:extLst>
          </p:cNvPr>
          <p:cNvGrpSpPr/>
          <p:nvPr/>
        </p:nvGrpSpPr>
        <p:grpSpPr>
          <a:xfrm>
            <a:off x="199162" y="5654703"/>
            <a:ext cx="338415" cy="254400"/>
            <a:chOff x="158018" y="4135479"/>
            <a:chExt cx="338415" cy="254400"/>
          </a:xfrm>
        </p:grpSpPr>
        <p:sp>
          <p:nvSpPr>
            <p:cNvPr id="394" name="Oval 393">
              <a:extLst>
                <a:ext uri="{FF2B5EF4-FFF2-40B4-BE49-F238E27FC236}">
                  <a16:creationId xmlns:a16="http://schemas.microsoft.com/office/drawing/2014/main" id="{A90F4021-38D9-5140-BC5A-AD1D2FCD4409}"/>
                </a:ext>
              </a:extLst>
            </p:cNvPr>
            <p:cNvSpPr/>
            <p:nvPr/>
          </p:nvSpPr>
          <p:spPr>
            <a:xfrm>
              <a:off x="201081" y="4135479"/>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395" name="TextBox 394">
              <a:extLst>
                <a:ext uri="{FF2B5EF4-FFF2-40B4-BE49-F238E27FC236}">
                  <a16:creationId xmlns:a16="http://schemas.microsoft.com/office/drawing/2014/main" id="{46B1FD7E-3505-284F-8B5D-B50EABA61B0D}"/>
                </a:ext>
              </a:extLst>
            </p:cNvPr>
            <p:cNvSpPr txBox="1"/>
            <p:nvPr/>
          </p:nvSpPr>
          <p:spPr>
            <a:xfrm>
              <a:off x="158018" y="4147263"/>
              <a:ext cx="338415" cy="230832"/>
            </a:xfrm>
            <a:prstGeom prst="rect">
              <a:avLst/>
            </a:prstGeom>
            <a:noFill/>
          </p:spPr>
          <p:txBody>
            <a:bodyPr wrap="square" rtlCol="0">
              <a:spAutoFit/>
            </a:bodyPr>
            <a:lstStyle/>
            <a:p>
              <a:pPr algn="ctr"/>
              <a:r>
                <a:rPr lang="en-GB" sz="900" b="1">
                  <a:solidFill>
                    <a:schemeClr val="bg1"/>
                  </a:solidFill>
                </a:rPr>
                <a:t>A</a:t>
              </a:r>
            </a:p>
          </p:txBody>
        </p:sp>
      </p:grpSp>
      <p:sp>
        <p:nvSpPr>
          <p:cNvPr id="396" name="Rectangle 395">
            <a:extLst>
              <a:ext uri="{FF2B5EF4-FFF2-40B4-BE49-F238E27FC236}">
                <a16:creationId xmlns:a16="http://schemas.microsoft.com/office/drawing/2014/main" id="{9F9BFDAF-4A21-7C47-9A22-9A17B659B486}"/>
              </a:ext>
            </a:extLst>
          </p:cNvPr>
          <p:cNvSpPr/>
          <p:nvPr/>
        </p:nvSpPr>
        <p:spPr>
          <a:xfrm>
            <a:off x="527342" y="5910503"/>
            <a:ext cx="2180642" cy="3322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defTabSz="914377">
              <a:defRPr/>
            </a:pPr>
            <a:r>
              <a:rPr lang="en-GB" sz="800" kern="0">
                <a:solidFill>
                  <a:srgbClr val="595959"/>
                </a:solidFill>
                <a:latin typeface="Calibri" panose="020F0502020204030204" pitchFamily="34" charset="0"/>
                <a:cs typeface="Calibri" panose="020F0502020204030204" pitchFamily="34" charset="0"/>
                <a:sym typeface="Arial"/>
              </a:rPr>
              <a:t> Proactive Prevention</a:t>
            </a:r>
          </a:p>
        </p:txBody>
      </p:sp>
      <p:grpSp>
        <p:nvGrpSpPr>
          <p:cNvPr id="397" name="Group 396">
            <a:extLst>
              <a:ext uri="{FF2B5EF4-FFF2-40B4-BE49-F238E27FC236}">
                <a16:creationId xmlns:a16="http://schemas.microsoft.com/office/drawing/2014/main" id="{7CA83CD6-E026-B44D-9D29-E43722747568}"/>
              </a:ext>
            </a:extLst>
          </p:cNvPr>
          <p:cNvGrpSpPr/>
          <p:nvPr/>
        </p:nvGrpSpPr>
        <p:grpSpPr>
          <a:xfrm>
            <a:off x="199162" y="5962397"/>
            <a:ext cx="338415" cy="254400"/>
            <a:chOff x="158018" y="4135479"/>
            <a:chExt cx="338415" cy="254400"/>
          </a:xfrm>
        </p:grpSpPr>
        <p:sp>
          <p:nvSpPr>
            <p:cNvPr id="398" name="Oval 397">
              <a:extLst>
                <a:ext uri="{FF2B5EF4-FFF2-40B4-BE49-F238E27FC236}">
                  <a16:creationId xmlns:a16="http://schemas.microsoft.com/office/drawing/2014/main" id="{DE2D11B0-2C93-874E-B922-9B409D7811DF}"/>
                </a:ext>
              </a:extLst>
            </p:cNvPr>
            <p:cNvSpPr/>
            <p:nvPr/>
          </p:nvSpPr>
          <p:spPr>
            <a:xfrm>
              <a:off x="201081" y="4135479"/>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399" name="TextBox 398">
              <a:extLst>
                <a:ext uri="{FF2B5EF4-FFF2-40B4-BE49-F238E27FC236}">
                  <a16:creationId xmlns:a16="http://schemas.microsoft.com/office/drawing/2014/main" id="{A0297404-5BE4-F247-81B6-F7F1C49B0FD4}"/>
                </a:ext>
              </a:extLst>
            </p:cNvPr>
            <p:cNvSpPr txBox="1"/>
            <p:nvPr/>
          </p:nvSpPr>
          <p:spPr>
            <a:xfrm>
              <a:off x="158018" y="4147263"/>
              <a:ext cx="338415" cy="230832"/>
            </a:xfrm>
            <a:prstGeom prst="rect">
              <a:avLst/>
            </a:prstGeom>
            <a:noFill/>
          </p:spPr>
          <p:txBody>
            <a:bodyPr wrap="square" rtlCol="0">
              <a:spAutoFit/>
            </a:bodyPr>
            <a:lstStyle/>
            <a:p>
              <a:pPr algn="ctr"/>
              <a:r>
                <a:rPr lang="en-GB" sz="900" b="1">
                  <a:solidFill>
                    <a:schemeClr val="bg1"/>
                  </a:solidFill>
                </a:rPr>
                <a:t>B</a:t>
              </a:r>
            </a:p>
          </p:txBody>
        </p:sp>
      </p:grpSp>
      <p:grpSp>
        <p:nvGrpSpPr>
          <p:cNvPr id="400" name="Group 399">
            <a:extLst>
              <a:ext uri="{FF2B5EF4-FFF2-40B4-BE49-F238E27FC236}">
                <a16:creationId xmlns:a16="http://schemas.microsoft.com/office/drawing/2014/main" id="{42E36BD6-BCC7-E944-8417-A80B7300F12C}"/>
              </a:ext>
            </a:extLst>
          </p:cNvPr>
          <p:cNvGrpSpPr/>
          <p:nvPr/>
        </p:nvGrpSpPr>
        <p:grpSpPr>
          <a:xfrm>
            <a:off x="199162" y="6270091"/>
            <a:ext cx="338415" cy="254400"/>
            <a:chOff x="158018" y="4135479"/>
            <a:chExt cx="338415" cy="254400"/>
          </a:xfrm>
        </p:grpSpPr>
        <p:sp>
          <p:nvSpPr>
            <p:cNvPr id="401" name="Oval 400">
              <a:extLst>
                <a:ext uri="{FF2B5EF4-FFF2-40B4-BE49-F238E27FC236}">
                  <a16:creationId xmlns:a16="http://schemas.microsoft.com/office/drawing/2014/main" id="{A37706FB-4B20-064F-A551-FE9463D08E47}"/>
                </a:ext>
              </a:extLst>
            </p:cNvPr>
            <p:cNvSpPr/>
            <p:nvPr/>
          </p:nvSpPr>
          <p:spPr>
            <a:xfrm>
              <a:off x="201081" y="4135479"/>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02" name="TextBox 401">
              <a:extLst>
                <a:ext uri="{FF2B5EF4-FFF2-40B4-BE49-F238E27FC236}">
                  <a16:creationId xmlns:a16="http://schemas.microsoft.com/office/drawing/2014/main" id="{AE04B00B-101E-0541-8042-DB1E9AAFC7F2}"/>
                </a:ext>
              </a:extLst>
            </p:cNvPr>
            <p:cNvSpPr txBox="1"/>
            <p:nvPr/>
          </p:nvSpPr>
          <p:spPr>
            <a:xfrm>
              <a:off x="158018" y="4147263"/>
              <a:ext cx="338415" cy="230832"/>
            </a:xfrm>
            <a:prstGeom prst="rect">
              <a:avLst/>
            </a:prstGeom>
            <a:noFill/>
          </p:spPr>
          <p:txBody>
            <a:bodyPr wrap="square" rtlCol="0">
              <a:spAutoFit/>
            </a:bodyPr>
            <a:lstStyle/>
            <a:p>
              <a:pPr algn="ctr"/>
              <a:r>
                <a:rPr lang="en-GB" sz="900" b="1">
                  <a:solidFill>
                    <a:schemeClr val="bg1"/>
                  </a:solidFill>
                </a:rPr>
                <a:t>C</a:t>
              </a:r>
            </a:p>
          </p:txBody>
        </p:sp>
      </p:grpSp>
      <p:grpSp>
        <p:nvGrpSpPr>
          <p:cNvPr id="403" name="Group 402">
            <a:extLst>
              <a:ext uri="{FF2B5EF4-FFF2-40B4-BE49-F238E27FC236}">
                <a16:creationId xmlns:a16="http://schemas.microsoft.com/office/drawing/2014/main" id="{C3EE8275-4BD0-D045-A255-A6DB6C7035BB}"/>
              </a:ext>
            </a:extLst>
          </p:cNvPr>
          <p:cNvGrpSpPr/>
          <p:nvPr/>
        </p:nvGrpSpPr>
        <p:grpSpPr>
          <a:xfrm>
            <a:off x="1777838" y="5661969"/>
            <a:ext cx="338415" cy="254400"/>
            <a:chOff x="158018" y="4135479"/>
            <a:chExt cx="338415" cy="254400"/>
          </a:xfrm>
        </p:grpSpPr>
        <p:sp>
          <p:nvSpPr>
            <p:cNvPr id="404" name="Oval 403">
              <a:extLst>
                <a:ext uri="{FF2B5EF4-FFF2-40B4-BE49-F238E27FC236}">
                  <a16:creationId xmlns:a16="http://schemas.microsoft.com/office/drawing/2014/main" id="{DE4461F6-20FD-774B-BC3C-92F3740E93BD}"/>
                </a:ext>
              </a:extLst>
            </p:cNvPr>
            <p:cNvSpPr/>
            <p:nvPr/>
          </p:nvSpPr>
          <p:spPr>
            <a:xfrm>
              <a:off x="201081" y="4135479"/>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05" name="TextBox 404">
              <a:extLst>
                <a:ext uri="{FF2B5EF4-FFF2-40B4-BE49-F238E27FC236}">
                  <a16:creationId xmlns:a16="http://schemas.microsoft.com/office/drawing/2014/main" id="{B0E62B7D-99E2-C046-8C78-EFF803F007B4}"/>
                </a:ext>
              </a:extLst>
            </p:cNvPr>
            <p:cNvSpPr txBox="1"/>
            <p:nvPr/>
          </p:nvSpPr>
          <p:spPr>
            <a:xfrm>
              <a:off x="158018" y="4147263"/>
              <a:ext cx="338415" cy="230832"/>
            </a:xfrm>
            <a:prstGeom prst="rect">
              <a:avLst/>
            </a:prstGeom>
            <a:noFill/>
          </p:spPr>
          <p:txBody>
            <a:bodyPr wrap="square" rtlCol="0">
              <a:spAutoFit/>
            </a:bodyPr>
            <a:lstStyle/>
            <a:p>
              <a:pPr algn="ctr"/>
              <a:r>
                <a:rPr lang="en-GB" sz="900" b="1">
                  <a:solidFill>
                    <a:schemeClr val="bg1"/>
                  </a:solidFill>
                </a:rPr>
                <a:t>D</a:t>
              </a:r>
            </a:p>
          </p:txBody>
        </p:sp>
      </p:grpSp>
      <p:grpSp>
        <p:nvGrpSpPr>
          <p:cNvPr id="406" name="Group 405">
            <a:extLst>
              <a:ext uri="{FF2B5EF4-FFF2-40B4-BE49-F238E27FC236}">
                <a16:creationId xmlns:a16="http://schemas.microsoft.com/office/drawing/2014/main" id="{ACD8ADDC-D70A-0746-959A-A7405FEBFF45}"/>
              </a:ext>
            </a:extLst>
          </p:cNvPr>
          <p:cNvGrpSpPr/>
          <p:nvPr/>
        </p:nvGrpSpPr>
        <p:grpSpPr>
          <a:xfrm>
            <a:off x="1777838" y="5953920"/>
            <a:ext cx="338415" cy="254400"/>
            <a:chOff x="158018" y="4135479"/>
            <a:chExt cx="338415" cy="254400"/>
          </a:xfrm>
        </p:grpSpPr>
        <p:sp>
          <p:nvSpPr>
            <p:cNvPr id="407" name="Oval 406">
              <a:extLst>
                <a:ext uri="{FF2B5EF4-FFF2-40B4-BE49-F238E27FC236}">
                  <a16:creationId xmlns:a16="http://schemas.microsoft.com/office/drawing/2014/main" id="{90236AE3-B2C3-E041-8C1F-9922D4208655}"/>
                </a:ext>
              </a:extLst>
            </p:cNvPr>
            <p:cNvSpPr/>
            <p:nvPr/>
          </p:nvSpPr>
          <p:spPr>
            <a:xfrm>
              <a:off x="201081" y="4135479"/>
              <a:ext cx="254400" cy="254400"/>
            </a:xfrm>
            <a:prstGeom prst="ellipse">
              <a:avLst/>
            </a:prstGeom>
            <a:solidFill>
              <a:srgbClr val="AC9AB1"/>
            </a:solidFill>
            <a:ln>
              <a:solidFill>
                <a:srgbClr val="5023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08" name="TextBox 407">
              <a:extLst>
                <a:ext uri="{FF2B5EF4-FFF2-40B4-BE49-F238E27FC236}">
                  <a16:creationId xmlns:a16="http://schemas.microsoft.com/office/drawing/2014/main" id="{B7B3DCD2-6077-9F42-AF21-8EE7E1EA1D89}"/>
                </a:ext>
              </a:extLst>
            </p:cNvPr>
            <p:cNvSpPr txBox="1"/>
            <p:nvPr/>
          </p:nvSpPr>
          <p:spPr>
            <a:xfrm>
              <a:off x="158018" y="4147263"/>
              <a:ext cx="338415" cy="230832"/>
            </a:xfrm>
            <a:prstGeom prst="rect">
              <a:avLst/>
            </a:prstGeom>
            <a:noFill/>
          </p:spPr>
          <p:txBody>
            <a:bodyPr wrap="square" rtlCol="0">
              <a:spAutoFit/>
            </a:bodyPr>
            <a:lstStyle/>
            <a:p>
              <a:pPr algn="ctr"/>
              <a:r>
                <a:rPr lang="en-GB" sz="900" b="1">
                  <a:solidFill>
                    <a:schemeClr val="bg1"/>
                  </a:solidFill>
                </a:rPr>
                <a:t>E</a:t>
              </a:r>
            </a:p>
          </p:txBody>
        </p:sp>
      </p:grpSp>
      <p:grpSp>
        <p:nvGrpSpPr>
          <p:cNvPr id="409" name="Group 408">
            <a:extLst>
              <a:ext uri="{FF2B5EF4-FFF2-40B4-BE49-F238E27FC236}">
                <a16:creationId xmlns:a16="http://schemas.microsoft.com/office/drawing/2014/main" id="{4B79473B-26B8-B243-B1DF-1F5FDD8D0416}"/>
              </a:ext>
            </a:extLst>
          </p:cNvPr>
          <p:cNvGrpSpPr/>
          <p:nvPr/>
        </p:nvGrpSpPr>
        <p:grpSpPr>
          <a:xfrm>
            <a:off x="1777838" y="6261614"/>
            <a:ext cx="338415" cy="254400"/>
            <a:chOff x="158018" y="4135479"/>
            <a:chExt cx="338415" cy="254400"/>
          </a:xfrm>
        </p:grpSpPr>
        <p:sp>
          <p:nvSpPr>
            <p:cNvPr id="410" name="Oval 409">
              <a:extLst>
                <a:ext uri="{FF2B5EF4-FFF2-40B4-BE49-F238E27FC236}">
                  <a16:creationId xmlns:a16="http://schemas.microsoft.com/office/drawing/2014/main" id="{C2605ECD-425B-2D4D-9678-4FCD32617EE3}"/>
                </a:ext>
              </a:extLst>
            </p:cNvPr>
            <p:cNvSpPr/>
            <p:nvPr/>
          </p:nvSpPr>
          <p:spPr>
            <a:xfrm>
              <a:off x="201081" y="4135479"/>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11" name="TextBox 410">
              <a:extLst>
                <a:ext uri="{FF2B5EF4-FFF2-40B4-BE49-F238E27FC236}">
                  <a16:creationId xmlns:a16="http://schemas.microsoft.com/office/drawing/2014/main" id="{78A2315D-5EB8-9445-9CD3-C17328DC3883}"/>
                </a:ext>
              </a:extLst>
            </p:cNvPr>
            <p:cNvSpPr txBox="1"/>
            <p:nvPr/>
          </p:nvSpPr>
          <p:spPr>
            <a:xfrm>
              <a:off x="158018" y="4147263"/>
              <a:ext cx="338415" cy="230832"/>
            </a:xfrm>
            <a:prstGeom prst="rect">
              <a:avLst/>
            </a:prstGeom>
            <a:noFill/>
          </p:spPr>
          <p:txBody>
            <a:bodyPr wrap="square" rtlCol="0">
              <a:spAutoFit/>
            </a:bodyPr>
            <a:lstStyle/>
            <a:p>
              <a:pPr algn="ctr"/>
              <a:r>
                <a:rPr lang="en-GB" sz="900" b="1">
                  <a:solidFill>
                    <a:schemeClr val="bg1"/>
                  </a:solidFill>
                </a:rPr>
                <a:t>F</a:t>
              </a:r>
            </a:p>
          </p:txBody>
        </p:sp>
      </p:grpSp>
      <p:grpSp>
        <p:nvGrpSpPr>
          <p:cNvPr id="412" name="Group 411">
            <a:extLst>
              <a:ext uri="{FF2B5EF4-FFF2-40B4-BE49-F238E27FC236}">
                <a16:creationId xmlns:a16="http://schemas.microsoft.com/office/drawing/2014/main" id="{1E4A24CA-5395-7840-9957-7E4CD10E2DF5}"/>
              </a:ext>
            </a:extLst>
          </p:cNvPr>
          <p:cNvGrpSpPr/>
          <p:nvPr/>
        </p:nvGrpSpPr>
        <p:grpSpPr>
          <a:xfrm>
            <a:off x="3179597" y="5659254"/>
            <a:ext cx="338415" cy="254400"/>
            <a:chOff x="158018" y="4135479"/>
            <a:chExt cx="338415" cy="254400"/>
          </a:xfrm>
        </p:grpSpPr>
        <p:sp>
          <p:nvSpPr>
            <p:cNvPr id="413" name="Oval 412">
              <a:extLst>
                <a:ext uri="{FF2B5EF4-FFF2-40B4-BE49-F238E27FC236}">
                  <a16:creationId xmlns:a16="http://schemas.microsoft.com/office/drawing/2014/main" id="{A9CE7132-F573-FB40-A03D-8BAECFFE34B1}"/>
                </a:ext>
              </a:extLst>
            </p:cNvPr>
            <p:cNvSpPr/>
            <p:nvPr/>
          </p:nvSpPr>
          <p:spPr>
            <a:xfrm>
              <a:off x="201081" y="4135479"/>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14" name="TextBox 413">
              <a:extLst>
                <a:ext uri="{FF2B5EF4-FFF2-40B4-BE49-F238E27FC236}">
                  <a16:creationId xmlns:a16="http://schemas.microsoft.com/office/drawing/2014/main" id="{DE1C6B01-A477-C741-B2F1-E5D71AE0F7B2}"/>
                </a:ext>
              </a:extLst>
            </p:cNvPr>
            <p:cNvSpPr txBox="1"/>
            <p:nvPr/>
          </p:nvSpPr>
          <p:spPr>
            <a:xfrm>
              <a:off x="158018" y="4147263"/>
              <a:ext cx="338415" cy="230832"/>
            </a:xfrm>
            <a:prstGeom prst="rect">
              <a:avLst/>
            </a:prstGeom>
            <a:noFill/>
          </p:spPr>
          <p:txBody>
            <a:bodyPr wrap="square" rtlCol="0">
              <a:spAutoFit/>
            </a:bodyPr>
            <a:lstStyle/>
            <a:p>
              <a:pPr algn="ctr"/>
              <a:r>
                <a:rPr lang="en-GB" sz="900" b="1">
                  <a:solidFill>
                    <a:schemeClr val="bg1"/>
                  </a:solidFill>
                </a:rPr>
                <a:t>G</a:t>
              </a:r>
            </a:p>
          </p:txBody>
        </p:sp>
      </p:grpSp>
      <p:grpSp>
        <p:nvGrpSpPr>
          <p:cNvPr id="415" name="Group 414">
            <a:extLst>
              <a:ext uri="{FF2B5EF4-FFF2-40B4-BE49-F238E27FC236}">
                <a16:creationId xmlns:a16="http://schemas.microsoft.com/office/drawing/2014/main" id="{D3E35BAE-D527-6546-AE3B-746E9867723E}"/>
              </a:ext>
            </a:extLst>
          </p:cNvPr>
          <p:cNvGrpSpPr/>
          <p:nvPr/>
        </p:nvGrpSpPr>
        <p:grpSpPr>
          <a:xfrm>
            <a:off x="3179597" y="5966946"/>
            <a:ext cx="338415" cy="254400"/>
            <a:chOff x="158018" y="4135479"/>
            <a:chExt cx="338415" cy="254400"/>
          </a:xfrm>
        </p:grpSpPr>
        <p:sp>
          <p:nvSpPr>
            <p:cNvPr id="416" name="Oval 415">
              <a:extLst>
                <a:ext uri="{FF2B5EF4-FFF2-40B4-BE49-F238E27FC236}">
                  <a16:creationId xmlns:a16="http://schemas.microsoft.com/office/drawing/2014/main" id="{DD1A1187-7BAD-0342-9498-3724E7F2F8AB}"/>
                </a:ext>
              </a:extLst>
            </p:cNvPr>
            <p:cNvSpPr/>
            <p:nvPr/>
          </p:nvSpPr>
          <p:spPr>
            <a:xfrm>
              <a:off x="201081" y="4135479"/>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17" name="TextBox 416">
              <a:extLst>
                <a:ext uri="{FF2B5EF4-FFF2-40B4-BE49-F238E27FC236}">
                  <a16:creationId xmlns:a16="http://schemas.microsoft.com/office/drawing/2014/main" id="{F3A9FFA8-4525-3F43-82E4-54F32F2DF76C}"/>
                </a:ext>
              </a:extLst>
            </p:cNvPr>
            <p:cNvSpPr txBox="1"/>
            <p:nvPr/>
          </p:nvSpPr>
          <p:spPr>
            <a:xfrm>
              <a:off x="158018" y="4147263"/>
              <a:ext cx="338415" cy="230832"/>
            </a:xfrm>
            <a:prstGeom prst="rect">
              <a:avLst/>
            </a:prstGeom>
            <a:noFill/>
          </p:spPr>
          <p:txBody>
            <a:bodyPr wrap="square" rtlCol="0">
              <a:spAutoFit/>
            </a:bodyPr>
            <a:lstStyle/>
            <a:p>
              <a:pPr algn="ctr"/>
              <a:r>
                <a:rPr lang="en-GB" sz="900" b="1">
                  <a:solidFill>
                    <a:schemeClr val="bg1"/>
                  </a:solidFill>
                </a:rPr>
                <a:t>H</a:t>
              </a:r>
            </a:p>
          </p:txBody>
        </p:sp>
      </p:grpSp>
      <p:grpSp>
        <p:nvGrpSpPr>
          <p:cNvPr id="418" name="Group 417">
            <a:extLst>
              <a:ext uri="{FF2B5EF4-FFF2-40B4-BE49-F238E27FC236}">
                <a16:creationId xmlns:a16="http://schemas.microsoft.com/office/drawing/2014/main" id="{2A9E4464-F936-534E-AD48-847CC0191975}"/>
              </a:ext>
            </a:extLst>
          </p:cNvPr>
          <p:cNvGrpSpPr/>
          <p:nvPr/>
        </p:nvGrpSpPr>
        <p:grpSpPr>
          <a:xfrm>
            <a:off x="4020313" y="2253372"/>
            <a:ext cx="338415" cy="254400"/>
            <a:chOff x="-1176915" y="3508496"/>
            <a:chExt cx="338415" cy="254400"/>
          </a:xfrm>
        </p:grpSpPr>
        <p:sp>
          <p:nvSpPr>
            <p:cNvPr id="419" name="Oval 418">
              <a:extLst>
                <a:ext uri="{FF2B5EF4-FFF2-40B4-BE49-F238E27FC236}">
                  <a16:creationId xmlns:a16="http://schemas.microsoft.com/office/drawing/2014/main" id="{E5A9E06F-7DF8-1E4D-8882-ED043387506C}"/>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20" name="TextBox 419">
              <a:extLst>
                <a:ext uri="{FF2B5EF4-FFF2-40B4-BE49-F238E27FC236}">
                  <a16:creationId xmlns:a16="http://schemas.microsoft.com/office/drawing/2014/main" id="{560FE39E-07C5-8C4B-A498-4D350A2F7132}"/>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A7</a:t>
              </a:r>
            </a:p>
          </p:txBody>
        </p:sp>
      </p:grpSp>
      <p:grpSp>
        <p:nvGrpSpPr>
          <p:cNvPr id="421" name="Group 420">
            <a:extLst>
              <a:ext uri="{FF2B5EF4-FFF2-40B4-BE49-F238E27FC236}">
                <a16:creationId xmlns:a16="http://schemas.microsoft.com/office/drawing/2014/main" id="{BA18D7D6-1C92-D64C-A4F9-C7844DED58D1}"/>
              </a:ext>
            </a:extLst>
          </p:cNvPr>
          <p:cNvGrpSpPr/>
          <p:nvPr/>
        </p:nvGrpSpPr>
        <p:grpSpPr>
          <a:xfrm>
            <a:off x="5312378" y="2228578"/>
            <a:ext cx="338415" cy="254400"/>
            <a:chOff x="-1176915" y="3508496"/>
            <a:chExt cx="338415" cy="254400"/>
          </a:xfrm>
        </p:grpSpPr>
        <p:sp>
          <p:nvSpPr>
            <p:cNvPr id="422" name="Oval 421">
              <a:extLst>
                <a:ext uri="{FF2B5EF4-FFF2-40B4-BE49-F238E27FC236}">
                  <a16:creationId xmlns:a16="http://schemas.microsoft.com/office/drawing/2014/main" id="{281577BD-C92D-6B45-8C54-DFC9CE0541BF}"/>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23" name="TextBox 422">
              <a:extLst>
                <a:ext uri="{FF2B5EF4-FFF2-40B4-BE49-F238E27FC236}">
                  <a16:creationId xmlns:a16="http://schemas.microsoft.com/office/drawing/2014/main" id="{16368C0B-A3D2-CB41-86A2-8F7A87F11C79}"/>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A9</a:t>
              </a:r>
            </a:p>
          </p:txBody>
        </p:sp>
      </p:grpSp>
      <p:grpSp>
        <p:nvGrpSpPr>
          <p:cNvPr id="424" name="Group 423">
            <a:extLst>
              <a:ext uri="{FF2B5EF4-FFF2-40B4-BE49-F238E27FC236}">
                <a16:creationId xmlns:a16="http://schemas.microsoft.com/office/drawing/2014/main" id="{DAF0C5FC-3606-924A-8DA5-B885F2DF0AEB}"/>
              </a:ext>
            </a:extLst>
          </p:cNvPr>
          <p:cNvGrpSpPr/>
          <p:nvPr/>
        </p:nvGrpSpPr>
        <p:grpSpPr>
          <a:xfrm>
            <a:off x="4851011" y="2257231"/>
            <a:ext cx="338415" cy="254400"/>
            <a:chOff x="-1176915" y="3508496"/>
            <a:chExt cx="338415" cy="254400"/>
          </a:xfrm>
        </p:grpSpPr>
        <p:sp>
          <p:nvSpPr>
            <p:cNvPr id="425" name="Oval 424">
              <a:extLst>
                <a:ext uri="{FF2B5EF4-FFF2-40B4-BE49-F238E27FC236}">
                  <a16:creationId xmlns:a16="http://schemas.microsoft.com/office/drawing/2014/main" id="{8ACC2DCB-C80D-A042-9599-88D2B390BA17}"/>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26" name="TextBox 425">
              <a:extLst>
                <a:ext uri="{FF2B5EF4-FFF2-40B4-BE49-F238E27FC236}">
                  <a16:creationId xmlns:a16="http://schemas.microsoft.com/office/drawing/2014/main" id="{9872CC27-B1CF-984F-B52A-3B798220C1D0}"/>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A8</a:t>
              </a:r>
            </a:p>
          </p:txBody>
        </p:sp>
      </p:grpSp>
      <p:grpSp>
        <p:nvGrpSpPr>
          <p:cNvPr id="427" name="Group 426">
            <a:extLst>
              <a:ext uri="{FF2B5EF4-FFF2-40B4-BE49-F238E27FC236}">
                <a16:creationId xmlns:a16="http://schemas.microsoft.com/office/drawing/2014/main" id="{E965A901-7F67-AE45-9D46-1363A562ED9C}"/>
              </a:ext>
            </a:extLst>
          </p:cNvPr>
          <p:cNvGrpSpPr/>
          <p:nvPr/>
        </p:nvGrpSpPr>
        <p:grpSpPr>
          <a:xfrm>
            <a:off x="2929609" y="3140450"/>
            <a:ext cx="341766" cy="288000"/>
            <a:chOff x="2817272" y="3236873"/>
            <a:chExt cx="341766" cy="288000"/>
          </a:xfrm>
        </p:grpSpPr>
        <p:sp>
          <p:nvSpPr>
            <p:cNvPr id="428" name="5-point Star 427">
              <a:extLst>
                <a:ext uri="{FF2B5EF4-FFF2-40B4-BE49-F238E27FC236}">
                  <a16:creationId xmlns:a16="http://schemas.microsoft.com/office/drawing/2014/main" id="{C71063BF-8FCB-9E4F-828F-29BEABCA4A9D}"/>
                </a:ext>
              </a:extLst>
            </p:cNvPr>
            <p:cNvSpPr/>
            <p:nvPr/>
          </p:nvSpPr>
          <p:spPr>
            <a:xfrm>
              <a:off x="2820623" y="3236873"/>
              <a:ext cx="338415" cy="288000"/>
            </a:xfrm>
            <a:prstGeom prst="star5">
              <a:avLst/>
            </a:prstGeom>
            <a:solidFill>
              <a:srgbClr val="FF0000"/>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29" name="TextBox 428">
              <a:extLst>
                <a:ext uri="{FF2B5EF4-FFF2-40B4-BE49-F238E27FC236}">
                  <a16:creationId xmlns:a16="http://schemas.microsoft.com/office/drawing/2014/main" id="{E436026E-3B26-AD4B-A271-904A925FAD58}"/>
                </a:ext>
              </a:extLst>
            </p:cNvPr>
            <p:cNvSpPr txBox="1"/>
            <p:nvPr/>
          </p:nvSpPr>
          <p:spPr>
            <a:xfrm>
              <a:off x="2817272" y="3282915"/>
              <a:ext cx="338415" cy="230832"/>
            </a:xfrm>
            <a:prstGeom prst="rect">
              <a:avLst/>
            </a:prstGeom>
            <a:noFill/>
          </p:spPr>
          <p:txBody>
            <a:bodyPr wrap="square" rtlCol="0">
              <a:spAutoFit/>
            </a:bodyPr>
            <a:lstStyle/>
            <a:p>
              <a:pPr algn="ctr"/>
              <a:r>
                <a:rPr lang="en-GB" sz="900" b="1">
                  <a:solidFill>
                    <a:schemeClr val="bg1"/>
                  </a:solidFill>
                </a:rPr>
                <a:t>B3</a:t>
              </a:r>
            </a:p>
          </p:txBody>
        </p:sp>
      </p:grpSp>
      <p:grpSp>
        <p:nvGrpSpPr>
          <p:cNvPr id="430" name="Group 429">
            <a:extLst>
              <a:ext uri="{FF2B5EF4-FFF2-40B4-BE49-F238E27FC236}">
                <a16:creationId xmlns:a16="http://schemas.microsoft.com/office/drawing/2014/main" id="{4D8DF5AB-C1C2-9E4E-B715-DC5F6F0CB6D1}"/>
              </a:ext>
            </a:extLst>
          </p:cNvPr>
          <p:cNvGrpSpPr/>
          <p:nvPr/>
        </p:nvGrpSpPr>
        <p:grpSpPr>
          <a:xfrm>
            <a:off x="10256162" y="2174034"/>
            <a:ext cx="494671" cy="254400"/>
            <a:chOff x="-1251134" y="3508496"/>
            <a:chExt cx="494671" cy="254400"/>
          </a:xfrm>
        </p:grpSpPr>
        <p:sp>
          <p:nvSpPr>
            <p:cNvPr id="431" name="Oval 430">
              <a:extLst>
                <a:ext uri="{FF2B5EF4-FFF2-40B4-BE49-F238E27FC236}">
                  <a16:creationId xmlns:a16="http://schemas.microsoft.com/office/drawing/2014/main" id="{5FB8AC01-4FA3-504C-B7E1-DB3A54B6BCCE}"/>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32" name="TextBox 431">
              <a:extLst>
                <a:ext uri="{FF2B5EF4-FFF2-40B4-BE49-F238E27FC236}">
                  <a16:creationId xmlns:a16="http://schemas.microsoft.com/office/drawing/2014/main" id="{4FB44D87-4104-BE4B-8C4C-4AFEBC99C627}"/>
                </a:ext>
              </a:extLst>
            </p:cNvPr>
            <p:cNvSpPr txBox="1"/>
            <p:nvPr/>
          </p:nvSpPr>
          <p:spPr>
            <a:xfrm>
              <a:off x="-1251134" y="3520280"/>
              <a:ext cx="494671" cy="230832"/>
            </a:xfrm>
            <a:prstGeom prst="rect">
              <a:avLst/>
            </a:prstGeom>
            <a:noFill/>
          </p:spPr>
          <p:txBody>
            <a:bodyPr wrap="square" rtlCol="0">
              <a:spAutoFit/>
            </a:bodyPr>
            <a:lstStyle/>
            <a:p>
              <a:pPr algn="ctr"/>
              <a:r>
                <a:rPr lang="en-GB" sz="900" b="1">
                  <a:solidFill>
                    <a:schemeClr val="bg1"/>
                  </a:solidFill>
                </a:rPr>
                <a:t>B10</a:t>
              </a:r>
            </a:p>
          </p:txBody>
        </p:sp>
      </p:grpSp>
      <p:grpSp>
        <p:nvGrpSpPr>
          <p:cNvPr id="433" name="Group 432">
            <a:extLst>
              <a:ext uri="{FF2B5EF4-FFF2-40B4-BE49-F238E27FC236}">
                <a16:creationId xmlns:a16="http://schemas.microsoft.com/office/drawing/2014/main" id="{79D18E9D-9AED-4544-8E47-2408725791A3}"/>
              </a:ext>
            </a:extLst>
          </p:cNvPr>
          <p:cNvGrpSpPr/>
          <p:nvPr/>
        </p:nvGrpSpPr>
        <p:grpSpPr>
          <a:xfrm>
            <a:off x="7916587" y="2405625"/>
            <a:ext cx="338415" cy="254400"/>
            <a:chOff x="-1176915" y="3508496"/>
            <a:chExt cx="338415" cy="254400"/>
          </a:xfrm>
        </p:grpSpPr>
        <p:sp>
          <p:nvSpPr>
            <p:cNvPr id="434" name="Oval 433">
              <a:extLst>
                <a:ext uri="{FF2B5EF4-FFF2-40B4-BE49-F238E27FC236}">
                  <a16:creationId xmlns:a16="http://schemas.microsoft.com/office/drawing/2014/main" id="{BF6BE628-70AA-D542-9A86-0539DA248941}"/>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35" name="TextBox 434">
              <a:extLst>
                <a:ext uri="{FF2B5EF4-FFF2-40B4-BE49-F238E27FC236}">
                  <a16:creationId xmlns:a16="http://schemas.microsoft.com/office/drawing/2014/main" id="{141234EA-864D-9440-A27A-76A893C3D663}"/>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B9</a:t>
              </a:r>
            </a:p>
          </p:txBody>
        </p:sp>
      </p:grpSp>
      <p:grpSp>
        <p:nvGrpSpPr>
          <p:cNvPr id="436" name="Group 435">
            <a:extLst>
              <a:ext uri="{FF2B5EF4-FFF2-40B4-BE49-F238E27FC236}">
                <a16:creationId xmlns:a16="http://schemas.microsoft.com/office/drawing/2014/main" id="{52B6E276-54E3-9644-BBB7-103440E30E2E}"/>
              </a:ext>
            </a:extLst>
          </p:cNvPr>
          <p:cNvGrpSpPr/>
          <p:nvPr/>
        </p:nvGrpSpPr>
        <p:grpSpPr>
          <a:xfrm>
            <a:off x="5725539" y="2715549"/>
            <a:ext cx="338415" cy="254400"/>
            <a:chOff x="-1176915" y="3508496"/>
            <a:chExt cx="338415" cy="254400"/>
          </a:xfrm>
        </p:grpSpPr>
        <p:sp>
          <p:nvSpPr>
            <p:cNvPr id="437" name="Oval 436">
              <a:extLst>
                <a:ext uri="{FF2B5EF4-FFF2-40B4-BE49-F238E27FC236}">
                  <a16:creationId xmlns:a16="http://schemas.microsoft.com/office/drawing/2014/main" id="{F1113B00-0586-DA4D-945B-628C3566DAE1}"/>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38" name="TextBox 437">
              <a:extLst>
                <a:ext uri="{FF2B5EF4-FFF2-40B4-BE49-F238E27FC236}">
                  <a16:creationId xmlns:a16="http://schemas.microsoft.com/office/drawing/2014/main" id="{F2F917EE-3AA2-5E44-A506-0E3A5A76CAA7}"/>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B8</a:t>
              </a:r>
            </a:p>
          </p:txBody>
        </p:sp>
      </p:grpSp>
      <p:grpSp>
        <p:nvGrpSpPr>
          <p:cNvPr id="439" name="Group 438">
            <a:extLst>
              <a:ext uri="{FF2B5EF4-FFF2-40B4-BE49-F238E27FC236}">
                <a16:creationId xmlns:a16="http://schemas.microsoft.com/office/drawing/2014/main" id="{0ABDED05-6126-794E-BD1E-8196E00CEC88}"/>
              </a:ext>
            </a:extLst>
          </p:cNvPr>
          <p:cNvGrpSpPr/>
          <p:nvPr/>
        </p:nvGrpSpPr>
        <p:grpSpPr>
          <a:xfrm>
            <a:off x="9532818" y="2216310"/>
            <a:ext cx="338415" cy="254400"/>
            <a:chOff x="-1176915" y="3508496"/>
            <a:chExt cx="338415" cy="254400"/>
          </a:xfrm>
        </p:grpSpPr>
        <p:sp>
          <p:nvSpPr>
            <p:cNvPr id="440" name="Oval 439">
              <a:extLst>
                <a:ext uri="{FF2B5EF4-FFF2-40B4-BE49-F238E27FC236}">
                  <a16:creationId xmlns:a16="http://schemas.microsoft.com/office/drawing/2014/main" id="{8141243F-7BDD-CE4E-8F71-1F280F0748BA}"/>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41" name="TextBox 440">
              <a:extLst>
                <a:ext uri="{FF2B5EF4-FFF2-40B4-BE49-F238E27FC236}">
                  <a16:creationId xmlns:a16="http://schemas.microsoft.com/office/drawing/2014/main" id="{5BFF5C9F-8E50-FF46-9006-E3124A3295DE}"/>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B7</a:t>
              </a:r>
            </a:p>
          </p:txBody>
        </p:sp>
      </p:grpSp>
      <p:grpSp>
        <p:nvGrpSpPr>
          <p:cNvPr id="442" name="Group 441">
            <a:extLst>
              <a:ext uri="{FF2B5EF4-FFF2-40B4-BE49-F238E27FC236}">
                <a16:creationId xmlns:a16="http://schemas.microsoft.com/office/drawing/2014/main" id="{68E490F2-89AA-A64C-8532-584867AA1ED5}"/>
              </a:ext>
            </a:extLst>
          </p:cNvPr>
          <p:cNvGrpSpPr/>
          <p:nvPr/>
        </p:nvGrpSpPr>
        <p:grpSpPr>
          <a:xfrm>
            <a:off x="4933464" y="2847763"/>
            <a:ext cx="338415" cy="254400"/>
            <a:chOff x="-1176915" y="3508496"/>
            <a:chExt cx="338415" cy="254400"/>
          </a:xfrm>
        </p:grpSpPr>
        <p:sp>
          <p:nvSpPr>
            <p:cNvPr id="443" name="Oval 442">
              <a:extLst>
                <a:ext uri="{FF2B5EF4-FFF2-40B4-BE49-F238E27FC236}">
                  <a16:creationId xmlns:a16="http://schemas.microsoft.com/office/drawing/2014/main" id="{723FD164-B61F-2540-9796-0B1756B92A8F}"/>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44" name="TextBox 443">
              <a:extLst>
                <a:ext uri="{FF2B5EF4-FFF2-40B4-BE49-F238E27FC236}">
                  <a16:creationId xmlns:a16="http://schemas.microsoft.com/office/drawing/2014/main" id="{E2C16AC6-D5FE-8E48-833C-A8DB0A0BE74A}"/>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B6</a:t>
              </a:r>
            </a:p>
          </p:txBody>
        </p:sp>
      </p:grpSp>
      <p:grpSp>
        <p:nvGrpSpPr>
          <p:cNvPr id="445" name="Group 444">
            <a:extLst>
              <a:ext uri="{FF2B5EF4-FFF2-40B4-BE49-F238E27FC236}">
                <a16:creationId xmlns:a16="http://schemas.microsoft.com/office/drawing/2014/main" id="{6DD91870-46AE-FB43-AE0B-34F9EDF26227}"/>
              </a:ext>
            </a:extLst>
          </p:cNvPr>
          <p:cNvGrpSpPr/>
          <p:nvPr/>
        </p:nvGrpSpPr>
        <p:grpSpPr>
          <a:xfrm>
            <a:off x="4522740" y="2935700"/>
            <a:ext cx="338415" cy="254400"/>
            <a:chOff x="-1176915" y="3508496"/>
            <a:chExt cx="338415" cy="254400"/>
          </a:xfrm>
        </p:grpSpPr>
        <p:sp>
          <p:nvSpPr>
            <p:cNvPr id="446" name="Oval 445">
              <a:extLst>
                <a:ext uri="{FF2B5EF4-FFF2-40B4-BE49-F238E27FC236}">
                  <a16:creationId xmlns:a16="http://schemas.microsoft.com/office/drawing/2014/main" id="{C0B6E21C-853C-1648-9321-24F24A9542F7}"/>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47" name="TextBox 446">
              <a:extLst>
                <a:ext uri="{FF2B5EF4-FFF2-40B4-BE49-F238E27FC236}">
                  <a16:creationId xmlns:a16="http://schemas.microsoft.com/office/drawing/2014/main" id="{30C3E35C-9209-3F44-91D8-FA2B5205D10A}"/>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B5</a:t>
              </a:r>
            </a:p>
          </p:txBody>
        </p:sp>
      </p:grpSp>
      <p:grpSp>
        <p:nvGrpSpPr>
          <p:cNvPr id="448" name="Group 447">
            <a:extLst>
              <a:ext uri="{FF2B5EF4-FFF2-40B4-BE49-F238E27FC236}">
                <a16:creationId xmlns:a16="http://schemas.microsoft.com/office/drawing/2014/main" id="{A426D459-2512-FD4E-ABDF-D365EC89724D}"/>
              </a:ext>
            </a:extLst>
          </p:cNvPr>
          <p:cNvGrpSpPr/>
          <p:nvPr/>
        </p:nvGrpSpPr>
        <p:grpSpPr>
          <a:xfrm>
            <a:off x="3782955" y="3076696"/>
            <a:ext cx="338415" cy="254400"/>
            <a:chOff x="-1176915" y="3508496"/>
            <a:chExt cx="338415" cy="254400"/>
          </a:xfrm>
        </p:grpSpPr>
        <p:sp>
          <p:nvSpPr>
            <p:cNvPr id="449" name="Oval 448">
              <a:extLst>
                <a:ext uri="{FF2B5EF4-FFF2-40B4-BE49-F238E27FC236}">
                  <a16:creationId xmlns:a16="http://schemas.microsoft.com/office/drawing/2014/main" id="{02007406-B9A5-F74A-95DE-9CC572997315}"/>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50" name="TextBox 449">
              <a:extLst>
                <a:ext uri="{FF2B5EF4-FFF2-40B4-BE49-F238E27FC236}">
                  <a16:creationId xmlns:a16="http://schemas.microsoft.com/office/drawing/2014/main" id="{CA0EB130-3C29-3A40-927F-5BD3085E674D}"/>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B4</a:t>
              </a:r>
            </a:p>
          </p:txBody>
        </p:sp>
      </p:grpSp>
      <p:grpSp>
        <p:nvGrpSpPr>
          <p:cNvPr id="451" name="Group 450">
            <a:extLst>
              <a:ext uri="{FF2B5EF4-FFF2-40B4-BE49-F238E27FC236}">
                <a16:creationId xmlns:a16="http://schemas.microsoft.com/office/drawing/2014/main" id="{BAC94CAE-93F1-F94F-8613-5E0F6FF87611}"/>
              </a:ext>
            </a:extLst>
          </p:cNvPr>
          <p:cNvGrpSpPr/>
          <p:nvPr/>
        </p:nvGrpSpPr>
        <p:grpSpPr>
          <a:xfrm>
            <a:off x="7076144" y="2490453"/>
            <a:ext cx="338415" cy="254400"/>
            <a:chOff x="-1176915" y="3508496"/>
            <a:chExt cx="338415" cy="254400"/>
          </a:xfrm>
        </p:grpSpPr>
        <p:sp>
          <p:nvSpPr>
            <p:cNvPr id="452" name="Oval 451">
              <a:extLst>
                <a:ext uri="{FF2B5EF4-FFF2-40B4-BE49-F238E27FC236}">
                  <a16:creationId xmlns:a16="http://schemas.microsoft.com/office/drawing/2014/main" id="{FE0F5C89-1DAE-0B47-AE4F-5CF1321A4ADB}"/>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53" name="TextBox 452">
              <a:extLst>
                <a:ext uri="{FF2B5EF4-FFF2-40B4-BE49-F238E27FC236}">
                  <a16:creationId xmlns:a16="http://schemas.microsoft.com/office/drawing/2014/main" id="{28FD2463-C205-CE4F-BE72-5D9EBFDBF1A4}"/>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B2</a:t>
              </a:r>
            </a:p>
          </p:txBody>
        </p:sp>
      </p:grpSp>
      <p:grpSp>
        <p:nvGrpSpPr>
          <p:cNvPr id="454" name="Group 453">
            <a:extLst>
              <a:ext uri="{FF2B5EF4-FFF2-40B4-BE49-F238E27FC236}">
                <a16:creationId xmlns:a16="http://schemas.microsoft.com/office/drawing/2014/main" id="{D99250FB-4479-4841-8FC3-FBBC0D1BB324}"/>
              </a:ext>
            </a:extLst>
          </p:cNvPr>
          <p:cNvGrpSpPr/>
          <p:nvPr/>
        </p:nvGrpSpPr>
        <p:grpSpPr>
          <a:xfrm>
            <a:off x="2529821" y="3242696"/>
            <a:ext cx="338415" cy="254400"/>
            <a:chOff x="-1176915" y="3508496"/>
            <a:chExt cx="338415" cy="254400"/>
          </a:xfrm>
        </p:grpSpPr>
        <p:sp>
          <p:nvSpPr>
            <p:cNvPr id="455" name="Oval 454">
              <a:extLst>
                <a:ext uri="{FF2B5EF4-FFF2-40B4-BE49-F238E27FC236}">
                  <a16:creationId xmlns:a16="http://schemas.microsoft.com/office/drawing/2014/main" id="{7F1A9ED0-FD65-AD47-AEB1-4FDFA6438C73}"/>
                </a:ext>
              </a:extLst>
            </p:cNvPr>
            <p:cNvSpPr/>
            <p:nvPr/>
          </p:nvSpPr>
          <p:spPr>
            <a:xfrm>
              <a:off x="-1133852" y="3508496"/>
              <a:ext cx="254400" cy="254400"/>
            </a:xfrm>
            <a:prstGeom prst="ellipse">
              <a:avLst/>
            </a:prstGeom>
            <a:solidFill>
              <a:srgbClr val="FF0000"/>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56" name="TextBox 455">
              <a:extLst>
                <a:ext uri="{FF2B5EF4-FFF2-40B4-BE49-F238E27FC236}">
                  <a16:creationId xmlns:a16="http://schemas.microsoft.com/office/drawing/2014/main" id="{6FFD876A-15E8-5848-80E9-65E10FE24C5D}"/>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B1</a:t>
              </a:r>
            </a:p>
          </p:txBody>
        </p:sp>
      </p:grpSp>
      <p:grpSp>
        <p:nvGrpSpPr>
          <p:cNvPr id="457" name="Group 456">
            <a:extLst>
              <a:ext uri="{FF2B5EF4-FFF2-40B4-BE49-F238E27FC236}">
                <a16:creationId xmlns:a16="http://schemas.microsoft.com/office/drawing/2014/main" id="{B4BC658A-5EFC-C745-B05C-BA621CA99FA2}"/>
              </a:ext>
            </a:extLst>
          </p:cNvPr>
          <p:cNvGrpSpPr/>
          <p:nvPr/>
        </p:nvGrpSpPr>
        <p:grpSpPr>
          <a:xfrm>
            <a:off x="6759130" y="3876262"/>
            <a:ext cx="338415" cy="254400"/>
            <a:chOff x="-1176915" y="3508496"/>
            <a:chExt cx="338415" cy="254400"/>
          </a:xfrm>
        </p:grpSpPr>
        <p:sp>
          <p:nvSpPr>
            <p:cNvPr id="458" name="Oval 457">
              <a:extLst>
                <a:ext uri="{FF2B5EF4-FFF2-40B4-BE49-F238E27FC236}">
                  <a16:creationId xmlns:a16="http://schemas.microsoft.com/office/drawing/2014/main" id="{EB604047-A6F4-7245-B9A8-33EF8D8EF06D}"/>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59" name="TextBox 458">
              <a:extLst>
                <a:ext uri="{FF2B5EF4-FFF2-40B4-BE49-F238E27FC236}">
                  <a16:creationId xmlns:a16="http://schemas.microsoft.com/office/drawing/2014/main" id="{657D8078-120E-CF46-B9E5-1CA28D13C647}"/>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D8</a:t>
              </a:r>
            </a:p>
          </p:txBody>
        </p:sp>
      </p:grpSp>
      <p:grpSp>
        <p:nvGrpSpPr>
          <p:cNvPr id="460" name="Group 459">
            <a:extLst>
              <a:ext uri="{FF2B5EF4-FFF2-40B4-BE49-F238E27FC236}">
                <a16:creationId xmlns:a16="http://schemas.microsoft.com/office/drawing/2014/main" id="{04E07A40-9AAC-0843-8E2D-B45C1BE67C27}"/>
              </a:ext>
            </a:extLst>
          </p:cNvPr>
          <p:cNvGrpSpPr/>
          <p:nvPr/>
        </p:nvGrpSpPr>
        <p:grpSpPr>
          <a:xfrm>
            <a:off x="5373624" y="3491282"/>
            <a:ext cx="338415" cy="254400"/>
            <a:chOff x="-1176915" y="3508496"/>
            <a:chExt cx="338415" cy="254400"/>
          </a:xfrm>
        </p:grpSpPr>
        <p:sp>
          <p:nvSpPr>
            <p:cNvPr id="461" name="Oval 460">
              <a:extLst>
                <a:ext uri="{FF2B5EF4-FFF2-40B4-BE49-F238E27FC236}">
                  <a16:creationId xmlns:a16="http://schemas.microsoft.com/office/drawing/2014/main" id="{70C07B90-1828-2B41-87EB-81E2502746F6}"/>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62" name="TextBox 461">
              <a:extLst>
                <a:ext uri="{FF2B5EF4-FFF2-40B4-BE49-F238E27FC236}">
                  <a16:creationId xmlns:a16="http://schemas.microsoft.com/office/drawing/2014/main" id="{8128175B-F212-6B46-ADDA-24BC451E76BA}"/>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C9</a:t>
              </a:r>
            </a:p>
          </p:txBody>
        </p:sp>
      </p:grpSp>
      <p:grpSp>
        <p:nvGrpSpPr>
          <p:cNvPr id="463" name="Group 462">
            <a:extLst>
              <a:ext uri="{FF2B5EF4-FFF2-40B4-BE49-F238E27FC236}">
                <a16:creationId xmlns:a16="http://schemas.microsoft.com/office/drawing/2014/main" id="{DBA5EB90-F1CF-8C46-9257-16C2C55AF88F}"/>
              </a:ext>
            </a:extLst>
          </p:cNvPr>
          <p:cNvGrpSpPr/>
          <p:nvPr/>
        </p:nvGrpSpPr>
        <p:grpSpPr>
          <a:xfrm>
            <a:off x="9977655" y="2289997"/>
            <a:ext cx="338415" cy="254400"/>
            <a:chOff x="-1176915" y="3508496"/>
            <a:chExt cx="338415" cy="254400"/>
          </a:xfrm>
        </p:grpSpPr>
        <p:sp>
          <p:nvSpPr>
            <p:cNvPr id="464" name="Oval 463">
              <a:extLst>
                <a:ext uri="{FF2B5EF4-FFF2-40B4-BE49-F238E27FC236}">
                  <a16:creationId xmlns:a16="http://schemas.microsoft.com/office/drawing/2014/main" id="{ABC876B7-E57D-6441-A56C-AEFB12DE72A9}"/>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65" name="TextBox 464">
              <a:extLst>
                <a:ext uri="{FF2B5EF4-FFF2-40B4-BE49-F238E27FC236}">
                  <a16:creationId xmlns:a16="http://schemas.microsoft.com/office/drawing/2014/main" id="{91E2879E-EAB4-584B-9FB9-CB801B839022}"/>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C8</a:t>
              </a:r>
            </a:p>
          </p:txBody>
        </p:sp>
      </p:grpSp>
      <p:grpSp>
        <p:nvGrpSpPr>
          <p:cNvPr id="466" name="Group 465">
            <a:extLst>
              <a:ext uri="{FF2B5EF4-FFF2-40B4-BE49-F238E27FC236}">
                <a16:creationId xmlns:a16="http://schemas.microsoft.com/office/drawing/2014/main" id="{82AFE6F4-3842-BD47-A2BD-5A0AD7A149B7}"/>
              </a:ext>
            </a:extLst>
          </p:cNvPr>
          <p:cNvGrpSpPr/>
          <p:nvPr/>
        </p:nvGrpSpPr>
        <p:grpSpPr>
          <a:xfrm>
            <a:off x="6845875" y="3168363"/>
            <a:ext cx="338415" cy="254400"/>
            <a:chOff x="-1176915" y="3508496"/>
            <a:chExt cx="338415" cy="254400"/>
          </a:xfrm>
        </p:grpSpPr>
        <p:sp>
          <p:nvSpPr>
            <p:cNvPr id="467" name="Oval 466">
              <a:extLst>
                <a:ext uri="{FF2B5EF4-FFF2-40B4-BE49-F238E27FC236}">
                  <a16:creationId xmlns:a16="http://schemas.microsoft.com/office/drawing/2014/main" id="{F7CC2C4D-5E06-BF47-97CA-D40CE99233F4}"/>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68" name="TextBox 467">
              <a:extLst>
                <a:ext uri="{FF2B5EF4-FFF2-40B4-BE49-F238E27FC236}">
                  <a16:creationId xmlns:a16="http://schemas.microsoft.com/office/drawing/2014/main" id="{B1E01E56-9B58-0E47-BABE-B4F86A626878}"/>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C7</a:t>
              </a:r>
            </a:p>
          </p:txBody>
        </p:sp>
      </p:grpSp>
      <p:grpSp>
        <p:nvGrpSpPr>
          <p:cNvPr id="469" name="Group 468">
            <a:extLst>
              <a:ext uri="{FF2B5EF4-FFF2-40B4-BE49-F238E27FC236}">
                <a16:creationId xmlns:a16="http://schemas.microsoft.com/office/drawing/2014/main" id="{554BAFC3-1AEA-D24F-B1E5-904FAB0E089F}"/>
              </a:ext>
            </a:extLst>
          </p:cNvPr>
          <p:cNvGrpSpPr/>
          <p:nvPr/>
        </p:nvGrpSpPr>
        <p:grpSpPr>
          <a:xfrm>
            <a:off x="6557464" y="3019367"/>
            <a:ext cx="338415" cy="254400"/>
            <a:chOff x="-1176915" y="3508496"/>
            <a:chExt cx="338415" cy="254400"/>
          </a:xfrm>
        </p:grpSpPr>
        <p:sp>
          <p:nvSpPr>
            <p:cNvPr id="470" name="Oval 469">
              <a:extLst>
                <a:ext uri="{FF2B5EF4-FFF2-40B4-BE49-F238E27FC236}">
                  <a16:creationId xmlns:a16="http://schemas.microsoft.com/office/drawing/2014/main" id="{B17BAA3B-15B1-294D-8472-60E5B5EF2F60}"/>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71" name="TextBox 470">
              <a:extLst>
                <a:ext uri="{FF2B5EF4-FFF2-40B4-BE49-F238E27FC236}">
                  <a16:creationId xmlns:a16="http://schemas.microsoft.com/office/drawing/2014/main" id="{4BCE47AE-6791-074B-B90C-D9837CA19120}"/>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C6</a:t>
              </a:r>
            </a:p>
          </p:txBody>
        </p:sp>
      </p:grpSp>
      <p:grpSp>
        <p:nvGrpSpPr>
          <p:cNvPr id="472" name="Group 471">
            <a:extLst>
              <a:ext uri="{FF2B5EF4-FFF2-40B4-BE49-F238E27FC236}">
                <a16:creationId xmlns:a16="http://schemas.microsoft.com/office/drawing/2014/main" id="{7D682BCF-D9A2-144D-A292-0C1089C742FC}"/>
              </a:ext>
            </a:extLst>
          </p:cNvPr>
          <p:cNvGrpSpPr/>
          <p:nvPr/>
        </p:nvGrpSpPr>
        <p:grpSpPr>
          <a:xfrm>
            <a:off x="4851011" y="3618221"/>
            <a:ext cx="338415" cy="254400"/>
            <a:chOff x="-1176915" y="3508496"/>
            <a:chExt cx="338415" cy="254400"/>
          </a:xfrm>
        </p:grpSpPr>
        <p:sp>
          <p:nvSpPr>
            <p:cNvPr id="473" name="Oval 472">
              <a:extLst>
                <a:ext uri="{FF2B5EF4-FFF2-40B4-BE49-F238E27FC236}">
                  <a16:creationId xmlns:a16="http://schemas.microsoft.com/office/drawing/2014/main" id="{73FF258E-6546-F848-875A-3BFD1189A2B5}"/>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74" name="TextBox 473">
              <a:extLst>
                <a:ext uri="{FF2B5EF4-FFF2-40B4-BE49-F238E27FC236}">
                  <a16:creationId xmlns:a16="http://schemas.microsoft.com/office/drawing/2014/main" id="{335DADDB-F26D-9646-B197-BDEE90C65F09}"/>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C5</a:t>
              </a:r>
            </a:p>
          </p:txBody>
        </p:sp>
      </p:grpSp>
      <p:grpSp>
        <p:nvGrpSpPr>
          <p:cNvPr id="475" name="Group 474">
            <a:extLst>
              <a:ext uri="{FF2B5EF4-FFF2-40B4-BE49-F238E27FC236}">
                <a16:creationId xmlns:a16="http://schemas.microsoft.com/office/drawing/2014/main" id="{533EBDDF-6ACE-584B-9FD4-94A70D3D3EA7}"/>
              </a:ext>
            </a:extLst>
          </p:cNvPr>
          <p:cNvGrpSpPr/>
          <p:nvPr/>
        </p:nvGrpSpPr>
        <p:grpSpPr>
          <a:xfrm>
            <a:off x="7286346" y="2903951"/>
            <a:ext cx="338415" cy="254400"/>
            <a:chOff x="-1176915" y="3508496"/>
            <a:chExt cx="338415" cy="254400"/>
          </a:xfrm>
        </p:grpSpPr>
        <p:sp>
          <p:nvSpPr>
            <p:cNvPr id="476" name="Oval 475">
              <a:extLst>
                <a:ext uri="{FF2B5EF4-FFF2-40B4-BE49-F238E27FC236}">
                  <a16:creationId xmlns:a16="http://schemas.microsoft.com/office/drawing/2014/main" id="{A780BD80-BC15-054E-A794-455F974798E7}"/>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78" name="TextBox 477">
              <a:extLst>
                <a:ext uri="{FF2B5EF4-FFF2-40B4-BE49-F238E27FC236}">
                  <a16:creationId xmlns:a16="http://schemas.microsoft.com/office/drawing/2014/main" id="{D265F3AF-7099-6349-A94C-DADB43F297F9}"/>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C4</a:t>
              </a:r>
            </a:p>
          </p:txBody>
        </p:sp>
      </p:grpSp>
      <p:grpSp>
        <p:nvGrpSpPr>
          <p:cNvPr id="479" name="Group 478">
            <a:extLst>
              <a:ext uri="{FF2B5EF4-FFF2-40B4-BE49-F238E27FC236}">
                <a16:creationId xmlns:a16="http://schemas.microsoft.com/office/drawing/2014/main" id="{8F9E9164-3A3E-3A4F-91D1-53B288257EA4}"/>
              </a:ext>
            </a:extLst>
          </p:cNvPr>
          <p:cNvGrpSpPr/>
          <p:nvPr/>
        </p:nvGrpSpPr>
        <p:grpSpPr>
          <a:xfrm>
            <a:off x="8709344" y="2594709"/>
            <a:ext cx="338415" cy="254400"/>
            <a:chOff x="-1176915" y="3508496"/>
            <a:chExt cx="338415" cy="254400"/>
          </a:xfrm>
        </p:grpSpPr>
        <p:sp>
          <p:nvSpPr>
            <p:cNvPr id="480" name="Oval 479">
              <a:extLst>
                <a:ext uri="{FF2B5EF4-FFF2-40B4-BE49-F238E27FC236}">
                  <a16:creationId xmlns:a16="http://schemas.microsoft.com/office/drawing/2014/main" id="{0F61EDFC-527A-DD4A-BC38-E97EF864191A}"/>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81" name="TextBox 480">
              <a:extLst>
                <a:ext uri="{FF2B5EF4-FFF2-40B4-BE49-F238E27FC236}">
                  <a16:creationId xmlns:a16="http://schemas.microsoft.com/office/drawing/2014/main" id="{1E2AC676-E653-D942-8773-A1EBFBDE7590}"/>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C3</a:t>
              </a:r>
            </a:p>
          </p:txBody>
        </p:sp>
      </p:grpSp>
      <p:grpSp>
        <p:nvGrpSpPr>
          <p:cNvPr id="482" name="Group 481">
            <a:extLst>
              <a:ext uri="{FF2B5EF4-FFF2-40B4-BE49-F238E27FC236}">
                <a16:creationId xmlns:a16="http://schemas.microsoft.com/office/drawing/2014/main" id="{6E49D17F-A588-F34B-82DB-8530FE8D70B3}"/>
              </a:ext>
            </a:extLst>
          </p:cNvPr>
          <p:cNvGrpSpPr/>
          <p:nvPr/>
        </p:nvGrpSpPr>
        <p:grpSpPr>
          <a:xfrm>
            <a:off x="4090369" y="3841983"/>
            <a:ext cx="338415" cy="254400"/>
            <a:chOff x="-1176915" y="3508496"/>
            <a:chExt cx="338415" cy="254400"/>
          </a:xfrm>
        </p:grpSpPr>
        <p:sp>
          <p:nvSpPr>
            <p:cNvPr id="483" name="Oval 482">
              <a:extLst>
                <a:ext uri="{FF2B5EF4-FFF2-40B4-BE49-F238E27FC236}">
                  <a16:creationId xmlns:a16="http://schemas.microsoft.com/office/drawing/2014/main" id="{6D511830-D30B-824F-921E-4B70B807534A}"/>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84" name="TextBox 483">
              <a:extLst>
                <a:ext uri="{FF2B5EF4-FFF2-40B4-BE49-F238E27FC236}">
                  <a16:creationId xmlns:a16="http://schemas.microsoft.com/office/drawing/2014/main" id="{27F15492-1115-A543-820D-C73550D4E74D}"/>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C2</a:t>
              </a:r>
            </a:p>
          </p:txBody>
        </p:sp>
      </p:grpSp>
      <p:grpSp>
        <p:nvGrpSpPr>
          <p:cNvPr id="485" name="Group 484">
            <a:extLst>
              <a:ext uri="{FF2B5EF4-FFF2-40B4-BE49-F238E27FC236}">
                <a16:creationId xmlns:a16="http://schemas.microsoft.com/office/drawing/2014/main" id="{C3034F70-E1A9-F34A-A83A-4718E282F1F5}"/>
              </a:ext>
            </a:extLst>
          </p:cNvPr>
          <p:cNvGrpSpPr/>
          <p:nvPr/>
        </p:nvGrpSpPr>
        <p:grpSpPr>
          <a:xfrm>
            <a:off x="3658356" y="3943870"/>
            <a:ext cx="338415" cy="254400"/>
            <a:chOff x="-1176915" y="3508496"/>
            <a:chExt cx="338415" cy="254400"/>
          </a:xfrm>
        </p:grpSpPr>
        <p:sp>
          <p:nvSpPr>
            <p:cNvPr id="486" name="Oval 485">
              <a:extLst>
                <a:ext uri="{FF2B5EF4-FFF2-40B4-BE49-F238E27FC236}">
                  <a16:creationId xmlns:a16="http://schemas.microsoft.com/office/drawing/2014/main" id="{D878BF4E-15C9-A642-9180-7F7A148DE73D}"/>
                </a:ext>
              </a:extLst>
            </p:cNvPr>
            <p:cNvSpPr/>
            <p:nvPr/>
          </p:nvSpPr>
          <p:spPr>
            <a:xfrm>
              <a:off x="-1133852" y="3508496"/>
              <a:ext cx="254400" cy="254400"/>
            </a:xfrm>
            <a:prstGeom prst="ellipse">
              <a:avLst/>
            </a:prstGeom>
            <a:solidFill>
              <a:srgbClr val="FF0000"/>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87" name="TextBox 486">
              <a:extLst>
                <a:ext uri="{FF2B5EF4-FFF2-40B4-BE49-F238E27FC236}">
                  <a16:creationId xmlns:a16="http://schemas.microsoft.com/office/drawing/2014/main" id="{591402A7-D6AE-644D-AF07-F42069E5D726}"/>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C1</a:t>
              </a:r>
            </a:p>
          </p:txBody>
        </p:sp>
      </p:grpSp>
      <p:grpSp>
        <p:nvGrpSpPr>
          <p:cNvPr id="488" name="Group 487">
            <a:extLst>
              <a:ext uri="{FF2B5EF4-FFF2-40B4-BE49-F238E27FC236}">
                <a16:creationId xmlns:a16="http://schemas.microsoft.com/office/drawing/2014/main" id="{B264A81F-6A62-904C-9E23-9A349FBAE063}"/>
              </a:ext>
            </a:extLst>
          </p:cNvPr>
          <p:cNvGrpSpPr/>
          <p:nvPr/>
        </p:nvGrpSpPr>
        <p:grpSpPr>
          <a:xfrm>
            <a:off x="6055739" y="3270164"/>
            <a:ext cx="494671" cy="254400"/>
            <a:chOff x="-1251134" y="3508496"/>
            <a:chExt cx="494671" cy="254400"/>
          </a:xfrm>
        </p:grpSpPr>
        <p:sp>
          <p:nvSpPr>
            <p:cNvPr id="489" name="Oval 488">
              <a:extLst>
                <a:ext uri="{FF2B5EF4-FFF2-40B4-BE49-F238E27FC236}">
                  <a16:creationId xmlns:a16="http://schemas.microsoft.com/office/drawing/2014/main" id="{93ECF4DE-3876-6C4D-A648-C20931BA1276}"/>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90" name="TextBox 489">
              <a:extLst>
                <a:ext uri="{FF2B5EF4-FFF2-40B4-BE49-F238E27FC236}">
                  <a16:creationId xmlns:a16="http://schemas.microsoft.com/office/drawing/2014/main" id="{EB9C82AF-8CC6-9B47-812A-65DF626715E1}"/>
                </a:ext>
              </a:extLst>
            </p:cNvPr>
            <p:cNvSpPr txBox="1"/>
            <p:nvPr/>
          </p:nvSpPr>
          <p:spPr>
            <a:xfrm>
              <a:off x="-1251134" y="3520280"/>
              <a:ext cx="494671" cy="230832"/>
            </a:xfrm>
            <a:prstGeom prst="rect">
              <a:avLst/>
            </a:prstGeom>
            <a:noFill/>
          </p:spPr>
          <p:txBody>
            <a:bodyPr wrap="square" rtlCol="0">
              <a:spAutoFit/>
            </a:bodyPr>
            <a:lstStyle/>
            <a:p>
              <a:pPr algn="ctr"/>
              <a:r>
                <a:rPr lang="en-GB" sz="900" b="1">
                  <a:solidFill>
                    <a:schemeClr val="bg1"/>
                  </a:solidFill>
                </a:rPr>
                <a:t>C10</a:t>
              </a:r>
            </a:p>
          </p:txBody>
        </p:sp>
      </p:grpSp>
      <p:grpSp>
        <p:nvGrpSpPr>
          <p:cNvPr id="491" name="Group 490">
            <a:extLst>
              <a:ext uri="{FF2B5EF4-FFF2-40B4-BE49-F238E27FC236}">
                <a16:creationId xmlns:a16="http://schemas.microsoft.com/office/drawing/2014/main" id="{D95712ED-ED47-2540-90FA-03AEA11D175E}"/>
              </a:ext>
            </a:extLst>
          </p:cNvPr>
          <p:cNvGrpSpPr/>
          <p:nvPr/>
        </p:nvGrpSpPr>
        <p:grpSpPr>
          <a:xfrm>
            <a:off x="5679638" y="4328653"/>
            <a:ext cx="338415" cy="254400"/>
            <a:chOff x="-1176915" y="3508496"/>
            <a:chExt cx="338415" cy="254400"/>
          </a:xfrm>
        </p:grpSpPr>
        <p:sp>
          <p:nvSpPr>
            <p:cNvPr id="496" name="Oval 495">
              <a:extLst>
                <a:ext uri="{FF2B5EF4-FFF2-40B4-BE49-F238E27FC236}">
                  <a16:creationId xmlns:a16="http://schemas.microsoft.com/office/drawing/2014/main" id="{7564A15F-9DE7-CF4F-A674-B762A96B7802}"/>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506" name="TextBox 505">
              <a:extLst>
                <a:ext uri="{FF2B5EF4-FFF2-40B4-BE49-F238E27FC236}">
                  <a16:creationId xmlns:a16="http://schemas.microsoft.com/office/drawing/2014/main" id="{77983D66-24C9-4A4D-9A60-EE7568272D6F}"/>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D7</a:t>
              </a:r>
            </a:p>
          </p:txBody>
        </p:sp>
      </p:grpSp>
      <p:grpSp>
        <p:nvGrpSpPr>
          <p:cNvPr id="507" name="Group 506">
            <a:extLst>
              <a:ext uri="{FF2B5EF4-FFF2-40B4-BE49-F238E27FC236}">
                <a16:creationId xmlns:a16="http://schemas.microsoft.com/office/drawing/2014/main" id="{4ED73CE4-ECC1-CC44-ADD1-B57ADE1E3D96}"/>
              </a:ext>
            </a:extLst>
          </p:cNvPr>
          <p:cNvGrpSpPr/>
          <p:nvPr/>
        </p:nvGrpSpPr>
        <p:grpSpPr>
          <a:xfrm>
            <a:off x="9639240" y="2544743"/>
            <a:ext cx="338415" cy="254400"/>
            <a:chOff x="-1176915" y="3508496"/>
            <a:chExt cx="338415" cy="254400"/>
          </a:xfrm>
        </p:grpSpPr>
        <p:sp>
          <p:nvSpPr>
            <p:cNvPr id="508" name="Oval 507">
              <a:extLst>
                <a:ext uri="{FF2B5EF4-FFF2-40B4-BE49-F238E27FC236}">
                  <a16:creationId xmlns:a16="http://schemas.microsoft.com/office/drawing/2014/main" id="{4DE47457-287B-D141-A06A-CB49A7AC2916}"/>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515" name="TextBox 514">
              <a:extLst>
                <a:ext uri="{FF2B5EF4-FFF2-40B4-BE49-F238E27FC236}">
                  <a16:creationId xmlns:a16="http://schemas.microsoft.com/office/drawing/2014/main" id="{223D5C4E-57D6-5249-9A2D-5A9DCFD4B807}"/>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D6</a:t>
              </a:r>
            </a:p>
          </p:txBody>
        </p:sp>
      </p:grpSp>
      <p:grpSp>
        <p:nvGrpSpPr>
          <p:cNvPr id="548" name="Group 547">
            <a:extLst>
              <a:ext uri="{FF2B5EF4-FFF2-40B4-BE49-F238E27FC236}">
                <a16:creationId xmlns:a16="http://schemas.microsoft.com/office/drawing/2014/main" id="{6238A959-E853-0540-B8D2-0D58621C52BB}"/>
              </a:ext>
            </a:extLst>
          </p:cNvPr>
          <p:cNvGrpSpPr/>
          <p:nvPr/>
        </p:nvGrpSpPr>
        <p:grpSpPr>
          <a:xfrm>
            <a:off x="7319775" y="3408285"/>
            <a:ext cx="338415" cy="254400"/>
            <a:chOff x="-1176915" y="3508496"/>
            <a:chExt cx="338415" cy="254400"/>
          </a:xfrm>
        </p:grpSpPr>
        <p:sp>
          <p:nvSpPr>
            <p:cNvPr id="558" name="Oval 557">
              <a:extLst>
                <a:ext uri="{FF2B5EF4-FFF2-40B4-BE49-F238E27FC236}">
                  <a16:creationId xmlns:a16="http://schemas.microsoft.com/office/drawing/2014/main" id="{96CE25B7-4297-0C48-8270-2E53CAC30957}"/>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588" name="TextBox 587">
              <a:extLst>
                <a:ext uri="{FF2B5EF4-FFF2-40B4-BE49-F238E27FC236}">
                  <a16:creationId xmlns:a16="http://schemas.microsoft.com/office/drawing/2014/main" id="{AACC9749-B7DF-4A42-996E-C21CA814CE95}"/>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D5</a:t>
              </a:r>
            </a:p>
          </p:txBody>
        </p:sp>
      </p:grpSp>
      <p:grpSp>
        <p:nvGrpSpPr>
          <p:cNvPr id="589" name="Group 588">
            <a:extLst>
              <a:ext uri="{FF2B5EF4-FFF2-40B4-BE49-F238E27FC236}">
                <a16:creationId xmlns:a16="http://schemas.microsoft.com/office/drawing/2014/main" id="{BFDFD931-3879-4F4F-AC8D-647D30CCE9CC}"/>
              </a:ext>
            </a:extLst>
          </p:cNvPr>
          <p:cNvGrpSpPr/>
          <p:nvPr/>
        </p:nvGrpSpPr>
        <p:grpSpPr>
          <a:xfrm>
            <a:off x="7738008" y="3586180"/>
            <a:ext cx="338415" cy="254400"/>
            <a:chOff x="-1176915" y="3508496"/>
            <a:chExt cx="338415" cy="254400"/>
          </a:xfrm>
        </p:grpSpPr>
        <p:sp>
          <p:nvSpPr>
            <p:cNvPr id="590" name="Oval 589">
              <a:extLst>
                <a:ext uri="{FF2B5EF4-FFF2-40B4-BE49-F238E27FC236}">
                  <a16:creationId xmlns:a16="http://schemas.microsoft.com/office/drawing/2014/main" id="{514EC991-C691-0841-82AE-31B36B528B7D}"/>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663" name="TextBox 662">
              <a:extLst>
                <a:ext uri="{FF2B5EF4-FFF2-40B4-BE49-F238E27FC236}">
                  <a16:creationId xmlns:a16="http://schemas.microsoft.com/office/drawing/2014/main" id="{0F4FC77F-EFD4-E943-85B7-F2D749EF68F9}"/>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D4</a:t>
              </a:r>
            </a:p>
          </p:txBody>
        </p:sp>
      </p:grpSp>
      <p:grpSp>
        <p:nvGrpSpPr>
          <p:cNvPr id="664" name="Group 663">
            <a:extLst>
              <a:ext uri="{FF2B5EF4-FFF2-40B4-BE49-F238E27FC236}">
                <a16:creationId xmlns:a16="http://schemas.microsoft.com/office/drawing/2014/main" id="{3998892E-2170-7A4B-B13D-E1813D103A0B}"/>
              </a:ext>
            </a:extLst>
          </p:cNvPr>
          <p:cNvGrpSpPr/>
          <p:nvPr/>
        </p:nvGrpSpPr>
        <p:grpSpPr>
          <a:xfrm>
            <a:off x="7720425" y="3253804"/>
            <a:ext cx="338415" cy="254400"/>
            <a:chOff x="-1176915" y="3508496"/>
            <a:chExt cx="338415" cy="254400"/>
          </a:xfrm>
        </p:grpSpPr>
        <p:sp>
          <p:nvSpPr>
            <p:cNvPr id="665" name="Oval 664">
              <a:extLst>
                <a:ext uri="{FF2B5EF4-FFF2-40B4-BE49-F238E27FC236}">
                  <a16:creationId xmlns:a16="http://schemas.microsoft.com/office/drawing/2014/main" id="{A6FDBB44-09F1-704D-B476-F4B85BD24603}"/>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699" name="TextBox 698">
              <a:extLst>
                <a:ext uri="{FF2B5EF4-FFF2-40B4-BE49-F238E27FC236}">
                  <a16:creationId xmlns:a16="http://schemas.microsoft.com/office/drawing/2014/main" id="{A3958256-D6A6-E74B-BEE1-9ECC43AB0B45}"/>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D3</a:t>
              </a:r>
            </a:p>
          </p:txBody>
        </p:sp>
      </p:grpSp>
      <p:grpSp>
        <p:nvGrpSpPr>
          <p:cNvPr id="700" name="Group 699">
            <a:extLst>
              <a:ext uri="{FF2B5EF4-FFF2-40B4-BE49-F238E27FC236}">
                <a16:creationId xmlns:a16="http://schemas.microsoft.com/office/drawing/2014/main" id="{67C6A092-6344-2D46-8346-13898F18A381}"/>
              </a:ext>
            </a:extLst>
          </p:cNvPr>
          <p:cNvGrpSpPr/>
          <p:nvPr/>
        </p:nvGrpSpPr>
        <p:grpSpPr>
          <a:xfrm>
            <a:off x="4512596" y="4885141"/>
            <a:ext cx="338415" cy="254400"/>
            <a:chOff x="-1176915" y="3508496"/>
            <a:chExt cx="338415" cy="254400"/>
          </a:xfrm>
        </p:grpSpPr>
        <p:sp>
          <p:nvSpPr>
            <p:cNvPr id="701" name="Oval 700">
              <a:extLst>
                <a:ext uri="{FF2B5EF4-FFF2-40B4-BE49-F238E27FC236}">
                  <a16:creationId xmlns:a16="http://schemas.microsoft.com/office/drawing/2014/main" id="{8C691B0A-C142-1B47-9927-408625EE2ED7}"/>
                </a:ext>
              </a:extLst>
            </p:cNvPr>
            <p:cNvSpPr/>
            <p:nvPr/>
          </p:nvSpPr>
          <p:spPr>
            <a:xfrm>
              <a:off x="-1133852" y="3508496"/>
              <a:ext cx="254400" cy="254400"/>
            </a:xfrm>
            <a:prstGeom prst="ellipse">
              <a:avLst/>
            </a:prstGeom>
            <a:solidFill>
              <a:srgbClr val="00B050"/>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705" name="TextBox 704">
              <a:extLst>
                <a:ext uri="{FF2B5EF4-FFF2-40B4-BE49-F238E27FC236}">
                  <a16:creationId xmlns:a16="http://schemas.microsoft.com/office/drawing/2014/main" id="{D9603E46-7266-0A4A-9D59-428ED27712C4}"/>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D2</a:t>
              </a:r>
            </a:p>
          </p:txBody>
        </p:sp>
      </p:grpSp>
      <p:grpSp>
        <p:nvGrpSpPr>
          <p:cNvPr id="706" name="Group 705">
            <a:extLst>
              <a:ext uri="{FF2B5EF4-FFF2-40B4-BE49-F238E27FC236}">
                <a16:creationId xmlns:a16="http://schemas.microsoft.com/office/drawing/2014/main" id="{A7507AC1-244B-1444-BADB-D9381CB6F8B4}"/>
              </a:ext>
            </a:extLst>
          </p:cNvPr>
          <p:cNvGrpSpPr/>
          <p:nvPr/>
        </p:nvGrpSpPr>
        <p:grpSpPr>
          <a:xfrm>
            <a:off x="5040536" y="4629546"/>
            <a:ext cx="338415" cy="254400"/>
            <a:chOff x="-1176915" y="3508496"/>
            <a:chExt cx="338415" cy="254400"/>
          </a:xfrm>
        </p:grpSpPr>
        <p:sp>
          <p:nvSpPr>
            <p:cNvPr id="707" name="Oval 706">
              <a:extLst>
                <a:ext uri="{FF2B5EF4-FFF2-40B4-BE49-F238E27FC236}">
                  <a16:creationId xmlns:a16="http://schemas.microsoft.com/office/drawing/2014/main" id="{136922B4-6747-8D44-9C5F-5822DE39137B}"/>
                </a:ext>
              </a:extLst>
            </p:cNvPr>
            <p:cNvSpPr/>
            <p:nvPr/>
          </p:nvSpPr>
          <p:spPr>
            <a:xfrm>
              <a:off x="-1133852" y="3508496"/>
              <a:ext cx="254400" cy="254400"/>
            </a:xfrm>
            <a:prstGeom prst="ellipse">
              <a:avLst/>
            </a:prstGeom>
            <a:solidFill>
              <a:srgbClr val="FF0000"/>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708" name="TextBox 707">
              <a:extLst>
                <a:ext uri="{FF2B5EF4-FFF2-40B4-BE49-F238E27FC236}">
                  <a16:creationId xmlns:a16="http://schemas.microsoft.com/office/drawing/2014/main" id="{1E442E99-6A0C-3B41-A210-9340A1DAB62C}"/>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D1</a:t>
              </a:r>
            </a:p>
          </p:txBody>
        </p:sp>
      </p:grpSp>
      <p:grpSp>
        <p:nvGrpSpPr>
          <p:cNvPr id="709" name="Group 708">
            <a:extLst>
              <a:ext uri="{FF2B5EF4-FFF2-40B4-BE49-F238E27FC236}">
                <a16:creationId xmlns:a16="http://schemas.microsoft.com/office/drawing/2014/main" id="{BDF30ADF-E5B1-D54F-89C9-297EF97B86EC}"/>
              </a:ext>
            </a:extLst>
          </p:cNvPr>
          <p:cNvGrpSpPr/>
          <p:nvPr/>
        </p:nvGrpSpPr>
        <p:grpSpPr>
          <a:xfrm>
            <a:off x="9466268" y="4084558"/>
            <a:ext cx="338415" cy="254400"/>
            <a:chOff x="-1176915" y="3508496"/>
            <a:chExt cx="338415" cy="254400"/>
          </a:xfrm>
        </p:grpSpPr>
        <p:sp>
          <p:nvSpPr>
            <p:cNvPr id="710" name="Oval 709">
              <a:extLst>
                <a:ext uri="{FF2B5EF4-FFF2-40B4-BE49-F238E27FC236}">
                  <a16:creationId xmlns:a16="http://schemas.microsoft.com/office/drawing/2014/main" id="{AFB2C786-5298-F249-8032-CE9E738D1C3A}"/>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711" name="TextBox 710">
              <a:extLst>
                <a:ext uri="{FF2B5EF4-FFF2-40B4-BE49-F238E27FC236}">
                  <a16:creationId xmlns:a16="http://schemas.microsoft.com/office/drawing/2014/main" id="{C5F2877A-D52E-3646-B6CE-5BA84909A296}"/>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G8</a:t>
              </a:r>
            </a:p>
          </p:txBody>
        </p:sp>
      </p:grpSp>
      <p:grpSp>
        <p:nvGrpSpPr>
          <p:cNvPr id="712" name="Group 711">
            <a:extLst>
              <a:ext uri="{FF2B5EF4-FFF2-40B4-BE49-F238E27FC236}">
                <a16:creationId xmlns:a16="http://schemas.microsoft.com/office/drawing/2014/main" id="{729AD864-A83B-7641-A286-B7B9B9543F05}"/>
              </a:ext>
            </a:extLst>
          </p:cNvPr>
          <p:cNvGrpSpPr/>
          <p:nvPr/>
        </p:nvGrpSpPr>
        <p:grpSpPr>
          <a:xfrm>
            <a:off x="7525927" y="4515445"/>
            <a:ext cx="338415" cy="254400"/>
            <a:chOff x="-1176915" y="3508496"/>
            <a:chExt cx="338415" cy="254400"/>
          </a:xfrm>
        </p:grpSpPr>
        <p:sp>
          <p:nvSpPr>
            <p:cNvPr id="713" name="Oval 712">
              <a:extLst>
                <a:ext uri="{FF2B5EF4-FFF2-40B4-BE49-F238E27FC236}">
                  <a16:creationId xmlns:a16="http://schemas.microsoft.com/office/drawing/2014/main" id="{42022412-4FAF-6D4B-A438-8125C143C4B6}"/>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714" name="TextBox 713">
              <a:extLst>
                <a:ext uri="{FF2B5EF4-FFF2-40B4-BE49-F238E27FC236}">
                  <a16:creationId xmlns:a16="http://schemas.microsoft.com/office/drawing/2014/main" id="{F2BC2818-1DE2-1C4D-97B9-F694DB3D193B}"/>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F8</a:t>
              </a:r>
            </a:p>
          </p:txBody>
        </p:sp>
      </p:grpSp>
      <p:grpSp>
        <p:nvGrpSpPr>
          <p:cNvPr id="715" name="Group 714">
            <a:extLst>
              <a:ext uri="{FF2B5EF4-FFF2-40B4-BE49-F238E27FC236}">
                <a16:creationId xmlns:a16="http://schemas.microsoft.com/office/drawing/2014/main" id="{73669932-6BCF-DB47-813E-6F3C33E061D6}"/>
              </a:ext>
            </a:extLst>
          </p:cNvPr>
          <p:cNvGrpSpPr/>
          <p:nvPr/>
        </p:nvGrpSpPr>
        <p:grpSpPr>
          <a:xfrm>
            <a:off x="8198802" y="4043096"/>
            <a:ext cx="338415" cy="254400"/>
            <a:chOff x="-1176915" y="3508496"/>
            <a:chExt cx="338415" cy="254400"/>
          </a:xfrm>
        </p:grpSpPr>
        <p:sp>
          <p:nvSpPr>
            <p:cNvPr id="716" name="Oval 715">
              <a:extLst>
                <a:ext uri="{FF2B5EF4-FFF2-40B4-BE49-F238E27FC236}">
                  <a16:creationId xmlns:a16="http://schemas.microsoft.com/office/drawing/2014/main" id="{27EA3D27-C392-7A44-BB2B-39EDAD3264FF}"/>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717" name="TextBox 716">
              <a:extLst>
                <a:ext uri="{FF2B5EF4-FFF2-40B4-BE49-F238E27FC236}">
                  <a16:creationId xmlns:a16="http://schemas.microsoft.com/office/drawing/2014/main" id="{C7B3D491-9050-3F40-97C9-987B048CC110}"/>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F7</a:t>
              </a:r>
            </a:p>
          </p:txBody>
        </p:sp>
      </p:grpSp>
      <p:grpSp>
        <p:nvGrpSpPr>
          <p:cNvPr id="718" name="Group 717">
            <a:extLst>
              <a:ext uri="{FF2B5EF4-FFF2-40B4-BE49-F238E27FC236}">
                <a16:creationId xmlns:a16="http://schemas.microsoft.com/office/drawing/2014/main" id="{C866EF26-56A5-C04D-A901-A2A94C468F26}"/>
              </a:ext>
            </a:extLst>
          </p:cNvPr>
          <p:cNvGrpSpPr/>
          <p:nvPr/>
        </p:nvGrpSpPr>
        <p:grpSpPr>
          <a:xfrm>
            <a:off x="10168476" y="2550735"/>
            <a:ext cx="338415" cy="254400"/>
            <a:chOff x="-1176915" y="3508496"/>
            <a:chExt cx="338415" cy="254400"/>
          </a:xfrm>
        </p:grpSpPr>
        <p:sp>
          <p:nvSpPr>
            <p:cNvPr id="719" name="Oval 718">
              <a:extLst>
                <a:ext uri="{FF2B5EF4-FFF2-40B4-BE49-F238E27FC236}">
                  <a16:creationId xmlns:a16="http://schemas.microsoft.com/office/drawing/2014/main" id="{B5F84300-C429-3047-B1CD-ED9C52C20068}"/>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720" name="TextBox 719">
              <a:extLst>
                <a:ext uri="{FF2B5EF4-FFF2-40B4-BE49-F238E27FC236}">
                  <a16:creationId xmlns:a16="http://schemas.microsoft.com/office/drawing/2014/main" id="{01691060-5A47-2C49-898E-91ABD543D372}"/>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F6</a:t>
              </a:r>
            </a:p>
          </p:txBody>
        </p:sp>
      </p:grpSp>
      <p:grpSp>
        <p:nvGrpSpPr>
          <p:cNvPr id="721" name="Group 720">
            <a:extLst>
              <a:ext uri="{FF2B5EF4-FFF2-40B4-BE49-F238E27FC236}">
                <a16:creationId xmlns:a16="http://schemas.microsoft.com/office/drawing/2014/main" id="{E37C1B8F-F036-DF4E-A7A3-3E27926D20CC}"/>
              </a:ext>
            </a:extLst>
          </p:cNvPr>
          <p:cNvGrpSpPr/>
          <p:nvPr/>
        </p:nvGrpSpPr>
        <p:grpSpPr>
          <a:xfrm>
            <a:off x="9323764" y="3060093"/>
            <a:ext cx="338415" cy="254400"/>
            <a:chOff x="-1176915" y="3508496"/>
            <a:chExt cx="338415" cy="254400"/>
          </a:xfrm>
        </p:grpSpPr>
        <p:sp>
          <p:nvSpPr>
            <p:cNvPr id="722" name="Oval 721">
              <a:extLst>
                <a:ext uri="{FF2B5EF4-FFF2-40B4-BE49-F238E27FC236}">
                  <a16:creationId xmlns:a16="http://schemas.microsoft.com/office/drawing/2014/main" id="{C16CBC7D-6529-7948-9848-F11F33060C83}"/>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723" name="TextBox 722">
              <a:extLst>
                <a:ext uri="{FF2B5EF4-FFF2-40B4-BE49-F238E27FC236}">
                  <a16:creationId xmlns:a16="http://schemas.microsoft.com/office/drawing/2014/main" id="{09E163AC-36A1-2244-8E44-FBF172827CF8}"/>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F4</a:t>
              </a:r>
            </a:p>
          </p:txBody>
        </p:sp>
      </p:grpSp>
      <p:grpSp>
        <p:nvGrpSpPr>
          <p:cNvPr id="724" name="Group 723">
            <a:extLst>
              <a:ext uri="{FF2B5EF4-FFF2-40B4-BE49-F238E27FC236}">
                <a16:creationId xmlns:a16="http://schemas.microsoft.com/office/drawing/2014/main" id="{697B0DF3-FF06-5349-B421-BC560001898E}"/>
              </a:ext>
            </a:extLst>
          </p:cNvPr>
          <p:cNvGrpSpPr/>
          <p:nvPr/>
        </p:nvGrpSpPr>
        <p:grpSpPr>
          <a:xfrm>
            <a:off x="8704495" y="3571538"/>
            <a:ext cx="338415" cy="254400"/>
            <a:chOff x="-1176915" y="3508496"/>
            <a:chExt cx="338415" cy="254400"/>
          </a:xfrm>
        </p:grpSpPr>
        <p:sp>
          <p:nvSpPr>
            <p:cNvPr id="725" name="Oval 724">
              <a:extLst>
                <a:ext uri="{FF2B5EF4-FFF2-40B4-BE49-F238E27FC236}">
                  <a16:creationId xmlns:a16="http://schemas.microsoft.com/office/drawing/2014/main" id="{18F6BA52-5533-5341-98AB-462BC293D37D}"/>
                </a:ext>
              </a:extLst>
            </p:cNvPr>
            <p:cNvSpPr/>
            <p:nvPr/>
          </p:nvSpPr>
          <p:spPr>
            <a:xfrm>
              <a:off x="-1133852" y="3508496"/>
              <a:ext cx="254400" cy="254400"/>
            </a:xfrm>
            <a:prstGeom prst="ellipse">
              <a:avLst/>
            </a:prstGeom>
            <a:solidFill>
              <a:srgbClr val="FF0000"/>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726" name="TextBox 725">
              <a:extLst>
                <a:ext uri="{FF2B5EF4-FFF2-40B4-BE49-F238E27FC236}">
                  <a16:creationId xmlns:a16="http://schemas.microsoft.com/office/drawing/2014/main" id="{12EE498C-1AE0-D242-A7A2-A5872E4EBF94}"/>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F3</a:t>
              </a:r>
            </a:p>
          </p:txBody>
        </p:sp>
      </p:grpSp>
      <p:grpSp>
        <p:nvGrpSpPr>
          <p:cNvPr id="727" name="Group 726">
            <a:extLst>
              <a:ext uri="{FF2B5EF4-FFF2-40B4-BE49-F238E27FC236}">
                <a16:creationId xmlns:a16="http://schemas.microsoft.com/office/drawing/2014/main" id="{D7C6F8BF-711E-2949-9B9C-94411280A2E2}"/>
              </a:ext>
            </a:extLst>
          </p:cNvPr>
          <p:cNvGrpSpPr/>
          <p:nvPr/>
        </p:nvGrpSpPr>
        <p:grpSpPr>
          <a:xfrm>
            <a:off x="6360573" y="5347207"/>
            <a:ext cx="338415" cy="254400"/>
            <a:chOff x="-1176915" y="3508496"/>
            <a:chExt cx="338415" cy="254400"/>
          </a:xfrm>
        </p:grpSpPr>
        <p:sp>
          <p:nvSpPr>
            <p:cNvPr id="728" name="Oval 727">
              <a:extLst>
                <a:ext uri="{FF2B5EF4-FFF2-40B4-BE49-F238E27FC236}">
                  <a16:creationId xmlns:a16="http://schemas.microsoft.com/office/drawing/2014/main" id="{2B062EB1-83C5-6249-ACBF-EAFA1E156952}"/>
                </a:ext>
              </a:extLst>
            </p:cNvPr>
            <p:cNvSpPr/>
            <p:nvPr/>
          </p:nvSpPr>
          <p:spPr>
            <a:xfrm>
              <a:off x="-1133852" y="3508496"/>
              <a:ext cx="254400" cy="254400"/>
            </a:xfrm>
            <a:prstGeom prst="ellipse">
              <a:avLst/>
            </a:prstGeom>
            <a:solidFill>
              <a:srgbClr val="00B050"/>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729" name="TextBox 728">
              <a:extLst>
                <a:ext uri="{FF2B5EF4-FFF2-40B4-BE49-F238E27FC236}">
                  <a16:creationId xmlns:a16="http://schemas.microsoft.com/office/drawing/2014/main" id="{24233269-07FC-564F-845B-69427B0DD9B6}"/>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F1</a:t>
              </a:r>
            </a:p>
          </p:txBody>
        </p:sp>
      </p:grpSp>
      <p:grpSp>
        <p:nvGrpSpPr>
          <p:cNvPr id="730" name="Group 729">
            <a:extLst>
              <a:ext uri="{FF2B5EF4-FFF2-40B4-BE49-F238E27FC236}">
                <a16:creationId xmlns:a16="http://schemas.microsoft.com/office/drawing/2014/main" id="{946F3465-7F3F-CD45-884C-6339D03176E4}"/>
              </a:ext>
            </a:extLst>
          </p:cNvPr>
          <p:cNvGrpSpPr/>
          <p:nvPr/>
        </p:nvGrpSpPr>
        <p:grpSpPr>
          <a:xfrm>
            <a:off x="9911443" y="3337944"/>
            <a:ext cx="338415" cy="254400"/>
            <a:chOff x="-1176915" y="3508496"/>
            <a:chExt cx="338415" cy="254400"/>
          </a:xfrm>
        </p:grpSpPr>
        <p:sp>
          <p:nvSpPr>
            <p:cNvPr id="731" name="Oval 730">
              <a:extLst>
                <a:ext uri="{FF2B5EF4-FFF2-40B4-BE49-F238E27FC236}">
                  <a16:creationId xmlns:a16="http://schemas.microsoft.com/office/drawing/2014/main" id="{8BB1F94F-9817-7A46-8D1D-B689F606CEE1}"/>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732" name="TextBox 731">
              <a:extLst>
                <a:ext uri="{FF2B5EF4-FFF2-40B4-BE49-F238E27FC236}">
                  <a16:creationId xmlns:a16="http://schemas.microsoft.com/office/drawing/2014/main" id="{11724C86-94D5-854D-9E5A-E937B349A854}"/>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G7</a:t>
              </a:r>
            </a:p>
          </p:txBody>
        </p:sp>
      </p:grpSp>
      <p:grpSp>
        <p:nvGrpSpPr>
          <p:cNvPr id="733" name="Group 732">
            <a:extLst>
              <a:ext uri="{FF2B5EF4-FFF2-40B4-BE49-F238E27FC236}">
                <a16:creationId xmlns:a16="http://schemas.microsoft.com/office/drawing/2014/main" id="{1DD03898-9674-7748-80DC-E87758C06CC6}"/>
              </a:ext>
            </a:extLst>
          </p:cNvPr>
          <p:cNvGrpSpPr/>
          <p:nvPr/>
        </p:nvGrpSpPr>
        <p:grpSpPr>
          <a:xfrm>
            <a:off x="10518998" y="2459572"/>
            <a:ext cx="338415" cy="254400"/>
            <a:chOff x="-1176915" y="3508496"/>
            <a:chExt cx="338415" cy="254400"/>
          </a:xfrm>
        </p:grpSpPr>
        <p:sp>
          <p:nvSpPr>
            <p:cNvPr id="734" name="Oval 733">
              <a:extLst>
                <a:ext uri="{FF2B5EF4-FFF2-40B4-BE49-F238E27FC236}">
                  <a16:creationId xmlns:a16="http://schemas.microsoft.com/office/drawing/2014/main" id="{15B7A68C-25C8-9E40-A3CC-E0AD8640C091}"/>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735" name="TextBox 734">
              <a:extLst>
                <a:ext uri="{FF2B5EF4-FFF2-40B4-BE49-F238E27FC236}">
                  <a16:creationId xmlns:a16="http://schemas.microsoft.com/office/drawing/2014/main" id="{5E960485-444D-684C-B335-96027C610818}"/>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G6</a:t>
              </a:r>
            </a:p>
          </p:txBody>
        </p:sp>
      </p:grpSp>
      <p:grpSp>
        <p:nvGrpSpPr>
          <p:cNvPr id="736" name="Group 735">
            <a:extLst>
              <a:ext uri="{FF2B5EF4-FFF2-40B4-BE49-F238E27FC236}">
                <a16:creationId xmlns:a16="http://schemas.microsoft.com/office/drawing/2014/main" id="{EC7247F1-972B-BB49-9328-549A8FB7FA23}"/>
              </a:ext>
            </a:extLst>
          </p:cNvPr>
          <p:cNvGrpSpPr/>
          <p:nvPr/>
        </p:nvGrpSpPr>
        <p:grpSpPr>
          <a:xfrm>
            <a:off x="9532088" y="3719015"/>
            <a:ext cx="338415" cy="254400"/>
            <a:chOff x="-1176915" y="3508496"/>
            <a:chExt cx="338415" cy="254400"/>
          </a:xfrm>
        </p:grpSpPr>
        <p:sp>
          <p:nvSpPr>
            <p:cNvPr id="737" name="Oval 736">
              <a:extLst>
                <a:ext uri="{FF2B5EF4-FFF2-40B4-BE49-F238E27FC236}">
                  <a16:creationId xmlns:a16="http://schemas.microsoft.com/office/drawing/2014/main" id="{23428374-EF2E-5A4E-9FFA-D688288E002F}"/>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738" name="TextBox 737">
              <a:extLst>
                <a:ext uri="{FF2B5EF4-FFF2-40B4-BE49-F238E27FC236}">
                  <a16:creationId xmlns:a16="http://schemas.microsoft.com/office/drawing/2014/main" id="{541C6FC2-FAE6-D645-80B1-A7D2F40C0E7D}"/>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G5</a:t>
              </a:r>
            </a:p>
          </p:txBody>
        </p:sp>
      </p:grpSp>
      <p:grpSp>
        <p:nvGrpSpPr>
          <p:cNvPr id="739" name="Group 738">
            <a:extLst>
              <a:ext uri="{FF2B5EF4-FFF2-40B4-BE49-F238E27FC236}">
                <a16:creationId xmlns:a16="http://schemas.microsoft.com/office/drawing/2014/main" id="{1C584286-98C8-C84A-87A6-8FD0E525E903}"/>
              </a:ext>
            </a:extLst>
          </p:cNvPr>
          <p:cNvGrpSpPr/>
          <p:nvPr/>
        </p:nvGrpSpPr>
        <p:grpSpPr>
          <a:xfrm>
            <a:off x="9194671" y="4272050"/>
            <a:ext cx="338415" cy="254400"/>
            <a:chOff x="-1176915" y="3508496"/>
            <a:chExt cx="338415" cy="254400"/>
          </a:xfrm>
        </p:grpSpPr>
        <p:sp>
          <p:nvSpPr>
            <p:cNvPr id="740" name="Oval 739">
              <a:extLst>
                <a:ext uri="{FF2B5EF4-FFF2-40B4-BE49-F238E27FC236}">
                  <a16:creationId xmlns:a16="http://schemas.microsoft.com/office/drawing/2014/main" id="{28F660E0-4EAF-0B48-B442-216C895ED95D}"/>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741" name="TextBox 740">
              <a:extLst>
                <a:ext uri="{FF2B5EF4-FFF2-40B4-BE49-F238E27FC236}">
                  <a16:creationId xmlns:a16="http://schemas.microsoft.com/office/drawing/2014/main" id="{D6D74961-55D9-2E4F-B413-F2E084AEE7E2}"/>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G4</a:t>
              </a:r>
            </a:p>
          </p:txBody>
        </p:sp>
      </p:grpSp>
      <p:grpSp>
        <p:nvGrpSpPr>
          <p:cNvPr id="742" name="Group 741">
            <a:extLst>
              <a:ext uri="{FF2B5EF4-FFF2-40B4-BE49-F238E27FC236}">
                <a16:creationId xmlns:a16="http://schemas.microsoft.com/office/drawing/2014/main" id="{C5E421CA-3CC2-D44A-8257-D49F86DF2B5D}"/>
              </a:ext>
            </a:extLst>
          </p:cNvPr>
          <p:cNvGrpSpPr/>
          <p:nvPr/>
        </p:nvGrpSpPr>
        <p:grpSpPr>
          <a:xfrm>
            <a:off x="8985349" y="4555645"/>
            <a:ext cx="338415" cy="254400"/>
            <a:chOff x="-1176915" y="3508496"/>
            <a:chExt cx="338415" cy="254400"/>
          </a:xfrm>
        </p:grpSpPr>
        <p:sp>
          <p:nvSpPr>
            <p:cNvPr id="743" name="Oval 742">
              <a:extLst>
                <a:ext uri="{FF2B5EF4-FFF2-40B4-BE49-F238E27FC236}">
                  <a16:creationId xmlns:a16="http://schemas.microsoft.com/office/drawing/2014/main" id="{622886B6-C0FB-0844-B940-DBF2D8CB34E1}"/>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756" name="TextBox 755">
              <a:extLst>
                <a:ext uri="{FF2B5EF4-FFF2-40B4-BE49-F238E27FC236}">
                  <a16:creationId xmlns:a16="http://schemas.microsoft.com/office/drawing/2014/main" id="{EEC7765B-F812-C64D-9A3D-E50D8F3E8E4F}"/>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G3</a:t>
              </a:r>
            </a:p>
          </p:txBody>
        </p:sp>
      </p:grpSp>
      <p:grpSp>
        <p:nvGrpSpPr>
          <p:cNvPr id="757" name="Group 756">
            <a:extLst>
              <a:ext uri="{FF2B5EF4-FFF2-40B4-BE49-F238E27FC236}">
                <a16:creationId xmlns:a16="http://schemas.microsoft.com/office/drawing/2014/main" id="{FB983456-4462-994F-B90A-C823F7EC8E29}"/>
              </a:ext>
            </a:extLst>
          </p:cNvPr>
          <p:cNvGrpSpPr/>
          <p:nvPr/>
        </p:nvGrpSpPr>
        <p:grpSpPr>
          <a:xfrm>
            <a:off x="8550389" y="5070650"/>
            <a:ext cx="338415" cy="254400"/>
            <a:chOff x="-1176915" y="3508496"/>
            <a:chExt cx="338415" cy="254400"/>
          </a:xfrm>
        </p:grpSpPr>
        <p:sp>
          <p:nvSpPr>
            <p:cNvPr id="758" name="Oval 757">
              <a:extLst>
                <a:ext uri="{FF2B5EF4-FFF2-40B4-BE49-F238E27FC236}">
                  <a16:creationId xmlns:a16="http://schemas.microsoft.com/office/drawing/2014/main" id="{7651688E-8169-694F-A849-B4638F9CEEDA}"/>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762" name="TextBox 761">
              <a:extLst>
                <a:ext uri="{FF2B5EF4-FFF2-40B4-BE49-F238E27FC236}">
                  <a16:creationId xmlns:a16="http://schemas.microsoft.com/office/drawing/2014/main" id="{62D27B21-08FA-1B4E-BD08-5998B2466D41}"/>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G2</a:t>
              </a:r>
            </a:p>
          </p:txBody>
        </p:sp>
      </p:grpSp>
      <p:grpSp>
        <p:nvGrpSpPr>
          <p:cNvPr id="763" name="Group 762">
            <a:extLst>
              <a:ext uri="{FF2B5EF4-FFF2-40B4-BE49-F238E27FC236}">
                <a16:creationId xmlns:a16="http://schemas.microsoft.com/office/drawing/2014/main" id="{A063507C-A567-D54C-A63A-A9DFDF87A1BC}"/>
              </a:ext>
            </a:extLst>
          </p:cNvPr>
          <p:cNvGrpSpPr/>
          <p:nvPr/>
        </p:nvGrpSpPr>
        <p:grpSpPr>
          <a:xfrm>
            <a:off x="8351429" y="5339178"/>
            <a:ext cx="338415" cy="254400"/>
            <a:chOff x="-1176915" y="3508496"/>
            <a:chExt cx="338415" cy="254400"/>
          </a:xfrm>
        </p:grpSpPr>
        <p:sp>
          <p:nvSpPr>
            <p:cNvPr id="764" name="Oval 763">
              <a:extLst>
                <a:ext uri="{FF2B5EF4-FFF2-40B4-BE49-F238E27FC236}">
                  <a16:creationId xmlns:a16="http://schemas.microsoft.com/office/drawing/2014/main" id="{A83967B9-EAE8-DE43-8F88-1D529ADC0A0A}"/>
                </a:ext>
              </a:extLst>
            </p:cNvPr>
            <p:cNvSpPr/>
            <p:nvPr/>
          </p:nvSpPr>
          <p:spPr>
            <a:xfrm>
              <a:off x="-1133852" y="3508496"/>
              <a:ext cx="254400" cy="254400"/>
            </a:xfrm>
            <a:prstGeom prst="ellipse">
              <a:avLst/>
            </a:prstGeom>
            <a:solidFill>
              <a:srgbClr val="FF0000"/>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765" name="TextBox 764">
              <a:extLst>
                <a:ext uri="{FF2B5EF4-FFF2-40B4-BE49-F238E27FC236}">
                  <a16:creationId xmlns:a16="http://schemas.microsoft.com/office/drawing/2014/main" id="{A8BC9F2D-06EB-8C4B-B732-1F47F2D2A15A}"/>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G1</a:t>
              </a:r>
            </a:p>
          </p:txBody>
        </p:sp>
      </p:grpSp>
      <p:grpSp>
        <p:nvGrpSpPr>
          <p:cNvPr id="766" name="Group 765">
            <a:extLst>
              <a:ext uri="{FF2B5EF4-FFF2-40B4-BE49-F238E27FC236}">
                <a16:creationId xmlns:a16="http://schemas.microsoft.com/office/drawing/2014/main" id="{592362AA-2A01-8645-930E-3444E26BA43A}"/>
              </a:ext>
            </a:extLst>
          </p:cNvPr>
          <p:cNvGrpSpPr/>
          <p:nvPr/>
        </p:nvGrpSpPr>
        <p:grpSpPr>
          <a:xfrm>
            <a:off x="10948311" y="2374751"/>
            <a:ext cx="338415" cy="254400"/>
            <a:chOff x="-1176915" y="3508496"/>
            <a:chExt cx="338415" cy="254400"/>
          </a:xfrm>
        </p:grpSpPr>
        <p:sp>
          <p:nvSpPr>
            <p:cNvPr id="767" name="Oval 766">
              <a:extLst>
                <a:ext uri="{FF2B5EF4-FFF2-40B4-BE49-F238E27FC236}">
                  <a16:creationId xmlns:a16="http://schemas.microsoft.com/office/drawing/2014/main" id="{D88C59B9-0C75-C74D-8F29-65585717037D}"/>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783" name="TextBox 782">
              <a:extLst>
                <a:ext uri="{FF2B5EF4-FFF2-40B4-BE49-F238E27FC236}">
                  <a16:creationId xmlns:a16="http://schemas.microsoft.com/office/drawing/2014/main" id="{80EE39C3-0FEA-CE40-9776-A73431171066}"/>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H5</a:t>
              </a:r>
            </a:p>
          </p:txBody>
        </p:sp>
      </p:grpSp>
      <p:grpSp>
        <p:nvGrpSpPr>
          <p:cNvPr id="784" name="Group 783">
            <a:extLst>
              <a:ext uri="{FF2B5EF4-FFF2-40B4-BE49-F238E27FC236}">
                <a16:creationId xmlns:a16="http://schemas.microsoft.com/office/drawing/2014/main" id="{1CB40C26-90C3-9045-9169-8AB22B6FEA45}"/>
              </a:ext>
            </a:extLst>
          </p:cNvPr>
          <p:cNvGrpSpPr/>
          <p:nvPr/>
        </p:nvGrpSpPr>
        <p:grpSpPr>
          <a:xfrm>
            <a:off x="10813126" y="2817120"/>
            <a:ext cx="338415" cy="254400"/>
            <a:chOff x="-1176915" y="3508496"/>
            <a:chExt cx="338415" cy="254400"/>
          </a:xfrm>
        </p:grpSpPr>
        <p:sp>
          <p:nvSpPr>
            <p:cNvPr id="785" name="Oval 784">
              <a:extLst>
                <a:ext uri="{FF2B5EF4-FFF2-40B4-BE49-F238E27FC236}">
                  <a16:creationId xmlns:a16="http://schemas.microsoft.com/office/drawing/2014/main" id="{505613C0-6186-384F-BF33-CC85B6021BAD}"/>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798" name="TextBox 797">
              <a:extLst>
                <a:ext uri="{FF2B5EF4-FFF2-40B4-BE49-F238E27FC236}">
                  <a16:creationId xmlns:a16="http://schemas.microsoft.com/office/drawing/2014/main" id="{3CE32779-D904-1B43-B917-AD11AE76154F}"/>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H4</a:t>
              </a:r>
            </a:p>
          </p:txBody>
        </p:sp>
      </p:grpSp>
      <p:grpSp>
        <p:nvGrpSpPr>
          <p:cNvPr id="799" name="Group 798">
            <a:extLst>
              <a:ext uri="{FF2B5EF4-FFF2-40B4-BE49-F238E27FC236}">
                <a16:creationId xmlns:a16="http://schemas.microsoft.com/office/drawing/2014/main" id="{4B58906A-6379-1545-81C5-F4E9F86378DE}"/>
              </a:ext>
            </a:extLst>
          </p:cNvPr>
          <p:cNvGrpSpPr/>
          <p:nvPr/>
        </p:nvGrpSpPr>
        <p:grpSpPr>
          <a:xfrm>
            <a:off x="10615441" y="3872621"/>
            <a:ext cx="338415" cy="254400"/>
            <a:chOff x="-1176915" y="3508496"/>
            <a:chExt cx="338415" cy="254400"/>
          </a:xfrm>
        </p:grpSpPr>
        <p:sp>
          <p:nvSpPr>
            <p:cNvPr id="800" name="Oval 799">
              <a:extLst>
                <a:ext uri="{FF2B5EF4-FFF2-40B4-BE49-F238E27FC236}">
                  <a16:creationId xmlns:a16="http://schemas.microsoft.com/office/drawing/2014/main" id="{54862828-FA49-EB41-A5F8-859012E66989}"/>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801" name="TextBox 800">
              <a:extLst>
                <a:ext uri="{FF2B5EF4-FFF2-40B4-BE49-F238E27FC236}">
                  <a16:creationId xmlns:a16="http://schemas.microsoft.com/office/drawing/2014/main" id="{D77D7A82-A246-7D4E-9172-272565AFD3D0}"/>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H3</a:t>
              </a:r>
            </a:p>
          </p:txBody>
        </p:sp>
      </p:grpSp>
      <p:grpSp>
        <p:nvGrpSpPr>
          <p:cNvPr id="802" name="Group 801">
            <a:extLst>
              <a:ext uri="{FF2B5EF4-FFF2-40B4-BE49-F238E27FC236}">
                <a16:creationId xmlns:a16="http://schemas.microsoft.com/office/drawing/2014/main" id="{17A7CE8C-D3B5-D840-8CBE-5E1C2D72CF62}"/>
              </a:ext>
            </a:extLst>
          </p:cNvPr>
          <p:cNvGrpSpPr/>
          <p:nvPr/>
        </p:nvGrpSpPr>
        <p:grpSpPr>
          <a:xfrm>
            <a:off x="10330476" y="5862627"/>
            <a:ext cx="338415" cy="254400"/>
            <a:chOff x="-1176915" y="3508496"/>
            <a:chExt cx="338415" cy="254400"/>
          </a:xfrm>
        </p:grpSpPr>
        <p:sp>
          <p:nvSpPr>
            <p:cNvPr id="803" name="Oval 802">
              <a:extLst>
                <a:ext uri="{FF2B5EF4-FFF2-40B4-BE49-F238E27FC236}">
                  <a16:creationId xmlns:a16="http://schemas.microsoft.com/office/drawing/2014/main" id="{05332920-B554-0F4F-9F8A-06228F908F7A}"/>
                </a:ext>
              </a:extLst>
            </p:cNvPr>
            <p:cNvSpPr/>
            <p:nvPr/>
          </p:nvSpPr>
          <p:spPr>
            <a:xfrm>
              <a:off x="-1133852" y="3508496"/>
              <a:ext cx="254400" cy="254400"/>
            </a:xfrm>
            <a:prstGeom prst="ellipse">
              <a:avLst/>
            </a:prstGeom>
            <a:solidFill>
              <a:srgbClr val="00B050"/>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804" name="TextBox 803">
              <a:extLst>
                <a:ext uri="{FF2B5EF4-FFF2-40B4-BE49-F238E27FC236}">
                  <a16:creationId xmlns:a16="http://schemas.microsoft.com/office/drawing/2014/main" id="{7D8C39D9-4DC2-0648-9D25-A5F2495942ED}"/>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H1</a:t>
              </a:r>
            </a:p>
          </p:txBody>
        </p:sp>
      </p:grpSp>
      <p:grpSp>
        <p:nvGrpSpPr>
          <p:cNvPr id="805" name="Group 804">
            <a:extLst>
              <a:ext uri="{FF2B5EF4-FFF2-40B4-BE49-F238E27FC236}">
                <a16:creationId xmlns:a16="http://schemas.microsoft.com/office/drawing/2014/main" id="{E5D4B8A7-360E-1349-9886-0A23E8B2F780}"/>
              </a:ext>
            </a:extLst>
          </p:cNvPr>
          <p:cNvGrpSpPr/>
          <p:nvPr/>
        </p:nvGrpSpPr>
        <p:grpSpPr>
          <a:xfrm>
            <a:off x="9911443" y="3719015"/>
            <a:ext cx="338415" cy="254400"/>
            <a:chOff x="-1176915" y="3508496"/>
            <a:chExt cx="338415" cy="254400"/>
          </a:xfrm>
        </p:grpSpPr>
        <p:sp>
          <p:nvSpPr>
            <p:cNvPr id="806" name="Oval 805">
              <a:extLst>
                <a:ext uri="{FF2B5EF4-FFF2-40B4-BE49-F238E27FC236}">
                  <a16:creationId xmlns:a16="http://schemas.microsoft.com/office/drawing/2014/main" id="{83A14326-2BA2-CF49-AF3B-1400EAC0E694}"/>
                </a:ext>
              </a:extLst>
            </p:cNvPr>
            <p:cNvSpPr/>
            <p:nvPr/>
          </p:nvSpPr>
          <p:spPr>
            <a:xfrm>
              <a:off x="-1133852" y="3508496"/>
              <a:ext cx="254400" cy="254400"/>
            </a:xfrm>
            <a:prstGeom prst="ellipse">
              <a:avLst/>
            </a:prstGeom>
            <a:solidFill>
              <a:srgbClr val="AC9AB1"/>
            </a:solidFill>
            <a:ln>
              <a:solidFill>
                <a:srgbClr val="5023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807" name="TextBox 806">
              <a:extLst>
                <a:ext uri="{FF2B5EF4-FFF2-40B4-BE49-F238E27FC236}">
                  <a16:creationId xmlns:a16="http://schemas.microsoft.com/office/drawing/2014/main" id="{771D9363-275A-884C-B90C-9F94514FFD7B}"/>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E7</a:t>
              </a:r>
            </a:p>
          </p:txBody>
        </p:sp>
      </p:grpSp>
      <p:grpSp>
        <p:nvGrpSpPr>
          <p:cNvPr id="808" name="Group 807">
            <a:extLst>
              <a:ext uri="{FF2B5EF4-FFF2-40B4-BE49-F238E27FC236}">
                <a16:creationId xmlns:a16="http://schemas.microsoft.com/office/drawing/2014/main" id="{6C6CE17F-E2C7-984A-9B3C-6FBE6B6E6BD7}"/>
              </a:ext>
            </a:extLst>
          </p:cNvPr>
          <p:cNvGrpSpPr/>
          <p:nvPr/>
        </p:nvGrpSpPr>
        <p:grpSpPr>
          <a:xfrm>
            <a:off x="8169723" y="3167635"/>
            <a:ext cx="338415" cy="254400"/>
            <a:chOff x="-1176915" y="3508496"/>
            <a:chExt cx="338415" cy="254400"/>
          </a:xfrm>
        </p:grpSpPr>
        <p:sp>
          <p:nvSpPr>
            <p:cNvPr id="809" name="Oval 808">
              <a:extLst>
                <a:ext uri="{FF2B5EF4-FFF2-40B4-BE49-F238E27FC236}">
                  <a16:creationId xmlns:a16="http://schemas.microsoft.com/office/drawing/2014/main" id="{0AC62C45-ECF0-4D46-83E1-CACFBCF21849}"/>
                </a:ext>
              </a:extLst>
            </p:cNvPr>
            <p:cNvSpPr/>
            <p:nvPr/>
          </p:nvSpPr>
          <p:spPr>
            <a:xfrm>
              <a:off x="-1133852" y="3508496"/>
              <a:ext cx="254400" cy="254400"/>
            </a:xfrm>
            <a:prstGeom prst="ellipse">
              <a:avLst/>
            </a:prstGeom>
            <a:solidFill>
              <a:srgbClr val="AC9AB1"/>
            </a:solidFill>
            <a:ln>
              <a:solidFill>
                <a:srgbClr val="5023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810" name="TextBox 809">
              <a:extLst>
                <a:ext uri="{FF2B5EF4-FFF2-40B4-BE49-F238E27FC236}">
                  <a16:creationId xmlns:a16="http://schemas.microsoft.com/office/drawing/2014/main" id="{2AF935D0-F067-7642-865D-488692F75C1A}"/>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E6</a:t>
              </a:r>
            </a:p>
          </p:txBody>
        </p:sp>
      </p:grpSp>
      <p:grpSp>
        <p:nvGrpSpPr>
          <p:cNvPr id="811" name="Group 810">
            <a:extLst>
              <a:ext uri="{FF2B5EF4-FFF2-40B4-BE49-F238E27FC236}">
                <a16:creationId xmlns:a16="http://schemas.microsoft.com/office/drawing/2014/main" id="{8F260080-C318-DC4A-821B-A775B94577CD}"/>
              </a:ext>
            </a:extLst>
          </p:cNvPr>
          <p:cNvGrpSpPr/>
          <p:nvPr/>
        </p:nvGrpSpPr>
        <p:grpSpPr>
          <a:xfrm>
            <a:off x="4121370" y="2988800"/>
            <a:ext cx="338415" cy="254400"/>
            <a:chOff x="-1176915" y="3508496"/>
            <a:chExt cx="338415" cy="254400"/>
          </a:xfrm>
        </p:grpSpPr>
        <p:sp>
          <p:nvSpPr>
            <p:cNvPr id="812" name="Oval 811">
              <a:extLst>
                <a:ext uri="{FF2B5EF4-FFF2-40B4-BE49-F238E27FC236}">
                  <a16:creationId xmlns:a16="http://schemas.microsoft.com/office/drawing/2014/main" id="{85D2A75D-DD03-5C4C-B2A7-615FF69D2C33}"/>
                </a:ext>
              </a:extLst>
            </p:cNvPr>
            <p:cNvSpPr/>
            <p:nvPr/>
          </p:nvSpPr>
          <p:spPr>
            <a:xfrm>
              <a:off x="-1133852" y="3508496"/>
              <a:ext cx="254400" cy="254400"/>
            </a:xfrm>
            <a:prstGeom prst="ellipse">
              <a:avLst/>
            </a:prstGeom>
            <a:solidFill>
              <a:srgbClr val="FF0000"/>
            </a:solidFill>
            <a:ln>
              <a:solidFill>
                <a:srgbClr val="5023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813" name="TextBox 812">
              <a:extLst>
                <a:ext uri="{FF2B5EF4-FFF2-40B4-BE49-F238E27FC236}">
                  <a16:creationId xmlns:a16="http://schemas.microsoft.com/office/drawing/2014/main" id="{2C7DD79F-50B3-4A48-B45A-57E6C44B022C}"/>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E4</a:t>
              </a:r>
            </a:p>
          </p:txBody>
        </p:sp>
      </p:grpSp>
      <p:grpSp>
        <p:nvGrpSpPr>
          <p:cNvPr id="814" name="Group 813">
            <a:extLst>
              <a:ext uri="{FF2B5EF4-FFF2-40B4-BE49-F238E27FC236}">
                <a16:creationId xmlns:a16="http://schemas.microsoft.com/office/drawing/2014/main" id="{4F54EFB0-9FA8-054D-A82A-58C4F91C30F1}"/>
              </a:ext>
            </a:extLst>
          </p:cNvPr>
          <p:cNvGrpSpPr/>
          <p:nvPr/>
        </p:nvGrpSpPr>
        <p:grpSpPr>
          <a:xfrm>
            <a:off x="3361640" y="3140944"/>
            <a:ext cx="338415" cy="254400"/>
            <a:chOff x="-1176915" y="3508496"/>
            <a:chExt cx="338415" cy="254400"/>
          </a:xfrm>
        </p:grpSpPr>
        <p:sp>
          <p:nvSpPr>
            <p:cNvPr id="815" name="Oval 814">
              <a:extLst>
                <a:ext uri="{FF2B5EF4-FFF2-40B4-BE49-F238E27FC236}">
                  <a16:creationId xmlns:a16="http://schemas.microsoft.com/office/drawing/2014/main" id="{265C9B42-898B-824B-AB25-94D96DA0B3D8}"/>
                </a:ext>
              </a:extLst>
            </p:cNvPr>
            <p:cNvSpPr/>
            <p:nvPr/>
          </p:nvSpPr>
          <p:spPr>
            <a:xfrm>
              <a:off x="-1133852" y="3508496"/>
              <a:ext cx="254400" cy="254400"/>
            </a:xfrm>
            <a:prstGeom prst="ellipse">
              <a:avLst/>
            </a:prstGeom>
            <a:solidFill>
              <a:srgbClr val="FF0000"/>
            </a:solidFill>
            <a:ln>
              <a:solidFill>
                <a:srgbClr val="5023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816" name="TextBox 815">
              <a:extLst>
                <a:ext uri="{FF2B5EF4-FFF2-40B4-BE49-F238E27FC236}">
                  <a16:creationId xmlns:a16="http://schemas.microsoft.com/office/drawing/2014/main" id="{00DC0290-2D28-7849-8EF4-0AF195F3E58E}"/>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E3</a:t>
              </a:r>
            </a:p>
          </p:txBody>
        </p:sp>
      </p:grpSp>
      <p:grpSp>
        <p:nvGrpSpPr>
          <p:cNvPr id="817" name="Group 816">
            <a:extLst>
              <a:ext uri="{FF2B5EF4-FFF2-40B4-BE49-F238E27FC236}">
                <a16:creationId xmlns:a16="http://schemas.microsoft.com/office/drawing/2014/main" id="{9F6923FC-E808-114C-92F9-EA3BBDD1DB39}"/>
              </a:ext>
            </a:extLst>
          </p:cNvPr>
          <p:cNvGrpSpPr/>
          <p:nvPr/>
        </p:nvGrpSpPr>
        <p:grpSpPr>
          <a:xfrm>
            <a:off x="6915949" y="2842749"/>
            <a:ext cx="338415" cy="254400"/>
            <a:chOff x="-1176915" y="3508496"/>
            <a:chExt cx="338415" cy="254400"/>
          </a:xfrm>
        </p:grpSpPr>
        <p:sp>
          <p:nvSpPr>
            <p:cNvPr id="818" name="Oval 817">
              <a:extLst>
                <a:ext uri="{FF2B5EF4-FFF2-40B4-BE49-F238E27FC236}">
                  <a16:creationId xmlns:a16="http://schemas.microsoft.com/office/drawing/2014/main" id="{124D85C9-A995-DA42-9FA8-E4CA0443A704}"/>
                </a:ext>
              </a:extLst>
            </p:cNvPr>
            <p:cNvSpPr/>
            <p:nvPr/>
          </p:nvSpPr>
          <p:spPr>
            <a:xfrm>
              <a:off x="-1133852" y="3508496"/>
              <a:ext cx="254400" cy="254400"/>
            </a:xfrm>
            <a:prstGeom prst="ellipse">
              <a:avLst/>
            </a:prstGeom>
            <a:solidFill>
              <a:srgbClr val="AC9AB1"/>
            </a:solidFill>
            <a:ln>
              <a:solidFill>
                <a:srgbClr val="5023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819" name="TextBox 818">
              <a:extLst>
                <a:ext uri="{FF2B5EF4-FFF2-40B4-BE49-F238E27FC236}">
                  <a16:creationId xmlns:a16="http://schemas.microsoft.com/office/drawing/2014/main" id="{CD6CEB44-6094-6044-B48E-9CA6C036FC00}"/>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E1</a:t>
              </a:r>
            </a:p>
          </p:txBody>
        </p:sp>
      </p:grpSp>
      <p:grpSp>
        <p:nvGrpSpPr>
          <p:cNvPr id="820" name="Group 819">
            <a:extLst>
              <a:ext uri="{FF2B5EF4-FFF2-40B4-BE49-F238E27FC236}">
                <a16:creationId xmlns:a16="http://schemas.microsoft.com/office/drawing/2014/main" id="{FE4C0525-CF0C-BA4B-87E1-0E10C4435800}"/>
              </a:ext>
            </a:extLst>
          </p:cNvPr>
          <p:cNvGrpSpPr/>
          <p:nvPr/>
        </p:nvGrpSpPr>
        <p:grpSpPr>
          <a:xfrm>
            <a:off x="6928338" y="3600521"/>
            <a:ext cx="467352" cy="254400"/>
            <a:chOff x="-1243175" y="3508496"/>
            <a:chExt cx="467352" cy="254400"/>
          </a:xfrm>
        </p:grpSpPr>
        <p:sp>
          <p:nvSpPr>
            <p:cNvPr id="821" name="Oval 820">
              <a:extLst>
                <a:ext uri="{FF2B5EF4-FFF2-40B4-BE49-F238E27FC236}">
                  <a16:creationId xmlns:a16="http://schemas.microsoft.com/office/drawing/2014/main" id="{816B41D5-8623-614A-BFF2-6FCBFAC96088}"/>
                </a:ext>
              </a:extLst>
            </p:cNvPr>
            <p:cNvSpPr/>
            <p:nvPr/>
          </p:nvSpPr>
          <p:spPr>
            <a:xfrm>
              <a:off x="-1133852" y="3508496"/>
              <a:ext cx="254400" cy="254400"/>
            </a:xfrm>
            <a:prstGeom prst="ellipse">
              <a:avLst/>
            </a:prstGeom>
            <a:solidFill>
              <a:srgbClr val="AC9AB1"/>
            </a:solidFill>
            <a:ln>
              <a:solidFill>
                <a:srgbClr val="5023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822" name="TextBox 821">
              <a:extLst>
                <a:ext uri="{FF2B5EF4-FFF2-40B4-BE49-F238E27FC236}">
                  <a16:creationId xmlns:a16="http://schemas.microsoft.com/office/drawing/2014/main" id="{495093EF-1C63-5A42-82E1-9D88DE671E52}"/>
                </a:ext>
              </a:extLst>
            </p:cNvPr>
            <p:cNvSpPr txBox="1"/>
            <p:nvPr/>
          </p:nvSpPr>
          <p:spPr>
            <a:xfrm>
              <a:off x="-1243175" y="3520280"/>
              <a:ext cx="467352" cy="230832"/>
            </a:xfrm>
            <a:prstGeom prst="rect">
              <a:avLst/>
            </a:prstGeom>
            <a:noFill/>
          </p:spPr>
          <p:txBody>
            <a:bodyPr wrap="square" rtlCol="0">
              <a:spAutoFit/>
            </a:bodyPr>
            <a:lstStyle/>
            <a:p>
              <a:pPr algn="ctr"/>
              <a:r>
                <a:rPr lang="en-GB" sz="900" b="1">
                  <a:solidFill>
                    <a:schemeClr val="bg1"/>
                  </a:solidFill>
                </a:rPr>
                <a:t>E11</a:t>
              </a:r>
            </a:p>
          </p:txBody>
        </p:sp>
      </p:grpSp>
      <p:grpSp>
        <p:nvGrpSpPr>
          <p:cNvPr id="823" name="Group 822">
            <a:extLst>
              <a:ext uri="{FF2B5EF4-FFF2-40B4-BE49-F238E27FC236}">
                <a16:creationId xmlns:a16="http://schemas.microsoft.com/office/drawing/2014/main" id="{2FD60A56-4097-3242-8AAF-0988A5075876}"/>
              </a:ext>
            </a:extLst>
          </p:cNvPr>
          <p:cNvGrpSpPr/>
          <p:nvPr/>
        </p:nvGrpSpPr>
        <p:grpSpPr>
          <a:xfrm>
            <a:off x="6577534" y="2530921"/>
            <a:ext cx="338415" cy="254400"/>
            <a:chOff x="-1176915" y="3508496"/>
            <a:chExt cx="338415" cy="254400"/>
          </a:xfrm>
        </p:grpSpPr>
        <p:sp>
          <p:nvSpPr>
            <p:cNvPr id="824" name="Oval 823">
              <a:extLst>
                <a:ext uri="{FF2B5EF4-FFF2-40B4-BE49-F238E27FC236}">
                  <a16:creationId xmlns:a16="http://schemas.microsoft.com/office/drawing/2014/main" id="{43D18AD6-A14B-914B-AAA7-216508D26C1D}"/>
                </a:ext>
              </a:extLst>
            </p:cNvPr>
            <p:cNvSpPr/>
            <p:nvPr/>
          </p:nvSpPr>
          <p:spPr>
            <a:xfrm>
              <a:off x="-1133852" y="3508496"/>
              <a:ext cx="254400" cy="254400"/>
            </a:xfrm>
            <a:prstGeom prst="ellipse">
              <a:avLst/>
            </a:prstGeom>
            <a:solidFill>
              <a:srgbClr val="AC9AB1"/>
            </a:solidFill>
            <a:ln>
              <a:solidFill>
                <a:srgbClr val="5023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825" name="TextBox 824">
              <a:extLst>
                <a:ext uri="{FF2B5EF4-FFF2-40B4-BE49-F238E27FC236}">
                  <a16:creationId xmlns:a16="http://schemas.microsoft.com/office/drawing/2014/main" id="{DB48260C-5F4C-C341-BFD6-2786A0062871}"/>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E9</a:t>
              </a:r>
            </a:p>
          </p:txBody>
        </p:sp>
      </p:grpSp>
      <p:grpSp>
        <p:nvGrpSpPr>
          <p:cNvPr id="826" name="Group 825">
            <a:extLst>
              <a:ext uri="{FF2B5EF4-FFF2-40B4-BE49-F238E27FC236}">
                <a16:creationId xmlns:a16="http://schemas.microsoft.com/office/drawing/2014/main" id="{833C4523-A249-FF46-9AD0-794DD2EAAAC3}"/>
              </a:ext>
            </a:extLst>
          </p:cNvPr>
          <p:cNvGrpSpPr/>
          <p:nvPr/>
        </p:nvGrpSpPr>
        <p:grpSpPr>
          <a:xfrm>
            <a:off x="5350187" y="2805693"/>
            <a:ext cx="338415" cy="254400"/>
            <a:chOff x="-1176915" y="3508496"/>
            <a:chExt cx="338415" cy="254400"/>
          </a:xfrm>
        </p:grpSpPr>
        <p:sp>
          <p:nvSpPr>
            <p:cNvPr id="827" name="Oval 826">
              <a:extLst>
                <a:ext uri="{FF2B5EF4-FFF2-40B4-BE49-F238E27FC236}">
                  <a16:creationId xmlns:a16="http://schemas.microsoft.com/office/drawing/2014/main" id="{3022032D-6916-054E-8331-BDEBEB809E6F}"/>
                </a:ext>
              </a:extLst>
            </p:cNvPr>
            <p:cNvSpPr/>
            <p:nvPr/>
          </p:nvSpPr>
          <p:spPr>
            <a:xfrm>
              <a:off x="-1133852" y="3508496"/>
              <a:ext cx="254400" cy="254400"/>
            </a:xfrm>
            <a:prstGeom prst="ellipse">
              <a:avLst/>
            </a:prstGeom>
            <a:solidFill>
              <a:srgbClr val="AC9AB1"/>
            </a:solidFill>
            <a:ln>
              <a:solidFill>
                <a:srgbClr val="5023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828" name="TextBox 827">
              <a:extLst>
                <a:ext uri="{FF2B5EF4-FFF2-40B4-BE49-F238E27FC236}">
                  <a16:creationId xmlns:a16="http://schemas.microsoft.com/office/drawing/2014/main" id="{D1C21E7C-9F81-6446-9571-E1A7F0C80934}"/>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E8</a:t>
              </a:r>
            </a:p>
          </p:txBody>
        </p:sp>
      </p:grpSp>
      <p:grpSp>
        <p:nvGrpSpPr>
          <p:cNvPr id="829" name="Group 828">
            <a:extLst>
              <a:ext uri="{FF2B5EF4-FFF2-40B4-BE49-F238E27FC236}">
                <a16:creationId xmlns:a16="http://schemas.microsoft.com/office/drawing/2014/main" id="{DB9632E2-92E0-5B43-BC02-51075CE2C8A2}"/>
              </a:ext>
            </a:extLst>
          </p:cNvPr>
          <p:cNvGrpSpPr/>
          <p:nvPr/>
        </p:nvGrpSpPr>
        <p:grpSpPr>
          <a:xfrm>
            <a:off x="4414264" y="2257231"/>
            <a:ext cx="338415" cy="254400"/>
            <a:chOff x="-1176915" y="3508496"/>
            <a:chExt cx="338415" cy="254400"/>
          </a:xfrm>
        </p:grpSpPr>
        <p:sp>
          <p:nvSpPr>
            <p:cNvPr id="830" name="Oval 829">
              <a:extLst>
                <a:ext uri="{FF2B5EF4-FFF2-40B4-BE49-F238E27FC236}">
                  <a16:creationId xmlns:a16="http://schemas.microsoft.com/office/drawing/2014/main" id="{3987FF21-C239-B04B-A6E5-BD110218536F}"/>
                </a:ext>
              </a:extLst>
            </p:cNvPr>
            <p:cNvSpPr/>
            <p:nvPr/>
          </p:nvSpPr>
          <p:spPr>
            <a:xfrm>
              <a:off x="-1133852" y="3508496"/>
              <a:ext cx="254400" cy="254400"/>
            </a:xfrm>
            <a:prstGeom prst="ellipse">
              <a:avLst/>
            </a:prstGeom>
            <a:solidFill>
              <a:srgbClr val="AC9AB1"/>
            </a:solidFill>
            <a:ln>
              <a:solidFill>
                <a:srgbClr val="5023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831" name="TextBox 830">
              <a:extLst>
                <a:ext uri="{FF2B5EF4-FFF2-40B4-BE49-F238E27FC236}">
                  <a16:creationId xmlns:a16="http://schemas.microsoft.com/office/drawing/2014/main" id="{41E07F61-8254-F345-AF25-2ABC319BF7D1}"/>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E5</a:t>
              </a:r>
            </a:p>
          </p:txBody>
        </p:sp>
      </p:grpSp>
      <p:grpSp>
        <p:nvGrpSpPr>
          <p:cNvPr id="832" name="Group 831">
            <a:extLst>
              <a:ext uri="{FF2B5EF4-FFF2-40B4-BE49-F238E27FC236}">
                <a16:creationId xmlns:a16="http://schemas.microsoft.com/office/drawing/2014/main" id="{3A1D0BC7-3FF3-214F-AD87-5CC949F0F28A}"/>
              </a:ext>
            </a:extLst>
          </p:cNvPr>
          <p:cNvGrpSpPr/>
          <p:nvPr/>
        </p:nvGrpSpPr>
        <p:grpSpPr>
          <a:xfrm>
            <a:off x="10249268" y="4689114"/>
            <a:ext cx="467352" cy="254400"/>
            <a:chOff x="-1243175" y="3508496"/>
            <a:chExt cx="467352" cy="254400"/>
          </a:xfrm>
        </p:grpSpPr>
        <p:sp>
          <p:nvSpPr>
            <p:cNvPr id="833" name="Oval 832">
              <a:extLst>
                <a:ext uri="{FF2B5EF4-FFF2-40B4-BE49-F238E27FC236}">
                  <a16:creationId xmlns:a16="http://schemas.microsoft.com/office/drawing/2014/main" id="{0F136DE3-4152-6E4E-8D2E-EA4C68272224}"/>
                </a:ext>
              </a:extLst>
            </p:cNvPr>
            <p:cNvSpPr/>
            <p:nvPr/>
          </p:nvSpPr>
          <p:spPr>
            <a:xfrm>
              <a:off x="-1133852" y="3508496"/>
              <a:ext cx="254400" cy="254400"/>
            </a:xfrm>
            <a:prstGeom prst="ellipse">
              <a:avLst/>
            </a:prstGeom>
            <a:solidFill>
              <a:srgbClr val="AC9AB1"/>
            </a:solidFill>
            <a:ln>
              <a:solidFill>
                <a:srgbClr val="5023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834" name="TextBox 833">
              <a:extLst>
                <a:ext uri="{FF2B5EF4-FFF2-40B4-BE49-F238E27FC236}">
                  <a16:creationId xmlns:a16="http://schemas.microsoft.com/office/drawing/2014/main" id="{2CDD1FB6-388B-EC40-9B80-A45782E586DB}"/>
                </a:ext>
              </a:extLst>
            </p:cNvPr>
            <p:cNvSpPr txBox="1"/>
            <p:nvPr/>
          </p:nvSpPr>
          <p:spPr>
            <a:xfrm>
              <a:off x="-1243175" y="3520280"/>
              <a:ext cx="467352" cy="230832"/>
            </a:xfrm>
            <a:prstGeom prst="rect">
              <a:avLst/>
            </a:prstGeom>
            <a:noFill/>
          </p:spPr>
          <p:txBody>
            <a:bodyPr wrap="square" rtlCol="0">
              <a:spAutoFit/>
            </a:bodyPr>
            <a:lstStyle/>
            <a:p>
              <a:pPr algn="ctr"/>
              <a:r>
                <a:rPr lang="en-GB" sz="900" b="1">
                  <a:solidFill>
                    <a:schemeClr val="bg1"/>
                  </a:solidFill>
                </a:rPr>
                <a:t>E10</a:t>
              </a:r>
            </a:p>
          </p:txBody>
        </p:sp>
      </p:grpSp>
      <p:grpSp>
        <p:nvGrpSpPr>
          <p:cNvPr id="835" name="Group 834">
            <a:extLst>
              <a:ext uri="{FF2B5EF4-FFF2-40B4-BE49-F238E27FC236}">
                <a16:creationId xmlns:a16="http://schemas.microsoft.com/office/drawing/2014/main" id="{7917DDE8-CFD6-C240-B234-A376EA27AAD2}"/>
              </a:ext>
            </a:extLst>
          </p:cNvPr>
          <p:cNvGrpSpPr/>
          <p:nvPr/>
        </p:nvGrpSpPr>
        <p:grpSpPr>
          <a:xfrm>
            <a:off x="5364180" y="4452607"/>
            <a:ext cx="341766" cy="288000"/>
            <a:chOff x="2969672" y="3089017"/>
            <a:chExt cx="341766" cy="288000"/>
          </a:xfrm>
        </p:grpSpPr>
        <p:sp>
          <p:nvSpPr>
            <p:cNvPr id="836" name="5-point Star 835">
              <a:extLst>
                <a:ext uri="{FF2B5EF4-FFF2-40B4-BE49-F238E27FC236}">
                  <a16:creationId xmlns:a16="http://schemas.microsoft.com/office/drawing/2014/main" id="{8BEA1850-F248-434F-B62B-4DE2FCFC97EA}"/>
                </a:ext>
              </a:extLst>
            </p:cNvPr>
            <p:cNvSpPr/>
            <p:nvPr/>
          </p:nvSpPr>
          <p:spPr>
            <a:xfrm>
              <a:off x="2973023" y="3089017"/>
              <a:ext cx="338415" cy="288000"/>
            </a:xfrm>
            <a:prstGeom prst="star5">
              <a:avLst/>
            </a:prstGeom>
            <a:solidFill>
              <a:srgbClr val="FF0000"/>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837" name="TextBox 836">
              <a:extLst>
                <a:ext uri="{FF2B5EF4-FFF2-40B4-BE49-F238E27FC236}">
                  <a16:creationId xmlns:a16="http://schemas.microsoft.com/office/drawing/2014/main" id="{A2846DBE-206F-7543-B418-D5FE5041D0A3}"/>
                </a:ext>
              </a:extLst>
            </p:cNvPr>
            <p:cNvSpPr txBox="1"/>
            <p:nvPr/>
          </p:nvSpPr>
          <p:spPr>
            <a:xfrm>
              <a:off x="2969672" y="3135059"/>
              <a:ext cx="338415" cy="230832"/>
            </a:xfrm>
            <a:prstGeom prst="rect">
              <a:avLst/>
            </a:prstGeom>
            <a:noFill/>
          </p:spPr>
          <p:txBody>
            <a:bodyPr wrap="square" rtlCol="0">
              <a:spAutoFit/>
            </a:bodyPr>
            <a:lstStyle/>
            <a:p>
              <a:pPr algn="ctr"/>
              <a:r>
                <a:rPr lang="en-GB" sz="900" b="1">
                  <a:solidFill>
                    <a:schemeClr val="bg1"/>
                  </a:solidFill>
                </a:rPr>
                <a:t>E2</a:t>
              </a:r>
            </a:p>
          </p:txBody>
        </p:sp>
      </p:grpSp>
      <p:grpSp>
        <p:nvGrpSpPr>
          <p:cNvPr id="838" name="Group 837">
            <a:extLst>
              <a:ext uri="{FF2B5EF4-FFF2-40B4-BE49-F238E27FC236}">
                <a16:creationId xmlns:a16="http://schemas.microsoft.com/office/drawing/2014/main" id="{3F196023-5C90-7944-A6DB-13CCDCB70920}"/>
              </a:ext>
            </a:extLst>
          </p:cNvPr>
          <p:cNvGrpSpPr/>
          <p:nvPr/>
        </p:nvGrpSpPr>
        <p:grpSpPr>
          <a:xfrm>
            <a:off x="6936458" y="4932933"/>
            <a:ext cx="341766" cy="288000"/>
            <a:chOff x="2969672" y="3089017"/>
            <a:chExt cx="341766" cy="288000"/>
          </a:xfrm>
        </p:grpSpPr>
        <p:sp>
          <p:nvSpPr>
            <p:cNvPr id="839" name="5-point Star 838">
              <a:extLst>
                <a:ext uri="{FF2B5EF4-FFF2-40B4-BE49-F238E27FC236}">
                  <a16:creationId xmlns:a16="http://schemas.microsoft.com/office/drawing/2014/main" id="{B08BFC52-A10C-8343-B6E8-2EEF3A2904F6}"/>
                </a:ext>
              </a:extLst>
            </p:cNvPr>
            <p:cNvSpPr/>
            <p:nvPr/>
          </p:nvSpPr>
          <p:spPr>
            <a:xfrm>
              <a:off x="2973023" y="3089017"/>
              <a:ext cx="338415" cy="288000"/>
            </a:xfrm>
            <a:prstGeom prst="star5">
              <a:avLst/>
            </a:prstGeom>
            <a:solidFill>
              <a:srgbClr val="FF0000"/>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840" name="TextBox 839">
              <a:extLst>
                <a:ext uri="{FF2B5EF4-FFF2-40B4-BE49-F238E27FC236}">
                  <a16:creationId xmlns:a16="http://schemas.microsoft.com/office/drawing/2014/main" id="{AA8792C2-2EF5-6849-B8F8-F4BBF84DC85D}"/>
                </a:ext>
              </a:extLst>
            </p:cNvPr>
            <p:cNvSpPr txBox="1"/>
            <p:nvPr/>
          </p:nvSpPr>
          <p:spPr>
            <a:xfrm>
              <a:off x="2969672" y="3135059"/>
              <a:ext cx="338415" cy="230832"/>
            </a:xfrm>
            <a:prstGeom prst="rect">
              <a:avLst/>
            </a:prstGeom>
            <a:noFill/>
          </p:spPr>
          <p:txBody>
            <a:bodyPr wrap="square" rtlCol="0">
              <a:spAutoFit/>
            </a:bodyPr>
            <a:lstStyle/>
            <a:p>
              <a:pPr algn="ctr"/>
              <a:r>
                <a:rPr lang="en-GB" sz="900" b="1">
                  <a:solidFill>
                    <a:schemeClr val="bg1"/>
                  </a:solidFill>
                </a:rPr>
                <a:t>F2</a:t>
              </a:r>
            </a:p>
          </p:txBody>
        </p:sp>
      </p:grpSp>
      <p:grpSp>
        <p:nvGrpSpPr>
          <p:cNvPr id="841" name="Group 840">
            <a:extLst>
              <a:ext uri="{FF2B5EF4-FFF2-40B4-BE49-F238E27FC236}">
                <a16:creationId xmlns:a16="http://schemas.microsoft.com/office/drawing/2014/main" id="{3A91D2A8-7321-B84E-BA28-4E022E729AAA}"/>
              </a:ext>
            </a:extLst>
          </p:cNvPr>
          <p:cNvGrpSpPr/>
          <p:nvPr/>
        </p:nvGrpSpPr>
        <p:grpSpPr>
          <a:xfrm>
            <a:off x="10168476" y="5288778"/>
            <a:ext cx="341766" cy="288000"/>
            <a:chOff x="2969672" y="3089017"/>
            <a:chExt cx="341766" cy="288000"/>
          </a:xfrm>
        </p:grpSpPr>
        <p:sp>
          <p:nvSpPr>
            <p:cNvPr id="842" name="5-point Star 841">
              <a:extLst>
                <a:ext uri="{FF2B5EF4-FFF2-40B4-BE49-F238E27FC236}">
                  <a16:creationId xmlns:a16="http://schemas.microsoft.com/office/drawing/2014/main" id="{E6AF657E-26A6-D54A-91DF-EF9D751DA4D1}"/>
                </a:ext>
              </a:extLst>
            </p:cNvPr>
            <p:cNvSpPr/>
            <p:nvPr/>
          </p:nvSpPr>
          <p:spPr>
            <a:xfrm>
              <a:off x="2973023" y="3089017"/>
              <a:ext cx="338415" cy="288000"/>
            </a:xfrm>
            <a:prstGeom prst="star5">
              <a:avLst/>
            </a:prstGeom>
            <a:solidFill>
              <a:srgbClr val="FF0000"/>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843" name="TextBox 842">
              <a:extLst>
                <a:ext uri="{FF2B5EF4-FFF2-40B4-BE49-F238E27FC236}">
                  <a16:creationId xmlns:a16="http://schemas.microsoft.com/office/drawing/2014/main" id="{9338ACA8-7FDC-9C41-ABE9-3A760393260E}"/>
                </a:ext>
              </a:extLst>
            </p:cNvPr>
            <p:cNvSpPr txBox="1"/>
            <p:nvPr/>
          </p:nvSpPr>
          <p:spPr>
            <a:xfrm>
              <a:off x="2969672" y="3135059"/>
              <a:ext cx="338415" cy="230832"/>
            </a:xfrm>
            <a:prstGeom prst="rect">
              <a:avLst/>
            </a:prstGeom>
            <a:noFill/>
          </p:spPr>
          <p:txBody>
            <a:bodyPr wrap="square" rtlCol="0">
              <a:spAutoFit/>
            </a:bodyPr>
            <a:lstStyle/>
            <a:p>
              <a:pPr algn="ctr"/>
              <a:r>
                <a:rPr lang="en-GB" sz="900" b="1">
                  <a:solidFill>
                    <a:schemeClr val="bg1"/>
                  </a:solidFill>
                </a:rPr>
                <a:t>H2</a:t>
              </a:r>
            </a:p>
          </p:txBody>
        </p:sp>
      </p:grpSp>
      <p:grpSp>
        <p:nvGrpSpPr>
          <p:cNvPr id="844" name="Group 843">
            <a:extLst>
              <a:ext uri="{FF2B5EF4-FFF2-40B4-BE49-F238E27FC236}">
                <a16:creationId xmlns:a16="http://schemas.microsoft.com/office/drawing/2014/main" id="{6D9774A5-7DE0-994B-82D1-AB2E9E9F1693}"/>
              </a:ext>
            </a:extLst>
          </p:cNvPr>
          <p:cNvGrpSpPr/>
          <p:nvPr/>
        </p:nvGrpSpPr>
        <p:grpSpPr>
          <a:xfrm>
            <a:off x="158192" y="4544835"/>
            <a:ext cx="1773597" cy="1018743"/>
            <a:chOff x="1896793" y="5481181"/>
            <a:chExt cx="1773597" cy="1018743"/>
          </a:xfrm>
        </p:grpSpPr>
        <p:sp>
          <p:nvSpPr>
            <p:cNvPr id="845" name="Rounded Rectangle 844">
              <a:extLst>
                <a:ext uri="{FF2B5EF4-FFF2-40B4-BE49-F238E27FC236}">
                  <a16:creationId xmlns:a16="http://schemas.microsoft.com/office/drawing/2014/main" id="{E919D036-3D74-CB4A-B103-B794A56DC455}"/>
                </a:ext>
              </a:extLst>
            </p:cNvPr>
            <p:cNvSpPr/>
            <p:nvPr/>
          </p:nvSpPr>
          <p:spPr>
            <a:xfrm>
              <a:off x="1914468" y="5481181"/>
              <a:ext cx="1324390" cy="1018743"/>
            </a:xfrm>
            <a:prstGeom prst="roundRect">
              <a:avLst>
                <a:gd name="adj" fmla="val 721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1867" kern="0">
                <a:solidFill>
                  <a:srgbClr val="FFFFFF"/>
                </a:solidFill>
                <a:latin typeface="Arial"/>
                <a:sym typeface="Arial"/>
              </a:endParaRPr>
            </a:p>
          </p:txBody>
        </p:sp>
        <p:grpSp>
          <p:nvGrpSpPr>
            <p:cNvPr id="846" name="Group 845">
              <a:extLst>
                <a:ext uri="{FF2B5EF4-FFF2-40B4-BE49-F238E27FC236}">
                  <a16:creationId xmlns:a16="http://schemas.microsoft.com/office/drawing/2014/main" id="{C5B1F691-1AA5-6443-AD05-5F0329B6376B}"/>
                </a:ext>
              </a:extLst>
            </p:cNvPr>
            <p:cNvGrpSpPr/>
            <p:nvPr/>
          </p:nvGrpSpPr>
          <p:grpSpPr>
            <a:xfrm>
              <a:off x="1899932" y="5890896"/>
              <a:ext cx="338415" cy="254400"/>
              <a:chOff x="158018" y="4135479"/>
              <a:chExt cx="338415" cy="254400"/>
            </a:xfrm>
          </p:grpSpPr>
          <p:sp>
            <p:nvSpPr>
              <p:cNvPr id="856" name="Oval 855">
                <a:extLst>
                  <a:ext uri="{FF2B5EF4-FFF2-40B4-BE49-F238E27FC236}">
                    <a16:creationId xmlns:a16="http://schemas.microsoft.com/office/drawing/2014/main" id="{8877D8C3-E9B9-0A4F-B713-0DBC30659008}"/>
                  </a:ext>
                </a:extLst>
              </p:cNvPr>
              <p:cNvSpPr/>
              <p:nvPr/>
            </p:nvSpPr>
            <p:spPr>
              <a:xfrm>
                <a:off x="201081" y="4135479"/>
                <a:ext cx="254400" cy="254400"/>
              </a:xfrm>
              <a:prstGeom prst="ellipse">
                <a:avLst/>
              </a:prstGeom>
              <a:solidFill>
                <a:srgbClr val="FF0000"/>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857" name="TextBox 856">
                <a:extLst>
                  <a:ext uri="{FF2B5EF4-FFF2-40B4-BE49-F238E27FC236}">
                    <a16:creationId xmlns:a16="http://schemas.microsoft.com/office/drawing/2014/main" id="{2990BC01-F7CC-2746-B769-D9FDCACEC21B}"/>
                  </a:ext>
                </a:extLst>
              </p:cNvPr>
              <p:cNvSpPr txBox="1"/>
              <p:nvPr/>
            </p:nvSpPr>
            <p:spPr>
              <a:xfrm>
                <a:off x="158018" y="4147263"/>
                <a:ext cx="338415" cy="230832"/>
              </a:xfrm>
              <a:prstGeom prst="rect">
                <a:avLst/>
              </a:prstGeom>
              <a:noFill/>
            </p:spPr>
            <p:txBody>
              <a:bodyPr wrap="square" rtlCol="0">
                <a:spAutoFit/>
              </a:bodyPr>
              <a:lstStyle/>
              <a:p>
                <a:pPr algn="ctr"/>
                <a:r>
                  <a:rPr lang="en-GB" sz="900" b="1">
                    <a:solidFill>
                      <a:schemeClr val="bg1"/>
                    </a:solidFill>
                  </a:rPr>
                  <a:t>Z</a:t>
                </a:r>
              </a:p>
            </p:txBody>
          </p:sp>
        </p:grpSp>
        <p:sp>
          <p:nvSpPr>
            <p:cNvPr id="847" name="Rectangle 846">
              <a:extLst>
                <a:ext uri="{FF2B5EF4-FFF2-40B4-BE49-F238E27FC236}">
                  <a16:creationId xmlns:a16="http://schemas.microsoft.com/office/drawing/2014/main" id="{7DA65B69-DA43-D040-A071-6B1C183A3B23}"/>
                </a:ext>
              </a:extLst>
            </p:cNvPr>
            <p:cNvSpPr/>
            <p:nvPr/>
          </p:nvSpPr>
          <p:spPr>
            <a:xfrm>
              <a:off x="2264538" y="5835524"/>
              <a:ext cx="1288995" cy="3322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defTabSz="914377">
                <a:defRPr/>
              </a:pPr>
              <a:r>
                <a:rPr lang="en-GB" sz="800" kern="0">
                  <a:solidFill>
                    <a:srgbClr val="595959"/>
                  </a:solidFill>
                  <a:latin typeface="Calibri" panose="020F0502020204030204" pitchFamily="34" charset="0"/>
                  <a:cs typeface="Calibri" panose="020F0502020204030204" pitchFamily="34" charset="0"/>
                  <a:sym typeface="Arial"/>
                </a:rPr>
                <a:t>Top priority recommendation</a:t>
              </a:r>
            </a:p>
          </p:txBody>
        </p:sp>
        <p:grpSp>
          <p:nvGrpSpPr>
            <p:cNvPr id="848" name="Group 847">
              <a:extLst>
                <a:ext uri="{FF2B5EF4-FFF2-40B4-BE49-F238E27FC236}">
                  <a16:creationId xmlns:a16="http://schemas.microsoft.com/office/drawing/2014/main" id="{EF18DEFE-6B84-6947-9D09-EF4A3CA5059C}"/>
                </a:ext>
              </a:extLst>
            </p:cNvPr>
            <p:cNvGrpSpPr/>
            <p:nvPr/>
          </p:nvGrpSpPr>
          <p:grpSpPr>
            <a:xfrm>
              <a:off x="1896793" y="6217656"/>
              <a:ext cx="338415" cy="254400"/>
              <a:chOff x="158018" y="4135479"/>
              <a:chExt cx="338415" cy="254400"/>
            </a:xfrm>
          </p:grpSpPr>
          <p:sp>
            <p:nvSpPr>
              <p:cNvPr id="854" name="Oval 853">
                <a:extLst>
                  <a:ext uri="{FF2B5EF4-FFF2-40B4-BE49-F238E27FC236}">
                    <a16:creationId xmlns:a16="http://schemas.microsoft.com/office/drawing/2014/main" id="{298DE244-E9FA-DB46-9274-6E598A45B374}"/>
                  </a:ext>
                </a:extLst>
              </p:cNvPr>
              <p:cNvSpPr/>
              <p:nvPr/>
            </p:nvSpPr>
            <p:spPr>
              <a:xfrm>
                <a:off x="201081" y="4135479"/>
                <a:ext cx="254400" cy="254400"/>
              </a:xfrm>
              <a:prstGeom prst="ellipse">
                <a:avLst/>
              </a:prstGeom>
              <a:solidFill>
                <a:srgbClr val="00B050"/>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855" name="TextBox 854">
                <a:extLst>
                  <a:ext uri="{FF2B5EF4-FFF2-40B4-BE49-F238E27FC236}">
                    <a16:creationId xmlns:a16="http://schemas.microsoft.com/office/drawing/2014/main" id="{363CC35A-3573-0640-9BBB-BB3BFF73CDDD}"/>
                  </a:ext>
                </a:extLst>
              </p:cNvPr>
              <p:cNvSpPr txBox="1"/>
              <p:nvPr/>
            </p:nvSpPr>
            <p:spPr>
              <a:xfrm>
                <a:off x="158018" y="4147263"/>
                <a:ext cx="338415" cy="230832"/>
              </a:xfrm>
              <a:prstGeom prst="rect">
                <a:avLst/>
              </a:prstGeom>
              <a:noFill/>
            </p:spPr>
            <p:txBody>
              <a:bodyPr wrap="square" rtlCol="0">
                <a:spAutoFit/>
              </a:bodyPr>
              <a:lstStyle/>
              <a:p>
                <a:pPr algn="ctr"/>
                <a:r>
                  <a:rPr lang="en-GB" sz="900" b="1">
                    <a:solidFill>
                      <a:schemeClr val="bg1"/>
                    </a:solidFill>
                  </a:rPr>
                  <a:t>Z</a:t>
                </a:r>
              </a:p>
            </p:txBody>
          </p:sp>
        </p:grpSp>
        <p:sp>
          <p:nvSpPr>
            <p:cNvPr id="849" name="Rectangle 848">
              <a:extLst>
                <a:ext uri="{FF2B5EF4-FFF2-40B4-BE49-F238E27FC236}">
                  <a16:creationId xmlns:a16="http://schemas.microsoft.com/office/drawing/2014/main" id="{BB2A11A0-E6C4-7D42-A9CC-1727BEB52A04}"/>
                </a:ext>
              </a:extLst>
            </p:cNvPr>
            <p:cNvSpPr/>
            <p:nvPr/>
          </p:nvSpPr>
          <p:spPr>
            <a:xfrm>
              <a:off x="2261399" y="6162284"/>
              <a:ext cx="1408991" cy="3322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defTabSz="914377">
                <a:defRPr/>
              </a:pPr>
              <a:r>
                <a:rPr lang="en-GB" sz="800" kern="0">
                  <a:solidFill>
                    <a:srgbClr val="595959"/>
                  </a:solidFill>
                  <a:latin typeface="Calibri" panose="020F0502020204030204" pitchFamily="34" charset="0"/>
                  <a:cs typeface="Calibri" panose="020F0502020204030204" pitchFamily="34" charset="0"/>
                  <a:sym typeface="Arial"/>
                </a:rPr>
                <a:t>Quick win</a:t>
              </a:r>
            </a:p>
          </p:txBody>
        </p:sp>
        <p:grpSp>
          <p:nvGrpSpPr>
            <p:cNvPr id="850" name="Group 849">
              <a:extLst>
                <a:ext uri="{FF2B5EF4-FFF2-40B4-BE49-F238E27FC236}">
                  <a16:creationId xmlns:a16="http://schemas.microsoft.com/office/drawing/2014/main" id="{8199AB50-5A86-EF4B-A976-21B94D3F77F7}"/>
                </a:ext>
              </a:extLst>
            </p:cNvPr>
            <p:cNvGrpSpPr/>
            <p:nvPr/>
          </p:nvGrpSpPr>
          <p:grpSpPr>
            <a:xfrm>
              <a:off x="1919633" y="5533259"/>
              <a:ext cx="341766" cy="288000"/>
              <a:chOff x="2969672" y="3089017"/>
              <a:chExt cx="341766" cy="288000"/>
            </a:xfrm>
          </p:grpSpPr>
          <p:sp>
            <p:nvSpPr>
              <p:cNvPr id="852" name="5-point Star 851">
                <a:extLst>
                  <a:ext uri="{FF2B5EF4-FFF2-40B4-BE49-F238E27FC236}">
                    <a16:creationId xmlns:a16="http://schemas.microsoft.com/office/drawing/2014/main" id="{3E38EB86-2DBE-434D-9E4B-CA0684B1CF03}"/>
                  </a:ext>
                </a:extLst>
              </p:cNvPr>
              <p:cNvSpPr/>
              <p:nvPr/>
            </p:nvSpPr>
            <p:spPr>
              <a:xfrm>
                <a:off x="2973023" y="3089017"/>
                <a:ext cx="338415" cy="288000"/>
              </a:xfrm>
              <a:prstGeom prst="star5">
                <a:avLst/>
              </a:prstGeom>
              <a:solidFill>
                <a:srgbClr val="FF0000"/>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853" name="TextBox 852">
                <a:extLst>
                  <a:ext uri="{FF2B5EF4-FFF2-40B4-BE49-F238E27FC236}">
                    <a16:creationId xmlns:a16="http://schemas.microsoft.com/office/drawing/2014/main" id="{AF380EBF-4B39-324F-96C8-DC61EC6F64A3}"/>
                  </a:ext>
                </a:extLst>
              </p:cNvPr>
              <p:cNvSpPr txBox="1"/>
              <p:nvPr/>
            </p:nvSpPr>
            <p:spPr>
              <a:xfrm>
                <a:off x="2969672" y="3135059"/>
                <a:ext cx="338415" cy="230832"/>
              </a:xfrm>
              <a:prstGeom prst="rect">
                <a:avLst/>
              </a:prstGeom>
              <a:noFill/>
            </p:spPr>
            <p:txBody>
              <a:bodyPr wrap="square" rtlCol="0">
                <a:spAutoFit/>
              </a:bodyPr>
              <a:lstStyle/>
              <a:p>
                <a:pPr algn="ctr"/>
                <a:r>
                  <a:rPr lang="en-GB" sz="900" b="1">
                    <a:solidFill>
                      <a:schemeClr val="bg1"/>
                    </a:solidFill>
                  </a:rPr>
                  <a:t>Z</a:t>
                </a:r>
              </a:p>
            </p:txBody>
          </p:sp>
        </p:grpSp>
        <p:sp>
          <p:nvSpPr>
            <p:cNvPr id="851" name="Rectangle 850">
              <a:extLst>
                <a:ext uri="{FF2B5EF4-FFF2-40B4-BE49-F238E27FC236}">
                  <a16:creationId xmlns:a16="http://schemas.microsoft.com/office/drawing/2014/main" id="{F669AD07-A7AD-0C41-97C0-B23E69B5F219}"/>
                </a:ext>
              </a:extLst>
            </p:cNvPr>
            <p:cNvSpPr/>
            <p:nvPr/>
          </p:nvSpPr>
          <p:spPr>
            <a:xfrm>
              <a:off x="2254394" y="5535527"/>
              <a:ext cx="1299139" cy="3322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defTabSz="914377">
                <a:defRPr/>
              </a:pPr>
              <a:r>
                <a:rPr lang="en-GB" sz="800" kern="0">
                  <a:solidFill>
                    <a:srgbClr val="595959"/>
                  </a:solidFill>
                  <a:latin typeface="Calibri" panose="020F0502020204030204" pitchFamily="34" charset="0"/>
                  <a:cs typeface="Calibri" panose="020F0502020204030204" pitchFamily="34" charset="0"/>
                  <a:sym typeface="Arial"/>
                </a:rPr>
                <a:t>Cross-cutting recommendation</a:t>
              </a:r>
            </a:p>
          </p:txBody>
        </p:sp>
      </p:grpSp>
      <p:sp>
        <p:nvSpPr>
          <p:cNvPr id="858" name="Rectangle 857">
            <a:extLst>
              <a:ext uri="{FF2B5EF4-FFF2-40B4-BE49-F238E27FC236}">
                <a16:creationId xmlns:a16="http://schemas.microsoft.com/office/drawing/2014/main" id="{E7159715-D69F-944C-91C3-D7F3E6830A85}"/>
              </a:ext>
            </a:extLst>
          </p:cNvPr>
          <p:cNvSpPr/>
          <p:nvPr/>
        </p:nvSpPr>
        <p:spPr>
          <a:xfrm>
            <a:off x="527342" y="830057"/>
            <a:ext cx="10923519" cy="8681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200" b="1">
                <a:solidFill>
                  <a:srgbClr val="50235C"/>
                </a:solidFill>
                <a:latin typeface="Arial" panose="020B0604020202020204" pitchFamily="34" charset="0"/>
                <a:cs typeface="Arial" panose="020B0604020202020204" pitchFamily="34" charset="0"/>
              </a:rPr>
              <a:t>Based on observations, interviews and stakeholder input, a total of 81 recommendations have been identified. Each is prioritised based on impact, ease, resource required. Each numbered letter refers to a specific recommendation within each strategic priority (e.g. B1 can be found within the proactive prevention overview). Recommendations relating to supporting the health inequality agenda are weaved throughout in recognition that this is essential to the delivery of an equitable health and care system. </a:t>
            </a:r>
          </a:p>
          <a:p>
            <a:endParaRPr lang="en-GB" sz="1200" b="1">
              <a:solidFill>
                <a:srgbClr val="50235C"/>
              </a:solidFill>
              <a:latin typeface="Arial" panose="020B0604020202020204" pitchFamily="34" charset="0"/>
              <a:cs typeface="Arial" panose="020B0604020202020204" pitchFamily="34" charset="0"/>
            </a:endParaRPr>
          </a:p>
        </p:txBody>
      </p:sp>
      <p:pic>
        <p:nvPicPr>
          <p:cNvPr id="859" name="Graphic 858" descr="Open hand with plant with solid fill">
            <a:extLst>
              <a:ext uri="{FF2B5EF4-FFF2-40B4-BE49-F238E27FC236}">
                <a16:creationId xmlns:a16="http://schemas.microsoft.com/office/drawing/2014/main" id="{93BA6DFD-D4EA-1745-9AF8-BFCA57635DB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06899" y="3458523"/>
            <a:ext cx="324000" cy="324000"/>
          </a:xfrm>
          <a:prstGeom prst="rect">
            <a:avLst/>
          </a:prstGeom>
        </p:spPr>
      </p:pic>
      <p:pic>
        <p:nvPicPr>
          <p:cNvPr id="860" name="Graphic 859" descr="Marketing with solid fill">
            <a:extLst>
              <a:ext uri="{FF2B5EF4-FFF2-40B4-BE49-F238E27FC236}">
                <a16:creationId xmlns:a16="http://schemas.microsoft.com/office/drawing/2014/main" id="{AD605793-ED83-134D-81F9-1F67509F75A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79139" y="2440190"/>
            <a:ext cx="324000" cy="324000"/>
          </a:xfrm>
          <a:prstGeom prst="rect">
            <a:avLst/>
          </a:prstGeom>
        </p:spPr>
      </p:pic>
      <p:pic>
        <p:nvPicPr>
          <p:cNvPr id="861" name="Graphic 860" descr="Door Open with solid fill">
            <a:extLst>
              <a:ext uri="{FF2B5EF4-FFF2-40B4-BE49-F238E27FC236}">
                <a16:creationId xmlns:a16="http://schemas.microsoft.com/office/drawing/2014/main" id="{CB508E56-D882-4142-B0F3-ECC2F8123C7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218588" y="4358845"/>
            <a:ext cx="324000" cy="324000"/>
          </a:xfrm>
          <a:prstGeom prst="rect">
            <a:avLst/>
          </a:prstGeom>
        </p:spPr>
      </p:pic>
      <p:pic>
        <p:nvPicPr>
          <p:cNvPr id="862" name="Graphic 861" descr="Cheers with solid fill">
            <a:extLst>
              <a:ext uri="{FF2B5EF4-FFF2-40B4-BE49-F238E27FC236}">
                <a16:creationId xmlns:a16="http://schemas.microsoft.com/office/drawing/2014/main" id="{22A2E8DA-9C85-D24B-B5C1-1B9A6D8F689E}"/>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888725" y="5154409"/>
            <a:ext cx="324000" cy="324000"/>
          </a:xfrm>
          <a:prstGeom prst="rect">
            <a:avLst/>
          </a:prstGeom>
        </p:spPr>
      </p:pic>
      <p:pic>
        <p:nvPicPr>
          <p:cNvPr id="863" name="Graphic 862" descr="Viral with solid fill">
            <a:extLst>
              <a:ext uri="{FF2B5EF4-FFF2-40B4-BE49-F238E27FC236}">
                <a16:creationId xmlns:a16="http://schemas.microsoft.com/office/drawing/2014/main" id="{66651A4F-D2DF-8A40-BE23-ABF997450BFB}"/>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874663" y="5736660"/>
            <a:ext cx="324000" cy="324000"/>
          </a:xfrm>
          <a:prstGeom prst="rect">
            <a:avLst/>
          </a:prstGeom>
        </p:spPr>
      </p:pic>
      <p:pic>
        <p:nvPicPr>
          <p:cNvPr id="864" name="Graphic 863" descr="Group of people with solid fill">
            <a:extLst>
              <a:ext uri="{FF2B5EF4-FFF2-40B4-BE49-F238E27FC236}">
                <a16:creationId xmlns:a16="http://schemas.microsoft.com/office/drawing/2014/main" id="{EFC558D3-C8CF-454E-8D17-F45FE6915CEE}"/>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864342" y="6026401"/>
            <a:ext cx="324000" cy="324000"/>
          </a:xfrm>
          <a:prstGeom prst="rect">
            <a:avLst/>
          </a:prstGeom>
        </p:spPr>
      </p:pic>
      <p:pic>
        <p:nvPicPr>
          <p:cNvPr id="865" name="Graphic 864" descr="Handshake with solid fill">
            <a:extLst>
              <a:ext uri="{FF2B5EF4-FFF2-40B4-BE49-F238E27FC236}">
                <a16:creationId xmlns:a16="http://schemas.microsoft.com/office/drawing/2014/main" id="{B8353766-5D2F-2B4E-978E-E21ABEE3D553}"/>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0168476" y="6150432"/>
            <a:ext cx="324000" cy="324000"/>
          </a:xfrm>
          <a:prstGeom prst="rect">
            <a:avLst/>
          </a:prstGeom>
        </p:spPr>
      </p:pic>
      <p:sp>
        <p:nvSpPr>
          <p:cNvPr id="866" name="Rectangle 865">
            <a:extLst>
              <a:ext uri="{FF2B5EF4-FFF2-40B4-BE49-F238E27FC236}">
                <a16:creationId xmlns:a16="http://schemas.microsoft.com/office/drawing/2014/main" id="{48421E27-D1FF-D041-B95F-D2467E664603}"/>
              </a:ext>
            </a:extLst>
          </p:cNvPr>
          <p:cNvSpPr/>
          <p:nvPr/>
        </p:nvSpPr>
        <p:spPr>
          <a:xfrm>
            <a:off x="3507777" y="6232323"/>
            <a:ext cx="1299296" cy="3322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defTabSz="914377">
              <a:defRPr/>
            </a:pPr>
            <a:r>
              <a:rPr lang="en-GB" sz="800" kern="0">
                <a:solidFill>
                  <a:srgbClr val="595959"/>
                </a:solidFill>
                <a:latin typeface="Calibri" panose="020F0502020204030204" pitchFamily="34" charset="0"/>
                <a:cs typeface="Calibri" panose="020F0502020204030204" pitchFamily="34" charset="0"/>
                <a:sym typeface="Arial"/>
              </a:rPr>
              <a:t>Journey mapping recommendations</a:t>
            </a:r>
          </a:p>
        </p:txBody>
      </p:sp>
      <p:grpSp>
        <p:nvGrpSpPr>
          <p:cNvPr id="867" name="Group 866">
            <a:extLst>
              <a:ext uri="{FF2B5EF4-FFF2-40B4-BE49-F238E27FC236}">
                <a16:creationId xmlns:a16="http://schemas.microsoft.com/office/drawing/2014/main" id="{2ADDF1A3-CF36-6B47-AD15-55D0C87323E1}"/>
              </a:ext>
            </a:extLst>
          </p:cNvPr>
          <p:cNvGrpSpPr/>
          <p:nvPr/>
        </p:nvGrpSpPr>
        <p:grpSpPr>
          <a:xfrm>
            <a:off x="3170069" y="6280900"/>
            <a:ext cx="338415" cy="230832"/>
            <a:chOff x="3157369" y="6280900"/>
            <a:chExt cx="338415" cy="230832"/>
          </a:xfrm>
        </p:grpSpPr>
        <p:sp>
          <p:nvSpPr>
            <p:cNvPr id="868" name="Rectangle 867">
              <a:extLst>
                <a:ext uri="{FF2B5EF4-FFF2-40B4-BE49-F238E27FC236}">
                  <a16:creationId xmlns:a16="http://schemas.microsoft.com/office/drawing/2014/main" id="{F59515EA-8267-374B-A59E-70476F49B46A}"/>
                </a:ext>
              </a:extLst>
            </p:cNvPr>
            <p:cNvSpPr/>
            <p:nvPr/>
          </p:nvSpPr>
          <p:spPr>
            <a:xfrm>
              <a:off x="3218577" y="6288316"/>
              <a:ext cx="216000" cy="216000"/>
            </a:xfrm>
            <a:prstGeom prst="rect">
              <a:avLst/>
            </a:prstGeom>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69" name="TextBox 868">
              <a:extLst>
                <a:ext uri="{FF2B5EF4-FFF2-40B4-BE49-F238E27FC236}">
                  <a16:creationId xmlns:a16="http://schemas.microsoft.com/office/drawing/2014/main" id="{9D719E01-B0C3-5C4D-9D12-67C06424883B}"/>
                </a:ext>
              </a:extLst>
            </p:cNvPr>
            <p:cNvSpPr txBox="1"/>
            <p:nvPr/>
          </p:nvSpPr>
          <p:spPr>
            <a:xfrm>
              <a:off x="3157369" y="6280900"/>
              <a:ext cx="338415" cy="230832"/>
            </a:xfrm>
            <a:prstGeom prst="rect">
              <a:avLst/>
            </a:prstGeom>
            <a:noFill/>
          </p:spPr>
          <p:txBody>
            <a:bodyPr wrap="square" rtlCol="0">
              <a:spAutoFit/>
            </a:bodyPr>
            <a:lstStyle/>
            <a:p>
              <a:pPr algn="ctr"/>
              <a:r>
                <a:rPr lang="en-GB" sz="900" b="1">
                  <a:solidFill>
                    <a:schemeClr val="bg1"/>
                  </a:solidFill>
                </a:rPr>
                <a:t>J</a:t>
              </a:r>
            </a:p>
          </p:txBody>
        </p:sp>
      </p:grpSp>
      <p:grpSp>
        <p:nvGrpSpPr>
          <p:cNvPr id="870" name="Group 869">
            <a:extLst>
              <a:ext uri="{FF2B5EF4-FFF2-40B4-BE49-F238E27FC236}">
                <a16:creationId xmlns:a16="http://schemas.microsoft.com/office/drawing/2014/main" id="{DFFE5C75-2E45-8B4E-9AAE-84171AF6C927}"/>
              </a:ext>
            </a:extLst>
          </p:cNvPr>
          <p:cNvGrpSpPr/>
          <p:nvPr/>
        </p:nvGrpSpPr>
        <p:grpSpPr>
          <a:xfrm>
            <a:off x="4485770" y="3757205"/>
            <a:ext cx="338415" cy="230832"/>
            <a:chOff x="3157369" y="6280900"/>
            <a:chExt cx="338415" cy="230832"/>
          </a:xfrm>
        </p:grpSpPr>
        <p:sp>
          <p:nvSpPr>
            <p:cNvPr id="871" name="Rectangle 870">
              <a:extLst>
                <a:ext uri="{FF2B5EF4-FFF2-40B4-BE49-F238E27FC236}">
                  <a16:creationId xmlns:a16="http://schemas.microsoft.com/office/drawing/2014/main" id="{5F06CBB9-B4CA-6446-AC28-3FA07CCF5238}"/>
                </a:ext>
              </a:extLst>
            </p:cNvPr>
            <p:cNvSpPr/>
            <p:nvPr/>
          </p:nvSpPr>
          <p:spPr>
            <a:xfrm>
              <a:off x="3218577" y="6288316"/>
              <a:ext cx="216000" cy="216000"/>
            </a:xfrm>
            <a:prstGeom prst="rect">
              <a:avLst/>
            </a:prstGeom>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72" name="TextBox 871">
              <a:extLst>
                <a:ext uri="{FF2B5EF4-FFF2-40B4-BE49-F238E27FC236}">
                  <a16:creationId xmlns:a16="http://schemas.microsoft.com/office/drawing/2014/main" id="{25683DAC-4675-6144-A873-D50AEFC0F13B}"/>
                </a:ext>
              </a:extLst>
            </p:cNvPr>
            <p:cNvSpPr txBox="1"/>
            <p:nvPr/>
          </p:nvSpPr>
          <p:spPr>
            <a:xfrm>
              <a:off x="3157369" y="6280900"/>
              <a:ext cx="338415" cy="230832"/>
            </a:xfrm>
            <a:prstGeom prst="rect">
              <a:avLst/>
            </a:prstGeom>
            <a:noFill/>
          </p:spPr>
          <p:txBody>
            <a:bodyPr wrap="square" rtlCol="0">
              <a:spAutoFit/>
            </a:bodyPr>
            <a:lstStyle/>
            <a:p>
              <a:pPr algn="ctr"/>
              <a:r>
                <a:rPr lang="en-GB" sz="900" b="1">
                  <a:solidFill>
                    <a:schemeClr val="bg1"/>
                  </a:solidFill>
                </a:rPr>
                <a:t>J4</a:t>
              </a:r>
            </a:p>
          </p:txBody>
        </p:sp>
      </p:grpSp>
      <p:grpSp>
        <p:nvGrpSpPr>
          <p:cNvPr id="873" name="Group 872">
            <a:extLst>
              <a:ext uri="{FF2B5EF4-FFF2-40B4-BE49-F238E27FC236}">
                <a16:creationId xmlns:a16="http://schemas.microsoft.com/office/drawing/2014/main" id="{906AE317-8175-8247-92EC-968300878264}"/>
              </a:ext>
            </a:extLst>
          </p:cNvPr>
          <p:cNvGrpSpPr/>
          <p:nvPr/>
        </p:nvGrpSpPr>
        <p:grpSpPr>
          <a:xfrm>
            <a:off x="8773131" y="4828010"/>
            <a:ext cx="338415" cy="230832"/>
            <a:chOff x="3157369" y="6280900"/>
            <a:chExt cx="338415" cy="230832"/>
          </a:xfrm>
        </p:grpSpPr>
        <p:sp>
          <p:nvSpPr>
            <p:cNvPr id="874" name="Rectangle 873">
              <a:extLst>
                <a:ext uri="{FF2B5EF4-FFF2-40B4-BE49-F238E27FC236}">
                  <a16:creationId xmlns:a16="http://schemas.microsoft.com/office/drawing/2014/main" id="{E4FA98D8-6FB9-4C43-9903-CF9F00475679}"/>
                </a:ext>
              </a:extLst>
            </p:cNvPr>
            <p:cNvSpPr/>
            <p:nvPr/>
          </p:nvSpPr>
          <p:spPr>
            <a:xfrm>
              <a:off x="3218577" y="6288316"/>
              <a:ext cx="216000" cy="216000"/>
            </a:xfrm>
            <a:prstGeom prst="rect">
              <a:avLst/>
            </a:prstGeom>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75" name="TextBox 874">
              <a:extLst>
                <a:ext uri="{FF2B5EF4-FFF2-40B4-BE49-F238E27FC236}">
                  <a16:creationId xmlns:a16="http://schemas.microsoft.com/office/drawing/2014/main" id="{D22FB066-5F4F-9B4C-B501-993FFA76DFF7}"/>
                </a:ext>
              </a:extLst>
            </p:cNvPr>
            <p:cNvSpPr txBox="1"/>
            <p:nvPr/>
          </p:nvSpPr>
          <p:spPr>
            <a:xfrm>
              <a:off x="3157369" y="6280900"/>
              <a:ext cx="338415" cy="230832"/>
            </a:xfrm>
            <a:prstGeom prst="rect">
              <a:avLst/>
            </a:prstGeom>
            <a:noFill/>
          </p:spPr>
          <p:txBody>
            <a:bodyPr wrap="square" rtlCol="0">
              <a:spAutoFit/>
            </a:bodyPr>
            <a:lstStyle/>
            <a:p>
              <a:pPr algn="ctr"/>
              <a:r>
                <a:rPr lang="en-GB" sz="900" b="1">
                  <a:solidFill>
                    <a:schemeClr val="bg1"/>
                  </a:solidFill>
                </a:rPr>
                <a:t>J3</a:t>
              </a:r>
            </a:p>
          </p:txBody>
        </p:sp>
      </p:grpSp>
      <p:grpSp>
        <p:nvGrpSpPr>
          <p:cNvPr id="876" name="Group 875">
            <a:extLst>
              <a:ext uri="{FF2B5EF4-FFF2-40B4-BE49-F238E27FC236}">
                <a16:creationId xmlns:a16="http://schemas.microsoft.com/office/drawing/2014/main" id="{4ABF1B10-8ED2-784F-8B49-E00C4FC154D6}"/>
              </a:ext>
            </a:extLst>
          </p:cNvPr>
          <p:cNvGrpSpPr/>
          <p:nvPr/>
        </p:nvGrpSpPr>
        <p:grpSpPr>
          <a:xfrm>
            <a:off x="6037268" y="4179067"/>
            <a:ext cx="338415" cy="230832"/>
            <a:chOff x="3157369" y="6280900"/>
            <a:chExt cx="338415" cy="230832"/>
          </a:xfrm>
        </p:grpSpPr>
        <p:sp>
          <p:nvSpPr>
            <p:cNvPr id="877" name="Rectangle 876">
              <a:extLst>
                <a:ext uri="{FF2B5EF4-FFF2-40B4-BE49-F238E27FC236}">
                  <a16:creationId xmlns:a16="http://schemas.microsoft.com/office/drawing/2014/main" id="{3603DC4D-21FD-E74C-AB13-3FEE5EE0AD3D}"/>
                </a:ext>
              </a:extLst>
            </p:cNvPr>
            <p:cNvSpPr/>
            <p:nvPr/>
          </p:nvSpPr>
          <p:spPr>
            <a:xfrm>
              <a:off x="3218577" y="6288316"/>
              <a:ext cx="216000" cy="216000"/>
            </a:xfrm>
            <a:prstGeom prst="rect">
              <a:avLst/>
            </a:prstGeom>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78" name="TextBox 877">
              <a:extLst>
                <a:ext uri="{FF2B5EF4-FFF2-40B4-BE49-F238E27FC236}">
                  <a16:creationId xmlns:a16="http://schemas.microsoft.com/office/drawing/2014/main" id="{177C339A-5555-294A-9A49-5626FA620768}"/>
                </a:ext>
              </a:extLst>
            </p:cNvPr>
            <p:cNvSpPr txBox="1"/>
            <p:nvPr/>
          </p:nvSpPr>
          <p:spPr>
            <a:xfrm>
              <a:off x="3157369" y="6280900"/>
              <a:ext cx="338415" cy="230832"/>
            </a:xfrm>
            <a:prstGeom prst="rect">
              <a:avLst/>
            </a:prstGeom>
            <a:noFill/>
          </p:spPr>
          <p:txBody>
            <a:bodyPr wrap="square" rtlCol="0">
              <a:spAutoFit/>
            </a:bodyPr>
            <a:lstStyle/>
            <a:p>
              <a:pPr algn="ctr"/>
              <a:r>
                <a:rPr lang="en-GB" sz="900" b="1">
                  <a:solidFill>
                    <a:schemeClr val="bg1"/>
                  </a:solidFill>
                </a:rPr>
                <a:t>J5</a:t>
              </a:r>
            </a:p>
          </p:txBody>
        </p:sp>
      </p:grpSp>
      <p:grpSp>
        <p:nvGrpSpPr>
          <p:cNvPr id="879" name="Group 878">
            <a:extLst>
              <a:ext uri="{FF2B5EF4-FFF2-40B4-BE49-F238E27FC236}">
                <a16:creationId xmlns:a16="http://schemas.microsoft.com/office/drawing/2014/main" id="{475237CD-C2D7-0E49-816D-AD7E919983A3}"/>
              </a:ext>
            </a:extLst>
          </p:cNvPr>
          <p:cNvGrpSpPr/>
          <p:nvPr/>
        </p:nvGrpSpPr>
        <p:grpSpPr>
          <a:xfrm>
            <a:off x="2688884" y="2324774"/>
            <a:ext cx="338415" cy="230832"/>
            <a:chOff x="3157369" y="6280900"/>
            <a:chExt cx="338415" cy="230832"/>
          </a:xfrm>
        </p:grpSpPr>
        <p:sp>
          <p:nvSpPr>
            <p:cNvPr id="880" name="Rectangle 879">
              <a:extLst>
                <a:ext uri="{FF2B5EF4-FFF2-40B4-BE49-F238E27FC236}">
                  <a16:creationId xmlns:a16="http://schemas.microsoft.com/office/drawing/2014/main" id="{9F6E88D0-D4E1-EE4D-B67F-0E82EEDC3B2D}"/>
                </a:ext>
              </a:extLst>
            </p:cNvPr>
            <p:cNvSpPr/>
            <p:nvPr/>
          </p:nvSpPr>
          <p:spPr>
            <a:xfrm>
              <a:off x="3218577" y="6288316"/>
              <a:ext cx="216000" cy="216000"/>
            </a:xfrm>
            <a:prstGeom prst="rect">
              <a:avLst/>
            </a:prstGeom>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81" name="TextBox 880">
              <a:extLst>
                <a:ext uri="{FF2B5EF4-FFF2-40B4-BE49-F238E27FC236}">
                  <a16:creationId xmlns:a16="http://schemas.microsoft.com/office/drawing/2014/main" id="{A37A3ABC-4087-E041-A3C0-CD161A360F78}"/>
                </a:ext>
              </a:extLst>
            </p:cNvPr>
            <p:cNvSpPr txBox="1"/>
            <p:nvPr/>
          </p:nvSpPr>
          <p:spPr>
            <a:xfrm>
              <a:off x="3157369" y="6280900"/>
              <a:ext cx="338415" cy="230832"/>
            </a:xfrm>
            <a:prstGeom prst="rect">
              <a:avLst/>
            </a:prstGeom>
            <a:noFill/>
          </p:spPr>
          <p:txBody>
            <a:bodyPr wrap="square" rtlCol="0">
              <a:spAutoFit/>
            </a:bodyPr>
            <a:lstStyle/>
            <a:p>
              <a:pPr algn="ctr"/>
              <a:r>
                <a:rPr lang="en-GB" sz="900" b="1">
                  <a:solidFill>
                    <a:schemeClr val="bg1"/>
                  </a:solidFill>
                </a:rPr>
                <a:t>J6</a:t>
              </a:r>
            </a:p>
          </p:txBody>
        </p:sp>
      </p:grpSp>
      <p:grpSp>
        <p:nvGrpSpPr>
          <p:cNvPr id="882" name="Group 881">
            <a:extLst>
              <a:ext uri="{FF2B5EF4-FFF2-40B4-BE49-F238E27FC236}">
                <a16:creationId xmlns:a16="http://schemas.microsoft.com/office/drawing/2014/main" id="{E8A9B25A-ACC9-2349-9708-D3FCF37032FB}"/>
              </a:ext>
            </a:extLst>
          </p:cNvPr>
          <p:cNvGrpSpPr/>
          <p:nvPr/>
        </p:nvGrpSpPr>
        <p:grpSpPr>
          <a:xfrm>
            <a:off x="6378351" y="4040201"/>
            <a:ext cx="338415" cy="230832"/>
            <a:chOff x="3157369" y="6280900"/>
            <a:chExt cx="338415" cy="230832"/>
          </a:xfrm>
        </p:grpSpPr>
        <p:sp>
          <p:nvSpPr>
            <p:cNvPr id="883" name="Rectangle 882">
              <a:extLst>
                <a:ext uri="{FF2B5EF4-FFF2-40B4-BE49-F238E27FC236}">
                  <a16:creationId xmlns:a16="http://schemas.microsoft.com/office/drawing/2014/main" id="{16607E54-7178-6943-8F64-835087E60F2F}"/>
                </a:ext>
              </a:extLst>
            </p:cNvPr>
            <p:cNvSpPr/>
            <p:nvPr/>
          </p:nvSpPr>
          <p:spPr>
            <a:xfrm>
              <a:off x="3218577" y="6288316"/>
              <a:ext cx="216000" cy="216000"/>
            </a:xfrm>
            <a:prstGeom prst="rect">
              <a:avLst/>
            </a:prstGeom>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84" name="TextBox 883">
              <a:extLst>
                <a:ext uri="{FF2B5EF4-FFF2-40B4-BE49-F238E27FC236}">
                  <a16:creationId xmlns:a16="http://schemas.microsoft.com/office/drawing/2014/main" id="{56CF6EE2-68DD-8446-853C-23E1D2A09B4E}"/>
                </a:ext>
              </a:extLst>
            </p:cNvPr>
            <p:cNvSpPr txBox="1"/>
            <p:nvPr/>
          </p:nvSpPr>
          <p:spPr>
            <a:xfrm>
              <a:off x="3157369" y="6280900"/>
              <a:ext cx="338415" cy="230832"/>
            </a:xfrm>
            <a:prstGeom prst="rect">
              <a:avLst/>
            </a:prstGeom>
            <a:noFill/>
          </p:spPr>
          <p:txBody>
            <a:bodyPr wrap="square" rtlCol="0">
              <a:spAutoFit/>
            </a:bodyPr>
            <a:lstStyle/>
            <a:p>
              <a:pPr algn="ctr"/>
              <a:r>
                <a:rPr lang="en-GB" sz="900" b="1">
                  <a:solidFill>
                    <a:schemeClr val="bg1"/>
                  </a:solidFill>
                </a:rPr>
                <a:t>J8</a:t>
              </a:r>
            </a:p>
          </p:txBody>
        </p:sp>
      </p:grpSp>
      <p:grpSp>
        <p:nvGrpSpPr>
          <p:cNvPr id="885" name="Group 884">
            <a:extLst>
              <a:ext uri="{FF2B5EF4-FFF2-40B4-BE49-F238E27FC236}">
                <a16:creationId xmlns:a16="http://schemas.microsoft.com/office/drawing/2014/main" id="{D6967115-8461-6040-ABCB-F84470A6306E}"/>
              </a:ext>
            </a:extLst>
          </p:cNvPr>
          <p:cNvGrpSpPr/>
          <p:nvPr/>
        </p:nvGrpSpPr>
        <p:grpSpPr>
          <a:xfrm>
            <a:off x="2917243" y="4179801"/>
            <a:ext cx="326902" cy="230832"/>
            <a:chOff x="3169244" y="6280900"/>
            <a:chExt cx="326902" cy="230832"/>
          </a:xfrm>
        </p:grpSpPr>
        <p:sp>
          <p:nvSpPr>
            <p:cNvPr id="886" name="Rectangle 885">
              <a:extLst>
                <a:ext uri="{FF2B5EF4-FFF2-40B4-BE49-F238E27FC236}">
                  <a16:creationId xmlns:a16="http://schemas.microsoft.com/office/drawing/2014/main" id="{2F622BF6-BF33-9F4B-A87B-F42E04098DBA}"/>
                </a:ext>
              </a:extLst>
            </p:cNvPr>
            <p:cNvSpPr/>
            <p:nvPr/>
          </p:nvSpPr>
          <p:spPr>
            <a:xfrm>
              <a:off x="3218577" y="6288316"/>
              <a:ext cx="216000" cy="216000"/>
            </a:xfrm>
            <a:prstGeom prst="rect">
              <a:avLst/>
            </a:prstGeom>
            <a:solidFill>
              <a:srgbClr val="00B050"/>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87" name="TextBox 886">
              <a:extLst>
                <a:ext uri="{FF2B5EF4-FFF2-40B4-BE49-F238E27FC236}">
                  <a16:creationId xmlns:a16="http://schemas.microsoft.com/office/drawing/2014/main" id="{6DDD5FAD-7236-6F4D-ABA2-ADE9E8A3C097}"/>
                </a:ext>
              </a:extLst>
            </p:cNvPr>
            <p:cNvSpPr txBox="1"/>
            <p:nvPr/>
          </p:nvSpPr>
          <p:spPr>
            <a:xfrm>
              <a:off x="3169244" y="6280900"/>
              <a:ext cx="326902" cy="230832"/>
            </a:xfrm>
            <a:prstGeom prst="rect">
              <a:avLst/>
            </a:prstGeom>
            <a:noFill/>
          </p:spPr>
          <p:txBody>
            <a:bodyPr wrap="square" rtlCol="0">
              <a:spAutoFit/>
            </a:bodyPr>
            <a:lstStyle/>
            <a:p>
              <a:pPr algn="ctr"/>
              <a:r>
                <a:rPr lang="en-GB" sz="900" b="1">
                  <a:solidFill>
                    <a:schemeClr val="bg1"/>
                  </a:solidFill>
                </a:rPr>
                <a:t>J1</a:t>
              </a:r>
            </a:p>
          </p:txBody>
        </p:sp>
      </p:grpSp>
      <p:grpSp>
        <p:nvGrpSpPr>
          <p:cNvPr id="888" name="Group 887">
            <a:extLst>
              <a:ext uri="{FF2B5EF4-FFF2-40B4-BE49-F238E27FC236}">
                <a16:creationId xmlns:a16="http://schemas.microsoft.com/office/drawing/2014/main" id="{68E3DB02-CD0A-3B4F-9010-32C594528256}"/>
              </a:ext>
            </a:extLst>
          </p:cNvPr>
          <p:cNvGrpSpPr/>
          <p:nvPr/>
        </p:nvGrpSpPr>
        <p:grpSpPr>
          <a:xfrm>
            <a:off x="8156008" y="5711094"/>
            <a:ext cx="326902" cy="230832"/>
            <a:chOff x="3169244" y="6280900"/>
            <a:chExt cx="326902" cy="230832"/>
          </a:xfrm>
        </p:grpSpPr>
        <p:sp>
          <p:nvSpPr>
            <p:cNvPr id="889" name="Rectangle 888">
              <a:extLst>
                <a:ext uri="{FF2B5EF4-FFF2-40B4-BE49-F238E27FC236}">
                  <a16:creationId xmlns:a16="http://schemas.microsoft.com/office/drawing/2014/main" id="{5F22F15F-2DF3-5046-AF4F-0B43189A4A4E}"/>
                </a:ext>
              </a:extLst>
            </p:cNvPr>
            <p:cNvSpPr/>
            <p:nvPr/>
          </p:nvSpPr>
          <p:spPr>
            <a:xfrm>
              <a:off x="3218577" y="6288316"/>
              <a:ext cx="216000" cy="216000"/>
            </a:xfrm>
            <a:prstGeom prst="rect">
              <a:avLst/>
            </a:prstGeom>
            <a:solidFill>
              <a:srgbClr val="00B050"/>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90" name="TextBox 889">
              <a:extLst>
                <a:ext uri="{FF2B5EF4-FFF2-40B4-BE49-F238E27FC236}">
                  <a16:creationId xmlns:a16="http://schemas.microsoft.com/office/drawing/2014/main" id="{3D53C434-1FD8-0446-8B7F-4995D6A6504B}"/>
                </a:ext>
              </a:extLst>
            </p:cNvPr>
            <p:cNvSpPr txBox="1"/>
            <p:nvPr/>
          </p:nvSpPr>
          <p:spPr>
            <a:xfrm>
              <a:off x="3169244" y="6280900"/>
              <a:ext cx="326902" cy="230832"/>
            </a:xfrm>
            <a:prstGeom prst="rect">
              <a:avLst/>
            </a:prstGeom>
            <a:noFill/>
          </p:spPr>
          <p:txBody>
            <a:bodyPr wrap="square" rtlCol="0">
              <a:spAutoFit/>
            </a:bodyPr>
            <a:lstStyle/>
            <a:p>
              <a:pPr algn="ctr"/>
              <a:r>
                <a:rPr lang="en-GB" sz="900" b="1">
                  <a:solidFill>
                    <a:schemeClr val="bg1"/>
                  </a:solidFill>
                </a:rPr>
                <a:t>J2</a:t>
              </a:r>
            </a:p>
          </p:txBody>
        </p:sp>
      </p:grpSp>
      <p:grpSp>
        <p:nvGrpSpPr>
          <p:cNvPr id="891" name="Group 890">
            <a:extLst>
              <a:ext uri="{FF2B5EF4-FFF2-40B4-BE49-F238E27FC236}">
                <a16:creationId xmlns:a16="http://schemas.microsoft.com/office/drawing/2014/main" id="{AB95D8D6-434B-9F49-B507-B5800851B8ED}"/>
              </a:ext>
            </a:extLst>
          </p:cNvPr>
          <p:cNvGrpSpPr/>
          <p:nvPr/>
        </p:nvGrpSpPr>
        <p:grpSpPr>
          <a:xfrm>
            <a:off x="10154061" y="3115038"/>
            <a:ext cx="338415" cy="230832"/>
            <a:chOff x="3157369" y="6280900"/>
            <a:chExt cx="338415" cy="230832"/>
          </a:xfrm>
        </p:grpSpPr>
        <p:sp>
          <p:nvSpPr>
            <p:cNvPr id="892" name="Rectangle 891">
              <a:extLst>
                <a:ext uri="{FF2B5EF4-FFF2-40B4-BE49-F238E27FC236}">
                  <a16:creationId xmlns:a16="http://schemas.microsoft.com/office/drawing/2014/main" id="{4D560FAB-D887-5941-855E-A09C4EEED1FD}"/>
                </a:ext>
              </a:extLst>
            </p:cNvPr>
            <p:cNvSpPr/>
            <p:nvPr/>
          </p:nvSpPr>
          <p:spPr>
            <a:xfrm>
              <a:off x="3218577" y="6288316"/>
              <a:ext cx="216000" cy="216000"/>
            </a:xfrm>
            <a:prstGeom prst="rect">
              <a:avLst/>
            </a:prstGeom>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93" name="TextBox 892">
              <a:extLst>
                <a:ext uri="{FF2B5EF4-FFF2-40B4-BE49-F238E27FC236}">
                  <a16:creationId xmlns:a16="http://schemas.microsoft.com/office/drawing/2014/main" id="{16505C45-76DA-5446-86A6-8A8436EBD82B}"/>
                </a:ext>
              </a:extLst>
            </p:cNvPr>
            <p:cNvSpPr txBox="1"/>
            <p:nvPr/>
          </p:nvSpPr>
          <p:spPr>
            <a:xfrm>
              <a:off x="3157369" y="6280900"/>
              <a:ext cx="338415" cy="230832"/>
            </a:xfrm>
            <a:prstGeom prst="rect">
              <a:avLst/>
            </a:prstGeom>
            <a:noFill/>
          </p:spPr>
          <p:txBody>
            <a:bodyPr wrap="square" rtlCol="0">
              <a:spAutoFit/>
            </a:bodyPr>
            <a:lstStyle/>
            <a:p>
              <a:pPr algn="ctr"/>
              <a:r>
                <a:rPr lang="en-GB" sz="900" b="1">
                  <a:solidFill>
                    <a:schemeClr val="bg1"/>
                  </a:solidFill>
                </a:rPr>
                <a:t>J9</a:t>
              </a:r>
            </a:p>
          </p:txBody>
        </p:sp>
      </p:grpSp>
      <p:grpSp>
        <p:nvGrpSpPr>
          <p:cNvPr id="894" name="Group 893">
            <a:extLst>
              <a:ext uri="{FF2B5EF4-FFF2-40B4-BE49-F238E27FC236}">
                <a16:creationId xmlns:a16="http://schemas.microsoft.com/office/drawing/2014/main" id="{D5528086-CA91-2644-B6C3-E859E4140CFD}"/>
              </a:ext>
            </a:extLst>
          </p:cNvPr>
          <p:cNvGrpSpPr/>
          <p:nvPr/>
        </p:nvGrpSpPr>
        <p:grpSpPr>
          <a:xfrm>
            <a:off x="10376776" y="2783694"/>
            <a:ext cx="397752" cy="230832"/>
            <a:chOff x="3137705" y="6280900"/>
            <a:chExt cx="397752" cy="230832"/>
          </a:xfrm>
        </p:grpSpPr>
        <p:sp>
          <p:nvSpPr>
            <p:cNvPr id="895" name="Rectangle 894">
              <a:extLst>
                <a:ext uri="{FF2B5EF4-FFF2-40B4-BE49-F238E27FC236}">
                  <a16:creationId xmlns:a16="http://schemas.microsoft.com/office/drawing/2014/main" id="{EE1A7357-CC56-794F-AFBC-E0DBBF5CDC0E}"/>
                </a:ext>
              </a:extLst>
            </p:cNvPr>
            <p:cNvSpPr/>
            <p:nvPr/>
          </p:nvSpPr>
          <p:spPr>
            <a:xfrm>
              <a:off x="3218577" y="6288316"/>
              <a:ext cx="216000" cy="216000"/>
            </a:xfrm>
            <a:prstGeom prst="rect">
              <a:avLst/>
            </a:prstGeom>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96" name="TextBox 895">
              <a:extLst>
                <a:ext uri="{FF2B5EF4-FFF2-40B4-BE49-F238E27FC236}">
                  <a16:creationId xmlns:a16="http://schemas.microsoft.com/office/drawing/2014/main" id="{F4799514-401E-024D-9C98-BBA5525E951C}"/>
                </a:ext>
              </a:extLst>
            </p:cNvPr>
            <p:cNvSpPr txBox="1"/>
            <p:nvPr/>
          </p:nvSpPr>
          <p:spPr>
            <a:xfrm>
              <a:off x="3137705" y="6280900"/>
              <a:ext cx="397752" cy="230832"/>
            </a:xfrm>
            <a:prstGeom prst="rect">
              <a:avLst/>
            </a:prstGeom>
            <a:noFill/>
          </p:spPr>
          <p:txBody>
            <a:bodyPr wrap="square" rtlCol="0">
              <a:spAutoFit/>
            </a:bodyPr>
            <a:lstStyle/>
            <a:p>
              <a:pPr algn="ctr"/>
              <a:r>
                <a:rPr lang="en-GB" sz="900" b="1">
                  <a:solidFill>
                    <a:schemeClr val="bg1"/>
                  </a:solidFill>
                </a:rPr>
                <a:t>J14</a:t>
              </a:r>
            </a:p>
          </p:txBody>
        </p:sp>
      </p:grpSp>
      <p:grpSp>
        <p:nvGrpSpPr>
          <p:cNvPr id="897" name="Group 896">
            <a:extLst>
              <a:ext uri="{FF2B5EF4-FFF2-40B4-BE49-F238E27FC236}">
                <a16:creationId xmlns:a16="http://schemas.microsoft.com/office/drawing/2014/main" id="{F49BFD1F-9627-5F46-963D-3FBF69546F95}"/>
              </a:ext>
            </a:extLst>
          </p:cNvPr>
          <p:cNvGrpSpPr/>
          <p:nvPr/>
        </p:nvGrpSpPr>
        <p:grpSpPr>
          <a:xfrm>
            <a:off x="9025463" y="3343107"/>
            <a:ext cx="338415" cy="230832"/>
            <a:chOff x="3157369" y="6280900"/>
            <a:chExt cx="338415" cy="230832"/>
          </a:xfrm>
        </p:grpSpPr>
        <p:sp>
          <p:nvSpPr>
            <p:cNvPr id="898" name="Rectangle 897">
              <a:extLst>
                <a:ext uri="{FF2B5EF4-FFF2-40B4-BE49-F238E27FC236}">
                  <a16:creationId xmlns:a16="http://schemas.microsoft.com/office/drawing/2014/main" id="{C6DFCDF6-159F-D44C-B82A-6141CA1C909B}"/>
                </a:ext>
              </a:extLst>
            </p:cNvPr>
            <p:cNvSpPr/>
            <p:nvPr/>
          </p:nvSpPr>
          <p:spPr>
            <a:xfrm>
              <a:off x="3218577" y="6288316"/>
              <a:ext cx="216000" cy="216000"/>
            </a:xfrm>
            <a:prstGeom prst="rect">
              <a:avLst/>
            </a:prstGeom>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99" name="TextBox 898">
              <a:extLst>
                <a:ext uri="{FF2B5EF4-FFF2-40B4-BE49-F238E27FC236}">
                  <a16:creationId xmlns:a16="http://schemas.microsoft.com/office/drawing/2014/main" id="{46382266-EC32-D245-9CD0-D29ECC7ED8D1}"/>
                </a:ext>
              </a:extLst>
            </p:cNvPr>
            <p:cNvSpPr txBox="1"/>
            <p:nvPr/>
          </p:nvSpPr>
          <p:spPr>
            <a:xfrm>
              <a:off x="3157369" y="6280900"/>
              <a:ext cx="338415" cy="230832"/>
            </a:xfrm>
            <a:prstGeom prst="rect">
              <a:avLst/>
            </a:prstGeom>
            <a:noFill/>
          </p:spPr>
          <p:txBody>
            <a:bodyPr wrap="square" rtlCol="0">
              <a:spAutoFit/>
            </a:bodyPr>
            <a:lstStyle/>
            <a:p>
              <a:pPr algn="ctr"/>
              <a:r>
                <a:rPr lang="en-GB" sz="900" b="1">
                  <a:solidFill>
                    <a:schemeClr val="bg1"/>
                  </a:solidFill>
                </a:rPr>
                <a:t>J7</a:t>
              </a:r>
            </a:p>
          </p:txBody>
        </p:sp>
      </p:grpSp>
      <p:grpSp>
        <p:nvGrpSpPr>
          <p:cNvPr id="900" name="Group 899">
            <a:extLst>
              <a:ext uri="{FF2B5EF4-FFF2-40B4-BE49-F238E27FC236}">
                <a16:creationId xmlns:a16="http://schemas.microsoft.com/office/drawing/2014/main" id="{82A1A124-A4B4-7E4F-BDC3-0C0F37A07141}"/>
              </a:ext>
            </a:extLst>
          </p:cNvPr>
          <p:cNvGrpSpPr/>
          <p:nvPr/>
        </p:nvGrpSpPr>
        <p:grpSpPr>
          <a:xfrm>
            <a:off x="7250801" y="3782523"/>
            <a:ext cx="397752" cy="230832"/>
            <a:chOff x="3137705" y="6280900"/>
            <a:chExt cx="397752" cy="230832"/>
          </a:xfrm>
        </p:grpSpPr>
        <p:sp>
          <p:nvSpPr>
            <p:cNvPr id="901" name="Rectangle 900">
              <a:extLst>
                <a:ext uri="{FF2B5EF4-FFF2-40B4-BE49-F238E27FC236}">
                  <a16:creationId xmlns:a16="http://schemas.microsoft.com/office/drawing/2014/main" id="{5DE7C02A-C9AF-1F43-B7CD-002E90D18A49}"/>
                </a:ext>
              </a:extLst>
            </p:cNvPr>
            <p:cNvSpPr/>
            <p:nvPr/>
          </p:nvSpPr>
          <p:spPr>
            <a:xfrm>
              <a:off x="3218577" y="6288316"/>
              <a:ext cx="216000" cy="216000"/>
            </a:xfrm>
            <a:prstGeom prst="rect">
              <a:avLst/>
            </a:prstGeom>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02" name="TextBox 901">
              <a:extLst>
                <a:ext uri="{FF2B5EF4-FFF2-40B4-BE49-F238E27FC236}">
                  <a16:creationId xmlns:a16="http://schemas.microsoft.com/office/drawing/2014/main" id="{D157F64D-EA46-254C-A71E-A5BF5F437844}"/>
                </a:ext>
              </a:extLst>
            </p:cNvPr>
            <p:cNvSpPr txBox="1"/>
            <p:nvPr/>
          </p:nvSpPr>
          <p:spPr>
            <a:xfrm>
              <a:off x="3137705" y="6280900"/>
              <a:ext cx="397752" cy="230832"/>
            </a:xfrm>
            <a:prstGeom prst="rect">
              <a:avLst/>
            </a:prstGeom>
            <a:noFill/>
          </p:spPr>
          <p:txBody>
            <a:bodyPr wrap="square" rtlCol="0">
              <a:spAutoFit/>
            </a:bodyPr>
            <a:lstStyle/>
            <a:p>
              <a:pPr algn="ctr"/>
              <a:r>
                <a:rPr lang="en-GB" sz="900" b="1">
                  <a:solidFill>
                    <a:schemeClr val="bg1"/>
                  </a:solidFill>
                </a:rPr>
                <a:t>J10</a:t>
              </a:r>
            </a:p>
          </p:txBody>
        </p:sp>
      </p:grpSp>
      <p:grpSp>
        <p:nvGrpSpPr>
          <p:cNvPr id="903" name="Group 902">
            <a:extLst>
              <a:ext uri="{FF2B5EF4-FFF2-40B4-BE49-F238E27FC236}">
                <a16:creationId xmlns:a16="http://schemas.microsoft.com/office/drawing/2014/main" id="{AEF876F9-E62F-9F4E-B8DB-84625A55FDF2}"/>
              </a:ext>
            </a:extLst>
          </p:cNvPr>
          <p:cNvGrpSpPr/>
          <p:nvPr/>
        </p:nvGrpSpPr>
        <p:grpSpPr>
          <a:xfrm>
            <a:off x="8687216" y="2265657"/>
            <a:ext cx="397752" cy="230832"/>
            <a:chOff x="3137705" y="6280900"/>
            <a:chExt cx="397752" cy="230832"/>
          </a:xfrm>
        </p:grpSpPr>
        <p:sp>
          <p:nvSpPr>
            <p:cNvPr id="904" name="Rectangle 903">
              <a:extLst>
                <a:ext uri="{FF2B5EF4-FFF2-40B4-BE49-F238E27FC236}">
                  <a16:creationId xmlns:a16="http://schemas.microsoft.com/office/drawing/2014/main" id="{0EBC7B2E-3807-9B4F-887A-35D2ACBD67DA}"/>
                </a:ext>
              </a:extLst>
            </p:cNvPr>
            <p:cNvSpPr/>
            <p:nvPr/>
          </p:nvSpPr>
          <p:spPr>
            <a:xfrm>
              <a:off x="3218577" y="6288316"/>
              <a:ext cx="216000" cy="216000"/>
            </a:xfrm>
            <a:prstGeom prst="rect">
              <a:avLst/>
            </a:prstGeom>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05" name="TextBox 904">
              <a:extLst>
                <a:ext uri="{FF2B5EF4-FFF2-40B4-BE49-F238E27FC236}">
                  <a16:creationId xmlns:a16="http://schemas.microsoft.com/office/drawing/2014/main" id="{F6174B87-6B0A-914E-8DE6-910C62D7D539}"/>
                </a:ext>
              </a:extLst>
            </p:cNvPr>
            <p:cNvSpPr txBox="1"/>
            <p:nvPr/>
          </p:nvSpPr>
          <p:spPr>
            <a:xfrm>
              <a:off x="3137705" y="6280900"/>
              <a:ext cx="397752" cy="230832"/>
            </a:xfrm>
            <a:prstGeom prst="rect">
              <a:avLst/>
            </a:prstGeom>
            <a:noFill/>
          </p:spPr>
          <p:txBody>
            <a:bodyPr wrap="square" rtlCol="0">
              <a:spAutoFit/>
            </a:bodyPr>
            <a:lstStyle/>
            <a:p>
              <a:pPr algn="ctr"/>
              <a:r>
                <a:rPr lang="en-GB" sz="900" b="1">
                  <a:solidFill>
                    <a:schemeClr val="bg1"/>
                  </a:solidFill>
                </a:rPr>
                <a:t>J13</a:t>
              </a:r>
            </a:p>
          </p:txBody>
        </p:sp>
      </p:grpSp>
      <p:grpSp>
        <p:nvGrpSpPr>
          <p:cNvPr id="906" name="Group 905">
            <a:extLst>
              <a:ext uri="{FF2B5EF4-FFF2-40B4-BE49-F238E27FC236}">
                <a16:creationId xmlns:a16="http://schemas.microsoft.com/office/drawing/2014/main" id="{E0B54E39-732E-1346-BFBC-5DA77D35DDFA}"/>
              </a:ext>
            </a:extLst>
          </p:cNvPr>
          <p:cNvGrpSpPr/>
          <p:nvPr/>
        </p:nvGrpSpPr>
        <p:grpSpPr>
          <a:xfrm>
            <a:off x="9513691" y="2871566"/>
            <a:ext cx="397752" cy="230832"/>
            <a:chOff x="3137705" y="6280900"/>
            <a:chExt cx="397752" cy="230832"/>
          </a:xfrm>
        </p:grpSpPr>
        <p:sp>
          <p:nvSpPr>
            <p:cNvPr id="907" name="Rectangle 906">
              <a:extLst>
                <a:ext uri="{FF2B5EF4-FFF2-40B4-BE49-F238E27FC236}">
                  <a16:creationId xmlns:a16="http://schemas.microsoft.com/office/drawing/2014/main" id="{55C95CD2-ADA0-4D4B-A041-48B1FD4EC05E}"/>
                </a:ext>
              </a:extLst>
            </p:cNvPr>
            <p:cNvSpPr/>
            <p:nvPr/>
          </p:nvSpPr>
          <p:spPr>
            <a:xfrm>
              <a:off x="3218577" y="6288316"/>
              <a:ext cx="216000" cy="216000"/>
            </a:xfrm>
            <a:prstGeom prst="rect">
              <a:avLst/>
            </a:prstGeom>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08" name="TextBox 907">
              <a:extLst>
                <a:ext uri="{FF2B5EF4-FFF2-40B4-BE49-F238E27FC236}">
                  <a16:creationId xmlns:a16="http://schemas.microsoft.com/office/drawing/2014/main" id="{7AED3AF2-2941-7544-9AFB-2F81C9F44C0A}"/>
                </a:ext>
              </a:extLst>
            </p:cNvPr>
            <p:cNvSpPr txBox="1"/>
            <p:nvPr/>
          </p:nvSpPr>
          <p:spPr>
            <a:xfrm>
              <a:off x="3137705" y="6280900"/>
              <a:ext cx="397752" cy="230832"/>
            </a:xfrm>
            <a:prstGeom prst="rect">
              <a:avLst/>
            </a:prstGeom>
            <a:noFill/>
          </p:spPr>
          <p:txBody>
            <a:bodyPr wrap="square" rtlCol="0">
              <a:spAutoFit/>
            </a:bodyPr>
            <a:lstStyle/>
            <a:p>
              <a:pPr algn="ctr"/>
              <a:r>
                <a:rPr lang="en-GB" sz="900" b="1">
                  <a:solidFill>
                    <a:schemeClr val="bg1"/>
                  </a:solidFill>
                </a:rPr>
                <a:t>J12</a:t>
              </a:r>
            </a:p>
          </p:txBody>
        </p:sp>
      </p:grpSp>
      <p:grpSp>
        <p:nvGrpSpPr>
          <p:cNvPr id="909" name="Group 908">
            <a:extLst>
              <a:ext uri="{FF2B5EF4-FFF2-40B4-BE49-F238E27FC236}">
                <a16:creationId xmlns:a16="http://schemas.microsoft.com/office/drawing/2014/main" id="{01977534-0030-2B45-B13D-43E9D3F31BA6}"/>
              </a:ext>
            </a:extLst>
          </p:cNvPr>
          <p:cNvGrpSpPr/>
          <p:nvPr/>
        </p:nvGrpSpPr>
        <p:grpSpPr>
          <a:xfrm>
            <a:off x="5730573" y="3403337"/>
            <a:ext cx="397752" cy="230832"/>
            <a:chOff x="3137705" y="6274661"/>
            <a:chExt cx="397752" cy="230832"/>
          </a:xfrm>
        </p:grpSpPr>
        <p:sp>
          <p:nvSpPr>
            <p:cNvPr id="910" name="Rectangle 909">
              <a:extLst>
                <a:ext uri="{FF2B5EF4-FFF2-40B4-BE49-F238E27FC236}">
                  <a16:creationId xmlns:a16="http://schemas.microsoft.com/office/drawing/2014/main" id="{B3EC0184-0516-D54C-B153-76A94D47239C}"/>
                </a:ext>
              </a:extLst>
            </p:cNvPr>
            <p:cNvSpPr/>
            <p:nvPr/>
          </p:nvSpPr>
          <p:spPr>
            <a:xfrm>
              <a:off x="3218577" y="6288316"/>
              <a:ext cx="216000" cy="216000"/>
            </a:xfrm>
            <a:prstGeom prst="rect">
              <a:avLst/>
            </a:prstGeom>
            <a:solidFill>
              <a:srgbClr val="AC9AB1"/>
            </a:solidFill>
            <a:ln>
              <a:solidFill>
                <a:srgbClr val="5023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11" name="TextBox 910">
              <a:extLst>
                <a:ext uri="{FF2B5EF4-FFF2-40B4-BE49-F238E27FC236}">
                  <a16:creationId xmlns:a16="http://schemas.microsoft.com/office/drawing/2014/main" id="{1670617E-1DD9-AD45-B6CD-C868E8F50AD8}"/>
                </a:ext>
              </a:extLst>
            </p:cNvPr>
            <p:cNvSpPr txBox="1"/>
            <p:nvPr/>
          </p:nvSpPr>
          <p:spPr>
            <a:xfrm>
              <a:off x="3137705" y="6274661"/>
              <a:ext cx="397752" cy="230832"/>
            </a:xfrm>
            <a:prstGeom prst="rect">
              <a:avLst/>
            </a:prstGeom>
            <a:noFill/>
          </p:spPr>
          <p:txBody>
            <a:bodyPr wrap="square" rtlCol="0">
              <a:spAutoFit/>
            </a:bodyPr>
            <a:lstStyle/>
            <a:p>
              <a:pPr algn="ctr"/>
              <a:r>
                <a:rPr lang="en-GB" sz="900" b="1">
                  <a:solidFill>
                    <a:schemeClr val="bg1"/>
                  </a:solidFill>
                </a:rPr>
                <a:t>J11</a:t>
              </a:r>
            </a:p>
          </p:txBody>
        </p:sp>
      </p:grpSp>
      <p:sp>
        <p:nvSpPr>
          <p:cNvPr id="912" name="TextBox 911">
            <a:extLst>
              <a:ext uri="{FF2B5EF4-FFF2-40B4-BE49-F238E27FC236}">
                <a16:creationId xmlns:a16="http://schemas.microsoft.com/office/drawing/2014/main" id="{31BED0B1-065B-5848-83C7-D1A0138AFE32}"/>
              </a:ext>
            </a:extLst>
          </p:cNvPr>
          <p:cNvSpPr txBox="1"/>
          <p:nvPr/>
        </p:nvSpPr>
        <p:spPr>
          <a:xfrm>
            <a:off x="316334" y="2689008"/>
            <a:ext cx="849339" cy="369332"/>
          </a:xfrm>
          <a:prstGeom prst="rect">
            <a:avLst/>
          </a:prstGeom>
          <a:noFill/>
        </p:spPr>
        <p:txBody>
          <a:bodyPr wrap="square">
            <a:spAutoFit/>
          </a:bodyPr>
          <a:lstStyle/>
          <a:p>
            <a:r>
              <a:rPr lang="en-US" sz="600">
                <a:solidFill>
                  <a:srgbClr val="50235C"/>
                </a:solidFill>
              </a:rPr>
              <a:t>Raise the profile and awareness of Mental Health</a:t>
            </a:r>
          </a:p>
        </p:txBody>
      </p:sp>
      <p:sp>
        <p:nvSpPr>
          <p:cNvPr id="913" name="TextBox 912">
            <a:extLst>
              <a:ext uri="{FF2B5EF4-FFF2-40B4-BE49-F238E27FC236}">
                <a16:creationId xmlns:a16="http://schemas.microsoft.com/office/drawing/2014/main" id="{84071053-F505-7B41-818B-E22EAB6337D8}"/>
              </a:ext>
            </a:extLst>
          </p:cNvPr>
          <p:cNvSpPr txBox="1"/>
          <p:nvPr/>
        </p:nvSpPr>
        <p:spPr>
          <a:xfrm>
            <a:off x="785359" y="3711658"/>
            <a:ext cx="985727" cy="184666"/>
          </a:xfrm>
          <a:prstGeom prst="rect">
            <a:avLst/>
          </a:prstGeom>
          <a:noFill/>
        </p:spPr>
        <p:txBody>
          <a:bodyPr wrap="square">
            <a:spAutoFit/>
          </a:bodyPr>
          <a:lstStyle/>
          <a:p>
            <a:r>
              <a:rPr lang="en-US" sz="600">
                <a:solidFill>
                  <a:srgbClr val="50235C"/>
                </a:solidFill>
              </a:rPr>
              <a:t>Proactive prevention</a:t>
            </a:r>
          </a:p>
        </p:txBody>
      </p:sp>
      <p:sp>
        <p:nvSpPr>
          <p:cNvPr id="914" name="TextBox 913">
            <a:extLst>
              <a:ext uri="{FF2B5EF4-FFF2-40B4-BE49-F238E27FC236}">
                <a16:creationId xmlns:a16="http://schemas.microsoft.com/office/drawing/2014/main" id="{725686B0-C42E-F249-9783-01AB588A6AA5}"/>
              </a:ext>
            </a:extLst>
          </p:cNvPr>
          <p:cNvSpPr txBox="1"/>
          <p:nvPr/>
        </p:nvSpPr>
        <p:spPr>
          <a:xfrm>
            <a:off x="1893013" y="4724859"/>
            <a:ext cx="985727" cy="276999"/>
          </a:xfrm>
          <a:prstGeom prst="rect">
            <a:avLst/>
          </a:prstGeom>
          <a:noFill/>
        </p:spPr>
        <p:txBody>
          <a:bodyPr wrap="square">
            <a:spAutoFit/>
          </a:bodyPr>
          <a:lstStyle/>
          <a:p>
            <a:r>
              <a:rPr lang="en-US" sz="600">
                <a:solidFill>
                  <a:srgbClr val="50235C"/>
                </a:solidFill>
              </a:rPr>
              <a:t>Easy and timely access to support and services</a:t>
            </a:r>
          </a:p>
        </p:txBody>
      </p:sp>
      <p:sp>
        <p:nvSpPr>
          <p:cNvPr id="915" name="TextBox 914">
            <a:extLst>
              <a:ext uri="{FF2B5EF4-FFF2-40B4-BE49-F238E27FC236}">
                <a16:creationId xmlns:a16="http://schemas.microsoft.com/office/drawing/2014/main" id="{4EB95CD8-7FD5-FF42-B753-8EC3A09B5B1B}"/>
              </a:ext>
            </a:extLst>
          </p:cNvPr>
          <p:cNvSpPr txBox="1"/>
          <p:nvPr/>
        </p:nvSpPr>
        <p:spPr>
          <a:xfrm>
            <a:off x="3478415" y="5432168"/>
            <a:ext cx="1294893" cy="184666"/>
          </a:xfrm>
          <a:prstGeom prst="rect">
            <a:avLst/>
          </a:prstGeom>
          <a:noFill/>
        </p:spPr>
        <p:txBody>
          <a:bodyPr wrap="square">
            <a:spAutoFit/>
          </a:bodyPr>
          <a:lstStyle/>
          <a:p>
            <a:r>
              <a:rPr lang="en-US" sz="600">
                <a:solidFill>
                  <a:srgbClr val="50235C"/>
                </a:solidFill>
              </a:rPr>
              <a:t>Act as one integrated system </a:t>
            </a:r>
          </a:p>
        </p:txBody>
      </p:sp>
      <p:sp>
        <p:nvSpPr>
          <p:cNvPr id="916" name="TextBox 915">
            <a:extLst>
              <a:ext uri="{FF2B5EF4-FFF2-40B4-BE49-F238E27FC236}">
                <a16:creationId xmlns:a16="http://schemas.microsoft.com/office/drawing/2014/main" id="{A0CA02B5-CC75-0A42-BCB1-736035C4C607}"/>
              </a:ext>
            </a:extLst>
          </p:cNvPr>
          <p:cNvSpPr txBox="1"/>
          <p:nvPr/>
        </p:nvSpPr>
        <p:spPr>
          <a:xfrm>
            <a:off x="5448553" y="6032167"/>
            <a:ext cx="1294893" cy="184666"/>
          </a:xfrm>
          <a:prstGeom prst="rect">
            <a:avLst/>
          </a:prstGeom>
          <a:noFill/>
        </p:spPr>
        <p:txBody>
          <a:bodyPr wrap="square">
            <a:spAutoFit/>
          </a:bodyPr>
          <a:lstStyle/>
          <a:p>
            <a:r>
              <a:rPr lang="en-US" sz="600">
                <a:solidFill>
                  <a:srgbClr val="50235C"/>
                </a:solidFill>
              </a:rPr>
              <a:t>Focus on health inequalities </a:t>
            </a:r>
          </a:p>
        </p:txBody>
      </p:sp>
      <p:sp>
        <p:nvSpPr>
          <p:cNvPr id="917" name="TextBox 916">
            <a:extLst>
              <a:ext uri="{FF2B5EF4-FFF2-40B4-BE49-F238E27FC236}">
                <a16:creationId xmlns:a16="http://schemas.microsoft.com/office/drawing/2014/main" id="{C921AE86-DACE-044E-B0FD-E393E20AA062}"/>
              </a:ext>
            </a:extLst>
          </p:cNvPr>
          <p:cNvSpPr txBox="1"/>
          <p:nvPr/>
        </p:nvSpPr>
        <p:spPr>
          <a:xfrm>
            <a:off x="7471824" y="6329367"/>
            <a:ext cx="1294893" cy="184666"/>
          </a:xfrm>
          <a:prstGeom prst="rect">
            <a:avLst/>
          </a:prstGeom>
          <a:noFill/>
        </p:spPr>
        <p:txBody>
          <a:bodyPr wrap="square">
            <a:spAutoFit/>
          </a:bodyPr>
          <a:lstStyle/>
          <a:p>
            <a:r>
              <a:rPr lang="en-US" sz="600">
                <a:solidFill>
                  <a:srgbClr val="50235C"/>
                </a:solidFill>
              </a:rPr>
              <a:t>Build community resources</a:t>
            </a:r>
          </a:p>
        </p:txBody>
      </p:sp>
      <p:sp>
        <p:nvSpPr>
          <p:cNvPr id="918" name="TextBox 917">
            <a:extLst>
              <a:ext uri="{FF2B5EF4-FFF2-40B4-BE49-F238E27FC236}">
                <a16:creationId xmlns:a16="http://schemas.microsoft.com/office/drawing/2014/main" id="{41FED709-6A4B-3D49-8351-52420D3C9408}"/>
              </a:ext>
            </a:extLst>
          </p:cNvPr>
          <p:cNvSpPr txBox="1"/>
          <p:nvPr/>
        </p:nvSpPr>
        <p:spPr>
          <a:xfrm>
            <a:off x="9684488" y="6373511"/>
            <a:ext cx="1615976" cy="184666"/>
          </a:xfrm>
          <a:prstGeom prst="rect">
            <a:avLst/>
          </a:prstGeom>
          <a:noFill/>
        </p:spPr>
        <p:txBody>
          <a:bodyPr wrap="square">
            <a:spAutoFit/>
          </a:bodyPr>
          <a:lstStyle/>
          <a:p>
            <a:r>
              <a:rPr lang="en-US" sz="600">
                <a:solidFill>
                  <a:srgbClr val="50235C"/>
                </a:solidFill>
              </a:rPr>
              <a:t>Supported transition from services </a:t>
            </a:r>
          </a:p>
        </p:txBody>
      </p:sp>
    </p:spTree>
    <p:extLst>
      <p:ext uri="{BB962C8B-B14F-4D97-AF65-F5344CB8AC3E}">
        <p14:creationId xmlns:p14="http://schemas.microsoft.com/office/powerpoint/2010/main" val="202767403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8353"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en-IN" sz="2800">
              <a:solidFill>
                <a:srgbClr val="FFFFFF"/>
              </a:solidFill>
              <a:sym typeface="Arial" panose="020B0604020202020204" pitchFamily="34" charset="0"/>
            </a:endParaRPr>
          </a:p>
        </p:txBody>
      </p:sp>
      <p:sp>
        <p:nvSpPr>
          <p:cNvPr id="2" name="Title 1"/>
          <p:cNvSpPr>
            <a:spLocks noGrp="1"/>
          </p:cNvSpPr>
          <p:nvPr>
            <p:ph type="title"/>
          </p:nvPr>
        </p:nvSpPr>
        <p:spPr>
          <a:xfrm>
            <a:off x="510638" y="297277"/>
            <a:ext cx="7827117" cy="434010"/>
          </a:xfrm>
          <a:prstGeom prst="rect">
            <a:avLst/>
          </a:prstGeom>
        </p:spPr>
        <p:txBody>
          <a:bodyPr/>
          <a:lstStyle/>
          <a:p>
            <a:r>
              <a:rPr lang="en-US"/>
              <a:t>Top 10 recommendations </a:t>
            </a:r>
            <a:endParaRPr lang="en-IN"/>
          </a:p>
        </p:txBody>
      </p:sp>
      <p:sp>
        <p:nvSpPr>
          <p:cNvPr id="21" name="Rectangle 20">
            <a:extLst>
              <a:ext uri="{FF2B5EF4-FFF2-40B4-BE49-F238E27FC236}">
                <a16:creationId xmlns:a16="http://schemas.microsoft.com/office/drawing/2014/main" id="{FE740462-AEED-0B41-92DC-3A54DEB718C8}"/>
              </a:ext>
            </a:extLst>
          </p:cNvPr>
          <p:cNvSpPr/>
          <p:nvPr/>
        </p:nvSpPr>
        <p:spPr>
          <a:xfrm>
            <a:off x="647407" y="1095781"/>
            <a:ext cx="2355654" cy="434010"/>
          </a:xfrm>
          <a:prstGeom prst="rect">
            <a:avLst/>
          </a:prstGeom>
          <a:noFill/>
          <a:ln w="12700" cap="flat" cmpd="sng" algn="ctr">
            <a:noFill/>
            <a:prstDash val="solid"/>
            <a:miter lim="800000"/>
          </a:ln>
          <a:effectLst/>
        </p:spPr>
        <p:txBody>
          <a:bodyPr rtlCol="0" anchor="ctr"/>
          <a:lstStyle/>
          <a:p>
            <a:pPr lvl="0" algn="ctr" defTabSz="685800">
              <a:defRPr/>
            </a:pPr>
            <a:endParaRPr lang="en-GB" sz="1050" b="1">
              <a:solidFill>
                <a:srgbClr val="50235B"/>
              </a:solidFill>
              <a:latin typeface="Arial" panose="020B0604020202020204" pitchFamily="34" charset="0"/>
              <a:cs typeface="Arial" panose="020B0604020202020204" pitchFamily="34" charset="0"/>
            </a:endParaRPr>
          </a:p>
        </p:txBody>
      </p:sp>
      <p:graphicFrame>
        <p:nvGraphicFramePr>
          <p:cNvPr id="5" name="Table 7">
            <a:extLst>
              <a:ext uri="{FF2B5EF4-FFF2-40B4-BE49-F238E27FC236}">
                <a16:creationId xmlns:a16="http://schemas.microsoft.com/office/drawing/2014/main" id="{1F73E11B-085A-AD47-B820-F62CD6BB7304}"/>
              </a:ext>
            </a:extLst>
          </p:cNvPr>
          <p:cNvGraphicFramePr>
            <a:graphicFrameLocks noGrp="1"/>
          </p:cNvGraphicFramePr>
          <p:nvPr>
            <p:extLst>
              <p:ext uri="{D42A27DB-BD31-4B8C-83A1-F6EECF244321}">
                <p14:modId xmlns:p14="http://schemas.microsoft.com/office/powerpoint/2010/main" val="1449075256"/>
              </p:ext>
            </p:extLst>
          </p:nvPr>
        </p:nvGraphicFramePr>
        <p:xfrm>
          <a:off x="230714" y="1117066"/>
          <a:ext cx="11605687" cy="5029200"/>
        </p:xfrm>
        <a:graphic>
          <a:graphicData uri="http://schemas.openxmlformats.org/drawingml/2006/table">
            <a:tbl>
              <a:tblPr firstRow="1" bandRow="1">
                <a:tableStyleId>{5C22544A-7EE6-4342-B048-85BDC9FD1C3A}</a:tableStyleId>
              </a:tblPr>
              <a:tblGrid>
                <a:gridCol w="669399">
                  <a:extLst>
                    <a:ext uri="{9D8B030D-6E8A-4147-A177-3AD203B41FA5}">
                      <a16:colId xmlns:a16="http://schemas.microsoft.com/office/drawing/2014/main" val="1222057465"/>
                    </a:ext>
                  </a:extLst>
                </a:gridCol>
                <a:gridCol w="1017739">
                  <a:extLst>
                    <a:ext uri="{9D8B030D-6E8A-4147-A177-3AD203B41FA5}">
                      <a16:colId xmlns:a16="http://schemas.microsoft.com/office/drawing/2014/main" val="2319752415"/>
                    </a:ext>
                  </a:extLst>
                </a:gridCol>
                <a:gridCol w="3170638">
                  <a:extLst>
                    <a:ext uri="{9D8B030D-6E8A-4147-A177-3AD203B41FA5}">
                      <a16:colId xmlns:a16="http://schemas.microsoft.com/office/drawing/2014/main" val="1853970278"/>
                    </a:ext>
                  </a:extLst>
                </a:gridCol>
                <a:gridCol w="4026610">
                  <a:extLst>
                    <a:ext uri="{9D8B030D-6E8A-4147-A177-3AD203B41FA5}">
                      <a16:colId xmlns:a16="http://schemas.microsoft.com/office/drawing/2014/main" val="3087462113"/>
                    </a:ext>
                  </a:extLst>
                </a:gridCol>
                <a:gridCol w="465195">
                  <a:extLst>
                    <a:ext uri="{9D8B030D-6E8A-4147-A177-3AD203B41FA5}">
                      <a16:colId xmlns:a16="http://schemas.microsoft.com/office/drawing/2014/main" val="1029806020"/>
                    </a:ext>
                  </a:extLst>
                </a:gridCol>
                <a:gridCol w="465195">
                  <a:extLst>
                    <a:ext uri="{9D8B030D-6E8A-4147-A177-3AD203B41FA5}">
                      <a16:colId xmlns:a16="http://schemas.microsoft.com/office/drawing/2014/main" val="3714934659"/>
                    </a:ext>
                  </a:extLst>
                </a:gridCol>
                <a:gridCol w="465195">
                  <a:extLst>
                    <a:ext uri="{9D8B030D-6E8A-4147-A177-3AD203B41FA5}">
                      <a16:colId xmlns:a16="http://schemas.microsoft.com/office/drawing/2014/main" val="1845500442"/>
                    </a:ext>
                  </a:extLst>
                </a:gridCol>
                <a:gridCol w="662858">
                  <a:extLst>
                    <a:ext uri="{9D8B030D-6E8A-4147-A177-3AD203B41FA5}">
                      <a16:colId xmlns:a16="http://schemas.microsoft.com/office/drawing/2014/main" val="2590076437"/>
                    </a:ext>
                  </a:extLst>
                </a:gridCol>
                <a:gridCol w="662858">
                  <a:extLst>
                    <a:ext uri="{9D8B030D-6E8A-4147-A177-3AD203B41FA5}">
                      <a16:colId xmlns:a16="http://schemas.microsoft.com/office/drawing/2014/main" val="1385158084"/>
                    </a:ext>
                  </a:extLst>
                </a:gridCol>
              </a:tblGrid>
              <a:tr h="238589">
                <a:tc>
                  <a:txBody>
                    <a:bodyPr/>
                    <a:lstStyle/>
                    <a:p>
                      <a:pPr algn="ctr"/>
                      <a:r>
                        <a:rPr lang="en-GB" sz="800">
                          <a:solidFill>
                            <a:srgbClr val="50235C"/>
                          </a:solidFill>
                        </a:rPr>
                        <a:t>Roadmap ref</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gridSpan="2">
                  <a:txBody>
                    <a:bodyPr/>
                    <a:lstStyle/>
                    <a:p>
                      <a:r>
                        <a:rPr lang="en-GB" sz="800">
                          <a:solidFill>
                            <a:srgbClr val="50235C"/>
                          </a:solidFill>
                        </a:rPr>
                        <a:t>Future activity</a:t>
                      </a:r>
                      <a:endParaRPr lang="en-US"/>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hMerge="1">
                  <a:txBody>
                    <a:bodyPr/>
                    <a:lstStyle/>
                    <a:p>
                      <a:r>
                        <a:rPr lang="en-GB" sz="900"/>
                        <a:t>Future activity</a:t>
                      </a:r>
                    </a:p>
                  </a:txBody>
                  <a:tcPr anchor="ctr"/>
                </a:tc>
                <a:tc>
                  <a:txBody>
                    <a:bodyPr/>
                    <a:lstStyle/>
                    <a:p>
                      <a:pPr marL="0" algn="ctr" defTabSz="914400" rtl="0" eaLnBrk="1" fontAlgn="ctr" latinLnBrk="0" hangingPunct="1"/>
                      <a:r>
                        <a:rPr lang="en-GB" sz="800" b="1" kern="1200">
                          <a:solidFill>
                            <a:srgbClr val="50235C"/>
                          </a:solidFill>
                          <a:latin typeface="+mn-lt"/>
                          <a:ea typeface="+mn-ea"/>
                          <a:cs typeface="+mn-cs"/>
                        </a:rPr>
                        <a:t>Target outcome / Expected benefit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algn="ctr" defTabSz="914400" rtl="0" eaLnBrk="1" fontAlgn="ctr" latinLnBrk="0" hangingPunct="1"/>
                      <a:r>
                        <a:rPr lang="en-GB" sz="800" b="1" kern="1200">
                          <a:solidFill>
                            <a:srgbClr val="50235C"/>
                          </a:solidFill>
                          <a:latin typeface="+mn-lt"/>
                          <a:ea typeface="+mn-ea"/>
                          <a:cs typeface="+mn-cs"/>
                        </a:rPr>
                        <a:t>Impact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800" b="1" kern="1200">
                          <a:solidFill>
                            <a:srgbClr val="50235C"/>
                          </a:solidFill>
                          <a:latin typeface="+mn-lt"/>
                          <a:ea typeface="+mn-ea"/>
                          <a:cs typeface="+mn-cs"/>
                        </a:rPr>
                        <a:t>Ease</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algn="ctr" defTabSz="914400" rtl="0" eaLnBrk="1" fontAlgn="ctr" latinLnBrk="0" hangingPunct="1"/>
                      <a:r>
                        <a:rPr lang="en-GB" sz="800" b="1" kern="1200">
                          <a:solidFill>
                            <a:srgbClr val="50235C"/>
                          </a:solidFill>
                          <a:latin typeface="+mn-lt"/>
                          <a:ea typeface="+mn-ea"/>
                          <a:cs typeface="+mn-cs"/>
                        </a:rPr>
                        <a:t>Score</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algn="ctr"/>
                      <a:r>
                        <a:rPr lang="en-GB" sz="800" b="1">
                          <a:solidFill>
                            <a:srgbClr val="50235C"/>
                          </a:solidFill>
                        </a:rPr>
                        <a:t>Resource required</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algn="ctr"/>
                      <a:r>
                        <a:rPr lang="en-GB" sz="800" b="1">
                          <a:solidFill>
                            <a:srgbClr val="50235C"/>
                          </a:solidFill>
                        </a:rPr>
                        <a:t>Short /</a:t>
                      </a:r>
                    </a:p>
                    <a:p>
                      <a:pPr algn="ctr"/>
                      <a:r>
                        <a:rPr lang="en-GB" sz="800" b="1">
                          <a:solidFill>
                            <a:srgbClr val="50235C"/>
                          </a:solidFill>
                        </a:rPr>
                        <a:t>Medium /</a:t>
                      </a:r>
                      <a:br>
                        <a:rPr lang="en-GB" sz="800" b="1">
                          <a:solidFill>
                            <a:srgbClr val="50235C"/>
                          </a:solidFill>
                        </a:rPr>
                      </a:br>
                      <a:r>
                        <a:rPr lang="en-GB" sz="800" b="1">
                          <a:solidFill>
                            <a:srgbClr val="50235C"/>
                          </a:solidFill>
                        </a:rPr>
                        <a:t>Long</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extLst>
                  <a:ext uri="{0D108BD9-81ED-4DB2-BD59-A6C34878D82A}">
                    <a16:rowId xmlns:a16="http://schemas.microsoft.com/office/drawing/2014/main" val="466195498"/>
                  </a:ext>
                </a:extLst>
              </a:tr>
              <a:tr h="4572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800" b="1" kern="1200">
                          <a:solidFill>
                            <a:srgbClr val="50235C"/>
                          </a:solidFill>
                          <a:latin typeface="+mn-lt"/>
                          <a:ea typeface="+mn-ea"/>
                          <a:cs typeface="+mn-cs"/>
                        </a:rPr>
                        <a:t>★</a:t>
                      </a:r>
                    </a:p>
                  </a:txBody>
                  <a:tcPr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800" b="1" i="0" u="none" strike="noStrike">
                          <a:solidFill>
                            <a:srgbClr val="50235C"/>
                          </a:solidFill>
                          <a:effectLst/>
                          <a:latin typeface="Arial" panose="020B0604020202020204" pitchFamily="34" charset="0"/>
                          <a:cs typeface="Arial" panose="020B0604020202020204" pitchFamily="34" charset="0"/>
                        </a:rPr>
                        <a:t>All workstreams</a:t>
                      </a:r>
                    </a:p>
                  </a:txBody>
                  <a:tcPr marL="9525" marR="9525" marT="9525" marB="0" anchor="ct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indent="0" algn="l" rtl="0" fontAlgn="ctr">
                        <a:buFont typeface="Arial" panose="020B0604020202020204" pitchFamily="34" charset="0"/>
                        <a:buNone/>
                      </a:pPr>
                      <a:r>
                        <a:rPr lang="en-GB" sz="800" b="0" i="0" u="none" strike="noStrike">
                          <a:solidFill>
                            <a:srgbClr val="50235C"/>
                          </a:solidFill>
                          <a:effectLst/>
                          <a:latin typeface="Arial" panose="020B0604020202020204" pitchFamily="34" charset="0"/>
                          <a:cs typeface="Arial" panose="020B0604020202020204" pitchFamily="34" charset="0"/>
                        </a:rPr>
                        <a:t>Build stronger partnerships with the third across STW</a:t>
                      </a:r>
                    </a:p>
                  </a:txBody>
                  <a:tcPr marL="95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96838" indent="-87313" algn="l" defTabSz="914400" rtl="0" eaLnBrk="1" fontAlgn="ctr" latinLnBrk="0" hangingPunct="1">
                        <a:buClr>
                          <a:srgbClr val="000000"/>
                        </a:buClr>
                        <a:buSzPts val="900"/>
                        <a:buFont typeface="Arial" panose="020B0604020202020204" pitchFamily="34" charset="0"/>
                        <a:buChar char="•"/>
                        <a:tabLst/>
                      </a:pPr>
                      <a:r>
                        <a:rPr lang="en-GB" sz="800" b="0" i="0" u="none" strike="noStrike" kern="1200">
                          <a:solidFill>
                            <a:schemeClr val="tx2">
                              <a:lumMod val="65000"/>
                              <a:lumOff val="35000"/>
                            </a:schemeClr>
                          </a:solidFill>
                          <a:effectLst/>
                          <a:latin typeface="Arial" panose="020B0604020202020204" pitchFamily="34" charset="0"/>
                          <a:ea typeface="+mn-ea"/>
                          <a:cs typeface="+mn-cs"/>
                        </a:rPr>
                        <a:t>Service users always have support and care available whatever stage of their health journey they are in.</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800" b="0" i="0" u="none" strike="noStrike" kern="1200">
                          <a:solidFill>
                            <a:schemeClr val="tx2">
                              <a:lumMod val="65000"/>
                              <a:lumOff val="35000"/>
                            </a:schemeClr>
                          </a:solidFill>
                          <a:effectLst/>
                          <a:latin typeface="Arial" panose="020B0604020202020204" pitchFamily="34" charset="0"/>
                          <a:ea typeface="+mn-ea"/>
                          <a:cs typeface="+mn-cs"/>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800" b="0" i="0" u="none" strike="noStrike" kern="1200">
                          <a:solidFill>
                            <a:schemeClr val="tx2">
                              <a:lumMod val="65000"/>
                              <a:lumOff val="35000"/>
                            </a:schemeClr>
                          </a:solidFill>
                          <a:effectLst/>
                          <a:latin typeface="Arial" panose="020B0604020202020204" pitchFamily="34" charset="0"/>
                          <a:ea typeface="+mn-ea"/>
                          <a:cs typeface="+mn-cs"/>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800" b="0" i="0" u="none" strike="noStrike" kern="1200">
                          <a:solidFill>
                            <a:schemeClr val="tx2">
                              <a:lumMod val="65000"/>
                              <a:lumOff val="35000"/>
                            </a:schemeClr>
                          </a:solidFill>
                          <a:effectLst/>
                          <a:latin typeface="Arial" panose="020B0604020202020204" pitchFamily="34" charset="0"/>
                          <a:ea typeface="+mn-ea"/>
                          <a:cs typeface="+mn-cs"/>
                        </a:rPr>
                        <a:t>1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800" b="0" i="0" u="none" strike="noStrike" kern="1200">
                          <a:solidFill>
                            <a:schemeClr val="tx2">
                              <a:lumMod val="65000"/>
                              <a:lumOff val="35000"/>
                            </a:schemeClr>
                          </a:solidFill>
                          <a:effectLst/>
                          <a:latin typeface="Arial" panose="020B0604020202020204" pitchFamily="34" charset="0"/>
                          <a:ea typeface="+mn-ea"/>
                          <a:cs typeface="+mn-cs"/>
                        </a:rPr>
                        <a:t>Medium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800" b="1" i="0" u="none" strike="noStrike" kern="1200">
                          <a:solidFill>
                            <a:schemeClr val="tx2">
                              <a:lumMod val="65000"/>
                              <a:lumOff val="35000"/>
                            </a:schemeClr>
                          </a:solidFill>
                          <a:effectLst/>
                          <a:latin typeface="Arial" panose="020B0604020202020204" pitchFamily="34" charset="0"/>
                          <a:ea typeface="+mn-ea"/>
                          <a:cs typeface="+mn-cs"/>
                        </a:rPr>
                        <a:t>Medium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1738425369"/>
                  </a:ext>
                </a:extLst>
              </a:tr>
              <a:tr h="4572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strike="noStrike">
                          <a:solidFill>
                            <a:srgbClr val="50235C"/>
                          </a:solidFill>
                        </a:rPr>
                        <a:t>D1</a:t>
                      </a:r>
                    </a:p>
                  </a:txBody>
                  <a:tcPr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800" b="1" i="0" u="none" strike="noStrike">
                          <a:solidFill>
                            <a:srgbClr val="50235C"/>
                          </a:solidFill>
                          <a:effectLst/>
                          <a:latin typeface="Arial" panose="020B0604020202020204" pitchFamily="34" charset="0"/>
                          <a:cs typeface="Arial" panose="020B0604020202020204" pitchFamily="34" charset="0"/>
                        </a:rPr>
                        <a:t>Act as one system </a:t>
                      </a:r>
                    </a:p>
                  </a:txBody>
                  <a:tcPr marL="9525" marR="9525" marT="9525" marB="0" anchor="ct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
                          <a:srgbClr val="000000"/>
                        </a:buClr>
                        <a:buSzPts val="900"/>
                        <a:buFont typeface="Arial" panose="020B0604020202020204" pitchFamily="34" charset="0"/>
                        <a:buNone/>
                        <a:tabLst/>
                        <a:defRPr/>
                      </a:pPr>
                      <a:r>
                        <a:rPr lang="en-GB" sz="800" b="0" i="0" u="none" strike="noStrike" kern="1200">
                          <a:solidFill>
                            <a:srgbClr val="50235C"/>
                          </a:solidFill>
                          <a:effectLst/>
                          <a:latin typeface="Arial" panose="020B0604020202020204" pitchFamily="34" charset="0"/>
                          <a:ea typeface="+mn-ea"/>
                          <a:cs typeface="Arial" panose="020B0604020202020204" pitchFamily="34" charset="0"/>
                        </a:rPr>
                        <a:t>MDT approach (between Primary Care, Secondary care and Third Sector)</a:t>
                      </a:r>
                    </a:p>
                  </a:txBody>
                  <a:tcPr marL="95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marR="0" lvl="0" indent="-74613" algn="l" defTabSz="914400" rtl="0" eaLnBrk="1" fontAlgn="ctr" latinLnBrk="0" hangingPunct="1">
                        <a:lnSpc>
                          <a:spcPct val="100000"/>
                        </a:lnSpc>
                        <a:spcBef>
                          <a:spcPts val="0"/>
                        </a:spcBef>
                        <a:spcAft>
                          <a:spcPts val="0"/>
                        </a:spcAft>
                        <a:buClr>
                          <a:srgbClr val="000000"/>
                        </a:buClr>
                        <a:buSzPts val="900"/>
                        <a:buFont typeface="Arial" panose="020B0604020202020204" pitchFamily="34" charset="0"/>
                        <a:buChar char="•"/>
                        <a:tabLst/>
                        <a:defRPr/>
                      </a:pPr>
                      <a:r>
                        <a:rPr lang="en-GB" sz="800" b="0" i="0" u="none" strike="noStrike" kern="1200">
                          <a:solidFill>
                            <a:schemeClr val="tx2">
                              <a:lumMod val="65000"/>
                              <a:lumOff val="35000"/>
                            </a:schemeClr>
                          </a:solidFill>
                          <a:effectLst/>
                          <a:latin typeface="Arial" panose="020B0604020202020204" pitchFamily="34" charset="0"/>
                          <a:ea typeface="+mn-ea"/>
                          <a:cs typeface="+mn-cs"/>
                        </a:rPr>
                        <a:t>Better care outcomes for service users, especially those suffering with long-term conditions.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800" b="0" i="0" u="none" strike="noStrike" kern="1200">
                          <a:solidFill>
                            <a:schemeClr val="tx2">
                              <a:lumMod val="65000"/>
                              <a:lumOff val="35000"/>
                            </a:schemeClr>
                          </a:solidFill>
                          <a:effectLst/>
                          <a:latin typeface="Arial" panose="020B0604020202020204" pitchFamily="34" charset="0"/>
                          <a:ea typeface="+mn-ea"/>
                          <a:cs typeface="+mn-cs"/>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800" b="0" i="0" u="none" strike="noStrike" kern="1200">
                          <a:solidFill>
                            <a:schemeClr val="tx2">
                              <a:lumMod val="65000"/>
                              <a:lumOff val="35000"/>
                            </a:schemeClr>
                          </a:solidFill>
                          <a:effectLst/>
                          <a:latin typeface="Arial" panose="020B0604020202020204" pitchFamily="34" charset="0"/>
                          <a:ea typeface="+mn-ea"/>
                          <a:cs typeface="+mn-cs"/>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800" b="0" i="0" u="none" strike="noStrike" kern="1200">
                          <a:solidFill>
                            <a:schemeClr val="tx2">
                              <a:lumMod val="65000"/>
                              <a:lumOff val="35000"/>
                            </a:schemeClr>
                          </a:solidFill>
                          <a:effectLst/>
                          <a:latin typeface="Arial" panose="020B0604020202020204" pitchFamily="34" charset="0"/>
                          <a:ea typeface="+mn-ea"/>
                          <a:cs typeface="+mn-cs"/>
                        </a:rPr>
                        <a:t>20</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800" b="0" i="0" u="none" strike="noStrike" kern="1200">
                          <a:solidFill>
                            <a:schemeClr val="tx2">
                              <a:lumMod val="65000"/>
                              <a:lumOff val="35000"/>
                            </a:schemeClr>
                          </a:solidFill>
                          <a:effectLst/>
                          <a:latin typeface="Arial" panose="020B0604020202020204" pitchFamily="34" charset="0"/>
                          <a:ea typeface="+mn-ea"/>
                          <a:cs typeface="+mn-cs"/>
                        </a:rPr>
                        <a:t>High (but already paid)</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800" b="1" i="0" u="none" strike="noStrike" kern="1200">
                          <a:solidFill>
                            <a:schemeClr val="tx2">
                              <a:lumMod val="65000"/>
                              <a:lumOff val="35000"/>
                            </a:schemeClr>
                          </a:solidFill>
                          <a:effectLst/>
                          <a:latin typeface="Arial" panose="020B0604020202020204" pitchFamily="34" charset="0"/>
                          <a:ea typeface="+mn-ea"/>
                          <a:cs typeface="+mn-cs"/>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4199580168"/>
                  </a:ext>
                </a:extLst>
              </a:tr>
              <a:tr h="4572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a:solidFill>
                            <a:srgbClr val="50235C"/>
                          </a:solidFill>
                          <a:latin typeface="+mn-lt"/>
                          <a:ea typeface="+mn-ea"/>
                          <a:cs typeface="+mn-cs"/>
                        </a:rPr>
                        <a:t>C1 </a:t>
                      </a:r>
                    </a:p>
                  </a:txBody>
                  <a:tcPr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800" b="1">
                          <a:solidFill>
                            <a:srgbClr val="50235C"/>
                          </a:solidFill>
                          <a:latin typeface="Arial" panose="020B0604020202020204" pitchFamily="34" charset="0"/>
                          <a:cs typeface="Arial" panose="020B0604020202020204" pitchFamily="34" charset="0"/>
                        </a:rPr>
                        <a:t>Easy and timely access to support and services</a:t>
                      </a:r>
                      <a:endParaRPr lang="en-GB" sz="800" b="1" i="0" u="none" strike="noStrike">
                        <a:solidFill>
                          <a:srgbClr val="50235C"/>
                        </a:solidFill>
                        <a:effectLst/>
                        <a:latin typeface="Arial" panose="020B0604020202020204" pitchFamily="34" charset="0"/>
                        <a:cs typeface="Arial" panose="020B0604020202020204" pitchFamily="34" charset="0"/>
                      </a:endParaRPr>
                    </a:p>
                  </a:txBody>
                  <a:tcPr marL="9525" marR="9525" marT="9525" marB="0" anchor="ct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indent="0" algn="l" rtl="0" fontAlgn="ctr">
                        <a:buFont typeface="Arial" panose="020B0604020202020204" pitchFamily="34" charset="0"/>
                        <a:buNone/>
                      </a:pPr>
                      <a:r>
                        <a:rPr lang="en-GB" sz="800" b="0" i="0" u="none" strike="noStrike">
                          <a:solidFill>
                            <a:srgbClr val="50235C"/>
                          </a:solidFill>
                          <a:effectLst/>
                          <a:latin typeface="Arial" panose="020B0604020202020204" pitchFamily="34" charset="0"/>
                          <a:cs typeface="Arial" panose="020B0604020202020204" pitchFamily="34" charset="0"/>
                        </a:rPr>
                        <a:t>Improved communication and awareness of third sector offering</a:t>
                      </a:r>
                    </a:p>
                  </a:txBody>
                  <a:tcPr marL="95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84150" indent="-87313" algn="l" defTabSz="914400" rtl="0" eaLnBrk="1" fontAlgn="ctr" latinLnBrk="0" hangingPunct="1">
                        <a:buClr>
                          <a:srgbClr val="000000"/>
                        </a:buClr>
                        <a:buSzPts val="900"/>
                        <a:buFont typeface="Arial" panose="020B0604020202020204" pitchFamily="34" charset="0"/>
                        <a:buChar char="•"/>
                        <a:tabLst/>
                      </a:pPr>
                      <a:r>
                        <a:rPr lang="en-GB" sz="800" b="0" i="0" u="none" strike="noStrike" kern="1200">
                          <a:solidFill>
                            <a:schemeClr val="tx2">
                              <a:lumMod val="65000"/>
                              <a:lumOff val="35000"/>
                            </a:schemeClr>
                          </a:solidFill>
                          <a:effectLst/>
                          <a:latin typeface="Arial" panose="020B0604020202020204" pitchFamily="34" charset="0"/>
                          <a:ea typeface="+mn-ea"/>
                          <a:cs typeface="+mn-cs"/>
                        </a:rPr>
                        <a:t>Reduced demand for secondary care MH services as people are accessing third sector support.</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16</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800" b="0">
                          <a:solidFill>
                            <a:schemeClr val="tx2">
                              <a:lumMod val="65000"/>
                              <a:lumOff val="35000"/>
                            </a:schemeClr>
                          </a:solidFill>
                        </a:rPr>
                        <a:t>Low</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800" b="1">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570282075"/>
                  </a:ext>
                </a:extLst>
              </a:tr>
              <a:tr h="4572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a:solidFill>
                            <a:srgbClr val="50235C"/>
                          </a:solidFill>
                          <a:latin typeface="+mn-lt"/>
                          <a:ea typeface="+mn-ea"/>
                          <a:cs typeface="+mn-cs"/>
                        </a:rPr>
                        <a:t>A1</a:t>
                      </a:r>
                    </a:p>
                  </a:txBody>
                  <a:tcPr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800" b="1" i="0" u="none" strike="noStrike">
                          <a:solidFill>
                            <a:srgbClr val="50235C"/>
                          </a:solidFill>
                          <a:effectLst/>
                          <a:latin typeface="Arial" panose="020B0604020202020204" pitchFamily="34" charset="0"/>
                          <a:cs typeface="Arial" panose="020B0604020202020204" pitchFamily="34" charset="0"/>
                        </a:rPr>
                        <a:t>Raise the profile and awareness of mental health </a:t>
                      </a:r>
                    </a:p>
                  </a:txBody>
                  <a:tcPr marL="9525" marR="9525" marT="9525" marB="0" anchor="ct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indent="0" algn="l" rtl="0" fontAlgn="ctr">
                        <a:buFont typeface="Arial" panose="020B0604020202020204" pitchFamily="34" charset="0"/>
                        <a:buNone/>
                      </a:pPr>
                      <a:r>
                        <a:rPr lang="en-GB" sz="800" b="0" i="0" u="none" strike="noStrike">
                          <a:solidFill>
                            <a:srgbClr val="50235C"/>
                          </a:solidFill>
                          <a:effectLst/>
                          <a:latin typeface="Arial" panose="020B0604020202020204" pitchFamily="34" charset="0"/>
                          <a:cs typeface="Arial" panose="020B0604020202020204" pitchFamily="34" charset="0"/>
                        </a:rPr>
                        <a:t>Increase staff education on MH services to reduce the stigma across services against those tying to access MH services.</a:t>
                      </a:r>
                    </a:p>
                  </a:txBody>
                  <a:tcPr marL="95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96838" indent="-87313" algn="l" defTabSz="914400" rtl="0" eaLnBrk="1" fontAlgn="ctr" latinLnBrk="0" hangingPunct="1">
                        <a:buClr>
                          <a:srgbClr val="000000"/>
                        </a:buClr>
                        <a:buSzPts val="900"/>
                        <a:buFont typeface="Arial" panose="020B0604020202020204" pitchFamily="34" charset="0"/>
                        <a:buChar char="•"/>
                        <a:tabLst/>
                      </a:pPr>
                      <a:r>
                        <a:rPr lang="en-GB" sz="800" b="0" i="0" u="none" strike="noStrike" kern="1200">
                          <a:solidFill>
                            <a:schemeClr val="tx2">
                              <a:lumMod val="65000"/>
                              <a:lumOff val="35000"/>
                            </a:schemeClr>
                          </a:solidFill>
                          <a:effectLst/>
                          <a:latin typeface="Arial" panose="020B0604020202020204" pitchFamily="34" charset="0"/>
                          <a:ea typeface="+mn-ea"/>
                          <a:cs typeface="+mn-cs"/>
                        </a:rPr>
                        <a:t>Workforce that understands mental health and is better equipped to spot mental health issues and sign post service users to the appropriate services at the right time. </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1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800" b="0">
                          <a:solidFill>
                            <a:schemeClr val="tx2">
                              <a:lumMod val="65000"/>
                              <a:lumOff val="35000"/>
                            </a:schemeClr>
                          </a:solidFill>
                        </a:rPr>
                        <a:t>Medium </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800" b="1">
                          <a:solidFill>
                            <a:schemeClr val="tx2">
                              <a:lumMod val="65000"/>
                              <a:lumOff val="35000"/>
                            </a:schemeClr>
                          </a:solidFill>
                        </a:rPr>
                        <a:t>Medium </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2752216538"/>
                  </a:ext>
                </a:extLst>
              </a:tr>
              <a:tr h="4572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a:solidFill>
                            <a:srgbClr val="50235C"/>
                          </a:solidFill>
                          <a:latin typeface="+mn-lt"/>
                          <a:ea typeface="+mn-ea"/>
                          <a:cs typeface="+mn-cs"/>
                        </a:rPr>
                        <a:t>E2</a:t>
                      </a:r>
                    </a:p>
                  </a:txBody>
                  <a:tcPr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GB" sz="800" b="1" i="0" u="none" strike="noStrike">
                          <a:solidFill>
                            <a:srgbClr val="50235C"/>
                          </a:solidFill>
                          <a:effectLst/>
                          <a:latin typeface="Arial" panose="020B0604020202020204" pitchFamily="34" charset="0"/>
                          <a:cs typeface="Arial" panose="020B0604020202020204" pitchFamily="34" charset="0"/>
                        </a:rPr>
                        <a:t>Health inequalities </a:t>
                      </a:r>
                    </a:p>
                  </a:txBody>
                  <a:tcPr marL="9525" marR="9525" marT="9525" marB="0" anchor="ct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800" b="0" i="0" u="none" strike="noStrike">
                          <a:solidFill>
                            <a:srgbClr val="50235C"/>
                          </a:solidFill>
                          <a:effectLst/>
                          <a:latin typeface="Arial" panose="020B0604020202020204" pitchFamily="34" charset="0"/>
                          <a:cs typeface="Arial" panose="020B0604020202020204" pitchFamily="34" charset="0"/>
                        </a:rPr>
                        <a:t>Build a formalised alliance with the third sector to improve proactive engagement with all community groups.</a:t>
                      </a:r>
                    </a:p>
                  </a:txBody>
                  <a:tcPr marL="95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96838" indent="-87313" algn="l" defTabSz="914400" rtl="0" eaLnBrk="1" fontAlgn="ctr" latinLnBrk="0" hangingPunct="1">
                        <a:buClr>
                          <a:srgbClr val="000000"/>
                        </a:buClr>
                        <a:buSzPts val="900"/>
                        <a:buFont typeface="Arial" panose="020B0604020202020204" pitchFamily="34" charset="0"/>
                        <a:buChar char="•"/>
                        <a:tabLst/>
                      </a:pPr>
                      <a:r>
                        <a:rPr lang="en-GB" sz="800" b="0" i="0" u="none" strike="noStrike" kern="1200">
                          <a:solidFill>
                            <a:schemeClr val="tx2">
                              <a:lumMod val="65000"/>
                              <a:lumOff val="35000"/>
                            </a:schemeClr>
                          </a:solidFill>
                          <a:effectLst/>
                          <a:latin typeface="Arial" panose="020B0604020202020204" pitchFamily="34" charset="0"/>
                          <a:ea typeface="+mn-ea"/>
                          <a:cs typeface="+mn-cs"/>
                        </a:rPr>
                        <a:t>Patients who may not otherwise access care and support have the opportunity to do so, supporting their long term health outcomes.</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1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Medium</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1" i="0" u="none" strike="noStrike">
                          <a:solidFill>
                            <a:schemeClr val="tx2">
                              <a:lumMod val="65000"/>
                              <a:lumOff val="35000"/>
                            </a:schemeClr>
                          </a:solidFill>
                          <a:effectLst/>
                          <a:latin typeface="Arial" panose="020B0604020202020204" pitchFamily="34" charset="0"/>
                        </a:rPr>
                        <a:t>Medium</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3935458060"/>
                  </a:ext>
                </a:extLst>
              </a:tr>
              <a:tr h="4572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a:solidFill>
                            <a:srgbClr val="50235C"/>
                          </a:solidFill>
                          <a:latin typeface="+mn-lt"/>
                          <a:ea typeface="+mn-ea"/>
                          <a:cs typeface="+mn-cs"/>
                        </a:rPr>
                        <a:t>E3</a:t>
                      </a:r>
                    </a:p>
                  </a:txBody>
                  <a:tcPr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GB" sz="800" b="1" i="0" u="none" strike="noStrike">
                          <a:solidFill>
                            <a:srgbClr val="50235C"/>
                          </a:solidFill>
                          <a:effectLst/>
                          <a:latin typeface="Arial" panose="020B0604020202020204" pitchFamily="34" charset="0"/>
                          <a:cs typeface="Arial" panose="020B0604020202020204" pitchFamily="34" charset="0"/>
                        </a:rPr>
                        <a:t>Health inequalities </a:t>
                      </a:r>
                    </a:p>
                  </a:txBody>
                  <a:tcPr marL="9525" marR="9525" marT="9525" marB="0" anchor="ct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800" b="0" i="0" u="none" strike="noStrike">
                          <a:solidFill>
                            <a:srgbClr val="50235C"/>
                          </a:solidFill>
                          <a:effectLst/>
                          <a:latin typeface="Arial" panose="020B0604020202020204" pitchFamily="34" charset="0"/>
                          <a:cs typeface="Arial" panose="020B0604020202020204" pitchFamily="34" charset="0"/>
                        </a:rPr>
                        <a:t>Develop and target interventions for particular cohorts linked to place and known population risk</a:t>
                      </a:r>
                    </a:p>
                  </a:txBody>
                  <a:tcPr marL="95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96838" indent="-87313" algn="l" defTabSz="914400" rtl="0" eaLnBrk="1" fontAlgn="ctr" latinLnBrk="0" hangingPunct="1">
                        <a:buClr>
                          <a:srgbClr val="000000"/>
                        </a:buClr>
                        <a:buSzPts val="900"/>
                        <a:buFont typeface="Arial" panose="020B0604020202020204" pitchFamily="34" charset="0"/>
                        <a:buChar char="•"/>
                        <a:tabLst/>
                      </a:pPr>
                      <a:r>
                        <a:rPr lang="en-GB" sz="800" b="0" i="0" u="none" strike="noStrike" kern="1200">
                          <a:solidFill>
                            <a:schemeClr val="tx2">
                              <a:lumMod val="65000"/>
                              <a:lumOff val="35000"/>
                            </a:schemeClr>
                          </a:solidFill>
                          <a:effectLst/>
                          <a:latin typeface="Arial" panose="020B0604020202020204" pitchFamily="34" charset="0"/>
                          <a:ea typeface="+mn-ea"/>
                          <a:cs typeface="+mn-cs"/>
                        </a:rPr>
                        <a:t>People most at risk of MH conditions are given proactive care and prevented from needing to be admitted into inpatient units, reducing the pressure on the wider system</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1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Medium</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1" i="0" u="none" strike="noStrike">
                          <a:solidFill>
                            <a:schemeClr val="tx2">
                              <a:lumMod val="65000"/>
                              <a:lumOff val="35000"/>
                            </a:schemeClr>
                          </a:solidFill>
                          <a:effectLst/>
                          <a:latin typeface="Arial" panose="020B0604020202020204" pitchFamily="34" charset="0"/>
                        </a:rPr>
                        <a:t>Medium</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3198809439"/>
                  </a:ext>
                </a:extLst>
              </a:tr>
              <a:tr h="4572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a:solidFill>
                            <a:srgbClr val="50235C"/>
                          </a:solidFill>
                          <a:latin typeface="+mn-lt"/>
                          <a:ea typeface="+mn-ea"/>
                          <a:cs typeface="+mn-cs"/>
                        </a:rPr>
                        <a:t>E4</a:t>
                      </a:r>
                    </a:p>
                  </a:txBody>
                  <a:tcPr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GB" sz="800" b="1" i="0" u="none" strike="noStrike">
                          <a:solidFill>
                            <a:srgbClr val="50235C"/>
                          </a:solidFill>
                          <a:effectLst/>
                          <a:latin typeface="Arial" panose="020B0604020202020204" pitchFamily="34" charset="0"/>
                          <a:cs typeface="Arial" panose="020B0604020202020204" pitchFamily="34" charset="0"/>
                        </a:rPr>
                        <a:t>Health inequalities </a:t>
                      </a:r>
                    </a:p>
                  </a:txBody>
                  <a:tcPr marL="9525" marR="9525" marT="9525" marB="0" anchor="ct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800" b="0" i="0" u="none" strike="noStrike">
                          <a:solidFill>
                            <a:srgbClr val="50235C"/>
                          </a:solidFill>
                          <a:effectLst/>
                          <a:latin typeface="Arial" panose="020B0604020202020204" pitchFamily="34" charset="0"/>
                          <a:cs typeface="Arial" panose="020B0604020202020204" pitchFamily="34" charset="0"/>
                        </a:rPr>
                        <a:t>Target resources at the most deprived wards that have been highlighted e.g. South East Telford PCN footprint</a:t>
                      </a:r>
                    </a:p>
                  </a:txBody>
                  <a:tcPr marL="95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96838" indent="-87313" algn="l" defTabSz="914400" rtl="0" eaLnBrk="1" fontAlgn="ctr" latinLnBrk="0" hangingPunct="1">
                        <a:buClr>
                          <a:srgbClr val="000000"/>
                        </a:buClr>
                        <a:buSzPts val="900"/>
                        <a:buFont typeface="Arial" panose="020B0604020202020204" pitchFamily="34" charset="0"/>
                        <a:buChar char="•"/>
                        <a:tabLst/>
                      </a:pPr>
                      <a:r>
                        <a:rPr lang="en-GB" sz="800" b="0" i="0" u="none" strike="noStrike" kern="1200">
                          <a:solidFill>
                            <a:schemeClr val="tx2">
                              <a:lumMod val="65000"/>
                              <a:lumOff val="35000"/>
                            </a:schemeClr>
                          </a:solidFill>
                          <a:effectLst/>
                          <a:latin typeface="Arial" panose="020B0604020202020204" pitchFamily="34" charset="0"/>
                          <a:ea typeface="+mn-ea"/>
                          <a:cs typeface="+mn-cs"/>
                        </a:rPr>
                        <a:t>People most at risk of MH conditions are given proactive care and prevented from needing to be admitted into inpatient units, reducing the pressure on the wider system</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1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Medium</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1" i="0" u="none" strike="noStrike">
                          <a:solidFill>
                            <a:schemeClr val="tx2">
                              <a:lumMod val="65000"/>
                              <a:lumOff val="35000"/>
                            </a:schemeClr>
                          </a:solidFill>
                          <a:effectLst/>
                          <a:latin typeface="Arial" panose="020B0604020202020204" pitchFamily="34" charset="0"/>
                        </a:rPr>
                        <a:t>Medium</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1658197614"/>
                  </a:ext>
                </a:extLst>
              </a:tr>
              <a:tr h="4572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a:solidFill>
                            <a:srgbClr val="50235C"/>
                          </a:solidFill>
                          <a:latin typeface="+mn-lt"/>
                          <a:ea typeface="+mn-ea"/>
                          <a:cs typeface="+mn-cs"/>
                        </a:rPr>
                        <a:t>G1</a:t>
                      </a:r>
                    </a:p>
                  </a:txBody>
                  <a:tcPr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800" b="1" i="0" u="none" strike="noStrike">
                          <a:solidFill>
                            <a:srgbClr val="50235C"/>
                          </a:solidFill>
                          <a:effectLst/>
                          <a:latin typeface="Arial" panose="020B0604020202020204" pitchFamily="34" charset="0"/>
                          <a:cs typeface="Arial" panose="020B0604020202020204" pitchFamily="34" charset="0"/>
                        </a:rPr>
                        <a:t>Support the workforce and their wellbeing </a:t>
                      </a:r>
                    </a:p>
                  </a:txBody>
                  <a:tcPr marL="9525" marR="9525" marT="9525" marB="0" anchor="ct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800" b="0" i="0" u="none" strike="noStrike">
                          <a:solidFill>
                            <a:srgbClr val="50235C"/>
                          </a:solidFill>
                          <a:effectLst/>
                          <a:latin typeface="Arial" panose="020B0604020202020204" pitchFamily="34" charset="0"/>
                          <a:cs typeface="Arial" panose="020B0604020202020204" pitchFamily="34" charset="0"/>
                        </a:rPr>
                        <a:t>Include voluntary sector in training opportunities</a:t>
                      </a:r>
                    </a:p>
                  </a:txBody>
                  <a:tcPr marL="95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84150" indent="-87313" algn="l" defTabSz="914400" rtl="0" eaLnBrk="1" fontAlgn="ctr" latinLnBrk="0" hangingPunct="1">
                        <a:buClr>
                          <a:srgbClr val="000000"/>
                        </a:buClr>
                        <a:buSzPts val="900"/>
                        <a:buFont typeface="Arial" panose="020B0604020202020204" pitchFamily="34" charset="0"/>
                        <a:buChar char="•"/>
                        <a:tabLst/>
                      </a:pPr>
                      <a:r>
                        <a:rPr lang="en-GB" sz="800" b="0" i="0" u="none" strike="noStrike" kern="1200">
                          <a:solidFill>
                            <a:schemeClr val="tx2">
                              <a:lumMod val="65000"/>
                              <a:lumOff val="35000"/>
                            </a:schemeClr>
                          </a:solidFill>
                          <a:effectLst/>
                          <a:latin typeface="Arial" panose="020B0604020202020204" pitchFamily="34" charset="0"/>
                          <a:ea typeface="+mn-ea"/>
                          <a:cs typeface="+mn-cs"/>
                        </a:rPr>
                        <a:t>Voluntary sector are better equipped to support service users, reducing referrals into physical care settings.</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1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800" b="0">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800" b="1">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74048181"/>
                  </a:ext>
                </a:extLst>
              </a:tr>
              <a:tr h="4572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a:solidFill>
                            <a:srgbClr val="50235C"/>
                          </a:solidFill>
                          <a:latin typeface="+mn-lt"/>
                          <a:ea typeface="+mn-ea"/>
                          <a:cs typeface="+mn-cs"/>
                        </a:rPr>
                        <a:t>B1</a:t>
                      </a:r>
                    </a:p>
                  </a:txBody>
                  <a:tcPr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800" b="1" i="0" u="none" strike="noStrike">
                          <a:solidFill>
                            <a:srgbClr val="50235C"/>
                          </a:solidFill>
                          <a:effectLst/>
                          <a:latin typeface="Arial" panose="020B0604020202020204" pitchFamily="34" charset="0"/>
                          <a:cs typeface="Arial" panose="020B0604020202020204" pitchFamily="34" charset="0"/>
                        </a:rPr>
                        <a:t>Proactive prevention </a:t>
                      </a:r>
                    </a:p>
                  </a:txBody>
                  <a:tcPr marL="9525" marR="9525" marT="9525" marB="0" anchor="ct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800" b="0" i="0" u="none" strike="noStrike">
                          <a:solidFill>
                            <a:srgbClr val="50235C"/>
                          </a:solidFill>
                          <a:effectLst/>
                          <a:latin typeface="Arial" panose="020B0604020202020204" pitchFamily="34" charset="0"/>
                          <a:cs typeface="Arial" panose="020B0604020202020204" pitchFamily="34" charset="0"/>
                        </a:rPr>
                        <a:t>Expansion of Early Intervention Psychosis programme and development of At Risk Mental States</a:t>
                      </a:r>
                    </a:p>
                  </a:txBody>
                  <a:tcPr marL="95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96838" indent="-87313" algn="l" defTabSz="914400" rtl="0" eaLnBrk="1" fontAlgn="ctr" latinLnBrk="0" hangingPunct="1">
                        <a:buClr>
                          <a:srgbClr val="000000"/>
                        </a:buClr>
                        <a:buSzPts val="900"/>
                        <a:buFont typeface="Arial" panose="020B0604020202020204" pitchFamily="34" charset="0"/>
                        <a:buChar char="•"/>
                        <a:tabLst/>
                      </a:pPr>
                      <a:r>
                        <a:rPr lang="en-GB" sz="800" b="0" i="0" u="none" strike="noStrike" kern="1200">
                          <a:solidFill>
                            <a:schemeClr val="tx2">
                              <a:lumMod val="65000"/>
                              <a:lumOff val="35000"/>
                            </a:schemeClr>
                          </a:solidFill>
                          <a:effectLst/>
                          <a:latin typeface="Arial" panose="020B0604020202020204" pitchFamily="34" charset="0"/>
                          <a:ea typeface="+mn-ea"/>
                          <a:cs typeface="+mn-cs"/>
                        </a:rPr>
                        <a:t>Create more capacity to provide early intervention for those with psychosis to reduce admissions to A&amp;E, inpatient wards and other forms of compulsory treatment.  </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1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800" b="0">
                          <a:solidFill>
                            <a:schemeClr val="tx2">
                              <a:lumMod val="65000"/>
                              <a:lumOff val="35000"/>
                            </a:schemeClr>
                          </a:solidFill>
                        </a:rPr>
                        <a:t>High</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800" b="1">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2726136863"/>
                  </a:ext>
                </a:extLst>
              </a:tr>
              <a:tr h="4572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a:solidFill>
                            <a:srgbClr val="50235C"/>
                          </a:solidFill>
                          <a:latin typeface="+mn-lt"/>
                          <a:ea typeface="+mn-ea"/>
                          <a:cs typeface="+mn-cs"/>
                        </a:rPr>
                        <a:t>F3</a:t>
                      </a:r>
                    </a:p>
                  </a:txBody>
                  <a:tcPr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800" b="1" i="0" u="none" strike="noStrike">
                          <a:solidFill>
                            <a:srgbClr val="50235C"/>
                          </a:solidFill>
                          <a:effectLst/>
                          <a:latin typeface="Arial" panose="020B0604020202020204" pitchFamily="34" charset="0"/>
                          <a:cs typeface="Arial" panose="020B0604020202020204" pitchFamily="34" charset="0"/>
                        </a:rPr>
                        <a:t>Build community resources </a:t>
                      </a:r>
                    </a:p>
                  </a:txBody>
                  <a:tcPr marL="9525" marR="9525" marT="9525" marB="0" anchor="ct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800" b="0" i="0" u="none" strike="noStrike" kern="1200">
                          <a:solidFill>
                            <a:srgbClr val="50235C"/>
                          </a:solidFill>
                          <a:effectLst/>
                          <a:latin typeface="Arial" panose="020B0604020202020204" pitchFamily="34" charset="0"/>
                          <a:ea typeface="+mn-ea"/>
                          <a:cs typeface="Arial" panose="020B0604020202020204" pitchFamily="34" charset="0"/>
                        </a:rPr>
                        <a:t>Better collaboration between primary and secondary care around use of medicines and prescribing</a:t>
                      </a:r>
                    </a:p>
                  </a:txBody>
                  <a:tcPr marL="95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84150" indent="-87313" algn="l" defTabSz="914400" rtl="0" eaLnBrk="1" fontAlgn="ctr" latinLnBrk="0" hangingPunct="1">
                        <a:buClr>
                          <a:srgbClr val="000000"/>
                        </a:buClr>
                        <a:buSzPts val="900"/>
                        <a:buFont typeface="Arial" panose="020B0604020202020204" pitchFamily="34" charset="0"/>
                        <a:buChar char="•"/>
                        <a:tabLst/>
                      </a:pPr>
                      <a:r>
                        <a:rPr lang="en-GB" sz="800" b="0" i="0" u="none" strike="noStrike" kern="1200">
                          <a:solidFill>
                            <a:schemeClr val="tx2">
                              <a:lumMod val="65000"/>
                              <a:lumOff val="35000"/>
                            </a:schemeClr>
                          </a:solidFill>
                          <a:effectLst/>
                          <a:latin typeface="Arial" panose="020B0604020202020204" pitchFamily="34" charset="0"/>
                          <a:ea typeface="+mn-ea"/>
                          <a:cs typeface="+mn-cs"/>
                        </a:rPr>
                        <a:t>Improved patient outcomes through a more coordinated approach to the use of medicines and prescribing.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800" b="0" i="0" u="none" strike="noStrike" kern="1200">
                          <a:solidFill>
                            <a:schemeClr val="tx2">
                              <a:lumMod val="65000"/>
                              <a:lumOff val="35000"/>
                            </a:schemeClr>
                          </a:solidFill>
                          <a:effectLst/>
                          <a:latin typeface="Arial" panose="020B0604020202020204" pitchFamily="34" charset="0"/>
                          <a:ea typeface="+mn-ea"/>
                          <a:cs typeface="+mn-cs"/>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800" b="0" i="0" u="none" strike="noStrike" kern="1200">
                          <a:solidFill>
                            <a:schemeClr val="tx2">
                              <a:lumMod val="65000"/>
                              <a:lumOff val="35000"/>
                            </a:schemeClr>
                          </a:solidFill>
                          <a:effectLst/>
                          <a:latin typeface="Arial" panose="020B0604020202020204" pitchFamily="34" charset="0"/>
                          <a:ea typeface="+mn-ea"/>
                          <a:cs typeface="+mn-cs"/>
                        </a:rPr>
                        <a:t>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800" b="0" i="0" u="none" strike="noStrike" kern="1200">
                          <a:solidFill>
                            <a:schemeClr val="tx2">
                              <a:lumMod val="65000"/>
                              <a:lumOff val="35000"/>
                            </a:schemeClr>
                          </a:solidFill>
                          <a:effectLst/>
                          <a:latin typeface="Arial" panose="020B0604020202020204" pitchFamily="34" charset="0"/>
                          <a:ea typeface="+mn-ea"/>
                          <a:cs typeface="+mn-cs"/>
                        </a:rPr>
                        <a:t>10</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800" b="0" strike="noStrike">
                          <a:solidFill>
                            <a:schemeClr val="tx2">
                              <a:lumMod val="65000"/>
                              <a:lumOff val="35000"/>
                            </a:schemeClr>
                          </a:solidFill>
                        </a:rPr>
                        <a:t>Low</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800" b="1" strike="noStrike">
                          <a:solidFill>
                            <a:schemeClr val="tx2">
                              <a:lumMod val="65000"/>
                              <a:lumOff val="35000"/>
                            </a:schemeClr>
                          </a:solidFill>
                        </a:rPr>
                        <a:t>Long</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1065129322"/>
                  </a:ext>
                </a:extLst>
              </a:tr>
            </a:tbl>
          </a:graphicData>
        </a:graphic>
      </p:graphicFrame>
      <p:graphicFrame>
        <p:nvGraphicFramePr>
          <p:cNvPr id="10" name="Table 9">
            <a:extLst>
              <a:ext uri="{FF2B5EF4-FFF2-40B4-BE49-F238E27FC236}">
                <a16:creationId xmlns:a16="http://schemas.microsoft.com/office/drawing/2014/main" id="{87CC6123-A617-E541-A25D-A2DC364BE962}"/>
              </a:ext>
            </a:extLst>
          </p:cNvPr>
          <p:cNvGraphicFramePr>
            <a:graphicFrameLocks noGrp="1"/>
          </p:cNvGraphicFramePr>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C"/>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
        <p:nvSpPr>
          <p:cNvPr id="11" name="Rectangle 10">
            <a:extLst>
              <a:ext uri="{FF2B5EF4-FFF2-40B4-BE49-F238E27FC236}">
                <a16:creationId xmlns:a16="http://schemas.microsoft.com/office/drawing/2014/main" id="{61B634CE-06B6-8A45-A954-5AE426A114A9}"/>
              </a:ext>
            </a:extLst>
          </p:cNvPr>
          <p:cNvSpPr/>
          <p:nvPr/>
        </p:nvSpPr>
        <p:spPr>
          <a:xfrm>
            <a:off x="8462819" y="184705"/>
            <a:ext cx="1931224" cy="78568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panose="020B0604020202020204"/>
                <a:ea typeface="+mn-ea"/>
                <a:cs typeface="+mn-cs"/>
              </a:rPr>
              <a:t>IMPACT:        </a:t>
            </a: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1 = Low Impact </a:t>
            </a:r>
            <a:b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                       5 = High impa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panose="020B0604020202020204"/>
                <a:ea typeface="+mn-ea"/>
                <a:cs typeface="+mn-cs"/>
              </a:rPr>
              <a:t>EASE:            </a:t>
            </a: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1 = Difficult</a:t>
            </a:r>
            <a:b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                       5 = Straightforward</a:t>
            </a:r>
          </a:p>
          <a:p>
            <a:pPr>
              <a:defRPr/>
            </a:pPr>
            <a:r>
              <a:rPr lang="en-GB" sz="800" b="1">
                <a:solidFill>
                  <a:srgbClr val="000000"/>
                </a:solidFill>
              </a:rPr>
              <a:t>RESOURCE:  </a:t>
            </a:r>
            <a:r>
              <a:rPr lang="en-GB" sz="800">
                <a:solidFill>
                  <a:srgbClr val="000000"/>
                </a:solidFill>
              </a:rPr>
              <a:t>Low, Medium, High </a:t>
            </a:r>
          </a:p>
        </p:txBody>
      </p:sp>
      <p:sp>
        <p:nvSpPr>
          <p:cNvPr id="12" name="Rectangle 11">
            <a:extLst>
              <a:ext uri="{FF2B5EF4-FFF2-40B4-BE49-F238E27FC236}">
                <a16:creationId xmlns:a16="http://schemas.microsoft.com/office/drawing/2014/main" id="{70807BAB-E8EF-A04D-A23C-DC2845A0C488}"/>
              </a:ext>
            </a:extLst>
          </p:cNvPr>
          <p:cNvSpPr/>
          <p:nvPr/>
        </p:nvSpPr>
        <p:spPr>
          <a:xfrm>
            <a:off x="10394043" y="184705"/>
            <a:ext cx="1442357" cy="78568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00" b="1">
                <a:solidFill>
                  <a:srgbClr val="000000"/>
                </a:solidFill>
                <a:latin typeface="Arial" panose="020B0604020202020204"/>
              </a:rPr>
              <a:t>SHORT</a:t>
            </a:r>
            <a:r>
              <a:rPr lang="en-GB" sz="900">
                <a:solidFill>
                  <a:srgbClr val="000000"/>
                </a:solidFill>
                <a:latin typeface="Arial" panose="020B0604020202020204"/>
              </a:rPr>
              <a:t> =   0-6 months</a:t>
            </a:r>
          </a:p>
          <a:p>
            <a:r>
              <a:rPr lang="en-GB" sz="900" b="1">
                <a:solidFill>
                  <a:srgbClr val="000000"/>
                </a:solidFill>
                <a:latin typeface="Arial" panose="020B0604020202020204"/>
              </a:rPr>
              <a:t>MEDIUM</a:t>
            </a:r>
            <a:r>
              <a:rPr lang="en-GB" sz="900">
                <a:solidFill>
                  <a:srgbClr val="000000"/>
                </a:solidFill>
                <a:latin typeface="Arial" panose="020B0604020202020204"/>
              </a:rPr>
              <a:t> = 6-18 months</a:t>
            </a:r>
          </a:p>
          <a:p>
            <a:r>
              <a:rPr lang="en-GB" sz="900" b="1">
                <a:solidFill>
                  <a:srgbClr val="000000"/>
                </a:solidFill>
                <a:latin typeface="Arial" panose="020B0604020202020204"/>
              </a:rPr>
              <a:t>LONG</a:t>
            </a:r>
            <a:r>
              <a:rPr lang="en-GB" sz="900">
                <a:solidFill>
                  <a:srgbClr val="000000"/>
                </a:solidFill>
                <a:latin typeface="Arial" panose="020B0604020202020204"/>
              </a:rPr>
              <a:t> =     18 months +</a:t>
            </a:r>
          </a:p>
        </p:txBody>
      </p:sp>
    </p:spTree>
    <p:extLst>
      <p:ext uri="{BB962C8B-B14F-4D97-AF65-F5344CB8AC3E}">
        <p14:creationId xmlns:p14="http://schemas.microsoft.com/office/powerpoint/2010/main" val="136829054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0401"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en-IN" sz="2800">
              <a:solidFill>
                <a:srgbClr val="FFFFFF"/>
              </a:solidFill>
              <a:sym typeface="Arial" panose="020B0604020202020204" pitchFamily="34" charset="0"/>
            </a:endParaRPr>
          </a:p>
        </p:txBody>
      </p:sp>
      <p:sp>
        <p:nvSpPr>
          <p:cNvPr id="2" name="Title 1"/>
          <p:cNvSpPr>
            <a:spLocks noGrp="1"/>
          </p:cNvSpPr>
          <p:nvPr>
            <p:ph type="title"/>
          </p:nvPr>
        </p:nvSpPr>
        <p:spPr>
          <a:xfrm>
            <a:off x="510638" y="297277"/>
            <a:ext cx="7827117" cy="434010"/>
          </a:xfrm>
          <a:prstGeom prst="rect">
            <a:avLst/>
          </a:prstGeom>
        </p:spPr>
        <p:txBody>
          <a:bodyPr/>
          <a:lstStyle/>
          <a:p>
            <a:r>
              <a:rPr lang="en-US"/>
              <a:t>Quick wins</a:t>
            </a:r>
            <a:endParaRPr lang="en-IN"/>
          </a:p>
        </p:txBody>
      </p:sp>
      <p:sp>
        <p:nvSpPr>
          <p:cNvPr id="21" name="Rectangle 20">
            <a:extLst>
              <a:ext uri="{FF2B5EF4-FFF2-40B4-BE49-F238E27FC236}">
                <a16:creationId xmlns:a16="http://schemas.microsoft.com/office/drawing/2014/main" id="{FE740462-AEED-0B41-92DC-3A54DEB718C8}"/>
              </a:ext>
            </a:extLst>
          </p:cNvPr>
          <p:cNvSpPr/>
          <p:nvPr/>
        </p:nvSpPr>
        <p:spPr>
          <a:xfrm>
            <a:off x="647407" y="1095781"/>
            <a:ext cx="2355654" cy="434010"/>
          </a:xfrm>
          <a:prstGeom prst="rect">
            <a:avLst/>
          </a:prstGeom>
          <a:noFill/>
          <a:ln w="12700" cap="flat" cmpd="sng" algn="ctr">
            <a:noFill/>
            <a:prstDash val="solid"/>
            <a:miter lim="800000"/>
          </a:ln>
          <a:effectLst/>
        </p:spPr>
        <p:txBody>
          <a:bodyPr rtlCol="0" anchor="ctr"/>
          <a:lstStyle/>
          <a:p>
            <a:pPr lvl="0" algn="ctr" defTabSz="685800">
              <a:defRPr/>
            </a:pPr>
            <a:endParaRPr lang="en-GB" sz="1050" b="1">
              <a:solidFill>
                <a:srgbClr val="50235B"/>
              </a:solidFill>
              <a:latin typeface="Arial" panose="020B0604020202020204" pitchFamily="34" charset="0"/>
              <a:cs typeface="Arial" panose="020B0604020202020204" pitchFamily="34" charset="0"/>
            </a:endParaRPr>
          </a:p>
        </p:txBody>
      </p:sp>
      <p:graphicFrame>
        <p:nvGraphicFramePr>
          <p:cNvPr id="10" name="Table 9">
            <a:extLst>
              <a:ext uri="{FF2B5EF4-FFF2-40B4-BE49-F238E27FC236}">
                <a16:creationId xmlns:a16="http://schemas.microsoft.com/office/drawing/2014/main" id="{87CC6123-A617-E541-A25D-A2DC364BE962}"/>
              </a:ext>
            </a:extLst>
          </p:cNvPr>
          <p:cNvGraphicFramePr>
            <a:graphicFrameLocks noGrp="1"/>
          </p:cNvGraphicFramePr>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C"/>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
        <p:nvSpPr>
          <p:cNvPr id="11" name="Rectangle 10">
            <a:extLst>
              <a:ext uri="{FF2B5EF4-FFF2-40B4-BE49-F238E27FC236}">
                <a16:creationId xmlns:a16="http://schemas.microsoft.com/office/drawing/2014/main" id="{0B3C06CE-C54E-CB4A-813D-657E7FBB70DA}"/>
              </a:ext>
            </a:extLst>
          </p:cNvPr>
          <p:cNvSpPr/>
          <p:nvPr/>
        </p:nvSpPr>
        <p:spPr>
          <a:xfrm>
            <a:off x="8462819" y="184705"/>
            <a:ext cx="1931224" cy="78568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panose="020B0604020202020204"/>
                <a:ea typeface="+mn-ea"/>
                <a:cs typeface="+mn-cs"/>
              </a:rPr>
              <a:t>IMPACT:        </a:t>
            </a: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1 = Low Impact </a:t>
            </a:r>
            <a:b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                       5 = High impa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panose="020B0604020202020204"/>
                <a:ea typeface="+mn-ea"/>
                <a:cs typeface="+mn-cs"/>
              </a:rPr>
              <a:t>EASE:            </a:t>
            </a: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1 = Difficult</a:t>
            </a:r>
            <a:b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                       5 = Straightforward</a:t>
            </a:r>
          </a:p>
          <a:p>
            <a:pPr>
              <a:defRPr/>
            </a:pPr>
            <a:r>
              <a:rPr lang="en-GB" sz="800" b="1">
                <a:solidFill>
                  <a:srgbClr val="000000"/>
                </a:solidFill>
              </a:rPr>
              <a:t>RESOURCE:  </a:t>
            </a:r>
            <a:r>
              <a:rPr lang="en-GB" sz="800">
                <a:solidFill>
                  <a:srgbClr val="000000"/>
                </a:solidFill>
              </a:rPr>
              <a:t>Low, Medium, High </a:t>
            </a:r>
          </a:p>
        </p:txBody>
      </p:sp>
      <p:sp>
        <p:nvSpPr>
          <p:cNvPr id="12" name="Rectangle 11">
            <a:extLst>
              <a:ext uri="{FF2B5EF4-FFF2-40B4-BE49-F238E27FC236}">
                <a16:creationId xmlns:a16="http://schemas.microsoft.com/office/drawing/2014/main" id="{1523C804-42E3-DA45-AA0B-F856558E7E2F}"/>
              </a:ext>
            </a:extLst>
          </p:cNvPr>
          <p:cNvSpPr/>
          <p:nvPr/>
        </p:nvSpPr>
        <p:spPr>
          <a:xfrm>
            <a:off x="10394043" y="184705"/>
            <a:ext cx="1442357" cy="78568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00" b="1">
                <a:solidFill>
                  <a:srgbClr val="000000"/>
                </a:solidFill>
                <a:latin typeface="Arial" panose="020B0604020202020204"/>
              </a:rPr>
              <a:t>SHORT</a:t>
            </a:r>
            <a:r>
              <a:rPr lang="en-GB" sz="900">
                <a:solidFill>
                  <a:srgbClr val="000000"/>
                </a:solidFill>
                <a:latin typeface="Arial" panose="020B0604020202020204"/>
              </a:rPr>
              <a:t> =   0-6 months</a:t>
            </a:r>
          </a:p>
          <a:p>
            <a:r>
              <a:rPr lang="en-GB" sz="900" b="1">
                <a:solidFill>
                  <a:srgbClr val="000000"/>
                </a:solidFill>
                <a:latin typeface="Arial" panose="020B0604020202020204"/>
              </a:rPr>
              <a:t>MEDIUM</a:t>
            </a:r>
            <a:r>
              <a:rPr lang="en-GB" sz="900">
                <a:solidFill>
                  <a:srgbClr val="000000"/>
                </a:solidFill>
                <a:latin typeface="Arial" panose="020B0604020202020204"/>
              </a:rPr>
              <a:t> = 6-18 months</a:t>
            </a:r>
          </a:p>
          <a:p>
            <a:r>
              <a:rPr lang="en-GB" sz="900" b="1">
                <a:solidFill>
                  <a:srgbClr val="000000"/>
                </a:solidFill>
                <a:latin typeface="Arial" panose="020B0604020202020204"/>
              </a:rPr>
              <a:t>LONG</a:t>
            </a:r>
            <a:r>
              <a:rPr lang="en-GB" sz="900">
                <a:solidFill>
                  <a:srgbClr val="000000"/>
                </a:solidFill>
                <a:latin typeface="Arial" panose="020B0604020202020204"/>
              </a:rPr>
              <a:t> =     18 months +</a:t>
            </a:r>
          </a:p>
        </p:txBody>
      </p:sp>
      <p:graphicFrame>
        <p:nvGraphicFramePr>
          <p:cNvPr id="13" name="Table 7">
            <a:extLst>
              <a:ext uri="{FF2B5EF4-FFF2-40B4-BE49-F238E27FC236}">
                <a16:creationId xmlns:a16="http://schemas.microsoft.com/office/drawing/2014/main" id="{E9F8E9DB-090C-814A-BE9A-E171BC112FA3}"/>
              </a:ext>
            </a:extLst>
          </p:cNvPr>
          <p:cNvGraphicFramePr>
            <a:graphicFrameLocks noGrp="1"/>
          </p:cNvGraphicFramePr>
          <p:nvPr>
            <p:extLst>
              <p:ext uri="{D42A27DB-BD31-4B8C-83A1-F6EECF244321}">
                <p14:modId xmlns:p14="http://schemas.microsoft.com/office/powerpoint/2010/main" val="3284000759"/>
              </p:ext>
            </p:extLst>
          </p:nvPr>
        </p:nvGraphicFramePr>
        <p:xfrm>
          <a:off x="510638" y="1095781"/>
          <a:ext cx="11325765" cy="5321558"/>
        </p:xfrm>
        <a:graphic>
          <a:graphicData uri="http://schemas.openxmlformats.org/drawingml/2006/table">
            <a:tbl>
              <a:tblPr firstRow="1" bandRow="1">
                <a:tableStyleId>{5C22544A-7EE6-4342-B048-85BDC9FD1C3A}</a:tableStyleId>
              </a:tblPr>
              <a:tblGrid>
                <a:gridCol w="718087">
                  <a:extLst>
                    <a:ext uri="{9D8B030D-6E8A-4147-A177-3AD203B41FA5}">
                      <a16:colId xmlns:a16="http://schemas.microsoft.com/office/drawing/2014/main" val="1222057465"/>
                    </a:ext>
                  </a:extLst>
                </a:gridCol>
                <a:gridCol w="1064099">
                  <a:extLst>
                    <a:ext uri="{9D8B030D-6E8A-4147-A177-3AD203B41FA5}">
                      <a16:colId xmlns:a16="http://schemas.microsoft.com/office/drawing/2014/main" val="2319752415"/>
                    </a:ext>
                  </a:extLst>
                </a:gridCol>
                <a:gridCol w="2674962">
                  <a:extLst>
                    <a:ext uri="{9D8B030D-6E8A-4147-A177-3AD203B41FA5}">
                      <a16:colId xmlns:a16="http://schemas.microsoft.com/office/drawing/2014/main" val="1853970278"/>
                    </a:ext>
                  </a:extLst>
                </a:gridCol>
                <a:gridCol w="3712191">
                  <a:extLst>
                    <a:ext uri="{9D8B030D-6E8A-4147-A177-3AD203B41FA5}">
                      <a16:colId xmlns:a16="http://schemas.microsoft.com/office/drawing/2014/main" val="3087462113"/>
                    </a:ext>
                  </a:extLst>
                </a:gridCol>
                <a:gridCol w="564108">
                  <a:extLst>
                    <a:ext uri="{9D8B030D-6E8A-4147-A177-3AD203B41FA5}">
                      <a16:colId xmlns:a16="http://schemas.microsoft.com/office/drawing/2014/main" val="1029806020"/>
                    </a:ext>
                  </a:extLst>
                </a:gridCol>
                <a:gridCol w="564108">
                  <a:extLst>
                    <a:ext uri="{9D8B030D-6E8A-4147-A177-3AD203B41FA5}">
                      <a16:colId xmlns:a16="http://schemas.microsoft.com/office/drawing/2014/main" val="3714934659"/>
                    </a:ext>
                  </a:extLst>
                </a:gridCol>
                <a:gridCol w="564108">
                  <a:extLst>
                    <a:ext uri="{9D8B030D-6E8A-4147-A177-3AD203B41FA5}">
                      <a16:colId xmlns:a16="http://schemas.microsoft.com/office/drawing/2014/main" val="1845500442"/>
                    </a:ext>
                  </a:extLst>
                </a:gridCol>
                <a:gridCol w="732051">
                  <a:extLst>
                    <a:ext uri="{9D8B030D-6E8A-4147-A177-3AD203B41FA5}">
                      <a16:colId xmlns:a16="http://schemas.microsoft.com/office/drawing/2014/main" val="2590076437"/>
                    </a:ext>
                  </a:extLst>
                </a:gridCol>
                <a:gridCol w="732051">
                  <a:extLst>
                    <a:ext uri="{9D8B030D-6E8A-4147-A177-3AD203B41FA5}">
                      <a16:colId xmlns:a16="http://schemas.microsoft.com/office/drawing/2014/main" val="1385158084"/>
                    </a:ext>
                  </a:extLst>
                </a:gridCol>
              </a:tblGrid>
              <a:tr h="645356">
                <a:tc>
                  <a:txBody>
                    <a:bodyPr/>
                    <a:lstStyle/>
                    <a:p>
                      <a:pPr algn="ctr"/>
                      <a:r>
                        <a:rPr lang="en-GB" sz="900">
                          <a:solidFill>
                            <a:srgbClr val="50235C"/>
                          </a:solidFill>
                        </a:rPr>
                        <a:t>Roadmap ref</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gridSpan="2">
                  <a:txBody>
                    <a:bodyPr/>
                    <a:lstStyle/>
                    <a:p>
                      <a:r>
                        <a:rPr lang="en-GB" sz="900">
                          <a:solidFill>
                            <a:srgbClr val="50235C"/>
                          </a:solidFill>
                        </a:rPr>
                        <a:t>Future activity</a:t>
                      </a:r>
                      <a:endParaRPr lang="en-US"/>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hMerge="1">
                  <a:txBody>
                    <a:bodyPr/>
                    <a:lstStyle/>
                    <a:p>
                      <a:r>
                        <a:rPr lang="en-GB" sz="900"/>
                        <a:t>Future activity</a:t>
                      </a:r>
                    </a:p>
                  </a:txBody>
                  <a:tcPr anchor="ctr"/>
                </a:tc>
                <a:tc>
                  <a:txBody>
                    <a:bodyPr/>
                    <a:lstStyle/>
                    <a:p>
                      <a:pPr marL="0" algn="ctr" defTabSz="914400" rtl="0" eaLnBrk="1" fontAlgn="ctr" latinLnBrk="0" hangingPunct="1"/>
                      <a:r>
                        <a:rPr lang="en-GB" sz="900" b="1" kern="1200">
                          <a:solidFill>
                            <a:srgbClr val="50235C"/>
                          </a:solidFill>
                          <a:latin typeface="+mn-lt"/>
                          <a:ea typeface="+mn-ea"/>
                          <a:cs typeface="+mn-cs"/>
                        </a:rPr>
                        <a:t>Target outcome / Expected benefit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algn="ctr" defTabSz="914400" rtl="0" eaLnBrk="1" fontAlgn="ctr" latinLnBrk="0" hangingPunct="1"/>
                      <a:r>
                        <a:rPr lang="en-GB" sz="900" b="1" kern="1200">
                          <a:solidFill>
                            <a:srgbClr val="50235C"/>
                          </a:solidFill>
                          <a:latin typeface="+mn-lt"/>
                          <a:ea typeface="+mn-ea"/>
                          <a:cs typeface="+mn-cs"/>
                        </a:rPr>
                        <a:t>Impact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Ease</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algn="ctr" defTabSz="914400" rtl="0" eaLnBrk="1" fontAlgn="ctr" latinLnBrk="0" hangingPunct="1"/>
                      <a:r>
                        <a:rPr lang="en-GB" sz="900" b="1" kern="1200">
                          <a:solidFill>
                            <a:srgbClr val="50235C"/>
                          </a:solidFill>
                          <a:latin typeface="+mn-lt"/>
                          <a:ea typeface="+mn-ea"/>
                          <a:cs typeface="+mn-cs"/>
                        </a:rPr>
                        <a:t>Score</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algn="ctr"/>
                      <a:r>
                        <a:rPr lang="en-GB" sz="900" b="1">
                          <a:solidFill>
                            <a:srgbClr val="50235C"/>
                          </a:solidFill>
                        </a:rPr>
                        <a:t>Resource required</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algn="ctr"/>
                      <a:r>
                        <a:rPr lang="en-GB" sz="900" b="1">
                          <a:solidFill>
                            <a:srgbClr val="50235C"/>
                          </a:solidFill>
                        </a:rPr>
                        <a:t>Short /</a:t>
                      </a:r>
                    </a:p>
                    <a:p>
                      <a:pPr algn="ctr"/>
                      <a:r>
                        <a:rPr lang="en-GB" sz="900" b="1">
                          <a:solidFill>
                            <a:srgbClr val="50235C"/>
                          </a:solidFill>
                        </a:rPr>
                        <a:t>Medium /</a:t>
                      </a:r>
                      <a:br>
                        <a:rPr lang="en-GB" sz="900" b="1">
                          <a:solidFill>
                            <a:srgbClr val="50235C"/>
                          </a:solidFill>
                        </a:rPr>
                      </a:br>
                      <a:r>
                        <a:rPr lang="en-GB" sz="900" b="1">
                          <a:solidFill>
                            <a:srgbClr val="50235C"/>
                          </a:solidFill>
                        </a:rPr>
                        <a:t>Long</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extLst>
                  <a:ext uri="{0D108BD9-81ED-4DB2-BD59-A6C34878D82A}">
                    <a16:rowId xmlns:a16="http://schemas.microsoft.com/office/drawing/2014/main" val="466195498"/>
                  </a:ext>
                </a:extLst>
              </a:tr>
              <a:tr h="77936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strike="noStrike" kern="1200">
                          <a:solidFill>
                            <a:srgbClr val="50235C"/>
                          </a:solidFill>
                          <a:latin typeface="+mn-lt"/>
                          <a:ea typeface="+mn-ea"/>
                          <a:cs typeface="+mn-cs"/>
                        </a:rPr>
                        <a:t>A6</a:t>
                      </a:r>
                    </a:p>
                  </a:txBody>
                  <a:tcPr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strike="noStrike" kern="1200">
                          <a:solidFill>
                            <a:srgbClr val="50235C"/>
                          </a:solidFill>
                          <a:latin typeface="+mn-lt"/>
                          <a:ea typeface="+mn-ea"/>
                          <a:cs typeface="+mn-cs"/>
                        </a:rPr>
                        <a:t>Raise the profile and awareness of mental health  </a:t>
                      </a:r>
                    </a:p>
                  </a:txBody>
                  <a:tcPr marL="9525" marR="9525" marT="9525" marB="0" anchor="ct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0" i="0" u="none" strike="noStrike">
                          <a:solidFill>
                            <a:srgbClr val="50235C"/>
                          </a:solidFill>
                          <a:effectLst/>
                          <a:latin typeface="Arial" panose="020B0604020202020204" pitchFamily="34" charset="0"/>
                        </a:rPr>
                        <a:t>Increase focused promotion of phone lines</a:t>
                      </a:r>
                    </a:p>
                  </a:txBody>
                  <a:tcPr marL="95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96838" indent="-87313" algn="l" defTabSz="914400" rtl="0" eaLnBrk="1" fontAlgn="ctr" latinLnBrk="0" hangingPunct="1">
                        <a:buClr>
                          <a:srgbClr val="000000"/>
                        </a:buClr>
                        <a:buSzPts val="900"/>
                        <a:buFont typeface="Arial" panose="020B0604020202020204" pitchFamily="34" charset="0"/>
                        <a:buChar char="•"/>
                        <a:tabLst/>
                      </a:pPr>
                      <a:r>
                        <a:rPr lang="en-GB" sz="800" b="0" i="0" u="none" strike="noStrike" kern="1200">
                          <a:solidFill>
                            <a:schemeClr val="tx2">
                              <a:lumMod val="65000"/>
                              <a:lumOff val="35000"/>
                            </a:schemeClr>
                          </a:solidFill>
                          <a:effectLst/>
                          <a:latin typeface="Arial" panose="020B0604020202020204" pitchFamily="34" charset="0"/>
                          <a:ea typeface="+mn-ea"/>
                          <a:cs typeface="+mn-cs"/>
                        </a:rPr>
                        <a:t>Create more awareness of the resources and support available to help deal with the issues they face, thus stopping further escalation and crisis. This may reduce demand on secondary care and A&amp;E admissions.  </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9</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0">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Short </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1738425369"/>
                  </a:ext>
                </a:extLst>
              </a:tr>
              <a:tr h="77936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strike="noStrike">
                          <a:solidFill>
                            <a:srgbClr val="50235C"/>
                          </a:solidFill>
                        </a:rPr>
                        <a:t>D2</a:t>
                      </a:r>
                    </a:p>
                  </a:txBody>
                  <a:tcPr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Act as one integrated system </a:t>
                      </a:r>
                    </a:p>
                  </a:txBody>
                  <a:tcPr marL="9525" marR="9525" marT="9525" marB="0" anchor="ct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0" i="0" u="none" strike="noStrike">
                          <a:solidFill>
                            <a:srgbClr val="50235C"/>
                          </a:solidFill>
                          <a:effectLst/>
                          <a:latin typeface="Arial" panose="020B0604020202020204" pitchFamily="34" charset="0"/>
                        </a:rPr>
                        <a:t>Nominated and effective place based leadership – focused on prevention and resilience</a:t>
                      </a:r>
                    </a:p>
                  </a:txBody>
                  <a:tcPr marL="95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88913" indent="-95250" algn="l" defTabSz="914400" rtl="0" eaLnBrk="1" fontAlgn="ctr" latinLnBrk="0" hangingPunct="1">
                        <a:buClr>
                          <a:srgbClr val="000000"/>
                        </a:buClr>
                        <a:buSzPts val="900"/>
                        <a:buFont typeface="Arial" panose="020B0604020202020204" pitchFamily="34" charset="0"/>
                        <a:buChar char="•"/>
                        <a:tabLst/>
                      </a:pPr>
                      <a:r>
                        <a:rPr lang="en-GB" sz="800" b="0" i="0" u="none" strike="noStrike" kern="1200">
                          <a:solidFill>
                            <a:schemeClr val="tx2">
                              <a:lumMod val="65000"/>
                              <a:lumOff val="35000"/>
                            </a:schemeClr>
                          </a:solidFill>
                          <a:effectLst/>
                          <a:latin typeface="Arial" panose="020B0604020202020204" pitchFamily="34" charset="0"/>
                          <a:ea typeface="+mn-ea"/>
                          <a:cs typeface="+mn-cs"/>
                        </a:rPr>
                        <a:t>A localised support offering that supports people wherever they live within the ICS.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1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0">
                          <a:solidFill>
                            <a:schemeClr val="tx2">
                              <a:lumMod val="65000"/>
                              <a:lumOff val="35000"/>
                            </a:schemeClr>
                          </a:solidFill>
                        </a:rPr>
                        <a:t>Low</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Short</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4199580168"/>
                  </a:ext>
                </a:extLst>
              </a:tr>
              <a:tr h="77936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F1 &amp; H1</a:t>
                      </a:r>
                    </a:p>
                  </a:txBody>
                  <a:tcPr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Build community resources </a:t>
                      </a:r>
                    </a:p>
                  </a:txBody>
                  <a:tcPr marL="9525" marR="9525" marT="9525" marB="0" anchor="ct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0" i="0" u="none" strike="noStrike">
                          <a:solidFill>
                            <a:srgbClr val="50235C"/>
                          </a:solidFill>
                          <a:effectLst/>
                          <a:latin typeface="Arial" panose="020B0604020202020204" pitchFamily="34" charset="0"/>
                        </a:rPr>
                        <a:t>Complete the build of a seclusion suite at Redwoods</a:t>
                      </a:r>
                    </a:p>
                  </a:txBody>
                  <a:tcPr marL="95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88913" indent="-95250" algn="l" defTabSz="914400" rtl="0" eaLnBrk="1" fontAlgn="ctr" latinLnBrk="0" hangingPunct="1">
                        <a:buClr>
                          <a:srgbClr val="000000"/>
                        </a:buClr>
                        <a:buSzPts val="900"/>
                        <a:buFont typeface="Arial" panose="020B0604020202020204" pitchFamily="34" charset="0"/>
                        <a:buChar char="•"/>
                        <a:tabLst/>
                      </a:pPr>
                      <a:r>
                        <a:rPr lang="en-GB" sz="800" b="0" i="0" u="none" strike="noStrike" kern="1200">
                          <a:solidFill>
                            <a:schemeClr val="tx2">
                              <a:lumMod val="65000"/>
                              <a:lumOff val="35000"/>
                            </a:schemeClr>
                          </a:solidFill>
                          <a:effectLst/>
                          <a:latin typeface="Arial" panose="020B0604020202020204" pitchFamily="34" charset="0"/>
                          <a:ea typeface="+mn-ea"/>
                          <a:cs typeface="+mn-cs"/>
                        </a:rPr>
                        <a:t>This would reduce the demand on the S136 suite and support the reduction in out of area placements.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20</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0">
                          <a:solidFill>
                            <a:schemeClr val="tx2">
                              <a:lumMod val="65000"/>
                              <a:lumOff val="35000"/>
                            </a:schemeClr>
                          </a:solidFill>
                        </a:rPr>
                        <a:t>Low</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Short</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570282075"/>
                  </a:ext>
                </a:extLst>
              </a:tr>
              <a:tr h="77936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H1</a:t>
                      </a:r>
                    </a:p>
                  </a:txBody>
                  <a:tcPr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Supported transition from services </a:t>
                      </a:r>
                    </a:p>
                  </a:txBody>
                  <a:tcPr marL="9525" marR="9525" marT="9525" marB="0" anchor="ct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0" i="0" u="none" strike="noStrike">
                          <a:solidFill>
                            <a:srgbClr val="50235C"/>
                          </a:solidFill>
                          <a:effectLst/>
                          <a:latin typeface="Arial" panose="020B0604020202020204" pitchFamily="34" charset="0"/>
                        </a:rPr>
                        <a:t>Plans to build a seclusion suite at redwoods</a:t>
                      </a:r>
                    </a:p>
                  </a:txBody>
                  <a:tcPr marL="95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96838" indent="-87313" algn="l" defTabSz="914400" rtl="0" eaLnBrk="1" fontAlgn="ctr" latinLnBrk="0" hangingPunct="1">
                        <a:buClr>
                          <a:srgbClr val="000000"/>
                        </a:buClr>
                        <a:buSzPts val="900"/>
                        <a:buFont typeface="Arial" panose="020B0604020202020204" pitchFamily="34" charset="0"/>
                        <a:buChar char="•"/>
                        <a:tabLst/>
                      </a:pPr>
                      <a:r>
                        <a:rPr lang="en-GB" sz="800" b="0" i="0" u="none" strike="noStrike" kern="1200">
                          <a:solidFill>
                            <a:schemeClr val="tx2">
                              <a:lumMod val="65000"/>
                              <a:lumOff val="35000"/>
                            </a:schemeClr>
                          </a:solidFill>
                          <a:effectLst/>
                          <a:latin typeface="Arial" panose="020B0604020202020204" pitchFamily="34" charset="0"/>
                          <a:ea typeface="+mn-ea"/>
                          <a:cs typeface="+mn-cs"/>
                        </a:rPr>
                        <a:t>This would free up the S136 suite and allow for more people in crisis to be supported and reduce out of area and inappropriate placements.</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900" b="0" i="0" u="none" strike="noStrike" kern="1200">
                          <a:solidFill>
                            <a:schemeClr val="tx2">
                              <a:lumMod val="65000"/>
                              <a:lumOff val="35000"/>
                            </a:schemeClr>
                          </a:solidFill>
                          <a:effectLst/>
                          <a:latin typeface="Arial" panose="020B0604020202020204" pitchFamily="34" charset="0"/>
                          <a:ea typeface="+mn-ea"/>
                          <a:cs typeface="+mn-cs"/>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900" b="0" i="0" u="none" strike="noStrike" kern="1200">
                          <a:solidFill>
                            <a:schemeClr val="tx2">
                              <a:lumMod val="65000"/>
                              <a:lumOff val="35000"/>
                            </a:schemeClr>
                          </a:solidFill>
                          <a:effectLst/>
                          <a:latin typeface="Arial" panose="020B0604020202020204" pitchFamily="34" charset="0"/>
                          <a:ea typeface="+mn-ea"/>
                          <a:cs typeface="+mn-cs"/>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900" b="0" i="0" u="none" strike="noStrike" kern="1200">
                          <a:solidFill>
                            <a:schemeClr val="tx2">
                              <a:lumMod val="65000"/>
                              <a:lumOff val="35000"/>
                            </a:schemeClr>
                          </a:solidFill>
                          <a:effectLst/>
                          <a:latin typeface="Arial" panose="020B0604020202020204" pitchFamily="34" charset="0"/>
                          <a:ea typeface="+mn-ea"/>
                          <a:cs typeface="+mn-cs"/>
                        </a:rPr>
                        <a:t>20</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900" b="0" i="0" u="none" strike="noStrike" kern="1200">
                          <a:solidFill>
                            <a:schemeClr val="tx2">
                              <a:lumMod val="65000"/>
                              <a:lumOff val="35000"/>
                            </a:schemeClr>
                          </a:solidFill>
                          <a:effectLst/>
                          <a:latin typeface="Arial" panose="020B0604020202020204" pitchFamily="34" charset="0"/>
                          <a:ea typeface="+mn-ea"/>
                          <a:cs typeface="+mn-cs"/>
                        </a:rPr>
                        <a:t>Low</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900" b="1" i="0" u="none" strike="noStrike" kern="1200">
                          <a:solidFill>
                            <a:schemeClr val="tx2">
                              <a:lumMod val="65000"/>
                              <a:lumOff val="35000"/>
                            </a:schemeClr>
                          </a:solidFill>
                          <a:effectLst/>
                          <a:latin typeface="Arial" panose="020B0604020202020204" pitchFamily="34" charset="0"/>
                          <a:ea typeface="+mn-ea"/>
                          <a:cs typeface="+mn-cs"/>
                        </a:rPr>
                        <a:t>Short</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2752216538"/>
                  </a:ext>
                </a:extLst>
              </a:tr>
              <a:tr h="77936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J1</a:t>
                      </a:r>
                    </a:p>
                  </a:txBody>
                  <a:tcPr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Autism journey mapping</a:t>
                      </a:r>
                    </a:p>
                  </a:txBody>
                  <a:tcPr marL="9525" marR="9525" marT="9525" marB="0" anchor="ct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indent="0" algn="l" rtl="0" fontAlgn="ctr">
                        <a:buClr>
                          <a:srgbClr val="000000"/>
                        </a:buClr>
                        <a:buSzPts val="850"/>
                        <a:buFont typeface="Arial" panose="020B0604020202020204" pitchFamily="34" charset="0"/>
                        <a:buNone/>
                      </a:pPr>
                      <a:r>
                        <a:rPr lang="en-GB" sz="900" b="0" i="0" u="none" strike="noStrike" kern="1200">
                          <a:solidFill>
                            <a:srgbClr val="50235C"/>
                          </a:solidFill>
                          <a:effectLst/>
                          <a:latin typeface="Arial" panose="020B0604020202020204" pitchFamily="34" charset="0"/>
                          <a:ea typeface="+mn-ea"/>
                          <a:cs typeface="+mn-cs"/>
                        </a:rPr>
                        <a:t>Using learnings from other systems to develop and roll out Autism passports for all health and care settings across the ICS. </a:t>
                      </a:r>
                    </a:p>
                  </a:txBody>
                  <a:tcPr marL="857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indent="-171450" algn="l" rtl="0" fontAlgn="ctr">
                        <a:buClr>
                          <a:srgbClr val="000000"/>
                        </a:buClr>
                        <a:buSzPts val="850"/>
                        <a:buFont typeface="Arial" panose="020B0604020202020204" pitchFamily="34" charset="0"/>
                        <a:buChar char="•"/>
                      </a:pPr>
                      <a:r>
                        <a:rPr lang="en-GB" sz="800" b="0" i="0" u="none" strike="noStrike" kern="1200">
                          <a:solidFill>
                            <a:schemeClr val="tx2">
                              <a:lumMod val="65000"/>
                              <a:lumOff val="35000"/>
                            </a:schemeClr>
                          </a:solidFill>
                          <a:effectLst/>
                          <a:latin typeface="Arial" panose="020B0604020202020204" pitchFamily="34" charset="0"/>
                          <a:ea typeface="+mn-ea"/>
                          <a:cs typeface="+mn-cs"/>
                        </a:rPr>
                        <a:t>People with Autism will be better supported in their care and will have easier access to services and support. </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20</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Low</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50" b="1" i="0" u="none" strike="noStrike">
                          <a:solidFill>
                            <a:srgbClr val="595959"/>
                          </a:solidFill>
                          <a:effectLst/>
                          <a:latin typeface="Arial" panose="020B0604020202020204" pitchFamily="34" charset="0"/>
                        </a:rPr>
                        <a:t>Short</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1922301071"/>
                  </a:ext>
                </a:extLst>
              </a:tr>
              <a:tr h="77936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J2</a:t>
                      </a:r>
                    </a:p>
                  </a:txBody>
                  <a:tcPr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SMI journey mapping</a:t>
                      </a:r>
                    </a:p>
                  </a:txBody>
                  <a:tcPr marL="9525" marR="9525" marT="9525" marB="0" anchor="ct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indent="0" algn="l" rtl="0" fontAlgn="ctr">
                        <a:buClr>
                          <a:srgbClr val="000000"/>
                        </a:buClr>
                        <a:buSzPts val="850"/>
                        <a:buFont typeface="Arial" panose="020B0604020202020204" pitchFamily="34" charset="0"/>
                        <a:buNone/>
                      </a:pPr>
                      <a:r>
                        <a:rPr lang="en-GB" sz="900" b="0" i="0" u="none" strike="noStrike" kern="1200">
                          <a:solidFill>
                            <a:srgbClr val="50235C"/>
                          </a:solidFill>
                          <a:effectLst/>
                          <a:latin typeface="Arial" panose="020B0604020202020204" pitchFamily="34" charset="0"/>
                          <a:ea typeface="+mn-ea"/>
                          <a:cs typeface="+mn-cs"/>
                        </a:rPr>
                        <a:t>Commission one Band 4 admin staff through secondment in the short term to support the multiple administration tasks to support the delivery of PHCs.</a:t>
                      </a:r>
                    </a:p>
                  </a:txBody>
                  <a:tcPr marL="857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indent="-171450" algn="l" rtl="0" fontAlgn="ctr">
                        <a:buClr>
                          <a:srgbClr val="000000"/>
                        </a:buClr>
                        <a:buSzPts val="850"/>
                        <a:buFont typeface="Arial" panose="020B0604020202020204" pitchFamily="34" charset="0"/>
                        <a:buChar char="•"/>
                      </a:pPr>
                      <a:r>
                        <a:rPr lang="en-GB" sz="800" b="0" i="0" u="none" strike="noStrike" kern="1200">
                          <a:solidFill>
                            <a:schemeClr val="tx2">
                              <a:lumMod val="65000"/>
                              <a:lumOff val="35000"/>
                            </a:schemeClr>
                          </a:solidFill>
                          <a:effectLst/>
                          <a:latin typeface="Arial" panose="020B0604020202020204" pitchFamily="34" charset="0"/>
                          <a:ea typeface="+mn-ea"/>
                          <a:cs typeface="+mn-cs"/>
                        </a:rPr>
                        <a:t>More efficient delivery of SMI PHCs across the system leading to an increase delivery of all six PHCs against the national 60% target. </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20</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Medium</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50" b="1" i="0" u="none" strike="noStrike">
                          <a:solidFill>
                            <a:srgbClr val="595959"/>
                          </a:solidFill>
                          <a:effectLst/>
                          <a:latin typeface="Arial" panose="020B0604020202020204" pitchFamily="34" charset="0"/>
                        </a:rPr>
                        <a:t>Short</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2414582437"/>
                  </a:ext>
                </a:extLst>
              </a:tr>
            </a:tbl>
          </a:graphicData>
        </a:graphic>
      </p:graphicFrame>
    </p:spTree>
    <p:extLst>
      <p:ext uri="{BB962C8B-B14F-4D97-AF65-F5344CB8AC3E}">
        <p14:creationId xmlns:p14="http://schemas.microsoft.com/office/powerpoint/2010/main" val="3125909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Shape">
            <a:extLst>
              <a:ext uri="{FF2B5EF4-FFF2-40B4-BE49-F238E27FC236}">
                <a16:creationId xmlns:a16="http://schemas.microsoft.com/office/drawing/2014/main" id="{32338005-3E53-DF49-9080-C488CB2CA8BB}"/>
              </a:ext>
            </a:extLst>
          </p:cNvPr>
          <p:cNvSpPr/>
          <p:nvPr/>
        </p:nvSpPr>
        <p:spPr>
          <a:xfrm>
            <a:off x="1478820" y="2043111"/>
            <a:ext cx="839114" cy="1216022"/>
          </a:xfrm>
          <a:custGeom>
            <a:avLst/>
            <a:gdLst/>
            <a:ahLst/>
            <a:cxnLst>
              <a:cxn ang="0">
                <a:pos x="wd2" y="hd2"/>
              </a:cxn>
              <a:cxn ang="5400000">
                <a:pos x="wd2" y="hd2"/>
              </a:cxn>
              <a:cxn ang="10800000">
                <a:pos x="wd2" y="hd2"/>
              </a:cxn>
              <a:cxn ang="16200000">
                <a:pos x="wd2" y="hd2"/>
              </a:cxn>
            </a:cxnLst>
            <a:rect l="0" t="0" r="r" b="b"/>
            <a:pathLst>
              <a:path w="21600" h="21600" extrusionOk="0">
                <a:moveTo>
                  <a:pt x="15735" y="11318"/>
                </a:moveTo>
                <a:cubicBezTo>
                  <a:pt x="15693" y="5201"/>
                  <a:pt x="8702" y="214"/>
                  <a:pt x="5" y="0"/>
                </a:cubicBezTo>
                <a:cubicBezTo>
                  <a:pt x="121" y="363"/>
                  <a:pt x="186" y="740"/>
                  <a:pt x="186" y="1126"/>
                </a:cubicBezTo>
                <a:cubicBezTo>
                  <a:pt x="186" y="1522"/>
                  <a:pt x="116" y="1901"/>
                  <a:pt x="0" y="2271"/>
                </a:cubicBezTo>
                <a:cubicBezTo>
                  <a:pt x="6916" y="2482"/>
                  <a:pt x="12451" y="6460"/>
                  <a:pt x="12484" y="11331"/>
                </a:cubicBezTo>
                <a:cubicBezTo>
                  <a:pt x="9163" y="11859"/>
                  <a:pt x="6684" y="13926"/>
                  <a:pt x="6684" y="16399"/>
                </a:cubicBezTo>
                <a:cubicBezTo>
                  <a:pt x="6684" y="18874"/>
                  <a:pt x="9163" y="20941"/>
                  <a:pt x="12484" y="21467"/>
                </a:cubicBezTo>
                <a:cubicBezTo>
                  <a:pt x="13019" y="21551"/>
                  <a:pt x="13572" y="21600"/>
                  <a:pt x="14144" y="21600"/>
                </a:cubicBezTo>
                <a:cubicBezTo>
                  <a:pt x="14693" y="21600"/>
                  <a:pt x="15228" y="21555"/>
                  <a:pt x="15740" y="21477"/>
                </a:cubicBezTo>
                <a:cubicBezTo>
                  <a:pt x="19093" y="20967"/>
                  <a:pt x="21600" y="18887"/>
                  <a:pt x="21600" y="16395"/>
                </a:cubicBezTo>
                <a:cubicBezTo>
                  <a:pt x="21600" y="13910"/>
                  <a:pt x="19088" y="11830"/>
                  <a:pt x="15735" y="11318"/>
                </a:cubicBezTo>
                <a:close/>
              </a:path>
            </a:pathLst>
          </a:custGeom>
          <a:solidFill>
            <a:srgbClr val="4E235C"/>
          </a:solidFill>
          <a:ln w="12700">
            <a:miter lim="400000"/>
          </a:ln>
        </p:spPr>
        <p:txBody>
          <a:bodyPr lIns="28575" tIns="28575" rIns="28575" bIns="28575" anchor="ctr"/>
          <a:lstStyle/>
          <a:p>
            <a:pPr>
              <a:defRPr sz="3000">
                <a:solidFill>
                  <a:srgbClr val="FFFFFF"/>
                </a:solidFill>
              </a:defRPr>
            </a:pPr>
            <a:endParaRPr sz="2250"/>
          </a:p>
        </p:txBody>
      </p:sp>
      <p:sp>
        <p:nvSpPr>
          <p:cNvPr id="33" name="Shape">
            <a:extLst>
              <a:ext uri="{FF2B5EF4-FFF2-40B4-BE49-F238E27FC236}">
                <a16:creationId xmlns:a16="http://schemas.microsoft.com/office/drawing/2014/main" id="{AB764455-DD30-9347-B13A-9F62E5D9CB1B}"/>
              </a:ext>
            </a:extLst>
          </p:cNvPr>
          <p:cNvSpPr/>
          <p:nvPr/>
        </p:nvSpPr>
        <p:spPr>
          <a:xfrm>
            <a:off x="9818630" y="4367723"/>
            <a:ext cx="1701108" cy="1775753"/>
          </a:xfrm>
          <a:custGeom>
            <a:avLst/>
            <a:gdLst/>
            <a:ahLst/>
            <a:cxnLst>
              <a:cxn ang="0">
                <a:pos x="wd2" y="hd2"/>
              </a:cxn>
              <a:cxn ang="5400000">
                <a:pos x="wd2" y="hd2"/>
              </a:cxn>
              <a:cxn ang="10800000">
                <a:pos x="wd2" y="hd2"/>
              </a:cxn>
              <a:cxn ang="16200000">
                <a:pos x="wd2" y="hd2"/>
              </a:cxn>
            </a:cxnLst>
            <a:rect l="0" t="0" r="r" b="b"/>
            <a:pathLst>
              <a:path w="21521" h="21525" extrusionOk="0">
                <a:moveTo>
                  <a:pt x="21287" y="2661"/>
                </a:moveTo>
                <a:lnTo>
                  <a:pt x="18745" y="225"/>
                </a:lnTo>
                <a:cubicBezTo>
                  <a:pt x="18432" y="-75"/>
                  <a:pt x="17926" y="-75"/>
                  <a:pt x="17613" y="225"/>
                </a:cubicBezTo>
                <a:cubicBezTo>
                  <a:pt x="17300" y="525"/>
                  <a:pt x="17300" y="1009"/>
                  <a:pt x="17613" y="1309"/>
                </a:cubicBezTo>
                <a:lnTo>
                  <a:pt x="18843" y="2488"/>
                </a:lnTo>
                <a:lnTo>
                  <a:pt x="13780" y="2488"/>
                </a:lnTo>
                <a:cubicBezTo>
                  <a:pt x="9356" y="2488"/>
                  <a:pt x="5761" y="5935"/>
                  <a:pt x="5761" y="10171"/>
                </a:cubicBezTo>
                <a:lnTo>
                  <a:pt x="5761" y="13868"/>
                </a:lnTo>
                <a:cubicBezTo>
                  <a:pt x="5761" y="17046"/>
                  <a:pt x="3232" y="19670"/>
                  <a:pt x="0" y="19987"/>
                </a:cubicBezTo>
                <a:cubicBezTo>
                  <a:pt x="62" y="20244"/>
                  <a:pt x="98" y="20511"/>
                  <a:pt x="98" y="20787"/>
                </a:cubicBezTo>
                <a:cubicBezTo>
                  <a:pt x="98" y="21041"/>
                  <a:pt x="69" y="21286"/>
                  <a:pt x="16" y="21525"/>
                </a:cubicBezTo>
                <a:cubicBezTo>
                  <a:pt x="4124" y="21194"/>
                  <a:pt x="7361" y="17889"/>
                  <a:pt x="7361" y="13870"/>
                </a:cubicBezTo>
                <a:lnTo>
                  <a:pt x="7361" y="10173"/>
                </a:lnTo>
                <a:cubicBezTo>
                  <a:pt x="7361" y="6780"/>
                  <a:pt x="10241" y="4023"/>
                  <a:pt x="13780" y="4023"/>
                </a:cubicBezTo>
                <a:lnTo>
                  <a:pt x="18738" y="4023"/>
                </a:lnTo>
                <a:lnTo>
                  <a:pt x="17508" y="5201"/>
                </a:lnTo>
                <a:cubicBezTo>
                  <a:pt x="17195" y="5501"/>
                  <a:pt x="17195" y="5985"/>
                  <a:pt x="17508" y="6285"/>
                </a:cubicBezTo>
                <a:cubicBezTo>
                  <a:pt x="17664" y="6434"/>
                  <a:pt x="17869" y="6511"/>
                  <a:pt x="18073" y="6511"/>
                </a:cubicBezTo>
                <a:cubicBezTo>
                  <a:pt x="18276" y="6511"/>
                  <a:pt x="18482" y="6437"/>
                  <a:pt x="18637" y="6285"/>
                </a:cubicBezTo>
                <a:lnTo>
                  <a:pt x="21285" y="3749"/>
                </a:lnTo>
                <a:cubicBezTo>
                  <a:pt x="21600" y="3447"/>
                  <a:pt x="21600" y="2961"/>
                  <a:pt x="21287" y="2661"/>
                </a:cubicBezTo>
                <a:close/>
              </a:path>
            </a:pathLst>
          </a:custGeom>
          <a:solidFill>
            <a:srgbClr val="4E235C"/>
          </a:solidFill>
          <a:ln w="12700">
            <a:miter lim="400000"/>
          </a:ln>
        </p:spPr>
        <p:txBody>
          <a:bodyPr lIns="28575" tIns="28575" rIns="28575" bIns="28575" anchor="ctr"/>
          <a:lstStyle/>
          <a:p>
            <a:pPr>
              <a:defRPr sz="3000">
                <a:solidFill>
                  <a:srgbClr val="FFFFFF"/>
                </a:solidFill>
              </a:defRPr>
            </a:pPr>
            <a:endParaRPr sz="2250"/>
          </a:p>
        </p:txBody>
      </p:sp>
      <p:sp>
        <p:nvSpPr>
          <p:cNvPr id="34" name="Shape">
            <a:extLst>
              <a:ext uri="{FF2B5EF4-FFF2-40B4-BE49-F238E27FC236}">
                <a16:creationId xmlns:a16="http://schemas.microsoft.com/office/drawing/2014/main" id="{329D3EB0-CA12-E046-8134-689D05E53572}"/>
              </a:ext>
            </a:extLst>
          </p:cNvPr>
          <p:cNvSpPr/>
          <p:nvPr/>
        </p:nvSpPr>
        <p:spPr>
          <a:xfrm>
            <a:off x="5343139" y="3734643"/>
            <a:ext cx="1193081" cy="1542710"/>
          </a:xfrm>
          <a:custGeom>
            <a:avLst/>
            <a:gdLst/>
            <a:ahLst/>
            <a:cxnLst>
              <a:cxn ang="0">
                <a:pos x="wd2" y="hd2"/>
              </a:cxn>
              <a:cxn ang="5400000">
                <a:pos x="wd2" y="hd2"/>
              </a:cxn>
              <a:cxn ang="10800000">
                <a:pos x="wd2" y="hd2"/>
              </a:cxn>
              <a:cxn ang="16200000">
                <a:pos x="wd2" y="hd2"/>
              </a:cxn>
            </a:cxnLst>
            <a:rect l="0" t="0" r="r" b="b"/>
            <a:pathLst>
              <a:path w="21600" h="21600" extrusionOk="0">
                <a:moveTo>
                  <a:pt x="21456" y="16624"/>
                </a:moveTo>
                <a:cubicBezTo>
                  <a:pt x="20916" y="14828"/>
                  <a:pt x="18839" y="13489"/>
                  <a:pt x="16353" y="13489"/>
                </a:cubicBezTo>
                <a:cubicBezTo>
                  <a:pt x="13850" y="13489"/>
                  <a:pt x="11763" y="14845"/>
                  <a:pt x="11237" y="16657"/>
                </a:cubicBezTo>
                <a:cubicBezTo>
                  <a:pt x="6281" y="16558"/>
                  <a:pt x="2290" y="13411"/>
                  <a:pt x="2290" y="9555"/>
                </a:cubicBezTo>
                <a:lnTo>
                  <a:pt x="2290" y="8"/>
                </a:lnTo>
                <a:cubicBezTo>
                  <a:pt x="1927" y="71"/>
                  <a:pt x="1547" y="104"/>
                  <a:pt x="1158" y="104"/>
                </a:cubicBezTo>
                <a:cubicBezTo>
                  <a:pt x="759" y="104"/>
                  <a:pt x="373" y="66"/>
                  <a:pt x="0" y="0"/>
                </a:cubicBezTo>
                <a:lnTo>
                  <a:pt x="0" y="9553"/>
                </a:lnTo>
                <a:cubicBezTo>
                  <a:pt x="0" y="14385"/>
                  <a:pt x="5018" y="18324"/>
                  <a:pt x="11233" y="18425"/>
                </a:cubicBezTo>
                <a:cubicBezTo>
                  <a:pt x="11754" y="20241"/>
                  <a:pt x="13847" y="21600"/>
                  <a:pt x="16353" y="21600"/>
                </a:cubicBezTo>
                <a:cubicBezTo>
                  <a:pt x="18872" y="21600"/>
                  <a:pt x="20975" y="20226"/>
                  <a:pt x="21482" y="18395"/>
                </a:cubicBezTo>
                <a:cubicBezTo>
                  <a:pt x="21557" y="18119"/>
                  <a:pt x="21600" y="17836"/>
                  <a:pt x="21600" y="17542"/>
                </a:cubicBezTo>
                <a:cubicBezTo>
                  <a:pt x="21597" y="17228"/>
                  <a:pt x="21544" y="16920"/>
                  <a:pt x="21456" y="16624"/>
                </a:cubicBezTo>
                <a:close/>
              </a:path>
            </a:pathLst>
          </a:custGeom>
          <a:solidFill>
            <a:srgbClr val="A590AA"/>
          </a:solidFill>
          <a:ln w="12700">
            <a:miter lim="400000"/>
          </a:ln>
        </p:spPr>
        <p:txBody>
          <a:bodyPr lIns="28575" tIns="28575" rIns="28575" bIns="28575" anchor="ctr"/>
          <a:lstStyle/>
          <a:p>
            <a:pPr>
              <a:defRPr sz="3000">
                <a:solidFill>
                  <a:srgbClr val="FFFFFF"/>
                </a:solidFill>
              </a:defRPr>
            </a:pPr>
            <a:endParaRPr sz="2250"/>
          </a:p>
        </p:txBody>
      </p:sp>
      <p:sp>
        <p:nvSpPr>
          <p:cNvPr id="36" name="Shape">
            <a:extLst>
              <a:ext uri="{FF2B5EF4-FFF2-40B4-BE49-F238E27FC236}">
                <a16:creationId xmlns:a16="http://schemas.microsoft.com/office/drawing/2014/main" id="{24FE0935-E8DE-6E4C-A2F6-F7166CE1D47E}"/>
              </a:ext>
            </a:extLst>
          </p:cNvPr>
          <p:cNvSpPr/>
          <p:nvPr/>
        </p:nvSpPr>
        <p:spPr>
          <a:xfrm>
            <a:off x="4819148" y="2043110"/>
            <a:ext cx="869288" cy="1710208"/>
          </a:xfrm>
          <a:custGeom>
            <a:avLst/>
            <a:gdLst/>
            <a:ahLst/>
            <a:cxnLst>
              <a:cxn ang="0">
                <a:pos x="wd2" y="hd2"/>
              </a:cxn>
              <a:cxn ang="5400000">
                <a:pos x="wd2" y="hd2"/>
              </a:cxn>
              <a:cxn ang="10800000">
                <a:pos x="wd2" y="hd2"/>
              </a:cxn>
              <a:cxn ang="16200000">
                <a:pos x="wd2" y="hd2"/>
              </a:cxn>
            </a:cxnLst>
            <a:rect l="0" t="0" r="r" b="b"/>
            <a:pathLst>
              <a:path w="21600" h="21600" extrusionOk="0">
                <a:moveTo>
                  <a:pt x="15952" y="14368"/>
                </a:moveTo>
                <a:lnTo>
                  <a:pt x="15952" y="8006"/>
                </a:lnTo>
                <a:cubicBezTo>
                  <a:pt x="15952" y="3592"/>
                  <a:pt x="8885" y="0"/>
                  <a:pt x="202" y="0"/>
                </a:cubicBezTo>
                <a:lnTo>
                  <a:pt x="0" y="0"/>
                </a:lnTo>
                <a:cubicBezTo>
                  <a:pt x="112" y="258"/>
                  <a:pt x="175" y="525"/>
                  <a:pt x="175" y="799"/>
                </a:cubicBezTo>
                <a:cubicBezTo>
                  <a:pt x="175" y="1073"/>
                  <a:pt x="112" y="1340"/>
                  <a:pt x="0" y="1597"/>
                </a:cubicBezTo>
                <a:lnTo>
                  <a:pt x="202" y="1597"/>
                </a:lnTo>
                <a:cubicBezTo>
                  <a:pt x="7157" y="1597"/>
                  <a:pt x="12809" y="4473"/>
                  <a:pt x="12809" y="8006"/>
                </a:cubicBezTo>
                <a:lnTo>
                  <a:pt x="12809" y="14373"/>
                </a:lnTo>
                <a:cubicBezTo>
                  <a:pt x="9599" y="14740"/>
                  <a:pt x="7202" y="16196"/>
                  <a:pt x="7202" y="17940"/>
                </a:cubicBezTo>
                <a:cubicBezTo>
                  <a:pt x="7202" y="19683"/>
                  <a:pt x="9599" y="21139"/>
                  <a:pt x="12809" y="21506"/>
                </a:cubicBezTo>
                <a:cubicBezTo>
                  <a:pt x="13321" y="21566"/>
                  <a:pt x="13851" y="21600"/>
                  <a:pt x="14398" y="21600"/>
                </a:cubicBezTo>
                <a:cubicBezTo>
                  <a:pt x="14933" y="21600"/>
                  <a:pt x="15449" y="21568"/>
                  <a:pt x="15952" y="21513"/>
                </a:cubicBezTo>
                <a:cubicBezTo>
                  <a:pt x="19180" y="21153"/>
                  <a:pt x="21600" y="19692"/>
                  <a:pt x="21600" y="17942"/>
                </a:cubicBezTo>
                <a:cubicBezTo>
                  <a:pt x="21600" y="16191"/>
                  <a:pt x="19180" y="14729"/>
                  <a:pt x="15952" y="14368"/>
                </a:cubicBezTo>
                <a:close/>
              </a:path>
            </a:pathLst>
          </a:custGeom>
          <a:solidFill>
            <a:srgbClr val="4E235C"/>
          </a:solidFill>
          <a:ln w="12700">
            <a:miter lim="400000"/>
          </a:ln>
        </p:spPr>
        <p:txBody>
          <a:bodyPr lIns="28575" tIns="28575" rIns="28575" bIns="28575" anchor="ctr"/>
          <a:lstStyle/>
          <a:p>
            <a:pPr>
              <a:defRPr sz="3000">
                <a:solidFill>
                  <a:srgbClr val="FFFFFF"/>
                </a:solidFill>
              </a:defRPr>
            </a:pPr>
            <a:endParaRPr sz="2250"/>
          </a:p>
        </p:txBody>
      </p:sp>
      <p:sp>
        <p:nvSpPr>
          <p:cNvPr id="38" name="Shape">
            <a:extLst>
              <a:ext uri="{FF2B5EF4-FFF2-40B4-BE49-F238E27FC236}">
                <a16:creationId xmlns:a16="http://schemas.microsoft.com/office/drawing/2014/main" id="{7B7AEABB-BE59-5D45-B59E-CAD0239C38A4}"/>
              </a:ext>
            </a:extLst>
          </p:cNvPr>
          <p:cNvSpPr/>
          <p:nvPr/>
        </p:nvSpPr>
        <p:spPr>
          <a:xfrm>
            <a:off x="3604327" y="1808217"/>
            <a:ext cx="1231208" cy="859712"/>
          </a:xfrm>
          <a:custGeom>
            <a:avLst/>
            <a:gdLst/>
            <a:ahLst/>
            <a:cxnLst>
              <a:cxn ang="0">
                <a:pos x="wd2" y="hd2"/>
              </a:cxn>
              <a:cxn ang="5400000">
                <a:pos x="wd2" y="hd2"/>
              </a:cxn>
              <a:cxn ang="10800000">
                <a:pos x="wd2" y="hd2"/>
              </a:cxn>
              <a:cxn ang="16200000">
                <a:pos x="wd2" y="hd2"/>
              </a:cxn>
            </a:cxnLst>
            <a:rect l="0" t="0" r="r" b="b"/>
            <a:pathLst>
              <a:path w="21600" h="21600" extrusionOk="0">
                <a:moveTo>
                  <a:pt x="21473" y="5693"/>
                </a:moveTo>
                <a:cubicBezTo>
                  <a:pt x="20966" y="2438"/>
                  <a:pt x="18940" y="0"/>
                  <a:pt x="16515" y="0"/>
                </a:cubicBezTo>
                <a:cubicBezTo>
                  <a:pt x="14090" y="0"/>
                  <a:pt x="12065" y="2438"/>
                  <a:pt x="11558" y="5693"/>
                </a:cubicBezTo>
                <a:lnTo>
                  <a:pt x="11120" y="5693"/>
                </a:lnTo>
                <a:cubicBezTo>
                  <a:pt x="4993" y="5693"/>
                  <a:pt x="6" y="12829"/>
                  <a:pt x="0" y="21600"/>
                </a:cubicBezTo>
                <a:cubicBezTo>
                  <a:pt x="399" y="21455"/>
                  <a:pt x="818" y="21368"/>
                  <a:pt x="1249" y="21368"/>
                </a:cubicBezTo>
                <a:cubicBezTo>
                  <a:pt x="1582" y="21368"/>
                  <a:pt x="1905" y="21418"/>
                  <a:pt x="2222" y="21505"/>
                </a:cubicBezTo>
                <a:cubicBezTo>
                  <a:pt x="2263" y="14527"/>
                  <a:pt x="6242" y="8866"/>
                  <a:pt x="11123" y="8866"/>
                </a:cubicBezTo>
                <a:lnTo>
                  <a:pt x="11561" y="8866"/>
                </a:lnTo>
                <a:cubicBezTo>
                  <a:pt x="12068" y="12121"/>
                  <a:pt x="14094" y="14559"/>
                  <a:pt x="16519" y="14559"/>
                </a:cubicBezTo>
                <a:cubicBezTo>
                  <a:pt x="18944" y="14559"/>
                  <a:pt x="20969" y="12126"/>
                  <a:pt x="21476" y="8866"/>
                </a:cubicBezTo>
                <a:cubicBezTo>
                  <a:pt x="21556" y="8353"/>
                  <a:pt x="21600" y="7822"/>
                  <a:pt x="21600" y="7277"/>
                </a:cubicBezTo>
                <a:cubicBezTo>
                  <a:pt x="21597" y="6737"/>
                  <a:pt x="21552" y="6206"/>
                  <a:pt x="21473" y="5693"/>
                </a:cubicBezTo>
                <a:close/>
              </a:path>
            </a:pathLst>
          </a:custGeom>
          <a:solidFill>
            <a:srgbClr val="A590AA"/>
          </a:solidFill>
          <a:ln w="12700">
            <a:miter lim="400000"/>
          </a:ln>
        </p:spPr>
        <p:txBody>
          <a:bodyPr lIns="28575" tIns="28575" rIns="28575" bIns="28575" anchor="ctr"/>
          <a:lstStyle/>
          <a:p>
            <a:pPr>
              <a:defRPr sz="3000">
                <a:solidFill>
                  <a:srgbClr val="FFFFFF"/>
                </a:solidFill>
              </a:defRPr>
            </a:pPr>
            <a:endParaRPr sz="2250"/>
          </a:p>
        </p:txBody>
      </p:sp>
      <p:sp>
        <p:nvSpPr>
          <p:cNvPr id="40" name="Shape">
            <a:extLst>
              <a:ext uri="{FF2B5EF4-FFF2-40B4-BE49-F238E27FC236}">
                <a16:creationId xmlns:a16="http://schemas.microsoft.com/office/drawing/2014/main" id="{B81D14B0-9601-284E-929D-24B199033209}"/>
              </a:ext>
            </a:extLst>
          </p:cNvPr>
          <p:cNvSpPr/>
          <p:nvPr/>
        </p:nvSpPr>
        <p:spPr>
          <a:xfrm>
            <a:off x="3134539" y="2650520"/>
            <a:ext cx="842005" cy="1350821"/>
          </a:xfrm>
          <a:custGeom>
            <a:avLst/>
            <a:gdLst/>
            <a:ahLst/>
            <a:cxnLst>
              <a:cxn ang="0">
                <a:pos x="wd2" y="hd2"/>
              </a:cxn>
              <a:cxn ang="5400000">
                <a:pos x="wd2" y="hd2"/>
              </a:cxn>
              <a:cxn ang="10800000">
                <a:pos x="wd2" y="hd2"/>
              </a:cxn>
              <a:cxn ang="16200000">
                <a:pos x="wd2" y="hd2"/>
              </a:cxn>
            </a:cxnLst>
            <a:rect l="0" t="0" r="r" b="b"/>
            <a:pathLst>
              <a:path w="21600" h="21600" extrusionOk="0">
                <a:moveTo>
                  <a:pt x="15588" y="87"/>
                </a:moveTo>
                <a:cubicBezTo>
                  <a:pt x="15129" y="32"/>
                  <a:pt x="14652" y="0"/>
                  <a:pt x="14165" y="0"/>
                </a:cubicBezTo>
                <a:cubicBezTo>
                  <a:pt x="13535" y="0"/>
                  <a:pt x="12923" y="55"/>
                  <a:pt x="12339" y="147"/>
                </a:cubicBezTo>
                <a:cubicBezTo>
                  <a:pt x="9117" y="656"/>
                  <a:pt x="6730" y="2467"/>
                  <a:pt x="6730" y="4634"/>
                </a:cubicBezTo>
                <a:cubicBezTo>
                  <a:pt x="6730" y="6798"/>
                  <a:pt x="9117" y="8613"/>
                  <a:pt x="12339" y="9121"/>
                </a:cubicBezTo>
                <a:lnTo>
                  <a:pt x="12339" y="11473"/>
                </a:lnTo>
                <a:cubicBezTo>
                  <a:pt x="12339" y="15778"/>
                  <a:pt x="6930" y="19312"/>
                  <a:pt x="125" y="19572"/>
                </a:cubicBezTo>
                <a:cubicBezTo>
                  <a:pt x="209" y="19846"/>
                  <a:pt x="255" y="20129"/>
                  <a:pt x="255" y="20418"/>
                </a:cubicBezTo>
                <a:cubicBezTo>
                  <a:pt x="255" y="20829"/>
                  <a:pt x="162" y="21222"/>
                  <a:pt x="0" y="21600"/>
                </a:cubicBezTo>
                <a:cubicBezTo>
                  <a:pt x="8654" y="21378"/>
                  <a:pt x="15584" y="16922"/>
                  <a:pt x="15584" y="11473"/>
                </a:cubicBezTo>
                <a:lnTo>
                  <a:pt x="15584" y="9182"/>
                </a:lnTo>
                <a:cubicBezTo>
                  <a:pt x="19009" y="8769"/>
                  <a:pt x="21600" y="6891"/>
                  <a:pt x="21600" y="4634"/>
                </a:cubicBezTo>
                <a:cubicBezTo>
                  <a:pt x="21600" y="2378"/>
                  <a:pt x="19014" y="500"/>
                  <a:pt x="15588" y="87"/>
                </a:cubicBezTo>
                <a:close/>
              </a:path>
            </a:pathLst>
          </a:custGeom>
          <a:solidFill>
            <a:srgbClr val="4E235C"/>
          </a:solidFill>
          <a:ln w="12700">
            <a:miter lim="400000"/>
          </a:ln>
        </p:spPr>
        <p:txBody>
          <a:bodyPr lIns="28575" tIns="28575" rIns="28575" bIns="28575" anchor="ctr"/>
          <a:lstStyle/>
          <a:p>
            <a:pPr>
              <a:defRPr sz="3000">
                <a:solidFill>
                  <a:srgbClr val="FFFFFF"/>
                </a:solidFill>
              </a:defRPr>
            </a:pPr>
            <a:endParaRPr sz="2250"/>
          </a:p>
        </p:txBody>
      </p:sp>
      <p:sp>
        <p:nvSpPr>
          <p:cNvPr id="42" name="Shape">
            <a:extLst>
              <a:ext uri="{FF2B5EF4-FFF2-40B4-BE49-F238E27FC236}">
                <a16:creationId xmlns:a16="http://schemas.microsoft.com/office/drawing/2014/main" id="{C3D6DC90-0222-F949-BCFD-E24AE0E2A4DA}"/>
              </a:ext>
            </a:extLst>
          </p:cNvPr>
          <p:cNvSpPr/>
          <p:nvPr/>
        </p:nvSpPr>
        <p:spPr>
          <a:xfrm>
            <a:off x="1966999" y="3228718"/>
            <a:ext cx="1186394" cy="994325"/>
          </a:xfrm>
          <a:custGeom>
            <a:avLst/>
            <a:gdLst/>
            <a:ahLst/>
            <a:cxnLst>
              <a:cxn ang="0">
                <a:pos x="wd2" y="hd2"/>
              </a:cxn>
              <a:cxn ang="5400000">
                <a:pos x="wd2" y="hd2"/>
              </a:cxn>
              <a:cxn ang="10800000">
                <a:pos x="wd2" y="hd2"/>
              </a:cxn>
              <a:cxn ang="16200000">
                <a:pos x="wd2" y="hd2"/>
              </a:cxn>
            </a:cxnLst>
            <a:rect l="0" t="0" r="r" b="b"/>
            <a:pathLst>
              <a:path w="21600" h="21600" extrusionOk="0">
                <a:moveTo>
                  <a:pt x="21505" y="14154"/>
                </a:moveTo>
                <a:cubicBezTo>
                  <a:pt x="21051" y="11230"/>
                  <a:pt x="18906" y="9012"/>
                  <a:pt x="16320" y="9012"/>
                </a:cubicBezTo>
                <a:cubicBezTo>
                  <a:pt x="13734" y="9012"/>
                  <a:pt x="11586" y="11234"/>
                  <a:pt x="11136" y="14166"/>
                </a:cubicBezTo>
                <a:cubicBezTo>
                  <a:pt x="6227" y="13911"/>
                  <a:pt x="2303" y="9071"/>
                  <a:pt x="2303" y="3156"/>
                </a:cubicBezTo>
                <a:lnTo>
                  <a:pt x="2303" y="12"/>
                </a:lnTo>
                <a:cubicBezTo>
                  <a:pt x="1938" y="106"/>
                  <a:pt x="1563" y="161"/>
                  <a:pt x="1174" y="161"/>
                </a:cubicBezTo>
                <a:cubicBezTo>
                  <a:pt x="770" y="161"/>
                  <a:pt x="378" y="102"/>
                  <a:pt x="0" y="0"/>
                </a:cubicBezTo>
                <a:lnTo>
                  <a:pt x="0" y="3156"/>
                </a:lnTo>
                <a:cubicBezTo>
                  <a:pt x="0" y="10621"/>
                  <a:pt x="5007" y="16717"/>
                  <a:pt x="11228" y="16917"/>
                </a:cubicBezTo>
                <a:cubicBezTo>
                  <a:pt x="11823" y="19614"/>
                  <a:pt x="13876" y="21600"/>
                  <a:pt x="16323" y="21600"/>
                </a:cubicBezTo>
                <a:cubicBezTo>
                  <a:pt x="18771" y="21600"/>
                  <a:pt x="20824" y="19610"/>
                  <a:pt x="21419" y="16909"/>
                </a:cubicBezTo>
                <a:cubicBezTo>
                  <a:pt x="21531" y="16395"/>
                  <a:pt x="21600" y="15861"/>
                  <a:pt x="21600" y="15304"/>
                </a:cubicBezTo>
                <a:cubicBezTo>
                  <a:pt x="21597" y="14912"/>
                  <a:pt x="21561" y="14527"/>
                  <a:pt x="21505" y="14154"/>
                </a:cubicBezTo>
                <a:close/>
              </a:path>
            </a:pathLst>
          </a:custGeom>
          <a:solidFill>
            <a:srgbClr val="A590AA"/>
          </a:solidFill>
          <a:ln w="12700">
            <a:miter lim="400000"/>
          </a:ln>
        </p:spPr>
        <p:txBody>
          <a:bodyPr lIns="28575" tIns="28575" rIns="28575" bIns="28575" anchor="ctr"/>
          <a:lstStyle/>
          <a:p>
            <a:pPr>
              <a:defRPr sz="3000">
                <a:solidFill>
                  <a:srgbClr val="FFFFFF"/>
                </a:solidFill>
              </a:defRPr>
            </a:pPr>
            <a:endParaRPr sz="2250"/>
          </a:p>
        </p:txBody>
      </p:sp>
      <p:sp>
        <p:nvSpPr>
          <p:cNvPr id="46" name="Shape">
            <a:extLst>
              <a:ext uri="{FF2B5EF4-FFF2-40B4-BE49-F238E27FC236}">
                <a16:creationId xmlns:a16="http://schemas.microsoft.com/office/drawing/2014/main" id="{FC7C74B0-398F-FF44-BA94-B70E97B7B253}"/>
              </a:ext>
            </a:extLst>
          </p:cNvPr>
          <p:cNvSpPr/>
          <p:nvPr/>
        </p:nvSpPr>
        <p:spPr>
          <a:xfrm>
            <a:off x="456151" y="1801289"/>
            <a:ext cx="1034801" cy="579647"/>
          </a:xfrm>
          <a:custGeom>
            <a:avLst/>
            <a:gdLst/>
            <a:ahLst/>
            <a:cxnLst>
              <a:cxn ang="0">
                <a:pos x="wd2" y="hd2"/>
              </a:cxn>
              <a:cxn ang="5400000">
                <a:pos x="wd2" y="hd2"/>
              </a:cxn>
              <a:cxn ang="10800000">
                <a:pos x="wd2" y="hd2"/>
              </a:cxn>
              <a:cxn ang="16200000">
                <a:pos x="wd2" y="hd2"/>
              </a:cxn>
            </a:cxnLst>
            <a:rect l="0" t="0" r="r" b="b"/>
            <a:pathLst>
              <a:path w="21600" h="21600" extrusionOk="0">
                <a:moveTo>
                  <a:pt x="21457" y="8464"/>
                </a:moveTo>
                <a:cubicBezTo>
                  <a:pt x="20857" y="3622"/>
                  <a:pt x="18443" y="0"/>
                  <a:pt x="15554" y="0"/>
                </a:cubicBezTo>
                <a:cubicBezTo>
                  <a:pt x="12669" y="0"/>
                  <a:pt x="10259" y="3616"/>
                  <a:pt x="9655" y="8443"/>
                </a:cubicBezTo>
                <a:lnTo>
                  <a:pt x="4801" y="8443"/>
                </a:lnTo>
                <a:cubicBezTo>
                  <a:pt x="4349" y="7097"/>
                  <a:pt x="3526" y="6188"/>
                  <a:pt x="2584" y="6188"/>
                </a:cubicBezTo>
                <a:cubicBezTo>
                  <a:pt x="1158" y="6188"/>
                  <a:pt x="0" y="8255"/>
                  <a:pt x="0" y="10800"/>
                </a:cubicBezTo>
                <a:cubicBezTo>
                  <a:pt x="0" y="13345"/>
                  <a:pt x="1158" y="15412"/>
                  <a:pt x="2584" y="15412"/>
                </a:cubicBezTo>
                <a:cubicBezTo>
                  <a:pt x="3526" y="15412"/>
                  <a:pt x="4349" y="14503"/>
                  <a:pt x="4801" y="13157"/>
                </a:cubicBezTo>
                <a:lnTo>
                  <a:pt x="9655" y="13157"/>
                </a:lnTo>
                <a:cubicBezTo>
                  <a:pt x="10259" y="17984"/>
                  <a:pt x="12669" y="21600"/>
                  <a:pt x="15554" y="21600"/>
                </a:cubicBezTo>
                <a:cubicBezTo>
                  <a:pt x="18436" y="21600"/>
                  <a:pt x="20842" y="17998"/>
                  <a:pt x="21449" y="13184"/>
                </a:cubicBezTo>
                <a:cubicBezTo>
                  <a:pt x="21547" y="12416"/>
                  <a:pt x="21600" y="11621"/>
                  <a:pt x="21600" y="10807"/>
                </a:cubicBezTo>
                <a:cubicBezTo>
                  <a:pt x="21600" y="9999"/>
                  <a:pt x="21547" y="9218"/>
                  <a:pt x="21457" y="8464"/>
                </a:cubicBezTo>
                <a:close/>
              </a:path>
            </a:pathLst>
          </a:custGeom>
          <a:solidFill>
            <a:srgbClr val="A590AA"/>
          </a:solidFill>
          <a:ln w="12700">
            <a:miter lim="400000"/>
          </a:ln>
        </p:spPr>
        <p:txBody>
          <a:bodyPr lIns="28575" tIns="28575" rIns="28575" bIns="28575" anchor="ctr"/>
          <a:lstStyle/>
          <a:p>
            <a:pPr>
              <a:defRPr sz="3000">
                <a:solidFill>
                  <a:srgbClr val="FFFFFF"/>
                </a:solidFill>
              </a:defRPr>
            </a:pPr>
            <a:endParaRPr sz="2250"/>
          </a:p>
        </p:txBody>
      </p:sp>
      <p:sp>
        <p:nvSpPr>
          <p:cNvPr id="48" name="Shape">
            <a:extLst>
              <a:ext uri="{FF2B5EF4-FFF2-40B4-BE49-F238E27FC236}">
                <a16:creationId xmlns:a16="http://schemas.microsoft.com/office/drawing/2014/main" id="{DB89675B-56D2-8444-B7CC-E2EBD02BF060}"/>
              </a:ext>
            </a:extLst>
          </p:cNvPr>
          <p:cNvSpPr/>
          <p:nvPr/>
        </p:nvSpPr>
        <p:spPr>
          <a:xfrm>
            <a:off x="8225578" y="3101479"/>
            <a:ext cx="869288" cy="1710208"/>
          </a:xfrm>
          <a:custGeom>
            <a:avLst/>
            <a:gdLst/>
            <a:ahLst/>
            <a:cxnLst>
              <a:cxn ang="0">
                <a:pos x="wd2" y="hd2"/>
              </a:cxn>
              <a:cxn ang="5400000">
                <a:pos x="wd2" y="hd2"/>
              </a:cxn>
              <a:cxn ang="10800000">
                <a:pos x="wd2" y="hd2"/>
              </a:cxn>
              <a:cxn ang="16200000">
                <a:pos x="wd2" y="hd2"/>
              </a:cxn>
            </a:cxnLst>
            <a:rect l="0" t="0" r="r" b="b"/>
            <a:pathLst>
              <a:path w="21600" h="21600" extrusionOk="0">
                <a:moveTo>
                  <a:pt x="15952" y="14368"/>
                </a:moveTo>
                <a:lnTo>
                  <a:pt x="15952" y="8006"/>
                </a:lnTo>
                <a:cubicBezTo>
                  <a:pt x="15952" y="3592"/>
                  <a:pt x="8885" y="0"/>
                  <a:pt x="202" y="0"/>
                </a:cubicBezTo>
                <a:lnTo>
                  <a:pt x="0" y="0"/>
                </a:lnTo>
                <a:cubicBezTo>
                  <a:pt x="112" y="258"/>
                  <a:pt x="175" y="525"/>
                  <a:pt x="175" y="799"/>
                </a:cubicBezTo>
                <a:cubicBezTo>
                  <a:pt x="175" y="1073"/>
                  <a:pt x="112" y="1340"/>
                  <a:pt x="0" y="1597"/>
                </a:cubicBezTo>
                <a:lnTo>
                  <a:pt x="202" y="1597"/>
                </a:lnTo>
                <a:cubicBezTo>
                  <a:pt x="7157" y="1597"/>
                  <a:pt x="12809" y="4473"/>
                  <a:pt x="12809" y="8006"/>
                </a:cubicBezTo>
                <a:lnTo>
                  <a:pt x="12809" y="14373"/>
                </a:lnTo>
                <a:cubicBezTo>
                  <a:pt x="9599" y="14740"/>
                  <a:pt x="7202" y="16196"/>
                  <a:pt x="7202" y="17940"/>
                </a:cubicBezTo>
                <a:cubicBezTo>
                  <a:pt x="7202" y="19683"/>
                  <a:pt x="9599" y="21139"/>
                  <a:pt x="12809" y="21506"/>
                </a:cubicBezTo>
                <a:cubicBezTo>
                  <a:pt x="13321" y="21566"/>
                  <a:pt x="13851" y="21600"/>
                  <a:pt x="14398" y="21600"/>
                </a:cubicBezTo>
                <a:cubicBezTo>
                  <a:pt x="14933" y="21600"/>
                  <a:pt x="15449" y="21568"/>
                  <a:pt x="15952" y="21513"/>
                </a:cubicBezTo>
                <a:cubicBezTo>
                  <a:pt x="19180" y="21153"/>
                  <a:pt x="21600" y="19692"/>
                  <a:pt x="21600" y="17942"/>
                </a:cubicBezTo>
                <a:cubicBezTo>
                  <a:pt x="21600" y="16191"/>
                  <a:pt x="19180" y="14729"/>
                  <a:pt x="15952" y="14368"/>
                </a:cubicBezTo>
                <a:close/>
              </a:path>
            </a:pathLst>
          </a:custGeom>
          <a:solidFill>
            <a:srgbClr val="4E235C"/>
          </a:solidFill>
          <a:ln w="12700">
            <a:miter lim="400000"/>
          </a:ln>
        </p:spPr>
        <p:txBody>
          <a:bodyPr lIns="28575" tIns="28575" rIns="28575" bIns="28575" anchor="ctr"/>
          <a:lstStyle/>
          <a:p>
            <a:pPr>
              <a:defRPr sz="3000">
                <a:solidFill>
                  <a:srgbClr val="FFFFFF"/>
                </a:solidFill>
              </a:defRPr>
            </a:pPr>
            <a:endParaRPr sz="2250"/>
          </a:p>
        </p:txBody>
      </p:sp>
      <p:sp>
        <p:nvSpPr>
          <p:cNvPr id="49" name="Shape">
            <a:extLst>
              <a:ext uri="{FF2B5EF4-FFF2-40B4-BE49-F238E27FC236}">
                <a16:creationId xmlns:a16="http://schemas.microsoft.com/office/drawing/2014/main" id="{0E28FEB7-CCD9-AF4E-A4A6-016FDA8CB711}"/>
              </a:ext>
            </a:extLst>
          </p:cNvPr>
          <p:cNvSpPr/>
          <p:nvPr/>
        </p:nvSpPr>
        <p:spPr>
          <a:xfrm>
            <a:off x="7010757" y="2866586"/>
            <a:ext cx="1231208" cy="859712"/>
          </a:xfrm>
          <a:custGeom>
            <a:avLst/>
            <a:gdLst/>
            <a:ahLst/>
            <a:cxnLst>
              <a:cxn ang="0">
                <a:pos x="wd2" y="hd2"/>
              </a:cxn>
              <a:cxn ang="5400000">
                <a:pos x="wd2" y="hd2"/>
              </a:cxn>
              <a:cxn ang="10800000">
                <a:pos x="wd2" y="hd2"/>
              </a:cxn>
              <a:cxn ang="16200000">
                <a:pos x="wd2" y="hd2"/>
              </a:cxn>
            </a:cxnLst>
            <a:rect l="0" t="0" r="r" b="b"/>
            <a:pathLst>
              <a:path w="21600" h="21600" extrusionOk="0">
                <a:moveTo>
                  <a:pt x="21473" y="5693"/>
                </a:moveTo>
                <a:cubicBezTo>
                  <a:pt x="20966" y="2438"/>
                  <a:pt x="18940" y="0"/>
                  <a:pt x="16515" y="0"/>
                </a:cubicBezTo>
                <a:cubicBezTo>
                  <a:pt x="14090" y="0"/>
                  <a:pt x="12065" y="2438"/>
                  <a:pt x="11558" y="5693"/>
                </a:cubicBezTo>
                <a:lnTo>
                  <a:pt x="11120" y="5693"/>
                </a:lnTo>
                <a:cubicBezTo>
                  <a:pt x="4993" y="5693"/>
                  <a:pt x="6" y="12829"/>
                  <a:pt x="0" y="21600"/>
                </a:cubicBezTo>
                <a:cubicBezTo>
                  <a:pt x="399" y="21455"/>
                  <a:pt x="818" y="21368"/>
                  <a:pt x="1249" y="21368"/>
                </a:cubicBezTo>
                <a:cubicBezTo>
                  <a:pt x="1582" y="21368"/>
                  <a:pt x="1905" y="21418"/>
                  <a:pt x="2222" y="21505"/>
                </a:cubicBezTo>
                <a:cubicBezTo>
                  <a:pt x="2263" y="14527"/>
                  <a:pt x="6242" y="8866"/>
                  <a:pt x="11123" y="8866"/>
                </a:cubicBezTo>
                <a:lnTo>
                  <a:pt x="11561" y="8866"/>
                </a:lnTo>
                <a:cubicBezTo>
                  <a:pt x="12068" y="12121"/>
                  <a:pt x="14094" y="14559"/>
                  <a:pt x="16519" y="14559"/>
                </a:cubicBezTo>
                <a:cubicBezTo>
                  <a:pt x="18944" y="14559"/>
                  <a:pt x="20969" y="12126"/>
                  <a:pt x="21476" y="8866"/>
                </a:cubicBezTo>
                <a:cubicBezTo>
                  <a:pt x="21556" y="8353"/>
                  <a:pt x="21600" y="7822"/>
                  <a:pt x="21600" y="7277"/>
                </a:cubicBezTo>
                <a:cubicBezTo>
                  <a:pt x="21597" y="6737"/>
                  <a:pt x="21552" y="6206"/>
                  <a:pt x="21473" y="5693"/>
                </a:cubicBezTo>
                <a:close/>
              </a:path>
            </a:pathLst>
          </a:custGeom>
          <a:solidFill>
            <a:srgbClr val="A590AA"/>
          </a:solidFill>
          <a:ln w="12700">
            <a:miter lim="400000"/>
          </a:ln>
        </p:spPr>
        <p:txBody>
          <a:bodyPr lIns="28575" tIns="28575" rIns="28575" bIns="28575" anchor="ctr"/>
          <a:lstStyle/>
          <a:p>
            <a:pPr>
              <a:defRPr sz="3000">
                <a:solidFill>
                  <a:srgbClr val="FFFFFF"/>
                </a:solidFill>
              </a:defRPr>
            </a:pPr>
            <a:endParaRPr sz="2250"/>
          </a:p>
        </p:txBody>
      </p:sp>
      <p:sp>
        <p:nvSpPr>
          <p:cNvPr id="50" name="Shape">
            <a:extLst>
              <a:ext uri="{FF2B5EF4-FFF2-40B4-BE49-F238E27FC236}">
                <a16:creationId xmlns:a16="http://schemas.microsoft.com/office/drawing/2014/main" id="{7E420D97-4708-884B-A888-C6B0BC86CB8D}"/>
              </a:ext>
            </a:extLst>
          </p:cNvPr>
          <p:cNvSpPr/>
          <p:nvPr/>
        </p:nvSpPr>
        <p:spPr>
          <a:xfrm>
            <a:off x="6540969" y="3708889"/>
            <a:ext cx="842005" cy="1350821"/>
          </a:xfrm>
          <a:custGeom>
            <a:avLst/>
            <a:gdLst/>
            <a:ahLst/>
            <a:cxnLst>
              <a:cxn ang="0">
                <a:pos x="wd2" y="hd2"/>
              </a:cxn>
              <a:cxn ang="5400000">
                <a:pos x="wd2" y="hd2"/>
              </a:cxn>
              <a:cxn ang="10800000">
                <a:pos x="wd2" y="hd2"/>
              </a:cxn>
              <a:cxn ang="16200000">
                <a:pos x="wd2" y="hd2"/>
              </a:cxn>
            </a:cxnLst>
            <a:rect l="0" t="0" r="r" b="b"/>
            <a:pathLst>
              <a:path w="21600" h="21600" extrusionOk="0">
                <a:moveTo>
                  <a:pt x="15588" y="87"/>
                </a:moveTo>
                <a:cubicBezTo>
                  <a:pt x="15129" y="32"/>
                  <a:pt x="14652" y="0"/>
                  <a:pt x="14165" y="0"/>
                </a:cubicBezTo>
                <a:cubicBezTo>
                  <a:pt x="13535" y="0"/>
                  <a:pt x="12923" y="55"/>
                  <a:pt x="12339" y="147"/>
                </a:cubicBezTo>
                <a:cubicBezTo>
                  <a:pt x="9117" y="656"/>
                  <a:pt x="6730" y="2467"/>
                  <a:pt x="6730" y="4634"/>
                </a:cubicBezTo>
                <a:cubicBezTo>
                  <a:pt x="6730" y="6798"/>
                  <a:pt x="9117" y="8613"/>
                  <a:pt x="12339" y="9121"/>
                </a:cubicBezTo>
                <a:lnTo>
                  <a:pt x="12339" y="11473"/>
                </a:lnTo>
                <a:cubicBezTo>
                  <a:pt x="12339" y="15778"/>
                  <a:pt x="6930" y="19312"/>
                  <a:pt x="125" y="19572"/>
                </a:cubicBezTo>
                <a:cubicBezTo>
                  <a:pt x="209" y="19846"/>
                  <a:pt x="255" y="20129"/>
                  <a:pt x="255" y="20418"/>
                </a:cubicBezTo>
                <a:cubicBezTo>
                  <a:pt x="255" y="20829"/>
                  <a:pt x="162" y="21222"/>
                  <a:pt x="0" y="21600"/>
                </a:cubicBezTo>
                <a:cubicBezTo>
                  <a:pt x="8654" y="21378"/>
                  <a:pt x="15584" y="16922"/>
                  <a:pt x="15584" y="11473"/>
                </a:cubicBezTo>
                <a:lnTo>
                  <a:pt x="15584" y="9182"/>
                </a:lnTo>
                <a:cubicBezTo>
                  <a:pt x="19009" y="8769"/>
                  <a:pt x="21600" y="6891"/>
                  <a:pt x="21600" y="4634"/>
                </a:cubicBezTo>
                <a:cubicBezTo>
                  <a:pt x="21600" y="2378"/>
                  <a:pt x="19014" y="500"/>
                  <a:pt x="15588" y="87"/>
                </a:cubicBezTo>
                <a:close/>
              </a:path>
            </a:pathLst>
          </a:custGeom>
          <a:solidFill>
            <a:srgbClr val="4E235C"/>
          </a:solidFill>
          <a:ln w="12700">
            <a:miter lim="400000"/>
          </a:ln>
        </p:spPr>
        <p:txBody>
          <a:bodyPr lIns="28575" tIns="28575" rIns="28575" bIns="28575" anchor="ctr"/>
          <a:lstStyle/>
          <a:p>
            <a:pPr>
              <a:defRPr sz="3000">
                <a:solidFill>
                  <a:srgbClr val="FFFFFF"/>
                </a:solidFill>
              </a:defRPr>
            </a:pPr>
            <a:endParaRPr sz="2250"/>
          </a:p>
        </p:txBody>
      </p:sp>
      <p:sp>
        <p:nvSpPr>
          <p:cNvPr id="51" name="Shape">
            <a:extLst>
              <a:ext uri="{FF2B5EF4-FFF2-40B4-BE49-F238E27FC236}">
                <a16:creationId xmlns:a16="http://schemas.microsoft.com/office/drawing/2014/main" id="{64A586D4-D1C3-7049-8DD8-35F6B6ABD70D}"/>
              </a:ext>
            </a:extLst>
          </p:cNvPr>
          <p:cNvSpPr/>
          <p:nvPr/>
        </p:nvSpPr>
        <p:spPr>
          <a:xfrm>
            <a:off x="8747927" y="4811687"/>
            <a:ext cx="1107269" cy="1542710"/>
          </a:xfrm>
          <a:custGeom>
            <a:avLst/>
            <a:gdLst/>
            <a:ahLst/>
            <a:cxnLst>
              <a:cxn ang="0">
                <a:pos x="wd2" y="hd2"/>
              </a:cxn>
              <a:cxn ang="5400000">
                <a:pos x="wd2" y="hd2"/>
              </a:cxn>
              <a:cxn ang="10800000">
                <a:pos x="wd2" y="hd2"/>
              </a:cxn>
              <a:cxn ang="16200000">
                <a:pos x="wd2" y="hd2"/>
              </a:cxn>
            </a:cxnLst>
            <a:rect l="0" t="0" r="r" b="b"/>
            <a:pathLst>
              <a:path w="21600" h="21600" extrusionOk="0">
                <a:moveTo>
                  <a:pt x="21456" y="16624"/>
                </a:moveTo>
                <a:cubicBezTo>
                  <a:pt x="20916" y="14828"/>
                  <a:pt x="18839" y="13489"/>
                  <a:pt x="16353" y="13489"/>
                </a:cubicBezTo>
                <a:cubicBezTo>
                  <a:pt x="13850" y="13489"/>
                  <a:pt x="11763" y="14845"/>
                  <a:pt x="11237" y="16657"/>
                </a:cubicBezTo>
                <a:cubicBezTo>
                  <a:pt x="6281" y="16558"/>
                  <a:pt x="2290" y="13411"/>
                  <a:pt x="2290" y="9555"/>
                </a:cubicBezTo>
                <a:lnTo>
                  <a:pt x="2290" y="8"/>
                </a:lnTo>
                <a:cubicBezTo>
                  <a:pt x="1927" y="71"/>
                  <a:pt x="1547" y="104"/>
                  <a:pt x="1158" y="104"/>
                </a:cubicBezTo>
                <a:cubicBezTo>
                  <a:pt x="759" y="104"/>
                  <a:pt x="373" y="66"/>
                  <a:pt x="0" y="0"/>
                </a:cubicBezTo>
                <a:lnTo>
                  <a:pt x="0" y="9553"/>
                </a:lnTo>
                <a:cubicBezTo>
                  <a:pt x="0" y="14385"/>
                  <a:pt x="5018" y="18324"/>
                  <a:pt x="11233" y="18425"/>
                </a:cubicBezTo>
                <a:cubicBezTo>
                  <a:pt x="11754" y="20241"/>
                  <a:pt x="13847" y="21600"/>
                  <a:pt x="16353" y="21600"/>
                </a:cubicBezTo>
                <a:cubicBezTo>
                  <a:pt x="18872" y="21600"/>
                  <a:pt x="20975" y="20226"/>
                  <a:pt x="21482" y="18395"/>
                </a:cubicBezTo>
                <a:cubicBezTo>
                  <a:pt x="21557" y="18119"/>
                  <a:pt x="21600" y="17836"/>
                  <a:pt x="21600" y="17542"/>
                </a:cubicBezTo>
                <a:cubicBezTo>
                  <a:pt x="21597" y="17228"/>
                  <a:pt x="21544" y="16920"/>
                  <a:pt x="21456" y="16624"/>
                </a:cubicBezTo>
                <a:close/>
              </a:path>
            </a:pathLst>
          </a:custGeom>
          <a:solidFill>
            <a:srgbClr val="A590AA"/>
          </a:solidFill>
          <a:ln w="12700">
            <a:miter lim="400000"/>
          </a:ln>
        </p:spPr>
        <p:txBody>
          <a:bodyPr lIns="28575" tIns="28575" rIns="28575" bIns="28575" anchor="ctr"/>
          <a:lstStyle/>
          <a:p>
            <a:pPr>
              <a:defRPr sz="3000">
                <a:solidFill>
                  <a:srgbClr val="FFFFFF"/>
                </a:solidFill>
              </a:defRPr>
            </a:pPr>
            <a:endParaRPr sz="2250"/>
          </a:p>
        </p:txBody>
      </p:sp>
      <p:sp>
        <p:nvSpPr>
          <p:cNvPr id="97" name="Text Placeholder 6">
            <a:extLst>
              <a:ext uri="{FF2B5EF4-FFF2-40B4-BE49-F238E27FC236}">
                <a16:creationId xmlns:a16="http://schemas.microsoft.com/office/drawing/2014/main" id="{1F645D20-8BED-C44F-9784-0062401399CA}"/>
              </a:ext>
            </a:extLst>
          </p:cNvPr>
          <p:cNvSpPr txBox="1">
            <a:spLocks/>
          </p:cNvSpPr>
          <p:nvPr/>
        </p:nvSpPr>
        <p:spPr bwMode="auto">
          <a:xfrm>
            <a:off x="3931788" y="3690209"/>
            <a:ext cx="144307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r>
              <a:rPr lang="en-GB" sz="1200" kern="0">
                <a:solidFill>
                  <a:srgbClr val="50235C"/>
                </a:solidFill>
                <a:latin typeface="Arial" charset="0"/>
                <a:cs typeface="Arial" charset="0"/>
              </a:rPr>
              <a:t>Patient journey mapping</a:t>
            </a:r>
          </a:p>
        </p:txBody>
      </p:sp>
      <p:sp>
        <p:nvSpPr>
          <p:cNvPr id="99" name="Text Placeholder 6">
            <a:extLst>
              <a:ext uri="{FF2B5EF4-FFF2-40B4-BE49-F238E27FC236}">
                <a16:creationId xmlns:a16="http://schemas.microsoft.com/office/drawing/2014/main" id="{A191B3F3-6E26-FB4A-BA99-A4F3CD7B3221}"/>
              </a:ext>
            </a:extLst>
          </p:cNvPr>
          <p:cNvSpPr txBox="1">
            <a:spLocks/>
          </p:cNvSpPr>
          <p:nvPr/>
        </p:nvSpPr>
        <p:spPr bwMode="auto">
          <a:xfrm>
            <a:off x="4586369" y="1567175"/>
            <a:ext cx="1500109" cy="18466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r>
              <a:rPr lang="en-GB" sz="1200" kern="0">
                <a:solidFill>
                  <a:srgbClr val="50235C"/>
                </a:solidFill>
                <a:latin typeface="Arial" charset="0"/>
                <a:ea typeface="Arial" charset="0"/>
                <a:cs typeface="Arial" charset="0"/>
              </a:rPr>
              <a:t>Gap analysis</a:t>
            </a:r>
            <a:endParaRPr lang="en-GB" sz="1200" kern="0">
              <a:solidFill>
                <a:srgbClr val="50235C"/>
              </a:solidFill>
              <a:latin typeface="Arial" charset="0"/>
              <a:cs typeface="Arial" charset="0"/>
            </a:endParaRPr>
          </a:p>
        </p:txBody>
      </p:sp>
      <p:sp>
        <p:nvSpPr>
          <p:cNvPr id="103" name="Text Placeholder 6">
            <a:extLst>
              <a:ext uri="{FF2B5EF4-FFF2-40B4-BE49-F238E27FC236}">
                <a16:creationId xmlns:a16="http://schemas.microsoft.com/office/drawing/2014/main" id="{1409A8F4-5551-0149-A93A-52B2E00CA5B9}"/>
              </a:ext>
            </a:extLst>
          </p:cNvPr>
          <p:cNvSpPr txBox="1">
            <a:spLocks/>
          </p:cNvSpPr>
          <p:nvPr/>
        </p:nvSpPr>
        <p:spPr bwMode="auto">
          <a:xfrm>
            <a:off x="2162411" y="4313392"/>
            <a:ext cx="2138064" cy="18466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r>
              <a:rPr lang="en-GB" sz="1200" kern="0">
                <a:solidFill>
                  <a:srgbClr val="50235C"/>
                </a:solidFill>
                <a:latin typeface="Arial" charset="0"/>
                <a:ea typeface="Arial" charset="0"/>
                <a:cs typeface="Arial" charset="0"/>
              </a:rPr>
              <a:t>Service mapping</a:t>
            </a:r>
          </a:p>
        </p:txBody>
      </p:sp>
      <p:sp>
        <p:nvSpPr>
          <p:cNvPr id="90" name="Text Placeholder 6">
            <a:extLst>
              <a:ext uri="{FF2B5EF4-FFF2-40B4-BE49-F238E27FC236}">
                <a16:creationId xmlns:a16="http://schemas.microsoft.com/office/drawing/2014/main" id="{88D61C6E-321B-DA40-A96F-B7AAC2E952CC}"/>
              </a:ext>
            </a:extLst>
          </p:cNvPr>
          <p:cNvSpPr txBox="1">
            <a:spLocks/>
          </p:cNvSpPr>
          <p:nvPr/>
        </p:nvSpPr>
        <p:spPr bwMode="auto">
          <a:xfrm>
            <a:off x="323531" y="3337465"/>
            <a:ext cx="1592605" cy="92333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r>
              <a:rPr lang="en-GB" b="0"/>
              <a:t>Interviews with multiple service users and people with lived experience were used to understand the user experience of existing mental health services.</a:t>
            </a:r>
            <a:endParaRPr lang="en-GB" b="0" kern="0">
              <a:solidFill>
                <a:srgbClr val="000000">
                  <a:lumMod val="50000"/>
                  <a:lumOff val="50000"/>
                </a:srgbClr>
              </a:solidFill>
              <a:latin typeface="Effra" panose="02000506080000020004" pitchFamily="2" charset="0"/>
            </a:endParaRPr>
          </a:p>
        </p:txBody>
      </p:sp>
      <p:sp>
        <p:nvSpPr>
          <p:cNvPr id="3" name="Oval 2">
            <a:extLst>
              <a:ext uri="{FF2B5EF4-FFF2-40B4-BE49-F238E27FC236}">
                <a16:creationId xmlns:a16="http://schemas.microsoft.com/office/drawing/2014/main" id="{E913216F-775D-E445-B57D-55CC6EA6EAD3}"/>
              </a:ext>
            </a:extLst>
          </p:cNvPr>
          <p:cNvSpPr/>
          <p:nvPr/>
        </p:nvSpPr>
        <p:spPr>
          <a:xfrm>
            <a:off x="914795" y="1808217"/>
            <a:ext cx="564347" cy="572719"/>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4" name="Text Placeholder 6">
            <a:extLst>
              <a:ext uri="{FF2B5EF4-FFF2-40B4-BE49-F238E27FC236}">
                <a16:creationId xmlns:a16="http://schemas.microsoft.com/office/drawing/2014/main" id="{3DD50DAF-1C36-0246-95D7-BD75C2A31BAE}"/>
              </a:ext>
            </a:extLst>
          </p:cNvPr>
          <p:cNvSpPr txBox="1">
            <a:spLocks/>
          </p:cNvSpPr>
          <p:nvPr/>
        </p:nvSpPr>
        <p:spPr bwMode="auto">
          <a:xfrm>
            <a:off x="3931787" y="4124330"/>
            <a:ext cx="1440235" cy="207749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r>
              <a:rPr lang="en-GB" b="0"/>
              <a:t>The gap analysis presented three specific areas of challenge hat required further attention through detailed analysis and journey mapping; people with co-existing mental health issues alongside both drug &amp; alcohol and Autism, as well as the SMI physical health check pathway. </a:t>
            </a:r>
          </a:p>
          <a:p>
            <a:endParaRPr lang="en-GB" b="0"/>
          </a:p>
        </p:txBody>
      </p:sp>
      <p:sp>
        <p:nvSpPr>
          <p:cNvPr id="105" name="Oval 104">
            <a:extLst>
              <a:ext uri="{FF2B5EF4-FFF2-40B4-BE49-F238E27FC236}">
                <a16:creationId xmlns:a16="http://schemas.microsoft.com/office/drawing/2014/main" id="{81CE5580-6A5F-1E4E-B7E7-C0EE273C97C0}"/>
              </a:ext>
            </a:extLst>
          </p:cNvPr>
          <p:cNvSpPr/>
          <p:nvPr/>
        </p:nvSpPr>
        <p:spPr>
          <a:xfrm>
            <a:off x="2582398" y="3643272"/>
            <a:ext cx="564347" cy="572719"/>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0" name="Oval 109">
            <a:extLst>
              <a:ext uri="{FF2B5EF4-FFF2-40B4-BE49-F238E27FC236}">
                <a16:creationId xmlns:a16="http://schemas.microsoft.com/office/drawing/2014/main" id="{254E068F-98C8-B349-859F-3E6103D3A1A1}"/>
              </a:ext>
            </a:extLst>
          </p:cNvPr>
          <p:cNvSpPr/>
          <p:nvPr/>
        </p:nvSpPr>
        <p:spPr>
          <a:xfrm>
            <a:off x="4257844" y="1794097"/>
            <a:ext cx="564347" cy="572719"/>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1" name="Text Placeholder 6">
            <a:extLst>
              <a:ext uri="{FF2B5EF4-FFF2-40B4-BE49-F238E27FC236}">
                <a16:creationId xmlns:a16="http://schemas.microsoft.com/office/drawing/2014/main" id="{C2F03B16-F219-4147-AD63-23C918EFB22A}"/>
              </a:ext>
            </a:extLst>
          </p:cNvPr>
          <p:cNvSpPr txBox="1">
            <a:spLocks/>
          </p:cNvSpPr>
          <p:nvPr/>
        </p:nvSpPr>
        <p:spPr bwMode="auto">
          <a:xfrm>
            <a:off x="2162968" y="4554434"/>
            <a:ext cx="1403901" cy="194925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pPr>
              <a:spcBef>
                <a:spcPts val="225"/>
              </a:spcBef>
              <a:spcAft>
                <a:spcPts val="225"/>
              </a:spcAft>
            </a:pPr>
            <a:r>
              <a:rPr lang="en-GB" b="0"/>
              <a:t>The interviews with stakeholders and service users were used to gather insights into the existing services, supporting the development of a service map of mental health services across the system. </a:t>
            </a:r>
          </a:p>
          <a:p>
            <a:pPr>
              <a:spcBef>
                <a:spcPts val="225"/>
              </a:spcBef>
              <a:spcAft>
                <a:spcPts val="225"/>
              </a:spcAft>
            </a:pPr>
            <a:endParaRPr lang="en-GB" b="0"/>
          </a:p>
          <a:p>
            <a:pPr>
              <a:spcBef>
                <a:spcPts val="225"/>
              </a:spcBef>
              <a:spcAft>
                <a:spcPts val="225"/>
              </a:spcAft>
            </a:pPr>
            <a:endParaRPr lang="en-GB" b="0"/>
          </a:p>
        </p:txBody>
      </p:sp>
      <p:sp>
        <p:nvSpPr>
          <p:cNvPr id="113" name="Oval 112">
            <a:extLst>
              <a:ext uri="{FF2B5EF4-FFF2-40B4-BE49-F238E27FC236}">
                <a16:creationId xmlns:a16="http://schemas.microsoft.com/office/drawing/2014/main" id="{962109BA-1F52-2D40-A3C1-3BC6BB3E53F0}"/>
              </a:ext>
            </a:extLst>
          </p:cNvPr>
          <p:cNvSpPr/>
          <p:nvPr/>
        </p:nvSpPr>
        <p:spPr>
          <a:xfrm>
            <a:off x="5974247" y="4702728"/>
            <a:ext cx="564347" cy="572719"/>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7" name="Text Placeholder 6">
            <a:extLst>
              <a:ext uri="{FF2B5EF4-FFF2-40B4-BE49-F238E27FC236}">
                <a16:creationId xmlns:a16="http://schemas.microsoft.com/office/drawing/2014/main" id="{F09A10BC-6D0E-CC48-B267-BB3B6D6850D7}"/>
              </a:ext>
            </a:extLst>
          </p:cNvPr>
          <p:cNvSpPr txBox="1">
            <a:spLocks/>
          </p:cNvSpPr>
          <p:nvPr/>
        </p:nvSpPr>
        <p:spPr bwMode="auto">
          <a:xfrm>
            <a:off x="5639654" y="1554102"/>
            <a:ext cx="1661645"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r>
              <a:rPr lang="en-GB" b="0"/>
              <a:t>The service mapping was analysed and combined with additional  stakeholder insights to produce a high-level gap analysis which identified the strengths, challenges and gaps in services across the system.</a:t>
            </a:r>
          </a:p>
        </p:txBody>
      </p:sp>
      <p:sp>
        <p:nvSpPr>
          <p:cNvPr id="120" name="Oval 119">
            <a:extLst>
              <a:ext uri="{FF2B5EF4-FFF2-40B4-BE49-F238E27FC236}">
                <a16:creationId xmlns:a16="http://schemas.microsoft.com/office/drawing/2014/main" id="{D705B794-941B-374A-B64E-99DAC32BAFCF}"/>
              </a:ext>
            </a:extLst>
          </p:cNvPr>
          <p:cNvSpPr/>
          <p:nvPr/>
        </p:nvSpPr>
        <p:spPr>
          <a:xfrm>
            <a:off x="7674962" y="2863554"/>
            <a:ext cx="564347" cy="572719"/>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6" name="Oval 125">
            <a:extLst>
              <a:ext uri="{FF2B5EF4-FFF2-40B4-BE49-F238E27FC236}">
                <a16:creationId xmlns:a16="http://schemas.microsoft.com/office/drawing/2014/main" id="{2DA23663-D8AD-794C-AA51-68AA610503AF}"/>
              </a:ext>
            </a:extLst>
          </p:cNvPr>
          <p:cNvSpPr/>
          <p:nvPr/>
        </p:nvSpPr>
        <p:spPr>
          <a:xfrm>
            <a:off x="9325145" y="5781678"/>
            <a:ext cx="564347" cy="572719"/>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6" name="Text Placeholder 6">
            <a:extLst>
              <a:ext uri="{FF2B5EF4-FFF2-40B4-BE49-F238E27FC236}">
                <a16:creationId xmlns:a16="http://schemas.microsoft.com/office/drawing/2014/main" id="{3A6FECF1-DCDC-1F47-AFAF-0ED9FDEFE63A}"/>
              </a:ext>
            </a:extLst>
          </p:cNvPr>
          <p:cNvSpPr txBox="1">
            <a:spLocks/>
          </p:cNvSpPr>
          <p:nvPr/>
        </p:nvSpPr>
        <p:spPr bwMode="auto">
          <a:xfrm>
            <a:off x="323531" y="2914985"/>
            <a:ext cx="142012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r>
              <a:rPr lang="en-GB" sz="1200" kern="0">
                <a:solidFill>
                  <a:srgbClr val="50235C"/>
                </a:solidFill>
                <a:latin typeface="Arial" charset="0"/>
                <a:ea typeface="Arial" charset="0"/>
                <a:cs typeface="Arial" charset="0"/>
              </a:rPr>
              <a:t>Service user interviews</a:t>
            </a:r>
          </a:p>
        </p:txBody>
      </p:sp>
      <p:sp>
        <p:nvSpPr>
          <p:cNvPr id="54" name="Text Placeholder 6">
            <a:extLst>
              <a:ext uri="{FF2B5EF4-FFF2-40B4-BE49-F238E27FC236}">
                <a16:creationId xmlns:a16="http://schemas.microsoft.com/office/drawing/2014/main" id="{042D7FE1-93BD-3E44-859E-FC251794D1FA}"/>
              </a:ext>
            </a:extLst>
          </p:cNvPr>
          <p:cNvSpPr txBox="1">
            <a:spLocks/>
          </p:cNvSpPr>
          <p:nvPr/>
        </p:nvSpPr>
        <p:spPr bwMode="auto">
          <a:xfrm>
            <a:off x="1110640" y="1435421"/>
            <a:ext cx="1544324"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r>
              <a:rPr lang="en-GB" sz="1200" kern="0">
                <a:solidFill>
                  <a:srgbClr val="50235C"/>
                </a:solidFill>
                <a:latin typeface="Arial" charset="0"/>
                <a:ea typeface="Arial" charset="0"/>
                <a:cs typeface="Arial" charset="0"/>
              </a:rPr>
              <a:t>Stakeholder interviews</a:t>
            </a:r>
          </a:p>
        </p:txBody>
      </p:sp>
      <p:sp>
        <p:nvSpPr>
          <p:cNvPr id="57" name="Text Placeholder 6">
            <a:extLst>
              <a:ext uri="{FF2B5EF4-FFF2-40B4-BE49-F238E27FC236}">
                <a16:creationId xmlns:a16="http://schemas.microsoft.com/office/drawing/2014/main" id="{2ED74A6C-E1C0-7040-AFEA-1B1495B79D3C}"/>
              </a:ext>
            </a:extLst>
          </p:cNvPr>
          <p:cNvSpPr txBox="1">
            <a:spLocks/>
          </p:cNvSpPr>
          <p:nvPr/>
        </p:nvSpPr>
        <p:spPr bwMode="auto">
          <a:xfrm>
            <a:off x="2086343" y="1434239"/>
            <a:ext cx="1544324" cy="107721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pPr>
              <a:spcBef>
                <a:spcPts val="225"/>
              </a:spcBef>
              <a:spcAft>
                <a:spcPts val="225"/>
              </a:spcAft>
            </a:pPr>
            <a:r>
              <a:rPr lang="en-GB" b="0"/>
              <a:t>Interviews were held with over 60 stakeholders from front line staff to senior management across the ICS including STW CCG, MPFT, police, third sector and service users. </a:t>
            </a:r>
          </a:p>
        </p:txBody>
      </p:sp>
      <p:sp>
        <p:nvSpPr>
          <p:cNvPr id="59" name="Text Placeholder 6">
            <a:extLst>
              <a:ext uri="{FF2B5EF4-FFF2-40B4-BE49-F238E27FC236}">
                <a16:creationId xmlns:a16="http://schemas.microsoft.com/office/drawing/2014/main" id="{258619E8-0276-904C-B362-528DEE9825AC}"/>
              </a:ext>
            </a:extLst>
          </p:cNvPr>
          <p:cNvSpPr txBox="1">
            <a:spLocks/>
          </p:cNvSpPr>
          <p:nvPr/>
        </p:nvSpPr>
        <p:spPr bwMode="auto">
          <a:xfrm>
            <a:off x="6207654" y="5334456"/>
            <a:ext cx="2138064" cy="18466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r>
              <a:rPr lang="en-GB" sz="1200" kern="0">
                <a:solidFill>
                  <a:srgbClr val="50235C"/>
                </a:solidFill>
                <a:latin typeface="Arial" charset="0"/>
                <a:ea typeface="Arial" charset="0"/>
                <a:cs typeface="Arial" charset="0"/>
              </a:rPr>
              <a:t>Vision and strategy</a:t>
            </a:r>
          </a:p>
        </p:txBody>
      </p:sp>
      <p:sp>
        <p:nvSpPr>
          <p:cNvPr id="60" name="Text Placeholder 6">
            <a:extLst>
              <a:ext uri="{FF2B5EF4-FFF2-40B4-BE49-F238E27FC236}">
                <a16:creationId xmlns:a16="http://schemas.microsoft.com/office/drawing/2014/main" id="{4F2AB5AD-99A0-E548-B562-37897CD6FF85}"/>
              </a:ext>
            </a:extLst>
          </p:cNvPr>
          <p:cNvSpPr txBox="1">
            <a:spLocks/>
          </p:cNvSpPr>
          <p:nvPr/>
        </p:nvSpPr>
        <p:spPr bwMode="auto">
          <a:xfrm>
            <a:off x="6207653" y="5570010"/>
            <a:ext cx="2239503" cy="97462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pPr>
              <a:spcBef>
                <a:spcPts val="225"/>
              </a:spcBef>
              <a:spcAft>
                <a:spcPts val="225"/>
              </a:spcAft>
            </a:pPr>
            <a:r>
              <a:rPr lang="en-GB" b="0"/>
              <a:t>A single overarching vision for all adult mental health services across STW was co-produced and validated through a series of workshops with staff and service users. </a:t>
            </a:r>
          </a:p>
          <a:p>
            <a:pPr>
              <a:spcBef>
                <a:spcPts val="225"/>
              </a:spcBef>
              <a:spcAft>
                <a:spcPts val="225"/>
              </a:spcAft>
            </a:pPr>
            <a:endParaRPr lang="en-GB" b="0"/>
          </a:p>
        </p:txBody>
      </p:sp>
      <p:sp>
        <p:nvSpPr>
          <p:cNvPr id="62" name="Text Placeholder 6">
            <a:extLst>
              <a:ext uri="{FF2B5EF4-FFF2-40B4-BE49-F238E27FC236}">
                <a16:creationId xmlns:a16="http://schemas.microsoft.com/office/drawing/2014/main" id="{AE96C520-56D6-B94B-8117-D35EE18F647D}"/>
              </a:ext>
            </a:extLst>
          </p:cNvPr>
          <p:cNvSpPr txBox="1">
            <a:spLocks/>
          </p:cNvSpPr>
          <p:nvPr/>
        </p:nvSpPr>
        <p:spPr bwMode="auto">
          <a:xfrm>
            <a:off x="8257977" y="2787046"/>
            <a:ext cx="2479082" cy="18466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r>
              <a:rPr lang="en-GB" sz="1200" kern="0">
                <a:solidFill>
                  <a:srgbClr val="50235C"/>
                </a:solidFill>
                <a:latin typeface="Arial" charset="0"/>
                <a:ea typeface="Arial" charset="0"/>
                <a:cs typeface="Arial" charset="0"/>
              </a:rPr>
              <a:t>Roadmap</a:t>
            </a:r>
          </a:p>
        </p:txBody>
      </p:sp>
      <p:sp>
        <p:nvSpPr>
          <p:cNvPr id="63" name="Text Placeholder 6">
            <a:extLst>
              <a:ext uri="{FF2B5EF4-FFF2-40B4-BE49-F238E27FC236}">
                <a16:creationId xmlns:a16="http://schemas.microsoft.com/office/drawing/2014/main" id="{BE228614-15E7-D041-8566-F1D7DAFD521C}"/>
              </a:ext>
            </a:extLst>
          </p:cNvPr>
          <p:cNvSpPr txBox="1">
            <a:spLocks/>
          </p:cNvSpPr>
          <p:nvPr/>
        </p:nvSpPr>
        <p:spPr bwMode="auto">
          <a:xfrm>
            <a:off x="9070146" y="2797468"/>
            <a:ext cx="2479082" cy="92333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pPr>
              <a:spcBef>
                <a:spcPts val="225"/>
              </a:spcBef>
              <a:spcAft>
                <a:spcPts val="225"/>
              </a:spcAft>
            </a:pPr>
            <a:r>
              <a:rPr lang="en-GB" b="0"/>
              <a:t>The implementation roadmap is the culmination of all the other pieces of work and provides prioritised recommendations and next steps to support STW ICS in the implementation of the vision for mental health services</a:t>
            </a:r>
          </a:p>
        </p:txBody>
      </p:sp>
      <p:sp>
        <p:nvSpPr>
          <p:cNvPr id="72" name="Text Placeholder 6">
            <a:extLst>
              <a:ext uri="{FF2B5EF4-FFF2-40B4-BE49-F238E27FC236}">
                <a16:creationId xmlns:a16="http://schemas.microsoft.com/office/drawing/2014/main" id="{AB45019A-6953-C949-828C-45E17EF07D82}"/>
              </a:ext>
            </a:extLst>
          </p:cNvPr>
          <p:cNvSpPr txBox="1">
            <a:spLocks/>
          </p:cNvSpPr>
          <p:nvPr/>
        </p:nvSpPr>
        <p:spPr bwMode="auto">
          <a:xfrm>
            <a:off x="10578960" y="4966705"/>
            <a:ext cx="1133780" cy="18466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r>
              <a:rPr lang="en-GB" sz="1200" kern="0">
                <a:solidFill>
                  <a:srgbClr val="50235C"/>
                </a:solidFill>
                <a:latin typeface="Arial" charset="0"/>
                <a:cs typeface="Arial" charset="0"/>
              </a:rPr>
              <a:t>Implementation</a:t>
            </a:r>
          </a:p>
        </p:txBody>
      </p:sp>
      <p:sp>
        <p:nvSpPr>
          <p:cNvPr id="73" name="Text Placeholder 6">
            <a:extLst>
              <a:ext uri="{FF2B5EF4-FFF2-40B4-BE49-F238E27FC236}">
                <a16:creationId xmlns:a16="http://schemas.microsoft.com/office/drawing/2014/main" id="{E00C0C20-C74F-564E-9BA4-60051B663B0B}"/>
              </a:ext>
            </a:extLst>
          </p:cNvPr>
          <p:cNvSpPr txBox="1">
            <a:spLocks/>
          </p:cNvSpPr>
          <p:nvPr/>
        </p:nvSpPr>
        <p:spPr bwMode="auto">
          <a:xfrm>
            <a:off x="10534673" y="5209379"/>
            <a:ext cx="1607960"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r>
              <a:rPr lang="en-GB" b="0"/>
              <a:t>STW now have the sole responsibility of turning these outputs and recommendations into delivery to support the development of the mental health offering across the system.</a:t>
            </a:r>
          </a:p>
        </p:txBody>
      </p:sp>
      <p:sp>
        <p:nvSpPr>
          <p:cNvPr id="64" name="Oval 63">
            <a:extLst>
              <a:ext uri="{FF2B5EF4-FFF2-40B4-BE49-F238E27FC236}">
                <a16:creationId xmlns:a16="http://schemas.microsoft.com/office/drawing/2014/main" id="{F084C3F2-B3B3-F848-B677-24F341A71F40}"/>
              </a:ext>
            </a:extLst>
          </p:cNvPr>
          <p:cNvSpPr/>
          <p:nvPr/>
        </p:nvSpPr>
        <p:spPr>
          <a:xfrm>
            <a:off x="1736962" y="2675625"/>
            <a:ext cx="564347" cy="572719"/>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5" name="Oval 74">
            <a:extLst>
              <a:ext uri="{FF2B5EF4-FFF2-40B4-BE49-F238E27FC236}">
                <a16:creationId xmlns:a16="http://schemas.microsoft.com/office/drawing/2014/main" id="{324CF59E-8C75-C14D-A1E2-F6B0A288B605}"/>
              </a:ext>
            </a:extLst>
          </p:cNvPr>
          <p:cNvSpPr/>
          <p:nvPr/>
        </p:nvSpPr>
        <p:spPr>
          <a:xfrm>
            <a:off x="5134018" y="3162295"/>
            <a:ext cx="564347" cy="572719"/>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itle 6">
            <a:extLst>
              <a:ext uri="{FF2B5EF4-FFF2-40B4-BE49-F238E27FC236}">
                <a16:creationId xmlns:a16="http://schemas.microsoft.com/office/drawing/2014/main" id="{057581C4-CC99-2A46-AE18-D0CBC020606C}"/>
              </a:ext>
            </a:extLst>
          </p:cNvPr>
          <p:cNvSpPr>
            <a:spLocks noGrp="1"/>
          </p:cNvSpPr>
          <p:nvPr>
            <p:ph type="title"/>
          </p:nvPr>
        </p:nvSpPr>
        <p:spPr/>
        <p:txBody>
          <a:bodyPr/>
          <a:lstStyle/>
          <a:p>
            <a:r>
              <a:rPr lang="en-GB"/>
              <a:t>Key stage overview</a:t>
            </a:r>
          </a:p>
        </p:txBody>
      </p:sp>
      <p:sp>
        <p:nvSpPr>
          <p:cNvPr id="6" name="Footer Placeholder 5">
            <a:extLst>
              <a:ext uri="{FF2B5EF4-FFF2-40B4-BE49-F238E27FC236}">
                <a16:creationId xmlns:a16="http://schemas.microsoft.com/office/drawing/2014/main" id="{4CBAAF5C-0A6A-AE40-8A38-270050074279}"/>
              </a:ext>
            </a:extLst>
          </p:cNvPr>
          <p:cNvSpPr>
            <a:spLocks noGrp="1"/>
          </p:cNvSpPr>
          <p:nvPr>
            <p:ph type="ftr" sz="quarter" idx="13"/>
          </p:nvPr>
        </p:nvSpPr>
        <p:spPr/>
        <p:txBody>
          <a:bodyPr/>
          <a:lstStyle/>
          <a:p>
            <a:r>
              <a:rPr lang="en-GB"/>
              <a:t>© Moorhouse 2020 [Restricted]</a:t>
            </a:r>
          </a:p>
        </p:txBody>
      </p:sp>
      <p:sp>
        <p:nvSpPr>
          <p:cNvPr id="55" name="Rectangle 54">
            <a:extLst>
              <a:ext uri="{FF2B5EF4-FFF2-40B4-BE49-F238E27FC236}">
                <a16:creationId xmlns:a16="http://schemas.microsoft.com/office/drawing/2014/main" id="{C47563E4-B1AD-EA45-A3F2-0E6176BCAEA4}"/>
              </a:ext>
            </a:extLst>
          </p:cNvPr>
          <p:cNvSpPr/>
          <p:nvPr/>
        </p:nvSpPr>
        <p:spPr>
          <a:xfrm>
            <a:off x="510638" y="813822"/>
            <a:ext cx="11272233" cy="461665"/>
          </a:xfrm>
          <a:prstGeom prst="rect">
            <a:avLst/>
          </a:prstGeom>
          <a:noFill/>
          <a:ln>
            <a:noFill/>
          </a:ln>
        </p:spPr>
        <p:txBody>
          <a:bodyPr wrap="square" lIns="0">
            <a:spAutoFit/>
          </a:bodyPr>
          <a:lstStyle/>
          <a:p>
            <a:r>
              <a:rPr lang="en-GB" sz="1200" b="1">
                <a:solidFill>
                  <a:srgbClr val="51235C"/>
                </a:solidFill>
                <a:latin typeface="Arial" panose="020B0604020202020204" pitchFamily="34" charset="0"/>
                <a:cs typeface="Arial" panose="020B0604020202020204" pitchFamily="34" charset="0"/>
              </a:rPr>
              <a:t>A holistic review of adult MH services across STW was conducted in order to understand the current offering, capture and map existing provision and services, identify gaps, and support the co-production of a single overarching vision and implementation roadmap.</a:t>
            </a:r>
          </a:p>
        </p:txBody>
      </p:sp>
      <p:pic>
        <p:nvPicPr>
          <p:cNvPr id="4" name="Graphic 3" descr="Online meeting with solid fill">
            <a:extLst>
              <a:ext uri="{FF2B5EF4-FFF2-40B4-BE49-F238E27FC236}">
                <a16:creationId xmlns:a16="http://schemas.microsoft.com/office/drawing/2014/main" id="{A3BFCCD6-9472-7C42-A242-EE1CA326797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14497" y="1916325"/>
            <a:ext cx="358019" cy="358019"/>
          </a:xfrm>
          <a:prstGeom prst="rect">
            <a:avLst/>
          </a:prstGeom>
        </p:spPr>
      </p:pic>
      <p:pic>
        <p:nvPicPr>
          <p:cNvPr id="8" name="Graphic 7" descr="Boardroom with solid fill">
            <a:extLst>
              <a:ext uri="{FF2B5EF4-FFF2-40B4-BE49-F238E27FC236}">
                <a16:creationId xmlns:a16="http://schemas.microsoft.com/office/drawing/2014/main" id="{F9E5CE87-A7BD-B84E-81FB-C276031622E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44280" y="2774347"/>
            <a:ext cx="356400" cy="356400"/>
          </a:xfrm>
          <a:prstGeom prst="rect">
            <a:avLst/>
          </a:prstGeom>
        </p:spPr>
      </p:pic>
      <p:pic>
        <p:nvPicPr>
          <p:cNvPr id="11" name="Graphic 10" descr="Playbook with solid fill">
            <a:extLst>
              <a:ext uri="{FF2B5EF4-FFF2-40B4-BE49-F238E27FC236}">
                <a16:creationId xmlns:a16="http://schemas.microsoft.com/office/drawing/2014/main" id="{75385A34-C66B-AC4E-AEDD-E6C796AD88A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78935" y="2971713"/>
            <a:ext cx="356400" cy="356400"/>
          </a:xfrm>
          <a:prstGeom prst="rect">
            <a:avLst/>
          </a:prstGeom>
        </p:spPr>
      </p:pic>
      <p:pic>
        <p:nvPicPr>
          <p:cNvPr id="15" name="Graphic 14" descr="Disconnected with solid fill">
            <a:extLst>
              <a:ext uri="{FF2B5EF4-FFF2-40B4-BE49-F238E27FC236}">
                <a16:creationId xmlns:a16="http://schemas.microsoft.com/office/drawing/2014/main" id="{E093D05A-F599-FF45-A0D1-87952212C1C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361817" y="1905502"/>
            <a:ext cx="356400" cy="356400"/>
          </a:xfrm>
          <a:prstGeom prst="rect">
            <a:avLst/>
          </a:prstGeom>
        </p:spPr>
      </p:pic>
      <p:pic>
        <p:nvPicPr>
          <p:cNvPr id="17" name="Graphic 16" descr="Route (Two Pins With A Path) with solid fill">
            <a:extLst>
              <a:ext uri="{FF2B5EF4-FFF2-40B4-BE49-F238E27FC236}">
                <a16:creationId xmlns:a16="http://schemas.microsoft.com/office/drawing/2014/main" id="{B10BC163-566D-8A4C-861A-401C7E67E19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237991" y="3250775"/>
            <a:ext cx="356400" cy="356400"/>
          </a:xfrm>
          <a:prstGeom prst="rect">
            <a:avLst/>
          </a:prstGeom>
        </p:spPr>
      </p:pic>
      <p:pic>
        <p:nvPicPr>
          <p:cNvPr id="19" name="Graphic 18" descr="Group brainstorm with solid fill">
            <a:extLst>
              <a:ext uri="{FF2B5EF4-FFF2-40B4-BE49-F238E27FC236}">
                <a16:creationId xmlns:a16="http://schemas.microsoft.com/office/drawing/2014/main" id="{3697C91E-AC90-4240-BED2-6E3C9A8F9F1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078220" y="4798606"/>
            <a:ext cx="356400" cy="356400"/>
          </a:xfrm>
          <a:prstGeom prst="rect">
            <a:avLst/>
          </a:prstGeom>
        </p:spPr>
      </p:pic>
      <p:pic>
        <p:nvPicPr>
          <p:cNvPr id="23" name="Graphic 22" descr="Clipboard Ticked with solid fill">
            <a:extLst>
              <a:ext uri="{FF2B5EF4-FFF2-40B4-BE49-F238E27FC236}">
                <a16:creationId xmlns:a16="http://schemas.microsoft.com/office/drawing/2014/main" id="{5C9A0DA6-B8FC-684F-A603-CD73F9B98AB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686371" y="3747326"/>
            <a:ext cx="356400" cy="356400"/>
          </a:xfrm>
          <a:prstGeom prst="rect">
            <a:avLst/>
          </a:prstGeom>
        </p:spPr>
      </p:pic>
      <p:pic>
        <p:nvPicPr>
          <p:cNvPr id="25" name="Graphic 24" descr="Fast Forward with solid fill">
            <a:extLst>
              <a:ext uri="{FF2B5EF4-FFF2-40B4-BE49-F238E27FC236}">
                <a16:creationId xmlns:a16="http://schemas.microsoft.com/office/drawing/2014/main" id="{A67002E5-A57C-944A-9242-7E01BC5B61B2}"/>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439509" y="5889837"/>
            <a:ext cx="356400" cy="356400"/>
          </a:xfrm>
          <a:prstGeom prst="rect">
            <a:avLst/>
          </a:prstGeom>
        </p:spPr>
      </p:pic>
      <p:graphicFrame>
        <p:nvGraphicFramePr>
          <p:cNvPr id="52" name="Table 51">
            <a:extLst>
              <a:ext uri="{FF2B5EF4-FFF2-40B4-BE49-F238E27FC236}">
                <a16:creationId xmlns:a16="http://schemas.microsoft.com/office/drawing/2014/main" id="{2B75B6D1-F6FF-DD41-B380-B50120C7FC46}"/>
              </a:ext>
            </a:extLst>
          </p:cNvPr>
          <p:cNvGraphicFramePr>
            <a:graphicFrameLocks noGrp="1"/>
          </p:cNvGraphicFramePr>
          <p:nvPr>
            <p:extLst>
              <p:ext uri="{D42A27DB-BD31-4B8C-83A1-F6EECF244321}">
                <p14:modId xmlns:p14="http://schemas.microsoft.com/office/powerpoint/2010/main" val="1629070202"/>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C"/>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Tree>
    <p:extLst>
      <p:ext uri="{BB962C8B-B14F-4D97-AF65-F5344CB8AC3E}">
        <p14:creationId xmlns:p14="http://schemas.microsoft.com/office/powerpoint/2010/main" val="72608177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7DF49F5-76E4-D045-9AE5-C5DFB0E4B946}"/>
              </a:ext>
            </a:extLst>
          </p:cNvPr>
          <p:cNvSpPr>
            <a:spLocks noGrp="1"/>
          </p:cNvSpPr>
          <p:nvPr>
            <p:ph sz="quarter" idx="10"/>
          </p:nvPr>
        </p:nvSpPr>
        <p:spPr/>
        <p:txBody>
          <a:bodyPr/>
          <a:lstStyle/>
          <a:p>
            <a:r>
              <a:rPr lang="en-GB"/>
              <a:t>Next steps</a:t>
            </a:r>
          </a:p>
        </p:txBody>
      </p:sp>
      <p:graphicFrame>
        <p:nvGraphicFramePr>
          <p:cNvPr id="7" name="Table 6">
            <a:extLst>
              <a:ext uri="{FF2B5EF4-FFF2-40B4-BE49-F238E27FC236}">
                <a16:creationId xmlns:a16="http://schemas.microsoft.com/office/drawing/2014/main" id="{55491300-71DD-9D4D-9A39-2ECB09F71D19}"/>
              </a:ext>
            </a:extLst>
          </p:cNvPr>
          <p:cNvGraphicFramePr>
            <a:graphicFrameLocks noGrp="1"/>
          </p:cNvGraphicFramePr>
          <p:nvPr>
            <p:extLst>
              <p:ext uri="{D42A27DB-BD31-4B8C-83A1-F6EECF244321}">
                <p14:modId xmlns:p14="http://schemas.microsoft.com/office/powerpoint/2010/main" val="3681694040"/>
              </p:ext>
            </p:extLst>
          </p:nvPr>
        </p:nvGraphicFramePr>
        <p:xfrm>
          <a:off x="1" y="6560723"/>
          <a:ext cx="12191998" cy="297277"/>
        </p:xfrm>
        <a:graphic>
          <a:graphicData uri="http://schemas.openxmlformats.org/drawingml/2006/table">
            <a:tbl>
              <a:tblPr>
                <a:tableStyleId>{5C22544A-7EE6-4342-B048-85BDC9FD1C3A}</a:tableStyleId>
              </a:tblPr>
              <a:tblGrid>
                <a:gridCol w="1741714">
                  <a:extLst>
                    <a:ext uri="{9D8B030D-6E8A-4147-A177-3AD203B41FA5}">
                      <a16:colId xmlns:a16="http://schemas.microsoft.com/office/drawing/2014/main" val="3508502722"/>
                    </a:ext>
                  </a:extLst>
                </a:gridCol>
                <a:gridCol w="1741714">
                  <a:extLst>
                    <a:ext uri="{9D8B030D-6E8A-4147-A177-3AD203B41FA5}">
                      <a16:colId xmlns:a16="http://schemas.microsoft.com/office/drawing/2014/main" val="1894411863"/>
                    </a:ext>
                  </a:extLst>
                </a:gridCol>
                <a:gridCol w="1741714">
                  <a:extLst>
                    <a:ext uri="{9D8B030D-6E8A-4147-A177-3AD203B41FA5}">
                      <a16:colId xmlns:a16="http://schemas.microsoft.com/office/drawing/2014/main" val="1998335409"/>
                    </a:ext>
                  </a:extLst>
                </a:gridCol>
                <a:gridCol w="1741714">
                  <a:extLst>
                    <a:ext uri="{9D8B030D-6E8A-4147-A177-3AD203B41FA5}">
                      <a16:colId xmlns:a16="http://schemas.microsoft.com/office/drawing/2014/main" val="202640554"/>
                    </a:ext>
                  </a:extLst>
                </a:gridCol>
                <a:gridCol w="1741714">
                  <a:extLst>
                    <a:ext uri="{9D8B030D-6E8A-4147-A177-3AD203B41FA5}">
                      <a16:colId xmlns:a16="http://schemas.microsoft.com/office/drawing/2014/main" val="3019704548"/>
                    </a:ext>
                  </a:extLst>
                </a:gridCol>
                <a:gridCol w="1741714">
                  <a:extLst>
                    <a:ext uri="{9D8B030D-6E8A-4147-A177-3AD203B41FA5}">
                      <a16:colId xmlns:a16="http://schemas.microsoft.com/office/drawing/2014/main" val="1364401804"/>
                    </a:ext>
                  </a:extLst>
                </a:gridCol>
                <a:gridCol w="1741714">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C"/>
                    </a:solidFill>
                  </a:tcPr>
                </a:tc>
                <a:extLst>
                  <a:ext uri="{0D108BD9-81ED-4DB2-BD59-A6C34878D82A}">
                    <a16:rowId xmlns:a16="http://schemas.microsoft.com/office/drawing/2014/main" val="4182336203"/>
                  </a:ext>
                </a:extLst>
              </a:tr>
            </a:tbl>
          </a:graphicData>
        </a:graphic>
      </p:graphicFrame>
    </p:spTree>
    <p:extLst>
      <p:ext uri="{BB962C8B-B14F-4D97-AF65-F5344CB8AC3E}">
        <p14:creationId xmlns:p14="http://schemas.microsoft.com/office/powerpoint/2010/main" val="247681449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3473"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en-IN" sz="2800">
              <a:solidFill>
                <a:srgbClr val="FFFFFF"/>
              </a:solidFill>
              <a:sym typeface="Arial" panose="020B0604020202020204" pitchFamily="34" charset="0"/>
            </a:endParaRPr>
          </a:p>
        </p:txBody>
      </p:sp>
      <p:sp>
        <p:nvSpPr>
          <p:cNvPr id="2" name="Title 1"/>
          <p:cNvSpPr>
            <a:spLocks noGrp="1"/>
          </p:cNvSpPr>
          <p:nvPr>
            <p:ph type="title"/>
          </p:nvPr>
        </p:nvSpPr>
        <p:spPr>
          <a:xfrm>
            <a:off x="510638" y="297277"/>
            <a:ext cx="7827117" cy="434010"/>
          </a:xfrm>
          <a:prstGeom prst="rect">
            <a:avLst/>
          </a:prstGeom>
        </p:spPr>
        <p:txBody>
          <a:bodyPr/>
          <a:lstStyle/>
          <a:p>
            <a:r>
              <a:rPr lang="en-US"/>
              <a:t>Next steps</a:t>
            </a:r>
            <a:endParaRPr lang="en-IN"/>
          </a:p>
        </p:txBody>
      </p:sp>
      <p:graphicFrame>
        <p:nvGraphicFramePr>
          <p:cNvPr id="10" name="Table 9">
            <a:extLst>
              <a:ext uri="{FF2B5EF4-FFF2-40B4-BE49-F238E27FC236}">
                <a16:creationId xmlns:a16="http://schemas.microsoft.com/office/drawing/2014/main" id="{87CC6123-A617-E541-A25D-A2DC364BE962}"/>
              </a:ext>
            </a:extLst>
          </p:cNvPr>
          <p:cNvGraphicFramePr>
            <a:graphicFrameLocks noGrp="1"/>
          </p:cNvGraphicFramePr>
          <p:nvPr>
            <p:extLst>
              <p:ext uri="{D42A27DB-BD31-4B8C-83A1-F6EECF244321}">
                <p14:modId xmlns:p14="http://schemas.microsoft.com/office/powerpoint/2010/main" val="799700740"/>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C"/>
                    </a:solidFill>
                  </a:tcPr>
                </a:tc>
                <a:extLst>
                  <a:ext uri="{0D108BD9-81ED-4DB2-BD59-A6C34878D82A}">
                    <a16:rowId xmlns:a16="http://schemas.microsoft.com/office/drawing/2014/main" val="4182336203"/>
                  </a:ext>
                </a:extLst>
              </a:tr>
            </a:tbl>
          </a:graphicData>
        </a:graphic>
      </p:graphicFrame>
      <p:sp>
        <p:nvSpPr>
          <p:cNvPr id="6" name="Rectangle 5">
            <a:extLst>
              <a:ext uri="{FF2B5EF4-FFF2-40B4-BE49-F238E27FC236}">
                <a16:creationId xmlns:a16="http://schemas.microsoft.com/office/drawing/2014/main" id="{7C616F68-C6E3-1F45-8BEE-9F90691ED017}"/>
              </a:ext>
            </a:extLst>
          </p:cNvPr>
          <p:cNvSpPr/>
          <p:nvPr/>
        </p:nvSpPr>
        <p:spPr>
          <a:xfrm>
            <a:off x="513694" y="843705"/>
            <a:ext cx="10923519" cy="2972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200" b="1">
                <a:solidFill>
                  <a:srgbClr val="50235C"/>
                </a:solidFill>
                <a:latin typeface="Arial" panose="020B0604020202020204" pitchFamily="34" charset="0"/>
                <a:cs typeface="Arial" panose="020B0604020202020204" pitchFamily="34" charset="0"/>
              </a:rPr>
              <a:t>In order to progress development of adult mental health services across STW, six priority next steps are advised. </a:t>
            </a:r>
          </a:p>
          <a:p>
            <a:endParaRPr lang="en-GB" sz="1200" b="1">
              <a:solidFill>
                <a:srgbClr val="50235C"/>
              </a:solidFill>
              <a:latin typeface="Arial" panose="020B0604020202020204" pitchFamily="34" charset="0"/>
              <a:cs typeface="Arial" panose="020B0604020202020204" pitchFamily="34" charset="0"/>
            </a:endParaRPr>
          </a:p>
        </p:txBody>
      </p:sp>
      <p:graphicFrame>
        <p:nvGraphicFramePr>
          <p:cNvPr id="7" name="Table 7">
            <a:extLst>
              <a:ext uri="{FF2B5EF4-FFF2-40B4-BE49-F238E27FC236}">
                <a16:creationId xmlns:a16="http://schemas.microsoft.com/office/drawing/2014/main" id="{F919ECF1-966C-E64F-BFF9-AD986DD4639F}"/>
              </a:ext>
            </a:extLst>
          </p:cNvPr>
          <p:cNvGraphicFramePr>
            <a:graphicFrameLocks noGrp="1"/>
          </p:cNvGraphicFramePr>
          <p:nvPr>
            <p:extLst>
              <p:ext uri="{D42A27DB-BD31-4B8C-83A1-F6EECF244321}">
                <p14:modId xmlns:p14="http://schemas.microsoft.com/office/powerpoint/2010/main" val="889995264"/>
              </p:ext>
            </p:extLst>
          </p:nvPr>
        </p:nvGraphicFramePr>
        <p:xfrm>
          <a:off x="510638" y="1465375"/>
          <a:ext cx="9383989" cy="4770954"/>
        </p:xfrm>
        <a:graphic>
          <a:graphicData uri="http://schemas.openxmlformats.org/drawingml/2006/table">
            <a:tbl>
              <a:tblPr>
                <a:tableStyleId>{5C22544A-7EE6-4342-B048-85BDC9FD1C3A}</a:tableStyleId>
              </a:tblPr>
              <a:tblGrid>
                <a:gridCol w="9383989">
                  <a:extLst>
                    <a:ext uri="{9D8B030D-6E8A-4147-A177-3AD203B41FA5}">
                      <a16:colId xmlns:a16="http://schemas.microsoft.com/office/drawing/2014/main" val="740326691"/>
                    </a:ext>
                  </a:extLst>
                </a:gridCol>
              </a:tblGrid>
              <a:tr h="795159">
                <a:tc>
                  <a:txBody>
                    <a:bodyPr/>
                    <a:lstStyle/>
                    <a:p>
                      <a:pPr marL="720000" marR="0" lvl="0" indent="0" algn="l" defTabSz="914400" rtl="0" eaLnBrk="1" fontAlgn="auto" latinLnBrk="0" hangingPunct="1">
                        <a:lnSpc>
                          <a:spcPct val="100000"/>
                        </a:lnSpc>
                        <a:spcBef>
                          <a:spcPts val="0"/>
                        </a:spcBef>
                        <a:spcAft>
                          <a:spcPts val="0"/>
                        </a:spcAft>
                        <a:buClrTx/>
                        <a:buSzTx/>
                        <a:buFontTx/>
                        <a:buNone/>
                        <a:tabLst/>
                        <a:defRPr/>
                      </a:pPr>
                      <a:r>
                        <a:rPr lang="en-GB" sz="1200">
                          <a:solidFill>
                            <a:schemeClr val="tx2">
                              <a:lumMod val="65000"/>
                              <a:lumOff val="35000"/>
                            </a:schemeClr>
                          </a:solidFill>
                        </a:rPr>
                        <a:t>Mental health leadership team to </a:t>
                      </a:r>
                      <a:r>
                        <a:rPr lang="en-GB" sz="1200" b="1">
                          <a:solidFill>
                            <a:srgbClr val="50235C"/>
                          </a:solidFill>
                        </a:rPr>
                        <a:t>read, process and digest the content </a:t>
                      </a:r>
                      <a:r>
                        <a:rPr lang="en-GB" sz="1200">
                          <a:solidFill>
                            <a:schemeClr val="tx2">
                              <a:lumMod val="65000"/>
                              <a:lumOff val="35000"/>
                            </a:schemeClr>
                          </a:solidFill>
                        </a:rPr>
                        <a:t>of the master deliverable to ensure alignment and understanding of outputs. </a:t>
                      </a:r>
                    </a:p>
                  </a:txBody>
                  <a:tcPr anchor="ctr">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85365397"/>
                  </a:ext>
                </a:extLst>
              </a:tr>
              <a:tr h="795159">
                <a:tc>
                  <a:txBody>
                    <a:bodyPr/>
                    <a:lstStyle/>
                    <a:p>
                      <a:pPr marL="720000" marR="0" lvl="0" indent="0" algn="l" defTabSz="914400" rtl="0" eaLnBrk="1" fontAlgn="auto" latinLnBrk="0" hangingPunct="1">
                        <a:lnSpc>
                          <a:spcPct val="100000"/>
                        </a:lnSpc>
                        <a:spcBef>
                          <a:spcPts val="0"/>
                        </a:spcBef>
                        <a:spcAft>
                          <a:spcPts val="0"/>
                        </a:spcAft>
                        <a:buClrTx/>
                        <a:buSzTx/>
                        <a:buFontTx/>
                        <a:buNone/>
                        <a:tabLst/>
                        <a:defRPr/>
                      </a:pPr>
                      <a:r>
                        <a:rPr lang="en-GB" sz="1200">
                          <a:solidFill>
                            <a:schemeClr val="tx2">
                              <a:lumMod val="65000"/>
                              <a:lumOff val="35000"/>
                            </a:schemeClr>
                          </a:solidFill>
                        </a:rPr>
                        <a:t>Hold a collaborative forum with mental health leadership to </a:t>
                      </a:r>
                      <a:r>
                        <a:rPr lang="en-GB" sz="1200" b="1">
                          <a:solidFill>
                            <a:srgbClr val="50235C"/>
                          </a:solidFill>
                        </a:rPr>
                        <a:t>discuss recommendations and agree next steps</a:t>
                      </a:r>
                      <a:r>
                        <a:rPr lang="en-GB" sz="1200">
                          <a:solidFill>
                            <a:schemeClr val="tx2">
                              <a:lumMod val="65000"/>
                              <a:lumOff val="35000"/>
                            </a:schemeClr>
                          </a:solidFill>
                        </a:rPr>
                        <a:t>. </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948228665"/>
                  </a:ext>
                </a:extLst>
              </a:tr>
              <a:tr h="795159">
                <a:tc>
                  <a:txBody>
                    <a:bodyPr/>
                    <a:lstStyle/>
                    <a:p>
                      <a:pPr marL="720000" marR="0" lvl="0" indent="0" algn="l" defTabSz="914400" rtl="0" eaLnBrk="1" fontAlgn="auto" latinLnBrk="0" hangingPunct="1">
                        <a:lnSpc>
                          <a:spcPct val="100000"/>
                        </a:lnSpc>
                        <a:spcBef>
                          <a:spcPts val="0"/>
                        </a:spcBef>
                        <a:spcAft>
                          <a:spcPts val="0"/>
                        </a:spcAft>
                        <a:buClrTx/>
                        <a:buSzTx/>
                        <a:buFontTx/>
                        <a:buNone/>
                        <a:tabLst/>
                        <a:defRPr/>
                      </a:pPr>
                      <a:r>
                        <a:rPr lang="en-GB" sz="1200">
                          <a:solidFill>
                            <a:schemeClr val="tx2">
                              <a:lumMod val="65000"/>
                              <a:lumOff val="35000"/>
                            </a:schemeClr>
                          </a:solidFill>
                        </a:rPr>
                        <a:t>Conduct an exercise to </a:t>
                      </a:r>
                      <a:r>
                        <a:rPr lang="en-GB" sz="1200" b="1">
                          <a:solidFill>
                            <a:srgbClr val="50235C"/>
                          </a:solidFill>
                        </a:rPr>
                        <a:t>evaluate the resource requirement for each recommendation </a:t>
                      </a:r>
                      <a:r>
                        <a:rPr lang="en-GB" sz="1200">
                          <a:solidFill>
                            <a:schemeClr val="tx2">
                              <a:lumMod val="65000"/>
                              <a:lumOff val="35000"/>
                            </a:schemeClr>
                          </a:solidFill>
                        </a:rPr>
                        <a:t>in more detail to provide a high level view of the types and quantity of resource required – i.e. funding, people, other. </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10960632"/>
                  </a:ext>
                </a:extLst>
              </a:tr>
              <a:tr h="795159">
                <a:tc>
                  <a:txBody>
                    <a:bodyPr/>
                    <a:lstStyle/>
                    <a:p>
                      <a:pPr marL="72000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rgbClr val="50235C"/>
                          </a:solidFill>
                        </a:rPr>
                        <a:t>Prioritise recommendations based on resource requirements, </a:t>
                      </a:r>
                      <a:r>
                        <a:rPr lang="en-GB" sz="1200" b="0">
                          <a:solidFill>
                            <a:srgbClr val="50235C"/>
                          </a:solidFill>
                        </a:rPr>
                        <a:t>and share view with ICS. Make application for resource as/ where required.</a:t>
                      </a:r>
                      <a:endParaRPr lang="en-GB" sz="1200" b="0">
                        <a:solidFill>
                          <a:schemeClr val="tx2">
                            <a:lumMod val="65000"/>
                            <a:lumOff val="35000"/>
                          </a:schemeClr>
                        </a:solidFill>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820550617"/>
                  </a:ext>
                </a:extLst>
              </a:tr>
              <a:tr h="795159">
                <a:tc>
                  <a:txBody>
                    <a:bodyPr/>
                    <a:lstStyle/>
                    <a:p>
                      <a:pPr marL="720000" marR="0" lvl="0" indent="0" algn="l" defTabSz="914400" rtl="0" eaLnBrk="1" fontAlgn="auto" latinLnBrk="0" hangingPunct="1">
                        <a:lnSpc>
                          <a:spcPct val="100000"/>
                        </a:lnSpc>
                        <a:spcBef>
                          <a:spcPts val="0"/>
                        </a:spcBef>
                        <a:spcAft>
                          <a:spcPts val="0"/>
                        </a:spcAft>
                        <a:buClrTx/>
                        <a:buSzTx/>
                        <a:buFontTx/>
                        <a:buNone/>
                        <a:tabLst/>
                        <a:defRPr/>
                      </a:pPr>
                      <a:endParaRPr lang="en-GB" sz="1200" b="1" kern="1200">
                        <a:solidFill>
                          <a:srgbClr val="50235C"/>
                        </a:solidFill>
                        <a:latin typeface="+mn-lt"/>
                        <a:ea typeface="+mn-ea"/>
                        <a:cs typeface="+mn-cs"/>
                      </a:endParaRPr>
                    </a:p>
                    <a:p>
                      <a:pPr marL="720000" marR="0" lvl="0" indent="0" algn="l" defTabSz="914400" rtl="0" eaLnBrk="1" fontAlgn="auto" latinLnBrk="0" hangingPunct="1">
                        <a:lnSpc>
                          <a:spcPct val="100000"/>
                        </a:lnSpc>
                        <a:spcBef>
                          <a:spcPts val="0"/>
                        </a:spcBef>
                        <a:spcAft>
                          <a:spcPts val="0"/>
                        </a:spcAft>
                        <a:buClrTx/>
                        <a:buSzTx/>
                        <a:buFontTx/>
                        <a:buNone/>
                        <a:tabLst/>
                        <a:defRPr/>
                      </a:pPr>
                      <a:r>
                        <a:rPr lang="en-GB" sz="1200" b="1" kern="1200">
                          <a:solidFill>
                            <a:srgbClr val="50235C"/>
                          </a:solidFill>
                          <a:latin typeface="+mn-lt"/>
                          <a:ea typeface="+mn-ea"/>
                          <a:cs typeface="+mn-cs"/>
                        </a:rPr>
                        <a:t>Shape a delivery and implementation plan </a:t>
                      </a:r>
                      <a:r>
                        <a:rPr lang="en-GB" sz="1200" kern="1200">
                          <a:solidFill>
                            <a:schemeClr val="tx2">
                              <a:lumMod val="65000"/>
                              <a:lumOff val="35000"/>
                            </a:schemeClr>
                          </a:solidFill>
                          <a:latin typeface="+mn-lt"/>
                          <a:ea typeface="+mn-ea"/>
                          <a:cs typeface="+mn-cs"/>
                        </a:rPr>
                        <a:t>that outlines how recommendations will be taken forward.</a:t>
                      </a:r>
                    </a:p>
                    <a:p>
                      <a:pPr marL="720000" marR="0" lvl="0" indent="0" algn="l" defTabSz="914400" rtl="0" eaLnBrk="1" fontAlgn="auto" latinLnBrk="0" hangingPunct="1">
                        <a:lnSpc>
                          <a:spcPct val="100000"/>
                        </a:lnSpc>
                        <a:spcBef>
                          <a:spcPts val="0"/>
                        </a:spcBef>
                        <a:spcAft>
                          <a:spcPts val="0"/>
                        </a:spcAft>
                        <a:buClrTx/>
                        <a:buSzTx/>
                        <a:buFontTx/>
                        <a:buNone/>
                        <a:tabLst/>
                        <a:defRPr/>
                      </a:pPr>
                      <a:endParaRPr lang="en-GB" sz="1200">
                        <a:solidFill>
                          <a:schemeClr val="tx2">
                            <a:lumMod val="65000"/>
                            <a:lumOff val="35000"/>
                          </a:schemeClr>
                        </a:solidFill>
                        <a:highlight>
                          <a:srgbClr val="FFFF00"/>
                        </a:highlight>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640265760"/>
                  </a:ext>
                </a:extLst>
              </a:tr>
              <a:tr h="795159">
                <a:tc>
                  <a:txBody>
                    <a:bodyPr/>
                    <a:lstStyle/>
                    <a:p>
                      <a:pPr marL="72000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rgbClr val="50235C"/>
                          </a:solidFill>
                        </a:rPr>
                        <a:t>Stand up programme management capability </a:t>
                      </a:r>
                      <a:r>
                        <a:rPr lang="en-GB" sz="1200">
                          <a:solidFill>
                            <a:schemeClr val="tx2">
                              <a:lumMod val="65000"/>
                              <a:lumOff val="35000"/>
                            </a:schemeClr>
                          </a:solidFill>
                        </a:rPr>
                        <a:t>to oversee the implementation and delivery of the roadmap. </a:t>
                      </a:r>
                    </a:p>
                  </a:txBody>
                  <a:tcPr anchor="ctr">
                    <a:lnT w="12700" cap="flat" cmpd="sng" algn="ctr">
                      <a:solidFill>
                        <a:schemeClr val="bg1">
                          <a:lumMod val="85000"/>
                        </a:schemeClr>
                      </a:solidFill>
                      <a:prstDash val="solid"/>
                      <a:round/>
                      <a:headEnd type="none" w="med" len="med"/>
                      <a:tailEnd type="none" w="med" len="med"/>
                    </a:lnT>
                    <a:noFill/>
                  </a:tcPr>
                </a:tc>
                <a:extLst>
                  <a:ext uri="{0D108BD9-81ED-4DB2-BD59-A6C34878D82A}">
                    <a16:rowId xmlns:a16="http://schemas.microsoft.com/office/drawing/2014/main" val="4001104146"/>
                  </a:ext>
                </a:extLst>
              </a:tr>
            </a:tbl>
          </a:graphicData>
        </a:graphic>
      </p:graphicFrame>
      <p:pic>
        <p:nvPicPr>
          <p:cNvPr id="9" name="Graphic 8" descr="Glasses with solid fill">
            <a:extLst>
              <a:ext uri="{FF2B5EF4-FFF2-40B4-BE49-F238E27FC236}">
                <a16:creationId xmlns:a16="http://schemas.microsoft.com/office/drawing/2014/main" id="{0478AE81-C2BE-144C-89AC-22D699053E5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8876" y="1639913"/>
            <a:ext cx="432000" cy="432000"/>
          </a:xfrm>
          <a:prstGeom prst="rect">
            <a:avLst/>
          </a:prstGeom>
        </p:spPr>
      </p:pic>
      <p:pic>
        <p:nvPicPr>
          <p:cNvPr id="12" name="Graphic 11" descr="Online meeting with solid fill">
            <a:extLst>
              <a:ext uri="{FF2B5EF4-FFF2-40B4-BE49-F238E27FC236}">
                <a16:creationId xmlns:a16="http://schemas.microsoft.com/office/drawing/2014/main" id="{EB6539E4-0CBF-7245-9247-092C7CAF2FC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78876" y="2441745"/>
            <a:ext cx="432000" cy="432000"/>
          </a:xfrm>
          <a:prstGeom prst="rect">
            <a:avLst/>
          </a:prstGeom>
        </p:spPr>
      </p:pic>
      <p:pic>
        <p:nvPicPr>
          <p:cNvPr id="15" name="Graphic 14" descr="Pyramid with levels with solid fill">
            <a:extLst>
              <a:ext uri="{FF2B5EF4-FFF2-40B4-BE49-F238E27FC236}">
                <a16:creationId xmlns:a16="http://schemas.microsoft.com/office/drawing/2014/main" id="{EF5D179E-7341-544A-B0D3-6EE345AE524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78876" y="3229929"/>
            <a:ext cx="432000" cy="432000"/>
          </a:xfrm>
          <a:prstGeom prst="rect">
            <a:avLst/>
          </a:prstGeom>
        </p:spPr>
      </p:pic>
      <p:pic>
        <p:nvPicPr>
          <p:cNvPr id="17" name="Graphic 16" descr="Teacher with solid fill">
            <a:extLst>
              <a:ext uri="{FF2B5EF4-FFF2-40B4-BE49-F238E27FC236}">
                <a16:creationId xmlns:a16="http://schemas.microsoft.com/office/drawing/2014/main" id="{482A96AD-C745-3E43-B64C-68C8FF6EB28E}"/>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78876" y="4033919"/>
            <a:ext cx="432000" cy="432000"/>
          </a:xfrm>
          <a:prstGeom prst="rect">
            <a:avLst/>
          </a:prstGeom>
        </p:spPr>
      </p:pic>
      <p:pic>
        <p:nvPicPr>
          <p:cNvPr id="19" name="Graphic 18" descr="Meeting with solid fill">
            <a:extLst>
              <a:ext uri="{FF2B5EF4-FFF2-40B4-BE49-F238E27FC236}">
                <a16:creationId xmlns:a16="http://schemas.microsoft.com/office/drawing/2014/main" id="{27583989-1D4A-3948-9DC1-EFFAD7C69AF5}"/>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61172" y="5602938"/>
            <a:ext cx="432000" cy="432000"/>
          </a:xfrm>
          <a:prstGeom prst="rect">
            <a:avLst/>
          </a:prstGeom>
        </p:spPr>
      </p:pic>
      <p:pic>
        <p:nvPicPr>
          <p:cNvPr id="13" name="Graphic 12" descr="Road with solid fill">
            <a:extLst>
              <a:ext uri="{FF2B5EF4-FFF2-40B4-BE49-F238E27FC236}">
                <a16:creationId xmlns:a16="http://schemas.microsoft.com/office/drawing/2014/main" id="{ABF38610-DEDC-DE46-9B2E-741AF0C7ADF6}"/>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27544" y="4811144"/>
            <a:ext cx="428400" cy="428400"/>
          </a:xfrm>
          <a:prstGeom prst="rect">
            <a:avLst/>
          </a:prstGeom>
        </p:spPr>
      </p:pic>
    </p:spTree>
    <p:extLst>
      <p:ext uri="{BB962C8B-B14F-4D97-AF65-F5344CB8AC3E}">
        <p14:creationId xmlns:p14="http://schemas.microsoft.com/office/powerpoint/2010/main" val="31564756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7DF49F5-76E4-D045-9AE5-C5DFB0E4B946}"/>
              </a:ext>
            </a:extLst>
          </p:cNvPr>
          <p:cNvSpPr>
            <a:spLocks noGrp="1"/>
          </p:cNvSpPr>
          <p:nvPr>
            <p:ph sz="quarter" idx="10"/>
          </p:nvPr>
        </p:nvSpPr>
        <p:spPr>
          <a:xfrm>
            <a:off x="1881188" y="1983582"/>
            <a:ext cx="9774192" cy="2890837"/>
          </a:xfrm>
        </p:spPr>
        <p:txBody>
          <a:bodyPr/>
          <a:lstStyle/>
          <a:p>
            <a:r>
              <a:rPr lang="en-GB"/>
              <a:t>Appendix I </a:t>
            </a:r>
          </a:p>
          <a:p>
            <a:r>
              <a:rPr lang="en-GB" sz="6000" b="0"/>
              <a:t>Executive summaries</a:t>
            </a:r>
          </a:p>
        </p:txBody>
      </p:sp>
    </p:spTree>
    <p:extLst>
      <p:ext uri="{BB962C8B-B14F-4D97-AF65-F5344CB8AC3E}">
        <p14:creationId xmlns:p14="http://schemas.microsoft.com/office/powerpoint/2010/main" val="339174005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545"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800" b="0" i="0" u="none" strike="noStrike" kern="1200" cap="none" spc="0" normalizeH="0" baseline="0" noProof="0">
              <a:ln>
                <a:noFill/>
              </a:ln>
              <a:solidFill>
                <a:srgbClr val="FFFFFF"/>
              </a:solidFill>
              <a:effectLst/>
              <a:uLnTx/>
              <a:uFillTx/>
              <a:latin typeface="Arial" panose="020B0604020202020204"/>
              <a:ea typeface="+mn-ea"/>
              <a:cs typeface="+mn-cs"/>
              <a:sym typeface="Arial" panose="020B0604020202020204" pitchFamily="34" charset="0"/>
            </a:endParaRPr>
          </a:p>
        </p:txBody>
      </p:sp>
      <p:sp>
        <p:nvSpPr>
          <p:cNvPr id="2" name="Title 1"/>
          <p:cNvSpPr>
            <a:spLocks noGrp="1"/>
          </p:cNvSpPr>
          <p:nvPr>
            <p:ph type="title"/>
          </p:nvPr>
        </p:nvSpPr>
        <p:spPr>
          <a:xfrm>
            <a:off x="510638" y="297277"/>
            <a:ext cx="6430489" cy="434010"/>
          </a:xfrm>
          <a:prstGeom prst="rect">
            <a:avLst/>
          </a:prstGeom>
        </p:spPr>
        <p:txBody>
          <a:bodyPr/>
          <a:lstStyle/>
          <a:p>
            <a:r>
              <a:rPr lang="en-GB"/>
              <a:t>Executive summary: Project overview</a:t>
            </a:r>
          </a:p>
        </p:txBody>
      </p:sp>
      <p:sp>
        <p:nvSpPr>
          <p:cNvPr id="5" name="Footer Placeholder 4">
            <a:extLst>
              <a:ext uri="{FF2B5EF4-FFF2-40B4-BE49-F238E27FC236}">
                <a16:creationId xmlns:a16="http://schemas.microsoft.com/office/drawing/2014/main" id="{8378A888-C2F3-1F46-BFE9-6AED0C113342}"/>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50235C"/>
                </a:solidFill>
                <a:effectLst/>
                <a:uLnTx/>
                <a:uFillTx/>
                <a:latin typeface="Arial" panose="020B0604020202020204"/>
                <a:ea typeface="+mn-ea"/>
                <a:cs typeface="+mn-cs"/>
              </a:rPr>
              <a:t>© Moorhouse 2021 [Restricted]</a:t>
            </a:r>
          </a:p>
        </p:txBody>
      </p:sp>
      <p:sp>
        <p:nvSpPr>
          <p:cNvPr id="47" name="Rectangle 46">
            <a:extLst>
              <a:ext uri="{FF2B5EF4-FFF2-40B4-BE49-F238E27FC236}">
                <a16:creationId xmlns:a16="http://schemas.microsoft.com/office/drawing/2014/main" id="{D9C929F6-41CE-AB46-A900-A92451DD1F9A}"/>
              </a:ext>
            </a:extLst>
          </p:cNvPr>
          <p:cNvSpPr/>
          <p:nvPr/>
        </p:nvSpPr>
        <p:spPr>
          <a:xfrm>
            <a:off x="0" y="4769791"/>
            <a:ext cx="12198570" cy="1780286"/>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 name="Rectangle 49">
            <a:extLst>
              <a:ext uri="{FF2B5EF4-FFF2-40B4-BE49-F238E27FC236}">
                <a16:creationId xmlns:a16="http://schemas.microsoft.com/office/drawing/2014/main" id="{12410B54-5493-0A4C-BA4B-0FB4FF08FF7E}"/>
              </a:ext>
            </a:extLst>
          </p:cNvPr>
          <p:cNvSpPr/>
          <p:nvPr/>
        </p:nvSpPr>
        <p:spPr>
          <a:xfrm rot="16200000">
            <a:off x="-177118" y="5486828"/>
            <a:ext cx="923652"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50235C"/>
                </a:solidFill>
                <a:effectLst/>
                <a:uLnTx/>
                <a:uFillTx/>
                <a:latin typeface="Arial" panose="020B0604020202020204"/>
                <a:ea typeface="+mn-ea"/>
                <a:cs typeface="+mn-cs"/>
              </a:rPr>
              <a:t>OUTPUTS</a:t>
            </a:r>
          </a:p>
        </p:txBody>
      </p:sp>
      <p:sp>
        <p:nvSpPr>
          <p:cNvPr id="85" name="Rectangle 84">
            <a:extLst>
              <a:ext uri="{FF2B5EF4-FFF2-40B4-BE49-F238E27FC236}">
                <a16:creationId xmlns:a16="http://schemas.microsoft.com/office/drawing/2014/main" id="{BF87E107-9B05-AD4A-BF17-CE66A1FC31B2}"/>
              </a:ext>
            </a:extLst>
          </p:cNvPr>
          <p:cNvSpPr/>
          <p:nvPr/>
        </p:nvSpPr>
        <p:spPr>
          <a:xfrm rot="16200000">
            <a:off x="-180895" y="3108460"/>
            <a:ext cx="888385"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50235C"/>
                </a:solidFill>
                <a:effectLst/>
                <a:uLnTx/>
                <a:uFillTx/>
                <a:latin typeface="Arial" panose="020B0604020202020204"/>
                <a:ea typeface="+mn-ea"/>
                <a:cs typeface="+mn-cs"/>
              </a:rPr>
              <a:t>ACTIVITIES</a:t>
            </a:r>
          </a:p>
        </p:txBody>
      </p:sp>
      <p:sp>
        <p:nvSpPr>
          <p:cNvPr id="86" name="TextBox 85">
            <a:extLst>
              <a:ext uri="{FF2B5EF4-FFF2-40B4-BE49-F238E27FC236}">
                <a16:creationId xmlns:a16="http://schemas.microsoft.com/office/drawing/2014/main" id="{D8828E80-B7D3-474D-A9F2-7711BEA3B95E}"/>
              </a:ext>
            </a:extLst>
          </p:cNvPr>
          <p:cNvSpPr txBox="1"/>
          <p:nvPr/>
        </p:nvSpPr>
        <p:spPr>
          <a:xfrm>
            <a:off x="3978213" y="5909296"/>
            <a:ext cx="1511215" cy="430887"/>
          </a:xfrm>
          <a:prstGeom prst="rect">
            <a:avLst/>
          </a:prstGeom>
          <a:noFill/>
        </p:spPr>
        <p:txBody>
          <a:bodyPr wrap="square" lIns="91440" tIns="45720" rIns="91440" bIns="45720" rtlCol="0" anchor="t">
            <a:spAutoFit/>
          </a:bodyPr>
          <a:lstStyle/>
          <a:p>
            <a:pPr marR="0" lvl="0" algn="ctr" defTabSz="914400" rtl="0" eaLnBrk="1" fontAlgn="auto" latinLnBrk="0" hangingPunct="1">
              <a:lnSpc>
                <a:spcPct val="100000"/>
              </a:lnSpc>
              <a:spcBef>
                <a:spcPts val="0"/>
              </a:spcBef>
              <a:spcAft>
                <a:spcPts val="600"/>
              </a:spcAft>
              <a:buClr>
                <a:srgbClr val="50235C"/>
              </a:buClr>
              <a:buSzTx/>
              <a:tabLst/>
              <a:defRPr/>
            </a:pPr>
            <a:r>
              <a:rPr kumimoji="0" lang="en-GB" sz="11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rPr>
              <a:t>High-level vision and strategy </a:t>
            </a:r>
          </a:p>
        </p:txBody>
      </p:sp>
      <p:sp>
        <p:nvSpPr>
          <p:cNvPr id="87" name="TextBox 86">
            <a:extLst>
              <a:ext uri="{FF2B5EF4-FFF2-40B4-BE49-F238E27FC236}">
                <a16:creationId xmlns:a16="http://schemas.microsoft.com/office/drawing/2014/main" id="{8A070B73-B7B2-C647-9C66-B06000225C2C}"/>
              </a:ext>
            </a:extLst>
          </p:cNvPr>
          <p:cNvSpPr txBox="1"/>
          <p:nvPr/>
        </p:nvSpPr>
        <p:spPr>
          <a:xfrm>
            <a:off x="883682" y="2266461"/>
            <a:ext cx="4335710" cy="2087330"/>
          </a:xfrm>
          <a:prstGeom prst="rect">
            <a:avLst/>
          </a:prstGeom>
          <a:noFill/>
        </p:spPr>
        <p:txBody>
          <a:bodyPr wrap="square" lIns="91440" tIns="45720" rIns="91440" bIns="45720" rtlCol="0" anchor="t">
            <a:noAutofit/>
          </a:bodyPr>
          <a:lstStyle/>
          <a:p>
            <a:pPr marL="171450" marR="0" lvl="0" indent="-171450" algn="l" defTabSz="914400" rtl="0" eaLnBrk="1" fontAlgn="auto" latinLnBrk="0" hangingPunct="1">
              <a:lnSpc>
                <a:spcPct val="100000"/>
              </a:lnSpc>
              <a:spcBef>
                <a:spcPts val="600"/>
              </a:spcBef>
              <a:spcAft>
                <a:spcPts val="600"/>
              </a:spcAft>
              <a:buClr>
                <a:srgbClr val="000000">
                  <a:lumMod val="75000"/>
                  <a:lumOff val="25000"/>
                </a:srgbClr>
              </a:buClr>
              <a:buSzTx/>
              <a:buFont typeface="Wingdings" pitchFamily="2" charset="2"/>
              <a:buChar char="Ø"/>
              <a:tabLst/>
              <a:defRPr/>
            </a:pPr>
            <a:r>
              <a:rPr kumimoji="0" lang="en-GB" sz="11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rPr>
              <a:t>Conducted interviews with over 60 stakeholders from across STW including front line staff and service users to create a draft </a:t>
            </a:r>
            <a:r>
              <a:rPr kumimoji="0" lang="en-GB" sz="1100" b="1" i="0" u="none" strike="noStrike" kern="1200" cap="none" spc="-5" normalizeH="0" baseline="0" noProof="0">
                <a:ln>
                  <a:noFill/>
                </a:ln>
                <a:solidFill>
                  <a:srgbClr val="50235A"/>
                </a:solidFill>
                <a:effectLst/>
                <a:uLnTx/>
                <a:uFillTx/>
                <a:latin typeface="Arial" panose="020B0604020202020204"/>
                <a:ea typeface="+mn-ea"/>
                <a:cs typeface="Arial"/>
              </a:rPr>
              <a:t>as-is service mapping </a:t>
            </a:r>
            <a:r>
              <a:rPr kumimoji="0" lang="en-GB" sz="110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rPr>
              <a:t>document</a:t>
            </a:r>
            <a:r>
              <a:rPr kumimoji="0" lang="en-GB" sz="1100" b="1"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rPr>
              <a:t> </a:t>
            </a:r>
            <a:r>
              <a:rPr kumimoji="0" lang="en-GB" sz="11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rPr>
              <a:t>of the existing mental health service offerings.</a:t>
            </a:r>
          </a:p>
          <a:p>
            <a:pPr marL="171450" marR="0" lvl="0" indent="-171450" algn="l" defTabSz="914400" rtl="0" eaLnBrk="1" fontAlgn="auto" latinLnBrk="0" hangingPunct="1">
              <a:lnSpc>
                <a:spcPct val="100000"/>
              </a:lnSpc>
              <a:spcBef>
                <a:spcPts val="600"/>
              </a:spcBef>
              <a:spcAft>
                <a:spcPts val="600"/>
              </a:spcAft>
              <a:buClr>
                <a:srgbClr val="000000">
                  <a:lumMod val="75000"/>
                  <a:lumOff val="25000"/>
                </a:srgbClr>
              </a:buClr>
              <a:buSzTx/>
              <a:buFont typeface="Wingdings" pitchFamily="2" charset="2"/>
              <a:buChar char="Ø"/>
              <a:tabLst/>
              <a:defRPr/>
            </a:pPr>
            <a:r>
              <a:rPr lang="en-GB" sz="1100" spc="-5">
                <a:solidFill>
                  <a:schemeClr val="tx1">
                    <a:lumMod val="50000"/>
                    <a:lumOff val="50000"/>
                  </a:schemeClr>
                </a:solidFill>
                <a:latin typeface="Arial" panose="020B0604020202020204"/>
                <a:cs typeface="Arial"/>
              </a:rPr>
              <a:t>Using outputs from the interviews, conduct a high-level </a:t>
            </a:r>
            <a:r>
              <a:rPr lang="en-GB" sz="1100" b="1" spc="-5">
                <a:solidFill>
                  <a:srgbClr val="50235A"/>
                </a:solidFill>
                <a:latin typeface="Arial" panose="020B0604020202020204"/>
                <a:cs typeface="Arial"/>
              </a:rPr>
              <a:t>g</a:t>
            </a:r>
            <a:r>
              <a:rPr kumimoji="0" lang="en-GB" sz="1100" b="1" i="0" u="none" strike="noStrike" kern="1200" cap="none" spc="-5" normalizeH="0" baseline="0" noProof="0">
                <a:ln>
                  <a:noFill/>
                </a:ln>
                <a:solidFill>
                  <a:srgbClr val="50235A"/>
                </a:solidFill>
                <a:effectLst/>
                <a:uLnTx/>
                <a:uFillTx/>
                <a:latin typeface="Arial" panose="020B0604020202020204"/>
                <a:ea typeface="+mn-ea"/>
                <a:cs typeface="Arial"/>
              </a:rPr>
              <a:t>ap analysis</a:t>
            </a:r>
            <a:r>
              <a:rPr kumimoji="0" lang="en-GB" sz="1100" b="1"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rPr>
              <a:t> </a:t>
            </a:r>
            <a:r>
              <a:rPr kumimoji="0" lang="en-GB" sz="11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rPr>
              <a:t>using the as-is service mapping to determine where key service, support and provision gaps lie.</a:t>
            </a:r>
          </a:p>
          <a:p>
            <a:pPr marL="171450" marR="0" lvl="0" indent="-171450" algn="l" defTabSz="914400" rtl="0" eaLnBrk="1" fontAlgn="auto" latinLnBrk="0" hangingPunct="1">
              <a:lnSpc>
                <a:spcPct val="100000"/>
              </a:lnSpc>
              <a:spcBef>
                <a:spcPts val="600"/>
              </a:spcBef>
              <a:spcAft>
                <a:spcPts val="600"/>
              </a:spcAft>
              <a:buClr>
                <a:srgbClr val="000000">
                  <a:lumMod val="75000"/>
                  <a:lumOff val="25000"/>
                </a:srgbClr>
              </a:buClr>
              <a:buSzTx/>
              <a:buFont typeface="Wingdings" pitchFamily="2" charset="2"/>
              <a:buChar char="Ø"/>
              <a:tabLst/>
              <a:defRPr/>
            </a:pPr>
            <a:r>
              <a:rPr lang="en-GB" sz="1100" spc="-5">
                <a:solidFill>
                  <a:schemeClr val="tx1">
                    <a:lumMod val="50000"/>
                    <a:lumOff val="50000"/>
                  </a:schemeClr>
                </a:solidFill>
                <a:latin typeface="Arial" panose="020B0604020202020204"/>
                <a:cs typeface="Arial"/>
              </a:rPr>
              <a:t>Run a series of workshops to shape </a:t>
            </a:r>
            <a:r>
              <a:rPr lang="en-GB" sz="1100" b="1" spc="-5">
                <a:solidFill>
                  <a:srgbClr val="50235A"/>
                </a:solidFill>
                <a:latin typeface="Arial" panose="020B0604020202020204"/>
                <a:cs typeface="Arial"/>
              </a:rPr>
              <a:t>high level vision </a:t>
            </a:r>
            <a:r>
              <a:rPr lang="en-GB" sz="1100" spc="-5">
                <a:solidFill>
                  <a:schemeClr val="tx1">
                    <a:lumMod val="50000"/>
                    <a:lumOff val="50000"/>
                  </a:schemeClr>
                </a:solidFill>
                <a:latin typeface="Arial" panose="020B0604020202020204"/>
                <a:cs typeface="Arial"/>
              </a:rPr>
              <a:t>for future Mental health provision in STW.</a:t>
            </a:r>
            <a:endParaRPr kumimoji="0" lang="en-GB" sz="11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endParaRPr>
          </a:p>
        </p:txBody>
      </p:sp>
      <p:sp>
        <p:nvSpPr>
          <p:cNvPr id="88" name="TextBox 87">
            <a:extLst>
              <a:ext uri="{FF2B5EF4-FFF2-40B4-BE49-F238E27FC236}">
                <a16:creationId xmlns:a16="http://schemas.microsoft.com/office/drawing/2014/main" id="{6E5EE1D9-A36C-5243-813A-6134380E8776}"/>
              </a:ext>
            </a:extLst>
          </p:cNvPr>
          <p:cNvSpPr txBox="1"/>
          <p:nvPr/>
        </p:nvSpPr>
        <p:spPr>
          <a:xfrm>
            <a:off x="1787105" y="1554183"/>
            <a:ext cx="2580924" cy="461665"/>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0235C"/>
                </a:solidFill>
                <a:effectLst/>
                <a:uLnTx/>
                <a:uFillTx/>
                <a:latin typeface="Arial" panose="020B0604020202020204"/>
                <a:ea typeface="+mn-ea"/>
                <a:cs typeface="+mn-cs"/>
              </a:rPr>
              <a:t>Phase 1</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0235C"/>
                </a:solidFill>
                <a:latin typeface="Arial" panose="020B0604020202020204"/>
              </a:rPr>
              <a:t>(27</a:t>
            </a:r>
            <a:r>
              <a:rPr lang="en-GB" sz="1200" baseline="30000">
                <a:solidFill>
                  <a:srgbClr val="50235C"/>
                </a:solidFill>
                <a:latin typeface="Arial" panose="020B0604020202020204"/>
              </a:rPr>
              <a:t>th</a:t>
            </a:r>
            <a:r>
              <a:rPr lang="en-GB" sz="1200">
                <a:solidFill>
                  <a:srgbClr val="50235C"/>
                </a:solidFill>
                <a:latin typeface="Arial" panose="020B0604020202020204"/>
              </a:rPr>
              <a:t> Sep – 10</a:t>
            </a:r>
            <a:r>
              <a:rPr lang="en-GB" sz="1200" baseline="30000">
                <a:solidFill>
                  <a:srgbClr val="50235C"/>
                </a:solidFill>
                <a:latin typeface="Arial" panose="020B0604020202020204"/>
              </a:rPr>
              <a:t>th</a:t>
            </a:r>
            <a:r>
              <a:rPr lang="en-GB" sz="1200">
                <a:solidFill>
                  <a:srgbClr val="50235C"/>
                </a:solidFill>
                <a:latin typeface="Arial" panose="020B0604020202020204"/>
              </a:rPr>
              <a:t> Nov)</a:t>
            </a:r>
            <a:endParaRPr kumimoji="0" lang="en-GB" sz="1200" i="0" u="none" strike="noStrike" kern="1200" cap="none" spc="0" normalizeH="0" baseline="0" noProof="0">
              <a:ln>
                <a:noFill/>
              </a:ln>
              <a:solidFill>
                <a:srgbClr val="50235C"/>
              </a:solidFill>
              <a:effectLst/>
              <a:uLnTx/>
              <a:uFillTx/>
              <a:latin typeface="Arial" panose="020B0604020202020204"/>
              <a:ea typeface="+mn-ea"/>
              <a:cs typeface="+mn-cs"/>
            </a:endParaRPr>
          </a:p>
        </p:txBody>
      </p:sp>
      <p:cxnSp>
        <p:nvCxnSpPr>
          <p:cNvPr id="92" name="Straight Connector 91">
            <a:extLst>
              <a:ext uri="{FF2B5EF4-FFF2-40B4-BE49-F238E27FC236}">
                <a16:creationId xmlns:a16="http://schemas.microsoft.com/office/drawing/2014/main" id="{00CA843C-C4EA-3B42-B2ED-5312039E36F4}"/>
              </a:ext>
            </a:extLst>
          </p:cNvPr>
          <p:cNvCxnSpPr>
            <a:cxnSpLocks/>
          </p:cNvCxnSpPr>
          <p:nvPr/>
        </p:nvCxnSpPr>
        <p:spPr>
          <a:xfrm>
            <a:off x="1698405" y="2155449"/>
            <a:ext cx="2758324"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C5FEB28-39F0-B54D-84E0-A0836B2DE034}"/>
              </a:ext>
            </a:extLst>
          </p:cNvPr>
          <p:cNvCxnSpPr>
            <a:cxnSpLocks/>
          </p:cNvCxnSpPr>
          <p:nvPr/>
        </p:nvCxnSpPr>
        <p:spPr>
          <a:xfrm>
            <a:off x="7218938" y="2155449"/>
            <a:ext cx="2758324"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4ECFF3F3-C2A1-4942-B5EC-E2802E4A8844}"/>
              </a:ext>
            </a:extLst>
          </p:cNvPr>
          <p:cNvSpPr txBox="1"/>
          <p:nvPr/>
        </p:nvSpPr>
        <p:spPr>
          <a:xfrm>
            <a:off x="6430244" y="2266460"/>
            <a:ext cx="4335711" cy="2300976"/>
          </a:xfrm>
          <a:prstGeom prst="rect">
            <a:avLst/>
          </a:prstGeom>
          <a:noFill/>
        </p:spPr>
        <p:txBody>
          <a:bodyPr wrap="square" lIns="91440" tIns="45720" rIns="91440" bIns="45720" rtlCol="0" anchor="t">
            <a:noAutofit/>
          </a:bodyPr>
          <a:lstStyle/>
          <a:p>
            <a:pPr marL="171450" marR="0" lvl="0" indent="-171450" algn="l" defTabSz="914400" rtl="0" eaLnBrk="1" fontAlgn="auto" latinLnBrk="0" hangingPunct="1">
              <a:lnSpc>
                <a:spcPct val="100000"/>
              </a:lnSpc>
              <a:spcBef>
                <a:spcPts val="600"/>
              </a:spcBef>
              <a:spcAft>
                <a:spcPts val="600"/>
              </a:spcAft>
              <a:buClr>
                <a:srgbClr val="000000">
                  <a:lumMod val="75000"/>
                  <a:lumOff val="25000"/>
                </a:srgbClr>
              </a:buClr>
              <a:buSzTx/>
              <a:buFont typeface="Wingdings" pitchFamily="2" charset="2"/>
              <a:buChar char="Ø"/>
              <a:tabLst/>
              <a:defRPr/>
            </a:pPr>
            <a:r>
              <a:rPr kumimoji="0" lang="en-GB" sz="11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rPr>
              <a:t>Complete </a:t>
            </a:r>
            <a:r>
              <a:rPr kumimoji="0" lang="en-GB" sz="110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rPr>
              <a:t>an</a:t>
            </a:r>
            <a:r>
              <a:rPr kumimoji="0" lang="en-GB" sz="1100" b="1"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rPr>
              <a:t> </a:t>
            </a:r>
            <a:r>
              <a:rPr kumimoji="0" lang="en-GB" sz="1100" b="1" i="0" u="none" strike="noStrike" kern="1200" cap="none" spc="-5" normalizeH="0" baseline="0" noProof="0">
                <a:ln>
                  <a:noFill/>
                </a:ln>
                <a:solidFill>
                  <a:srgbClr val="50235A"/>
                </a:solidFill>
                <a:effectLst/>
                <a:uLnTx/>
                <a:uFillTx/>
                <a:latin typeface="Arial" panose="020B0604020202020204"/>
                <a:ea typeface="+mn-ea"/>
                <a:cs typeface="Arial"/>
              </a:rPr>
              <a:t>as-is adult Mental Health service mapping </a:t>
            </a:r>
            <a:r>
              <a:rPr kumimoji="0" lang="en-GB" sz="11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rPr>
              <a:t>that captures the current existing offering across STW.  </a:t>
            </a:r>
          </a:p>
          <a:p>
            <a:pPr marL="171450" lvl="0" indent="-171450">
              <a:spcBef>
                <a:spcPts val="600"/>
              </a:spcBef>
              <a:spcAft>
                <a:spcPts val="600"/>
              </a:spcAft>
              <a:buClr>
                <a:srgbClr val="000000">
                  <a:lumMod val="75000"/>
                  <a:lumOff val="25000"/>
                </a:srgbClr>
              </a:buClr>
              <a:buFont typeface="Wingdings" pitchFamily="2" charset="2"/>
              <a:buChar char="Ø"/>
              <a:defRPr/>
            </a:pPr>
            <a:r>
              <a:rPr lang="en-GB" sz="1100" spc="-5">
                <a:solidFill>
                  <a:schemeClr val="tx1">
                    <a:lumMod val="50000"/>
                    <a:lumOff val="50000"/>
                  </a:schemeClr>
                </a:solidFill>
                <a:latin typeface="Arial" panose="020B0604020202020204"/>
                <a:cs typeface="Arial"/>
              </a:rPr>
              <a:t>Refine and </a:t>
            </a:r>
            <a:r>
              <a:rPr lang="en-GB" sz="1100" b="1" spc="-5">
                <a:solidFill>
                  <a:srgbClr val="50235A"/>
                </a:solidFill>
                <a:latin typeface="Arial" panose="020B0604020202020204"/>
                <a:cs typeface="Arial"/>
              </a:rPr>
              <a:t>validate the high level vision </a:t>
            </a:r>
            <a:r>
              <a:rPr lang="en-GB" sz="1100" spc="-5">
                <a:solidFill>
                  <a:schemeClr val="tx1">
                    <a:lumMod val="50000"/>
                    <a:lumOff val="50000"/>
                  </a:schemeClr>
                </a:solidFill>
                <a:latin typeface="Arial" panose="020B0604020202020204"/>
                <a:cs typeface="Arial"/>
              </a:rPr>
              <a:t>through further workshops with stakeholders and service users from across STW.</a:t>
            </a:r>
            <a:endParaRPr lang="en-GB" sz="1100" spc="-5">
              <a:solidFill>
                <a:schemeClr val="tx1">
                  <a:lumMod val="50000"/>
                  <a:lumOff val="50000"/>
                </a:schemeClr>
              </a:solidFill>
              <a:cs typeface="Arial"/>
            </a:endParaRPr>
          </a:p>
          <a:p>
            <a:pPr marL="171450" indent="-171450">
              <a:spcBef>
                <a:spcPts val="600"/>
              </a:spcBef>
              <a:spcAft>
                <a:spcPts val="600"/>
              </a:spcAft>
              <a:buClr>
                <a:srgbClr val="000000">
                  <a:lumMod val="75000"/>
                  <a:lumOff val="25000"/>
                </a:srgbClr>
              </a:buClr>
              <a:buFont typeface="Wingdings" pitchFamily="2" charset="2"/>
              <a:buChar char="Ø"/>
              <a:defRPr/>
            </a:pPr>
            <a:r>
              <a:rPr lang="en-GB" sz="1100" spc="-5">
                <a:solidFill>
                  <a:schemeClr val="tx1">
                    <a:lumMod val="50000"/>
                    <a:lumOff val="50000"/>
                  </a:schemeClr>
                </a:solidFill>
                <a:cs typeface="Arial"/>
              </a:rPr>
              <a:t>Complete </a:t>
            </a:r>
            <a:r>
              <a:rPr lang="en-GB" sz="1100" b="1" spc="-5">
                <a:solidFill>
                  <a:srgbClr val="50235A"/>
                </a:solidFill>
                <a:cs typeface="Arial"/>
              </a:rPr>
              <a:t>patient journey mapping</a:t>
            </a:r>
            <a:r>
              <a:rPr lang="en-GB" sz="1100" spc="-5">
                <a:solidFill>
                  <a:srgbClr val="50235A"/>
                </a:solidFill>
                <a:cs typeface="Arial"/>
              </a:rPr>
              <a:t> </a:t>
            </a:r>
            <a:r>
              <a:rPr lang="en-GB" sz="1100" spc="-5">
                <a:solidFill>
                  <a:schemeClr val="tx1">
                    <a:lumMod val="50000"/>
                    <a:lumOff val="50000"/>
                  </a:schemeClr>
                </a:solidFill>
                <a:cs typeface="Arial"/>
              </a:rPr>
              <a:t>exercise for 3 pathways to further understand patient experience, gaps and pain points identified through the gap analysis. </a:t>
            </a:r>
          </a:p>
          <a:p>
            <a:pPr marL="171450" indent="-171450">
              <a:spcBef>
                <a:spcPts val="600"/>
              </a:spcBef>
              <a:spcAft>
                <a:spcPts val="600"/>
              </a:spcAft>
              <a:buClr>
                <a:srgbClr val="000000">
                  <a:lumMod val="75000"/>
                  <a:lumOff val="25000"/>
                </a:srgbClr>
              </a:buClr>
              <a:buFont typeface="Wingdings" pitchFamily="2" charset="2"/>
              <a:buChar char="Ø"/>
              <a:defRPr/>
            </a:pPr>
            <a:r>
              <a:rPr lang="en-GB" sz="1100" spc="-5">
                <a:solidFill>
                  <a:schemeClr val="tx1">
                    <a:lumMod val="50000"/>
                    <a:lumOff val="50000"/>
                  </a:schemeClr>
                </a:solidFill>
                <a:cs typeface="Arial"/>
              </a:rPr>
              <a:t>Shape </a:t>
            </a:r>
            <a:r>
              <a:rPr lang="en-GB" sz="1100" b="1" spc="-5">
                <a:solidFill>
                  <a:srgbClr val="50235A"/>
                </a:solidFill>
                <a:cs typeface="Arial"/>
              </a:rPr>
              <a:t>strategy delivery and implementation plan </a:t>
            </a:r>
            <a:r>
              <a:rPr lang="en-GB" sz="1100" spc="-5">
                <a:solidFill>
                  <a:schemeClr val="tx1">
                    <a:lumMod val="50000"/>
                    <a:lumOff val="50000"/>
                  </a:schemeClr>
                </a:solidFill>
                <a:cs typeface="Arial"/>
              </a:rPr>
              <a:t>– roadmap of activities over the next 12-24 months in order to achieve the vision and delivery against the strategy. </a:t>
            </a:r>
          </a:p>
          <a:p>
            <a:pPr marL="171450" lvl="0" indent="-171450">
              <a:spcBef>
                <a:spcPts val="600"/>
              </a:spcBef>
              <a:spcAft>
                <a:spcPts val="600"/>
              </a:spcAft>
              <a:buClr>
                <a:srgbClr val="000000">
                  <a:lumMod val="75000"/>
                  <a:lumOff val="25000"/>
                </a:srgbClr>
              </a:buClr>
              <a:buFont typeface="Wingdings" pitchFamily="2" charset="2"/>
              <a:buChar char="Ø"/>
              <a:defRPr/>
            </a:pPr>
            <a:endParaRPr kumimoji="0" lang="en-GB" sz="11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endParaRPr>
          </a:p>
        </p:txBody>
      </p:sp>
      <p:sp>
        <p:nvSpPr>
          <p:cNvPr id="27" name="Rectangle 26">
            <a:extLst>
              <a:ext uri="{FF2B5EF4-FFF2-40B4-BE49-F238E27FC236}">
                <a16:creationId xmlns:a16="http://schemas.microsoft.com/office/drawing/2014/main" id="{4EFAD1A4-9034-8448-A693-CCB4220B8B5E}"/>
              </a:ext>
            </a:extLst>
          </p:cNvPr>
          <p:cNvSpPr/>
          <p:nvPr/>
        </p:nvSpPr>
        <p:spPr>
          <a:xfrm>
            <a:off x="510638" y="871696"/>
            <a:ext cx="11272233" cy="646331"/>
          </a:xfrm>
          <a:prstGeom prst="rect">
            <a:avLst/>
          </a:prstGeom>
        </p:spPr>
        <p:txBody>
          <a:bodyPr wrap="square" lIns="0">
            <a:spAutoFit/>
          </a:bodyPr>
          <a:lstStyle/>
          <a:p>
            <a:r>
              <a:rPr lang="en-GB" sz="1200" b="1">
                <a:solidFill>
                  <a:srgbClr val="51235C"/>
                </a:solidFill>
                <a:latin typeface="Arial" panose="020B0604020202020204" pitchFamily="34" charset="0"/>
                <a:cs typeface="Arial" panose="020B0604020202020204" pitchFamily="34" charset="0"/>
              </a:rPr>
              <a:t>Shropshire, Telford, and Wrekin (STW) CCG commissioned this work to support the establishment of a single, over-arching vision with a clear direction for the future provision of mental health services within the STW Integrated Care System (ICS).  This work was then expanded to support the development of an implementation roadmap to support STW to implement the vision and prioritised recommendations for adult mental health services. </a:t>
            </a:r>
          </a:p>
        </p:txBody>
      </p:sp>
      <p:sp>
        <p:nvSpPr>
          <p:cNvPr id="28" name="TextBox 27">
            <a:extLst>
              <a:ext uri="{FF2B5EF4-FFF2-40B4-BE49-F238E27FC236}">
                <a16:creationId xmlns:a16="http://schemas.microsoft.com/office/drawing/2014/main" id="{EB83BA76-F5D6-F94D-95C7-D729B2EF3A13}"/>
              </a:ext>
            </a:extLst>
          </p:cNvPr>
          <p:cNvSpPr txBox="1"/>
          <p:nvPr/>
        </p:nvSpPr>
        <p:spPr>
          <a:xfrm>
            <a:off x="7307638" y="1557810"/>
            <a:ext cx="2580924" cy="461665"/>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0235C"/>
                </a:solidFill>
                <a:effectLst/>
                <a:uLnTx/>
                <a:uFillTx/>
                <a:latin typeface="Arial" panose="020B0604020202020204"/>
                <a:ea typeface="+mn-ea"/>
                <a:cs typeface="+mn-cs"/>
              </a:rPr>
              <a:t>Phase 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0235C"/>
                </a:solidFill>
                <a:latin typeface="Arial" panose="020B0604020202020204"/>
              </a:rPr>
              <a:t>(10</a:t>
            </a:r>
            <a:r>
              <a:rPr lang="en-GB" sz="1200" baseline="30000">
                <a:solidFill>
                  <a:srgbClr val="50235C"/>
                </a:solidFill>
                <a:latin typeface="Arial" panose="020B0604020202020204"/>
              </a:rPr>
              <a:t>th</a:t>
            </a:r>
            <a:r>
              <a:rPr lang="en-GB" sz="1200">
                <a:solidFill>
                  <a:srgbClr val="50235C"/>
                </a:solidFill>
                <a:latin typeface="Arial" panose="020B0604020202020204"/>
              </a:rPr>
              <a:t> Nov – 23</a:t>
            </a:r>
            <a:r>
              <a:rPr lang="en-GB" sz="1200" baseline="30000">
                <a:solidFill>
                  <a:srgbClr val="50235C"/>
                </a:solidFill>
                <a:latin typeface="Arial" panose="020B0604020202020204"/>
              </a:rPr>
              <a:t>rd</a:t>
            </a:r>
            <a:r>
              <a:rPr lang="en-GB" sz="1200">
                <a:solidFill>
                  <a:srgbClr val="50235C"/>
                </a:solidFill>
                <a:latin typeface="Arial" panose="020B0604020202020204"/>
              </a:rPr>
              <a:t> Dec)</a:t>
            </a:r>
            <a:endParaRPr kumimoji="0" lang="en-GB" sz="1200" i="0" u="none" strike="noStrike" kern="1200" cap="none" spc="0" normalizeH="0" baseline="0" noProof="0">
              <a:ln>
                <a:noFill/>
              </a:ln>
              <a:solidFill>
                <a:srgbClr val="50235C"/>
              </a:solidFill>
              <a:effectLst/>
              <a:uLnTx/>
              <a:uFillTx/>
              <a:latin typeface="Arial" panose="020B0604020202020204"/>
              <a:ea typeface="+mn-ea"/>
              <a:cs typeface="+mn-cs"/>
            </a:endParaRPr>
          </a:p>
        </p:txBody>
      </p:sp>
      <p:cxnSp>
        <p:nvCxnSpPr>
          <p:cNvPr id="29" name="Straight Connector 28">
            <a:extLst>
              <a:ext uri="{FF2B5EF4-FFF2-40B4-BE49-F238E27FC236}">
                <a16:creationId xmlns:a16="http://schemas.microsoft.com/office/drawing/2014/main" id="{614F206B-05A2-7C4C-95E4-28B2D9B67F64}"/>
              </a:ext>
            </a:extLst>
          </p:cNvPr>
          <p:cNvCxnSpPr>
            <a:cxnSpLocks/>
          </p:cNvCxnSpPr>
          <p:nvPr/>
        </p:nvCxnSpPr>
        <p:spPr>
          <a:xfrm>
            <a:off x="5700878" y="2352878"/>
            <a:ext cx="0" cy="4207845"/>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2" name="Table 21">
            <a:extLst>
              <a:ext uri="{FF2B5EF4-FFF2-40B4-BE49-F238E27FC236}">
                <a16:creationId xmlns:a16="http://schemas.microsoft.com/office/drawing/2014/main" id="{F49BE803-D0CE-E645-BDFC-6EB9FDBDA6A4}"/>
              </a:ext>
            </a:extLst>
          </p:cNvPr>
          <p:cNvGraphicFramePr>
            <a:graphicFrameLocks noGrp="1"/>
          </p:cNvGraphicFramePr>
          <p:nvPr>
            <p:extLst>
              <p:ext uri="{D42A27DB-BD31-4B8C-83A1-F6EECF244321}">
                <p14:modId xmlns:p14="http://schemas.microsoft.com/office/powerpoint/2010/main" val="2481141795"/>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pic>
        <p:nvPicPr>
          <p:cNvPr id="24" name="Picture 23">
            <a:extLst>
              <a:ext uri="{FF2B5EF4-FFF2-40B4-BE49-F238E27FC236}">
                <a16:creationId xmlns:a16="http://schemas.microsoft.com/office/drawing/2014/main" id="{9BAFCD39-0818-9047-9316-95211C85A151}"/>
              </a:ext>
            </a:extLst>
          </p:cNvPr>
          <p:cNvPicPr>
            <a:picLocks noChangeAspect="1"/>
          </p:cNvPicPr>
          <p:nvPr/>
        </p:nvPicPr>
        <p:blipFill>
          <a:blip r:embed="rId8"/>
          <a:stretch>
            <a:fillRect/>
          </a:stretch>
        </p:blipFill>
        <p:spPr>
          <a:xfrm>
            <a:off x="963229" y="4960464"/>
            <a:ext cx="1022878" cy="826848"/>
          </a:xfrm>
          <a:prstGeom prst="rect">
            <a:avLst/>
          </a:prstGeom>
          <a:ln>
            <a:solidFill>
              <a:srgbClr val="50235B"/>
            </a:solidFill>
          </a:ln>
          <a:effectLst>
            <a:outerShdw blurRad="50800" dist="38100" dir="8100000" algn="tr" rotWithShape="0">
              <a:prstClr val="black">
                <a:alpha val="40000"/>
              </a:prstClr>
            </a:outerShdw>
          </a:effectLst>
        </p:spPr>
      </p:pic>
      <p:pic>
        <p:nvPicPr>
          <p:cNvPr id="7" name="Picture 6">
            <a:extLst>
              <a:ext uri="{FF2B5EF4-FFF2-40B4-BE49-F238E27FC236}">
                <a16:creationId xmlns:a16="http://schemas.microsoft.com/office/drawing/2014/main" id="{B35C041F-C13B-6B44-902A-9200732B6C0B}"/>
              </a:ext>
            </a:extLst>
          </p:cNvPr>
          <p:cNvPicPr>
            <a:picLocks noChangeAspect="1"/>
          </p:cNvPicPr>
          <p:nvPr/>
        </p:nvPicPr>
        <p:blipFill>
          <a:blip r:embed="rId9"/>
          <a:stretch>
            <a:fillRect/>
          </a:stretch>
        </p:blipFill>
        <p:spPr>
          <a:xfrm>
            <a:off x="2283520" y="4970222"/>
            <a:ext cx="1435258" cy="807333"/>
          </a:xfrm>
          <a:prstGeom prst="rect">
            <a:avLst/>
          </a:prstGeom>
          <a:ln>
            <a:solidFill>
              <a:srgbClr val="50235B"/>
            </a:solidFill>
          </a:ln>
          <a:effectLst>
            <a:outerShdw blurRad="50800" dist="38100" dir="8100000" algn="tr" rotWithShape="0">
              <a:prstClr val="black">
                <a:alpha val="40000"/>
              </a:prstClr>
            </a:outerShdw>
          </a:effectLst>
        </p:spPr>
      </p:pic>
      <p:pic>
        <p:nvPicPr>
          <p:cNvPr id="8" name="Picture 7">
            <a:extLst>
              <a:ext uri="{FF2B5EF4-FFF2-40B4-BE49-F238E27FC236}">
                <a16:creationId xmlns:a16="http://schemas.microsoft.com/office/drawing/2014/main" id="{EF66DE1A-BF53-C747-B97A-CDF5D0F89A30}"/>
              </a:ext>
            </a:extLst>
          </p:cNvPr>
          <p:cNvPicPr>
            <a:picLocks noChangeAspect="1"/>
          </p:cNvPicPr>
          <p:nvPr/>
        </p:nvPicPr>
        <p:blipFill>
          <a:blip r:embed="rId10"/>
          <a:stretch>
            <a:fillRect/>
          </a:stretch>
        </p:blipFill>
        <p:spPr>
          <a:xfrm>
            <a:off x="4016191" y="4970221"/>
            <a:ext cx="1435261" cy="807334"/>
          </a:xfrm>
          <a:prstGeom prst="rect">
            <a:avLst/>
          </a:prstGeom>
          <a:ln>
            <a:solidFill>
              <a:srgbClr val="50235B"/>
            </a:solidFill>
          </a:ln>
          <a:effectLst>
            <a:outerShdw blurRad="50800" dist="38100" dir="8100000" algn="tr" rotWithShape="0">
              <a:prstClr val="black">
                <a:alpha val="40000"/>
              </a:prstClr>
            </a:outerShdw>
          </a:effectLst>
        </p:spPr>
      </p:pic>
      <p:sp>
        <p:nvSpPr>
          <p:cNvPr id="30" name="TextBox 29">
            <a:extLst>
              <a:ext uri="{FF2B5EF4-FFF2-40B4-BE49-F238E27FC236}">
                <a16:creationId xmlns:a16="http://schemas.microsoft.com/office/drawing/2014/main" id="{FB434F85-74F0-384B-9D7F-FF2A33898709}"/>
              </a:ext>
            </a:extLst>
          </p:cNvPr>
          <p:cNvSpPr txBox="1"/>
          <p:nvPr/>
        </p:nvSpPr>
        <p:spPr>
          <a:xfrm>
            <a:off x="2237033" y="5909296"/>
            <a:ext cx="1511216" cy="430887"/>
          </a:xfrm>
          <a:prstGeom prst="rect">
            <a:avLst/>
          </a:prstGeom>
          <a:noFill/>
        </p:spPr>
        <p:txBody>
          <a:bodyPr wrap="square" lIns="91440" tIns="45720" rIns="91440" bIns="45720" rtlCol="0" anchor="t">
            <a:spAutoFit/>
          </a:bodyPr>
          <a:lstStyle/>
          <a:p>
            <a:pPr marR="0" lvl="0" algn="ctr" defTabSz="914400" rtl="0" eaLnBrk="1" fontAlgn="auto" latinLnBrk="0" hangingPunct="1">
              <a:lnSpc>
                <a:spcPct val="100000"/>
              </a:lnSpc>
              <a:spcBef>
                <a:spcPts val="0"/>
              </a:spcBef>
              <a:spcAft>
                <a:spcPts val="600"/>
              </a:spcAft>
              <a:buClr>
                <a:srgbClr val="50235C"/>
              </a:buClr>
              <a:buSzTx/>
              <a:tabLst/>
              <a:defRPr/>
            </a:pPr>
            <a:r>
              <a:rPr lang="en-GB" sz="1100" spc="-5">
                <a:solidFill>
                  <a:schemeClr val="tx1">
                    <a:lumMod val="50000"/>
                    <a:lumOff val="50000"/>
                  </a:schemeClr>
                </a:solidFill>
                <a:latin typeface="Arial" panose="020B0604020202020204"/>
                <a:cs typeface="Arial"/>
              </a:rPr>
              <a:t>High-level gap analysis</a:t>
            </a:r>
            <a:endParaRPr kumimoji="0" lang="en-GB" sz="11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endParaRPr>
          </a:p>
        </p:txBody>
      </p:sp>
      <p:sp>
        <p:nvSpPr>
          <p:cNvPr id="31" name="TextBox 30">
            <a:extLst>
              <a:ext uri="{FF2B5EF4-FFF2-40B4-BE49-F238E27FC236}">
                <a16:creationId xmlns:a16="http://schemas.microsoft.com/office/drawing/2014/main" id="{52EEF356-4F06-7543-9F4E-C9797686F817}"/>
              </a:ext>
            </a:extLst>
          </p:cNvPr>
          <p:cNvSpPr txBox="1"/>
          <p:nvPr/>
        </p:nvSpPr>
        <p:spPr>
          <a:xfrm>
            <a:off x="719029" y="5909296"/>
            <a:ext cx="1511221" cy="430887"/>
          </a:xfrm>
          <a:prstGeom prst="rect">
            <a:avLst/>
          </a:prstGeom>
          <a:noFill/>
        </p:spPr>
        <p:txBody>
          <a:bodyPr wrap="square" lIns="91440" tIns="45720" rIns="91440" bIns="45720" rtlCol="0" anchor="t">
            <a:spAutoFit/>
          </a:bodyPr>
          <a:lstStyle/>
          <a:p>
            <a:pPr marR="0" lvl="0" algn="ctr" defTabSz="914400" rtl="0" eaLnBrk="1" fontAlgn="auto" latinLnBrk="0" hangingPunct="1">
              <a:lnSpc>
                <a:spcPct val="100000"/>
              </a:lnSpc>
              <a:spcBef>
                <a:spcPts val="0"/>
              </a:spcBef>
              <a:spcAft>
                <a:spcPts val="600"/>
              </a:spcAft>
              <a:buClr>
                <a:srgbClr val="50235C"/>
              </a:buClr>
              <a:buSzTx/>
              <a:tabLst/>
              <a:defRPr/>
            </a:pPr>
            <a:r>
              <a:rPr kumimoji="0" lang="en-GB" sz="11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rPr>
              <a:t>As-is service mapping </a:t>
            </a:r>
          </a:p>
        </p:txBody>
      </p:sp>
      <p:pic>
        <p:nvPicPr>
          <p:cNvPr id="9" name="Picture 8">
            <a:extLst>
              <a:ext uri="{FF2B5EF4-FFF2-40B4-BE49-F238E27FC236}">
                <a16:creationId xmlns:a16="http://schemas.microsoft.com/office/drawing/2014/main" id="{546B8D7F-B499-FB41-B7ED-CB859BC8D8F6}"/>
              </a:ext>
            </a:extLst>
          </p:cNvPr>
          <p:cNvPicPr>
            <a:picLocks noChangeAspect="1"/>
          </p:cNvPicPr>
          <p:nvPr/>
        </p:nvPicPr>
        <p:blipFill>
          <a:blip r:embed="rId11"/>
          <a:stretch>
            <a:fillRect/>
          </a:stretch>
        </p:blipFill>
        <p:spPr>
          <a:xfrm>
            <a:off x="5943161" y="4984297"/>
            <a:ext cx="1433600" cy="806400"/>
          </a:xfrm>
          <a:prstGeom prst="rect">
            <a:avLst/>
          </a:prstGeom>
          <a:ln>
            <a:solidFill>
              <a:srgbClr val="50235B"/>
            </a:solidFill>
          </a:ln>
          <a:effectLst>
            <a:outerShdw blurRad="50800" dist="38100" dir="8100000" algn="tr" rotWithShape="0">
              <a:prstClr val="black">
                <a:alpha val="40000"/>
              </a:prstClr>
            </a:outerShdw>
          </a:effectLst>
        </p:spPr>
      </p:pic>
      <p:pic>
        <p:nvPicPr>
          <p:cNvPr id="10" name="Picture 9">
            <a:extLst>
              <a:ext uri="{FF2B5EF4-FFF2-40B4-BE49-F238E27FC236}">
                <a16:creationId xmlns:a16="http://schemas.microsoft.com/office/drawing/2014/main" id="{61E22803-DF9B-664D-AE0E-AEBA73881D53}"/>
              </a:ext>
            </a:extLst>
          </p:cNvPr>
          <p:cNvPicPr>
            <a:picLocks noChangeAspect="1"/>
          </p:cNvPicPr>
          <p:nvPr/>
        </p:nvPicPr>
        <p:blipFill>
          <a:blip r:embed="rId12"/>
          <a:stretch>
            <a:fillRect/>
          </a:stretch>
        </p:blipFill>
        <p:spPr>
          <a:xfrm>
            <a:off x="7520945" y="4970222"/>
            <a:ext cx="1435258" cy="807333"/>
          </a:xfrm>
          <a:prstGeom prst="rect">
            <a:avLst/>
          </a:prstGeom>
          <a:ln>
            <a:solidFill>
              <a:srgbClr val="50235B"/>
            </a:solidFill>
          </a:ln>
          <a:effectLst>
            <a:outerShdw blurRad="50800" dist="38100" dir="8100000" algn="tr" rotWithShape="0">
              <a:prstClr val="black">
                <a:alpha val="40000"/>
              </a:prstClr>
            </a:outerShdw>
          </a:effectLst>
        </p:spPr>
      </p:pic>
      <p:pic>
        <p:nvPicPr>
          <p:cNvPr id="11" name="Picture 10">
            <a:extLst>
              <a:ext uri="{FF2B5EF4-FFF2-40B4-BE49-F238E27FC236}">
                <a16:creationId xmlns:a16="http://schemas.microsoft.com/office/drawing/2014/main" id="{FCA246B5-E1D9-E348-B811-C499AC042802}"/>
              </a:ext>
            </a:extLst>
          </p:cNvPr>
          <p:cNvPicPr>
            <a:picLocks noChangeAspect="1"/>
          </p:cNvPicPr>
          <p:nvPr/>
        </p:nvPicPr>
        <p:blipFill>
          <a:blip r:embed="rId13"/>
          <a:stretch>
            <a:fillRect/>
          </a:stretch>
        </p:blipFill>
        <p:spPr>
          <a:xfrm>
            <a:off x="9100387" y="4970222"/>
            <a:ext cx="1435255" cy="807331"/>
          </a:xfrm>
          <a:prstGeom prst="rect">
            <a:avLst/>
          </a:prstGeom>
          <a:ln>
            <a:solidFill>
              <a:srgbClr val="50235B"/>
            </a:solidFill>
          </a:ln>
          <a:effectLst>
            <a:outerShdw blurRad="50800" dist="38100" dir="8100000" algn="tr" rotWithShape="0">
              <a:prstClr val="black">
                <a:alpha val="40000"/>
              </a:prstClr>
            </a:outerShdw>
          </a:effectLst>
        </p:spPr>
      </p:pic>
      <p:pic>
        <p:nvPicPr>
          <p:cNvPr id="12" name="Picture 11">
            <a:extLst>
              <a:ext uri="{FF2B5EF4-FFF2-40B4-BE49-F238E27FC236}">
                <a16:creationId xmlns:a16="http://schemas.microsoft.com/office/drawing/2014/main" id="{77E0D068-016F-5843-88BD-786D2579090F}"/>
              </a:ext>
            </a:extLst>
          </p:cNvPr>
          <p:cNvPicPr>
            <a:picLocks noChangeAspect="1"/>
          </p:cNvPicPr>
          <p:nvPr/>
        </p:nvPicPr>
        <p:blipFill>
          <a:blip r:embed="rId14"/>
          <a:stretch>
            <a:fillRect/>
          </a:stretch>
        </p:blipFill>
        <p:spPr>
          <a:xfrm>
            <a:off x="10684549" y="4970221"/>
            <a:ext cx="1435258" cy="807332"/>
          </a:xfrm>
          <a:prstGeom prst="rect">
            <a:avLst/>
          </a:prstGeom>
          <a:ln>
            <a:solidFill>
              <a:srgbClr val="50235B"/>
            </a:solidFill>
          </a:ln>
          <a:effectLst>
            <a:outerShdw blurRad="50800" dist="38100" dir="8100000" algn="tr" rotWithShape="0">
              <a:prstClr val="black">
                <a:alpha val="40000"/>
              </a:prstClr>
            </a:outerShdw>
          </a:effectLst>
        </p:spPr>
      </p:pic>
      <p:sp>
        <p:nvSpPr>
          <p:cNvPr id="33" name="TextBox 32">
            <a:extLst>
              <a:ext uri="{FF2B5EF4-FFF2-40B4-BE49-F238E27FC236}">
                <a16:creationId xmlns:a16="http://schemas.microsoft.com/office/drawing/2014/main" id="{A3D97B83-F595-E648-97CE-CA67B6983869}"/>
              </a:ext>
            </a:extLst>
          </p:cNvPr>
          <p:cNvSpPr txBox="1"/>
          <p:nvPr/>
        </p:nvSpPr>
        <p:spPr>
          <a:xfrm>
            <a:off x="5904353" y="5909296"/>
            <a:ext cx="1511215" cy="261610"/>
          </a:xfrm>
          <a:prstGeom prst="rect">
            <a:avLst/>
          </a:prstGeom>
          <a:noFill/>
        </p:spPr>
        <p:txBody>
          <a:bodyPr wrap="square" lIns="91440" tIns="45720" rIns="91440" bIns="45720" rtlCol="0" anchor="t">
            <a:spAutoFit/>
          </a:bodyPr>
          <a:lstStyle/>
          <a:p>
            <a:pPr marR="0" lvl="0" algn="ctr" defTabSz="914400" rtl="0" eaLnBrk="1" fontAlgn="auto" latinLnBrk="0" hangingPunct="1">
              <a:lnSpc>
                <a:spcPct val="100000"/>
              </a:lnSpc>
              <a:spcBef>
                <a:spcPts val="0"/>
              </a:spcBef>
              <a:spcAft>
                <a:spcPts val="600"/>
              </a:spcAft>
              <a:buClr>
                <a:srgbClr val="50235C"/>
              </a:buClr>
              <a:buSzTx/>
              <a:tabLst/>
              <a:defRPr/>
            </a:pPr>
            <a:r>
              <a:rPr kumimoji="0" lang="en-GB" sz="11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rPr>
              <a:t>Gap analysis</a:t>
            </a:r>
          </a:p>
        </p:txBody>
      </p:sp>
      <p:sp>
        <p:nvSpPr>
          <p:cNvPr id="34" name="TextBox 33">
            <a:extLst>
              <a:ext uri="{FF2B5EF4-FFF2-40B4-BE49-F238E27FC236}">
                <a16:creationId xmlns:a16="http://schemas.microsoft.com/office/drawing/2014/main" id="{E1A5336B-CF28-9048-AA52-D2B8FB259481}"/>
              </a:ext>
            </a:extLst>
          </p:cNvPr>
          <p:cNvSpPr txBox="1"/>
          <p:nvPr/>
        </p:nvSpPr>
        <p:spPr>
          <a:xfrm>
            <a:off x="7478689" y="5909296"/>
            <a:ext cx="1511215" cy="261610"/>
          </a:xfrm>
          <a:prstGeom prst="rect">
            <a:avLst/>
          </a:prstGeom>
          <a:noFill/>
        </p:spPr>
        <p:txBody>
          <a:bodyPr wrap="square" lIns="91440" tIns="45720" rIns="91440" bIns="45720" rtlCol="0" anchor="t">
            <a:spAutoFit/>
          </a:bodyPr>
          <a:lstStyle/>
          <a:p>
            <a:pPr marR="0" lvl="0" algn="ctr" defTabSz="914400" rtl="0" eaLnBrk="1" fontAlgn="auto" latinLnBrk="0" hangingPunct="1">
              <a:lnSpc>
                <a:spcPct val="100000"/>
              </a:lnSpc>
              <a:spcBef>
                <a:spcPts val="0"/>
              </a:spcBef>
              <a:spcAft>
                <a:spcPts val="600"/>
              </a:spcAft>
              <a:buClr>
                <a:srgbClr val="50235C"/>
              </a:buClr>
              <a:buSzTx/>
              <a:tabLst/>
              <a:defRPr/>
            </a:pPr>
            <a:r>
              <a:rPr kumimoji="0" lang="en-GB" sz="11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rPr>
              <a:t>Vision and strategy</a:t>
            </a:r>
          </a:p>
        </p:txBody>
      </p:sp>
      <p:sp>
        <p:nvSpPr>
          <p:cNvPr id="35" name="TextBox 34">
            <a:extLst>
              <a:ext uri="{FF2B5EF4-FFF2-40B4-BE49-F238E27FC236}">
                <a16:creationId xmlns:a16="http://schemas.microsoft.com/office/drawing/2014/main" id="{A870685A-BCC1-F54D-90AE-9C2101354A9B}"/>
              </a:ext>
            </a:extLst>
          </p:cNvPr>
          <p:cNvSpPr txBox="1"/>
          <p:nvPr/>
        </p:nvSpPr>
        <p:spPr>
          <a:xfrm>
            <a:off x="9063771" y="5909296"/>
            <a:ext cx="1511215" cy="430887"/>
          </a:xfrm>
          <a:prstGeom prst="rect">
            <a:avLst/>
          </a:prstGeom>
          <a:noFill/>
        </p:spPr>
        <p:txBody>
          <a:bodyPr wrap="square" lIns="91440" tIns="45720" rIns="91440" bIns="45720" rtlCol="0" anchor="t">
            <a:spAutoFit/>
          </a:bodyPr>
          <a:lstStyle/>
          <a:p>
            <a:pPr marR="0" lvl="0" algn="ctr" defTabSz="914400" rtl="0" eaLnBrk="1" fontAlgn="auto" latinLnBrk="0" hangingPunct="1">
              <a:lnSpc>
                <a:spcPct val="100000"/>
              </a:lnSpc>
              <a:spcBef>
                <a:spcPts val="0"/>
              </a:spcBef>
              <a:spcAft>
                <a:spcPts val="600"/>
              </a:spcAft>
              <a:buClr>
                <a:srgbClr val="50235C"/>
              </a:buClr>
              <a:buSzTx/>
              <a:tabLst/>
              <a:defRPr/>
            </a:pPr>
            <a:r>
              <a:rPr kumimoji="0" lang="en-GB" sz="11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rPr>
              <a:t>Patient journey mapping</a:t>
            </a:r>
          </a:p>
        </p:txBody>
      </p:sp>
      <p:sp>
        <p:nvSpPr>
          <p:cNvPr id="36" name="TextBox 35">
            <a:extLst>
              <a:ext uri="{FF2B5EF4-FFF2-40B4-BE49-F238E27FC236}">
                <a16:creationId xmlns:a16="http://schemas.microsoft.com/office/drawing/2014/main" id="{587F6048-150D-BF44-AFBE-4A02FC8676F2}"/>
              </a:ext>
            </a:extLst>
          </p:cNvPr>
          <p:cNvSpPr txBox="1"/>
          <p:nvPr/>
        </p:nvSpPr>
        <p:spPr>
          <a:xfrm>
            <a:off x="10648853" y="5909296"/>
            <a:ext cx="1511215" cy="600164"/>
          </a:xfrm>
          <a:prstGeom prst="rect">
            <a:avLst/>
          </a:prstGeom>
          <a:noFill/>
        </p:spPr>
        <p:txBody>
          <a:bodyPr wrap="square" lIns="91440" tIns="45720" rIns="91440" bIns="45720" rtlCol="0" anchor="t">
            <a:spAutoFit/>
          </a:bodyPr>
          <a:lstStyle/>
          <a:p>
            <a:pPr marR="0" lvl="0" algn="ctr" defTabSz="914400" rtl="0" eaLnBrk="1" fontAlgn="auto" latinLnBrk="0" hangingPunct="1">
              <a:lnSpc>
                <a:spcPct val="100000"/>
              </a:lnSpc>
              <a:spcBef>
                <a:spcPts val="0"/>
              </a:spcBef>
              <a:spcAft>
                <a:spcPts val="600"/>
              </a:spcAft>
              <a:buClr>
                <a:srgbClr val="50235C"/>
              </a:buClr>
              <a:buSzTx/>
              <a:tabLst/>
              <a:defRPr/>
            </a:pPr>
            <a:r>
              <a:rPr kumimoji="0" lang="en-GB" sz="11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rPr>
              <a:t>Delivery and implementation roadmap</a:t>
            </a:r>
          </a:p>
        </p:txBody>
      </p:sp>
    </p:spTree>
    <p:extLst>
      <p:ext uri="{BB962C8B-B14F-4D97-AF65-F5344CB8AC3E}">
        <p14:creationId xmlns:p14="http://schemas.microsoft.com/office/powerpoint/2010/main" val="206986672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1DEC92A-C88D-F946-A1A9-8B38E6C4179D}"/>
              </a:ext>
            </a:extLst>
          </p:cNvPr>
          <p:cNvSpPr/>
          <p:nvPr/>
        </p:nvSpPr>
        <p:spPr>
          <a:xfrm>
            <a:off x="517131" y="1623206"/>
            <a:ext cx="3162458" cy="260222"/>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lish-GB" sz="1200" b="1">
                <a:solidFill>
                  <a:srgbClr val="50235C"/>
                </a:solidFill>
              </a:rPr>
              <a:t>Approach &amp; </a:t>
            </a:r>
            <a:r>
              <a:rPr lang="en-GB" sz="1200" b="1">
                <a:solidFill>
                  <a:srgbClr val="50235C"/>
                </a:solidFill>
              </a:rPr>
              <a:t>o</a:t>
            </a:r>
            <a:r>
              <a:rPr lang="english-GB" sz="1200" b="1">
                <a:solidFill>
                  <a:srgbClr val="50235C"/>
                </a:solidFill>
              </a:rPr>
              <a:t>utput</a:t>
            </a:r>
          </a:p>
        </p:txBody>
      </p:sp>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8593"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800" b="0" i="0" u="none" strike="noStrike" kern="1200" cap="none" spc="0" normalizeH="0" baseline="0" noProof="0">
              <a:ln>
                <a:noFill/>
              </a:ln>
              <a:solidFill>
                <a:srgbClr val="FFFFFF"/>
              </a:solidFill>
              <a:effectLst/>
              <a:uLnTx/>
              <a:uFillTx/>
              <a:latin typeface="Arial" panose="020B0604020202020204"/>
              <a:ea typeface="+mn-ea"/>
              <a:cs typeface="+mn-cs"/>
              <a:sym typeface="Arial" panose="020B0604020202020204" pitchFamily="34" charset="0"/>
            </a:endParaRPr>
          </a:p>
        </p:txBody>
      </p:sp>
      <p:sp>
        <p:nvSpPr>
          <p:cNvPr id="2" name="Title 1"/>
          <p:cNvSpPr>
            <a:spLocks noGrp="1"/>
          </p:cNvSpPr>
          <p:nvPr>
            <p:ph type="title"/>
          </p:nvPr>
        </p:nvSpPr>
        <p:spPr>
          <a:xfrm>
            <a:off x="510638" y="297277"/>
            <a:ext cx="9321425" cy="434010"/>
          </a:xfrm>
          <a:prstGeom prst="rect">
            <a:avLst/>
          </a:prstGeom>
        </p:spPr>
        <p:txBody>
          <a:bodyPr/>
          <a:lstStyle/>
          <a:p>
            <a:r>
              <a:rPr lang="en-GB"/>
              <a:t>Executive summary: Service mapping and gap analysis </a:t>
            </a:r>
          </a:p>
        </p:txBody>
      </p:sp>
      <p:sp>
        <p:nvSpPr>
          <p:cNvPr id="5" name="Footer Placeholder 4">
            <a:extLst>
              <a:ext uri="{FF2B5EF4-FFF2-40B4-BE49-F238E27FC236}">
                <a16:creationId xmlns:a16="http://schemas.microsoft.com/office/drawing/2014/main" id="{8378A888-C2F3-1F46-BFE9-6AED0C113342}"/>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50235C"/>
                </a:solidFill>
                <a:effectLst/>
                <a:uLnTx/>
                <a:uFillTx/>
                <a:latin typeface="Arial" panose="020B0604020202020204"/>
                <a:ea typeface="+mn-ea"/>
                <a:cs typeface="+mn-cs"/>
              </a:rPr>
              <a:t>© Moorhouse 2021 [Restricted]</a:t>
            </a:r>
          </a:p>
        </p:txBody>
      </p:sp>
      <p:sp>
        <p:nvSpPr>
          <p:cNvPr id="27" name="Rectangle 26">
            <a:extLst>
              <a:ext uri="{FF2B5EF4-FFF2-40B4-BE49-F238E27FC236}">
                <a16:creationId xmlns:a16="http://schemas.microsoft.com/office/drawing/2014/main" id="{4EFAD1A4-9034-8448-A693-CCB4220B8B5E}"/>
              </a:ext>
            </a:extLst>
          </p:cNvPr>
          <p:cNvSpPr/>
          <p:nvPr/>
        </p:nvSpPr>
        <p:spPr>
          <a:xfrm>
            <a:off x="510638" y="871696"/>
            <a:ext cx="11272233" cy="461665"/>
          </a:xfrm>
          <a:prstGeom prst="rect">
            <a:avLst/>
          </a:prstGeom>
        </p:spPr>
        <p:txBody>
          <a:bodyPr wrap="square" lIns="0">
            <a:spAutoFit/>
          </a:bodyPr>
          <a:lstStyle/>
          <a:p>
            <a:r>
              <a:rPr lang="en-GB" sz="1200" b="1">
                <a:solidFill>
                  <a:srgbClr val="51235C"/>
                </a:solidFill>
                <a:latin typeface="Arial" panose="020B0604020202020204" pitchFamily="34" charset="0"/>
                <a:cs typeface="Arial" panose="020B0604020202020204" pitchFamily="34" charset="0"/>
              </a:rPr>
              <a:t>Stakeholder interviews and a desktop review were used to map the current mental health services across STW, to support a gap analysis of the existing service provision and the development of a vision and strategy for the future. </a:t>
            </a:r>
          </a:p>
        </p:txBody>
      </p:sp>
      <p:cxnSp>
        <p:nvCxnSpPr>
          <p:cNvPr id="29" name="Straight Connector 28">
            <a:extLst>
              <a:ext uri="{FF2B5EF4-FFF2-40B4-BE49-F238E27FC236}">
                <a16:creationId xmlns:a16="http://schemas.microsoft.com/office/drawing/2014/main" id="{614F206B-05A2-7C4C-95E4-28B2D9B67F64}"/>
              </a:ext>
            </a:extLst>
          </p:cNvPr>
          <p:cNvCxnSpPr>
            <a:cxnSpLocks/>
          </p:cNvCxnSpPr>
          <p:nvPr/>
        </p:nvCxnSpPr>
        <p:spPr>
          <a:xfrm>
            <a:off x="4114360" y="1999792"/>
            <a:ext cx="0" cy="4207845"/>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762DF57-84A7-E447-9663-FFF81F2335B2}"/>
              </a:ext>
            </a:extLst>
          </p:cNvPr>
          <p:cNvCxnSpPr>
            <a:cxnSpLocks/>
          </p:cNvCxnSpPr>
          <p:nvPr/>
        </p:nvCxnSpPr>
        <p:spPr>
          <a:xfrm>
            <a:off x="8071378" y="1999792"/>
            <a:ext cx="0" cy="4207845"/>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5831CEDB-D38E-1343-BE9C-83F0EFBBD13F}"/>
              </a:ext>
            </a:extLst>
          </p:cNvPr>
          <p:cNvSpPr txBox="1"/>
          <p:nvPr/>
        </p:nvSpPr>
        <p:spPr>
          <a:xfrm>
            <a:off x="4491059" y="1623206"/>
            <a:ext cx="3162467" cy="276999"/>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2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b="1">
                <a:solidFill>
                  <a:srgbClr val="50235C"/>
                </a:solidFill>
              </a:rPr>
              <a:t>Findings</a:t>
            </a:r>
          </a:p>
        </p:txBody>
      </p:sp>
      <p:sp>
        <p:nvSpPr>
          <p:cNvPr id="40" name="TextBox 39">
            <a:extLst>
              <a:ext uri="{FF2B5EF4-FFF2-40B4-BE49-F238E27FC236}">
                <a16:creationId xmlns:a16="http://schemas.microsoft.com/office/drawing/2014/main" id="{E1C0E2C8-7B47-E548-A07D-68D7A4F22BA7}"/>
              </a:ext>
            </a:extLst>
          </p:cNvPr>
          <p:cNvSpPr txBox="1"/>
          <p:nvPr/>
        </p:nvSpPr>
        <p:spPr>
          <a:xfrm>
            <a:off x="8464995" y="1623206"/>
            <a:ext cx="3162467" cy="276999"/>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2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b="1">
                <a:solidFill>
                  <a:srgbClr val="50235C"/>
                </a:solidFill>
              </a:rPr>
              <a:t>Recommendations &amp; next steps</a:t>
            </a:r>
          </a:p>
        </p:txBody>
      </p:sp>
      <p:sp>
        <p:nvSpPr>
          <p:cNvPr id="43" name="Rectangle 42">
            <a:extLst>
              <a:ext uri="{FF2B5EF4-FFF2-40B4-BE49-F238E27FC236}">
                <a16:creationId xmlns:a16="http://schemas.microsoft.com/office/drawing/2014/main" id="{6722C459-EA4B-9046-BFE4-5ADCCCE9822B}"/>
              </a:ext>
            </a:extLst>
          </p:cNvPr>
          <p:cNvSpPr/>
          <p:nvPr/>
        </p:nvSpPr>
        <p:spPr>
          <a:xfrm rot="16200000">
            <a:off x="-455689" y="5587903"/>
            <a:ext cx="1668641" cy="276999"/>
          </a:xfrm>
          <a:prstGeom prst="rect">
            <a:avLst/>
          </a:prstGeom>
        </p:spPr>
        <p:txBody>
          <a:bodyPr wrap="square" lIns="0">
            <a:spAutoFit/>
          </a:bodyPr>
          <a:lstStyle/>
          <a:p>
            <a:pPr algn="ctr"/>
            <a:r>
              <a:rPr lang="en-GB" sz="1200" b="1">
                <a:solidFill>
                  <a:srgbClr val="51235C"/>
                </a:solidFill>
                <a:latin typeface="Arial" panose="020B0604020202020204" pitchFamily="34" charset="0"/>
                <a:cs typeface="Arial" panose="020B0604020202020204" pitchFamily="34" charset="0"/>
              </a:rPr>
              <a:t>Output</a:t>
            </a:r>
          </a:p>
        </p:txBody>
      </p:sp>
      <p:sp>
        <p:nvSpPr>
          <p:cNvPr id="44" name="Rectangle 43">
            <a:extLst>
              <a:ext uri="{FF2B5EF4-FFF2-40B4-BE49-F238E27FC236}">
                <a16:creationId xmlns:a16="http://schemas.microsoft.com/office/drawing/2014/main" id="{94F77078-9FB8-334E-9C10-E9F04E16BBA7}"/>
              </a:ext>
            </a:extLst>
          </p:cNvPr>
          <p:cNvSpPr/>
          <p:nvPr/>
        </p:nvSpPr>
        <p:spPr>
          <a:xfrm>
            <a:off x="510638" y="4974572"/>
            <a:ext cx="3168951" cy="1472805"/>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45" name="Picture 44">
            <a:extLst>
              <a:ext uri="{FF2B5EF4-FFF2-40B4-BE49-F238E27FC236}">
                <a16:creationId xmlns:a16="http://schemas.microsoft.com/office/drawing/2014/main" id="{948F28F6-61E2-7243-997A-555466F62827}"/>
              </a:ext>
            </a:extLst>
          </p:cNvPr>
          <p:cNvPicPr>
            <a:picLocks noChangeAspect="1"/>
          </p:cNvPicPr>
          <p:nvPr/>
        </p:nvPicPr>
        <p:blipFill>
          <a:blip r:embed="rId8"/>
          <a:stretch>
            <a:fillRect/>
          </a:stretch>
        </p:blipFill>
        <p:spPr>
          <a:xfrm>
            <a:off x="757262" y="5159456"/>
            <a:ext cx="1022878" cy="826848"/>
          </a:xfrm>
          <a:prstGeom prst="rect">
            <a:avLst/>
          </a:prstGeom>
          <a:ln>
            <a:solidFill>
              <a:srgbClr val="50235B"/>
            </a:solidFill>
          </a:ln>
          <a:effectLst>
            <a:outerShdw blurRad="50800" dist="38100" dir="8100000" algn="tr" rotWithShape="0">
              <a:prstClr val="black">
                <a:alpha val="40000"/>
              </a:prstClr>
            </a:outerShdw>
          </a:effectLst>
        </p:spPr>
      </p:pic>
      <p:pic>
        <p:nvPicPr>
          <p:cNvPr id="46" name="Picture 45">
            <a:extLst>
              <a:ext uri="{FF2B5EF4-FFF2-40B4-BE49-F238E27FC236}">
                <a16:creationId xmlns:a16="http://schemas.microsoft.com/office/drawing/2014/main" id="{6BA8DE75-D227-DB40-A572-28050B78841A}"/>
              </a:ext>
            </a:extLst>
          </p:cNvPr>
          <p:cNvPicPr>
            <a:picLocks noChangeAspect="1"/>
          </p:cNvPicPr>
          <p:nvPr/>
        </p:nvPicPr>
        <p:blipFill>
          <a:blip r:embed="rId9"/>
          <a:stretch>
            <a:fillRect/>
          </a:stretch>
        </p:blipFill>
        <p:spPr>
          <a:xfrm>
            <a:off x="2077553" y="5169214"/>
            <a:ext cx="1435258" cy="807333"/>
          </a:xfrm>
          <a:prstGeom prst="rect">
            <a:avLst/>
          </a:prstGeom>
          <a:ln>
            <a:solidFill>
              <a:srgbClr val="50235B"/>
            </a:solidFill>
          </a:ln>
          <a:effectLst>
            <a:outerShdw blurRad="50800" dist="38100" dir="8100000" algn="tr" rotWithShape="0">
              <a:prstClr val="black">
                <a:alpha val="40000"/>
              </a:prstClr>
            </a:outerShdw>
          </a:effectLst>
        </p:spPr>
      </p:pic>
      <p:sp>
        <p:nvSpPr>
          <p:cNvPr id="48" name="TextBox 47">
            <a:extLst>
              <a:ext uri="{FF2B5EF4-FFF2-40B4-BE49-F238E27FC236}">
                <a16:creationId xmlns:a16="http://schemas.microsoft.com/office/drawing/2014/main" id="{A64AE93D-4341-5940-88E2-777BF375B524}"/>
              </a:ext>
            </a:extLst>
          </p:cNvPr>
          <p:cNvSpPr txBox="1"/>
          <p:nvPr/>
        </p:nvSpPr>
        <p:spPr>
          <a:xfrm>
            <a:off x="1958638" y="5971963"/>
            <a:ext cx="1511216" cy="430887"/>
          </a:xfrm>
          <a:prstGeom prst="rect">
            <a:avLst/>
          </a:prstGeom>
          <a:noFill/>
        </p:spPr>
        <p:txBody>
          <a:bodyPr wrap="square" lIns="91440" tIns="45720" rIns="91440" bIns="45720" rtlCol="0" anchor="t">
            <a:spAutoFit/>
          </a:bodyPr>
          <a:lstStyle/>
          <a:p>
            <a:pPr marR="0" lvl="0" algn="ctr" defTabSz="914400" rtl="0" eaLnBrk="1" fontAlgn="auto" latinLnBrk="0" hangingPunct="1">
              <a:lnSpc>
                <a:spcPct val="100000"/>
              </a:lnSpc>
              <a:spcBef>
                <a:spcPts val="0"/>
              </a:spcBef>
              <a:spcAft>
                <a:spcPts val="600"/>
              </a:spcAft>
              <a:buClr>
                <a:srgbClr val="50235C"/>
              </a:buClr>
              <a:buSzTx/>
              <a:tabLst/>
              <a:defRPr/>
            </a:pPr>
            <a:r>
              <a:rPr lang="en-GB" sz="1100" spc="-5">
                <a:solidFill>
                  <a:schemeClr val="tx1">
                    <a:lumMod val="50000"/>
                    <a:lumOff val="50000"/>
                  </a:schemeClr>
                </a:solidFill>
                <a:latin typeface="Arial" panose="020B0604020202020204"/>
                <a:cs typeface="Arial"/>
              </a:rPr>
              <a:t>High-level gap analysis</a:t>
            </a:r>
            <a:endParaRPr kumimoji="0" lang="en-GB" sz="11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endParaRPr>
          </a:p>
        </p:txBody>
      </p:sp>
      <p:sp>
        <p:nvSpPr>
          <p:cNvPr id="49" name="TextBox 48">
            <a:extLst>
              <a:ext uri="{FF2B5EF4-FFF2-40B4-BE49-F238E27FC236}">
                <a16:creationId xmlns:a16="http://schemas.microsoft.com/office/drawing/2014/main" id="{EB12C5EA-D5E9-6642-B105-31F682D36F5D}"/>
              </a:ext>
            </a:extLst>
          </p:cNvPr>
          <p:cNvSpPr txBox="1"/>
          <p:nvPr/>
        </p:nvSpPr>
        <p:spPr>
          <a:xfrm>
            <a:off x="440634" y="5971963"/>
            <a:ext cx="1511221" cy="430887"/>
          </a:xfrm>
          <a:prstGeom prst="rect">
            <a:avLst/>
          </a:prstGeom>
          <a:noFill/>
        </p:spPr>
        <p:txBody>
          <a:bodyPr wrap="square" lIns="91440" tIns="45720" rIns="91440" bIns="45720" rtlCol="0" anchor="t">
            <a:spAutoFit/>
          </a:bodyPr>
          <a:lstStyle/>
          <a:p>
            <a:pPr marR="0" lvl="0" algn="ctr" defTabSz="914400" rtl="0" eaLnBrk="1" fontAlgn="auto" latinLnBrk="0" hangingPunct="1">
              <a:lnSpc>
                <a:spcPct val="100000"/>
              </a:lnSpc>
              <a:spcBef>
                <a:spcPts val="0"/>
              </a:spcBef>
              <a:spcAft>
                <a:spcPts val="600"/>
              </a:spcAft>
              <a:buClr>
                <a:srgbClr val="50235C"/>
              </a:buClr>
              <a:buSzTx/>
              <a:tabLst/>
              <a:defRPr/>
            </a:pPr>
            <a:r>
              <a:rPr kumimoji="0" lang="en-GB" sz="11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rPr>
              <a:t>As-is service mapping </a:t>
            </a:r>
          </a:p>
        </p:txBody>
      </p:sp>
      <p:sp>
        <p:nvSpPr>
          <p:cNvPr id="51" name="TextBox 50">
            <a:extLst>
              <a:ext uri="{FF2B5EF4-FFF2-40B4-BE49-F238E27FC236}">
                <a16:creationId xmlns:a16="http://schemas.microsoft.com/office/drawing/2014/main" id="{390FA1DD-16DF-2E48-8A6B-AA33E10B0B14}"/>
              </a:ext>
            </a:extLst>
          </p:cNvPr>
          <p:cNvSpPr txBox="1"/>
          <p:nvPr/>
        </p:nvSpPr>
        <p:spPr>
          <a:xfrm>
            <a:off x="510638" y="2126095"/>
            <a:ext cx="3162457" cy="2554545"/>
          </a:xfrm>
          <a:prstGeom prst="rect">
            <a:avLst/>
          </a:prstGeom>
          <a:noFill/>
        </p:spPr>
        <p:txBody>
          <a:bodyPr wrap="square" rtlCol="0">
            <a:spAutoFit/>
          </a:bodyPr>
          <a:lstStyle/>
          <a:p>
            <a:pPr marL="184150" lvl="0" indent="-184150">
              <a:spcBef>
                <a:spcPts val="400"/>
              </a:spcBef>
              <a:spcAft>
                <a:spcPts val="400"/>
              </a:spcAft>
              <a:buClr>
                <a:schemeClr val="tx2">
                  <a:lumMod val="65000"/>
                  <a:lumOff val="35000"/>
                </a:schemeClr>
              </a:buClr>
              <a:buFont typeface="Arial" panose="020B0604020202020204" pitchFamily="34" charset="0"/>
              <a:buChar char="•"/>
              <a:defRPr/>
            </a:pPr>
            <a:r>
              <a:rPr lang="en-GB" sz="1000" b="1">
                <a:solidFill>
                  <a:schemeClr val="tx2">
                    <a:lumMod val="65000"/>
                    <a:lumOff val="35000"/>
                  </a:schemeClr>
                </a:solidFill>
                <a:latin typeface="Arial" panose="020B0604020202020204" pitchFamily="34" charset="0"/>
                <a:cs typeface="Arial" panose="020B0604020202020204" pitchFamily="34" charset="0"/>
              </a:rPr>
              <a:t>Interviews conducted with &gt;60 stakeholders and service users </a:t>
            </a:r>
            <a:r>
              <a:rPr lang="en-GB" sz="1000">
                <a:solidFill>
                  <a:schemeClr val="tx2">
                    <a:lumMod val="65000"/>
                    <a:lumOff val="35000"/>
                  </a:schemeClr>
                </a:solidFill>
                <a:latin typeface="Arial" panose="020B0604020202020204" pitchFamily="34" charset="0"/>
                <a:cs typeface="Arial" panose="020B0604020202020204" pitchFamily="34" charset="0"/>
              </a:rPr>
              <a:t>representing mental health, physical health, CCG, council, third sector and provider organisations to capture and map existing services and understand their strengths, existing gaps, and challenges.</a:t>
            </a:r>
          </a:p>
          <a:p>
            <a:pPr marL="184150" lvl="0" indent="-184150">
              <a:spcBef>
                <a:spcPts val="400"/>
              </a:spcBef>
              <a:spcAft>
                <a:spcPts val="400"/>
              </a:spcAft>
              <a:buClr>
                <a:schemeClr val="tx2">
                  <a:lumMod val="65000"/>
                  <a:lumOff val="35000"/>
                </a:schemeClr>
              </a:buClr>
              <a:buFont typeface="Arial" panose="020B0604020202020204" pitchFamily="34" charset="0"/>
              <a:buChar char="•"/>
              <a:defRPr/>
            </a:pPr>
            <a:r>
              <a:rPr lang="en-GB" sz="1000" b="1">
                <a:solidFill>
                  <a:schemeClr val="tx2">
                    <a:lumMod val="65000"/>
                    <a:lumOff val="35000"/>
                  </a:schemeClr>
                </a:solidFill>
                <a:latin typeface="Arial" panose="020B0604020202020204" pitchFamily="34" charset="0"/>
                <a:cs typeface="Arial" panose="020B0604020202020204" pitchFamily="34" charset="0"/>
              </a:rPr>
              <a:t>Map existing Mental Health services </a:t>
            </a:r>
            <a:r>
              <a:rPr lang="en-GB" sz="1000">
                <a:solidFill>
                  <a:schemeClr val="tx2">
                    <a:lumMod val="65000"/>
                    <a:lumOff val="35000"/>
                  </a:schemeClr>
                </a:solidFill>
                <a:latin typeface="Arial" panose="020B0604020202020204" pitchFamily="34" charset="0"/>
                <a:cs typeface="Arial" panose="020B0604020202020204" pitchFamily="34" charset="0"/>
              </a:rPr>
              <a:t>across STW into a service directory.</a:t>
            </a:r>
          </a:p>
          <a:p>
            <a:pPr marL="184150" lvl="0" indent="-184150">
              <a:spcBef>
                <a:spcPts val="400"/>
              </a:spcBef>
              <a:spcAft>
                <a:spcPts val="400"/>
              </a:spcAft>
              <a:buClr>
                <a:schemeClr val="tx2">
                  <a:lumMod val="65000"/>
                  <a:lumOff val="35000"/>
                </a:schemeClr>
              </a:buClr>
              <a:buFont typeface="Arial" panose="020B0604020202020204" pitchFamily="34" charset="0"/>
              <a:buChar char="•"/>
              <a:defRPr/>
            </a:pPr>
            <a:r>
              <a:rPr lang="en-GB" sz="1000" b="1">
                <a:solidFill>
                  <a:schemeClr val="tx2">
                    <a:lumMod val="65000"/>
                    <a:lumOff val="35000"/>
                  </a:schemeClr>
                </a:solidFill>
                <a:latin typeface="Arial" panose="020B0604020202020204" pitchFamily="34" charset="0"/>
                <a:cs typeface="Arial" panose="020B0604020202020204" pitchFamily="34" charset="0"/>
              </a:rPr>
              <a:t>Conduct a gap analysis </a:t>
            </a:r>
            <a:r>
              <a:rPr lang="en-GB" sz="1000">
                <a:solidFill>
                  <a:schemeClr val="tx2">
                    <a:lumMod val="65000"/>
                    <a:lumOff val="35000"/>
                  </a:schemeClr>
                </a:solidFill>
                <a:latin typeface="Arial" panose="020B0604020202020204" pitchFamily="34" charset="0"/>
                <a:cs typeface="Arial" panose="020B0604020202020204" pitchFamily="34" charset="0"/>
              </a:rPr>
              <a:t>to assess where service provision is challenged and where improvement opportunities exist. </a:t>
            </a:r>
          </a:p>
          <a:p>
            <a:pPr marL="184150" lvl="0" indent="-184150">
              <a:spcBef>
                <a:spcPts val="400"/>
              </a:spcBef>
              <a:spcAft>
                <a:spcPts val="400"/>
              </a:spcAft>
              <a:buClr>
                <a:schemeClr val="tx2">
                  <a:lumMod val="65000"/>
                  <a:lumOff val="35000"/>
                </a:schemeClr>
              </a:buClr>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Use the outputs of the gap analysis to </a:t>
            </a:r>
            <a:r>
              <a:rPr lang="en-GB" sz="1000" b="1">
                <a:solidFill>
                  <a:schemeClr val="tx2">
                    <a:lumMod val="65000"/>
                    <a:lumOff val="35000"/>
                  </a:schemeClr>
                </a:solidFill>
                <a:latin typeface="Arial" panose="020B0604020202020204" pitchFamily="34" charset="0"/>
                <a:cs typeface="Arial" panose="020B0604020202020204" pitchFamily="34" charset="0"/>
              </a:rPr>
              <a:t>inform the development of a vision and strategy for mental health services </a:t>
            </a:r>
            <a:r>
              <a:rPr lang="en-GB" sz="1000">
                <a:solidFill>
                  <a:schemeClr val="tx2">
                    <a:lumMod val="65000"/>
                    <a:lumOff val="35000"/>
                  </a:schemeClr>
                </a:solidFill>
                <a:latin typeface="Arial" panose="020B0604020202020204" pitchFamily="34" charset="0"/>
                <a:cs typeface="Arial" panose="020B0604020202020204" pitchFamily="34" charset="0"/>
              </a:rPr>
              <a:t>across STW.</a:t>
            </a:r>
          </a:p>
        </p:txBody>
      </p:sp>
      <p:sp>
        <p:nvSpPr>
          <p:cNvPr id="52" name="TextBox 51">
            <a:extLst>
              <a:ext uri="{FF2B5EF4-FFF2-40B4-BE49-F238E27FC236}">
                <a16:creationId xmlns:a16="http://schemas.microsoft.com/office/drawing/2014/main" id="{C37DDBA5-5D7E-DA48-82EE-A53F018A0B51}"/>
              </a:ext>
            </a:extLst>
          </p:cNvPr>
          <p:cNvSpPr txBox="1"/>
          <p:nvPr/>
        </p:nvSpPr>
        <p:spPr>
          <a:xfrm>
            <a:off x="4491058" y="2126096"/>
            <a:ext cx="3162467" cy="4324261"/>
          </a:xfrm>
          <a:prstGeom prst="rect">
            <a:avLst/>
          </a:prstGeom>
          <a:noFill/>
        </p:spPr>
        <p:txBody>
          <a:bodyPr wrap="square" rtlCol="0">
            <a:spAutoFit/>
          </a:bodyPr>
          <a:lstStyle/>
          <a:p>
            <a:pPr marL="184150" lvl="0" indent="-184150">
              <a:spcBef>
                <a:spcPts val="300"/>
              </a:spcBef>
              <a:spcAft>
                <a:spcPts val="300"/>
              </a:spcAft>
              <a:buClr>
                <a:schemeClr val="tx2">
                  <a:lumMod val="65000"/>
                  <a:lumOff val="35000"/>
                </a:schemeClr>
              </a:buClr>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As of winter 2021, there are </a:t>
            </a:r>
            <a:r>
              <a:rPr lang="en-GB" sz="1000" b="1">
                <a:solidFill>
                  <a:schemeClr val="tx2">
                    <a:lumMod val="65000"/>
                    <a:lumOff val="35000"/>
                  </a:schemeClr>
                </a:solidFill>
                <a:latin typeface="Arial" panose="020B0604020202020204" pitchFamily="34" charset="0"/>
                <a:cs typeface="Arial" panose="020B0604020202020204" pitchFamily="34" charset="0"/>
              </a:rPr>
              <a:t>76 mental health services </a:t>
            </a:r>
            <a:r>
              <a:rPr lang="en-GB" sz="1000">
                <a:solidFill>
                  <a:schemeClr val="tx2">
                    <a:lumMod val="65000"/>
                    <a:lumOff val="35000"/>
                  </a:schemeClr>
                </a:solidFill>
                <a:latin typeface="Arial" panose="020B0604020202020204" pitchFamily="34" charset="0"/>
                <a:cs typeface="Arial" panose="020B0604020202020204" pitchFamily="34" charset="0"/>
              </a:rPr>
              <a:t>across STW ICS</a:t>
            </a:r>
            <a:r>
              <a:rPr lang="en-GB" sz="1000" b="1">
                <a:solidFill>
                  <a:schemeClr val="tx2">
                    <a:lumMod val="65000"/>
                    <a:lumOff val="35000"/>
                  </a:schemeClr>
                </a:solidFill>
                <a:latin typeface="Arial" panose="020B0604020202020204" pitchFamily="34" charset="0"/>
                <a:cs typeface="Arial" panose="020B0604020202020204" pitchFamily="34" charset="0"/>
              </a:rPr>
              <a:t>. </a:t>
            </a:r>
          </a:p>
          <a:p>
            <a:pPr marL="184150" lvl="0" indent="-184150">
              <a:spcBef>
                <a:spcPts val="300"/>
              </a:spcBef>
              <a:spcAft>
                <a:spcPts val="300"/>
              </a:spcAft>
              <a:buClr>
                <a:schemeClr val="tx2">
                  <a:lumMod val="65000"/>
                  <a:lumOff val="35000"/>
                </a:schemeClr>
              </a:buClr>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These can be categorised by provider type </a:t>
            </a:r>
          </a:p>
          <a:p>
            <a:pPr marL="311150" lvl="1" indent="-131763">
              <a:spcBef>
                <a:spcPts val="300"/>
              </a:spcBef>
              <a:spcAft>
                <a:spcPts val="300"/>
              </a:spcAft>
              <a:buClr>
                <a:schemeClr val="tx2">
                  <a:lumMod val="65000"/>
                  <a:lumOff val="35000"/>
                </a:schemeClr>
              </a:buClr>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34 services offered by the third sector.</a:t>
            </a:r>
          </a:p>
          <a:p>
            <a:pPr marL="311150" lvl="1" indent="-131763">
              <a:spcBef>
                <a:spcPts val="300"/>
              </a:spcBef>
              <a:spcAft>
                <a:spcPts val="300"/>
              </a:spcAft>
              <a:buClr>
                <a:schemeClr val="tx2">
                  <a:lumMod val="65000"/>
                  <a:lumOff val="35000"/>
                </a:schemeClr>
              </a:buClr>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35 services offered by the health sector.</a:t>
            </a:r>
          </a:p>
          <a:p>
            <a:pPr marL="311150" lvl="1" indent="-131763">
              <a:spcBef>
                <a:spcPts val="300"/>
              </a:spcBef>
              <a:spcAft>
                <a:spcPts val="300"/>
              </a:spcAft>
              <a:buClr>
                <a:schemeClr val="tx2">
                  <a:lumMod val="65000"/>
                  <a:lumOff val="35000"/>
                </a:schemeClr>
              </a:buClr>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Remaining services offered by local councils and other public sector organisations. </a:t>
            </a:r>
          </a:p>
          <a:p>
            <a:pPr marL="184150" indent="-184150">
              <a:spcBef>
                <a:spcPts val="300"/>
              </a:spcBef>
              <a:spcAft>
                <a:spcPts val="300"/>
              </a:spcAft>
              <a:buClr>
                <a:schemeClr val="tx2">
                  <a:lumMod val="65000"/>
                  <a:lumOff val="35000"/>
                </a:schemeClr>
              </a:buClr>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Based on interviews, the strengths, challenges and gaps in existing service provision were identified and categorised into six key themes:</a:t>
            </a:r>
          </a:p>
          <a:p>
            <a:pPr marL="311150" lvl="1" indent="-131763">
              <a:spcBef>
                <a:spcPts val="300"/>
              </a:spcBef>
              <a:spcAft>
                <a:spcPts val="300"/>
              </a:spcAft>
              <a:buClr>
                <a:schemeClr val="tx2">
                  <a:lumMod val="65000"/>
                  <a:lumOff val="35000"/>
                </a:schemeClr>
              </a:buClr>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Partnerships and collaborative working</a:t>
            </a:r>
          </a:p>
          <a:p>
            <a:pPr marL="311150" lvl="1" indent="-131763">
              <a:spcBef>
                <a:spcPts val="300"/>
              </a:spcBef>
              <a:spcAft>
                <a:spcPts val="300"/>
              </a:spcAft>
              <a:buClr>
                <a:schemeClr val="tx2">
                  <a:lumMod val="65000"/>
                  <a:lumOff val="35000"/>
                </a:schemeClr>
              </a:buClr>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Proactive commissioning and planning</a:t>
            </a:r>
          </a:p>
          <a:p>
            <a:pPr marL="311150" lvl="1" indent="-131763">
              <a:spcBef>
                <a:spcPts val="300"/>
              </a:spcBef>
              <a:spcAft>
                <a:spcPts val="300"/>
              </a:spcAft>
              <a:buClr>
                <a:schemeClr val="tx2">
                  <a:lumMod val="65000"/>
                  <a:lumOff val="35000"/>
                </a:schemeClr>
              </a:buClr>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Oversight and Investment</a:t>
            </a:r>
          </a:p>
          <a:p>
            <a:pPr marL="311150" lvl="1" indent="-131763">
              <a:spcBef>
                <a:spcPts val="300"/>
              </a:spcBef>
              <a:spcAft>
                <a:spcPts val="300"/>
              </a:spcAft>
              <a:buClr>
                <a:schemeClr val="tx2">
                  <a:lumMod val="65000"/>
                  <a:lumOff val="35000"/>
                </a:schemeClr>
              </a:buClr>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Information sharing and communication</a:t>
            </a:r>
          </a:p>
          <a:p>
            <a:pPr marL="311150" lvl="1" indent="-131763">
              <a:spcBef>
                <a:spcPts val="300"/>
              </a:spcBef>
              <a:spcAft>
                <a:spcPts val="300"/>
              </a:spcAft>
              <a:buClr>
                <a:schemeClr val="tx2">
                  <a:lumMod val="65000"/>
                  <a:lumOff val="35000"/>
                </a:schemeClr>
              </a:buClr>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Responsive care</a:t>
            </a:r>
          </a:p>
          <a:p>
            <a:pPr marL="311150" lvl="1" indent="-131763">
              <a:spcBef>
                <a:spcPts val="300"/>
              </a:spcBef>
              <a:spcAft>
                <a:spcPts val="300"/>
              </a:spcAft>
              <a:buClr>
                <a:schemeClr val="tx2">
                  <a:lumMod val="65000"/>
                  <a:lumOff val="35000"/>
                </a:schemeClr>
              </a:buClr>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Empowering a sustainable workforce</a:t>
            </a:r>
          </a:p>
          <a:p>
            <a:pPr marL="179388" lvl="1" indent="-179388">
              <a:spcBef>
                <a:spcPts val="300"/>
              </a:spcBef>
              <a:spcAft>
                <a:spcPts val="300"/>
              </a:spcAft>
              <a:buClr>
                <a:schemeClr val="tx2">
                  <a:lumMod val="65000"/>
                  <a:lumOff val="35000"/>
                </a:schemeClr>
              </a:buClr>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Key challenges of funding and resource limitations were found across a wide range of services.</a:t>
            </a:r>
          </a:p>
          <a:p>
            <a:pPr marL="179388" lvl="1" indent="-179388">
              <a:spcBef>
                <a:spcPts val="300"/>
              </a:spcBef>
              <a:spcAft>
                <a:spcPts val="300"/>
              </a:spcAft>
              <a:buClr>
                <a:schemeClr val="tx2">
                  <a:lumMod val="65000"/>
                  <a:lumOff val="35000"/>
                </a:schemeClr>
              </a:buClr>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Three areas of challenge for staff and service users were identified for further exploration.</a:t>
            </a:r>
          </a:p>
        </p:txBody>
      </p:sp>
      <p:sp>
        <p:nvSpPr>
          <p:cNvPr id="24" name="TextBox 23">
            <a:extLst>
              <a:ext uri="{FF2B5EF4-FFF2-40B4-BE49-F238E27FC236}">
                <a16:creationId xmlns:a16="http://schemas.microsoft.com/office/drawing/2014/main" id="{774854AB-C44D-0E4B-B80A-C2F5D8CBADEE}"/>
              </a:ext>
            </a:extLst>
          </p:cNvPr>
          <p:cNvSpPr txBox="1"/>
          <p:nvPr/>
        </p:nvSpPr>
        <p:spPr>
          <a:xfrm>
            <a:off x="8483414" y="2126095"/>
            <a:ext cx="3162467" cy="3785652"/>
          </a:xfrm>
          <a:prstGeom prst="rect">
            <a:avLst/>
          </a:prstGeom>
          <a:noFill/>
        </p:spPr>
        <p:txBody>
          <a:bodyPr wrap="square" rtlCol="0">
            <a:spAutoFit/>
          </a:bodyPr>
          <a:lstStyle/>
          <a:p>
            <a:pPr marL="184150" lvl="0" indent="-184150">
              <a:spcBef>
                <a:spcPts val="600"/>
              </a:spcBef>
              <a:spcAft>
                <a:spcPts val="600"/>
              </a:spcAft>
              <a:buClr>
                <a:schemeClr val="tx2">
                  <a:lumMod val="65000"/>
                  <a:lumOff val="35000"/>
                </a:schemeClr>
              </a:buClr>
              <a:buFont typeface="Arial" panose="020B0604020202020204" pitchFamily="34" charset="0"/>
              <a:buChar char="•"/>
              <a:defRPr/>
            </a:pPr>
            <a:r>
              <a:rPr lang="en-GB" sz="1000" b="1">
                <a:solidFill>
                  <a:schemeClr val="tx2">
                    <a:lumMod val="65000"/>
                    <a:lumOff val="35000"/>
                  </a:schemeClr>
                </a:solidFill>
                <a:latin typeface="Arial" panose="020B0604020202020204" pitchFamily="34" charset="0"/>
                <a:cs typeface="Arial" panose="020B0604020202020204" pitchFamily="34" charset="0"/>
              </a:rPr>
              <a:t>Deep-dive into each of the areas of service user challenge </a:t>
            </a:r>
            <a:r>
              <a:rPr lang="en-GB" sz="1000">
                <a:solidFill>
                  <a:schemeClr val="tx2">
                    <a:lumMod val="65000"/>
                    <a:lumOff val="35000"/>
                  </a:schemeClr>
                </a:solidFill>
                <a:latin typeface="Arial" panose="020B0604020202020204" pitchFamily="34" charset="0"/>
                <a:cs typeface="Arial" panose="020B0604020202020204" pitchFamily="34" charset="0"/>
              </a:rPr>
              <a:t>to validate, test and explore the pain points and flows for patients in these common areas.  </a:t>
            </a:r>
          </a:p>
          <a:p>
            <a:pPr marL="184150" lvl="0" indent="-184150">
              <a:spcBef>
                <a:spcPts val="600"/>
              </a:spcBef>
              <a:spcAft>
                <a:spcPts val="600"/>
              </a:spcAft>
              <a:buClr>
                <a:schemeClr val="tx2">
                  <a:lumMod val="65000"/>
                  <a:lumOff val="35000"/>
                </a:schemeClr>
              </a:buClr>
              <a:buFont typeface="Arial" panose="020B0604020202020204" pitchFamily="34" charset="0"/>
              <a:buChar char="•"/>
              <a:defRPr/>
            </a:pPr>
            <a:r>
              <a:rPr lang="en-GB" sz="1000" b="1">
                <a:solidFill>
                  <a:schemeClr val="tx2">
                    <a:lumMod val="65000"/>
                    <a:lumOff val="35000"/>
                  </a:schemeClr>
                </a:solidFill>
                <a:latin typeface="Arial" panose="020B0604020202020204" pitchFamily="34" charset="0"/>
                <a:cs typeface="Arial" panose="020B0604020202020204" pitchFamily="34" charset="0"/>
              </a:rPr>
              <a:t>Explore the three areas of staff and patient challenge </a:t>
            </a:r>
            <a:r>
              <a:rPr lang="en-GB" sz="1000">
                <a:solidFill>
                  <a:schemeClr val="tx2">
                    <a:lumMod val="65000"/>
                    <a:lumOff val="35000"/>
                  </a:schemeClr>
                </a:solidFill>
                <a:latin typeface="Arial" panose="020B0604020202020204" pitchFamily="34" charset="0"/>
                <a:cs typeface="Arial" panose="020B0604020202020204" pitchFamily="34" charset="0"/>
              </a:rPr>
              <a:t>to understand the journey in more detail to support the gap analysis and the production of tactical recommendations for improvement. </a:t>
            </a:r>
          </a:p>
          <a:p>
            <a:pPr marL="184150" lvl="0" indent="-184150">
              <a:spcBef>
                <a:spcPts val="600"/>
              </a:spcBef>
              <a:spcAft>
                <a:spcPts val="600"/>
              </a:spcAft>
              <a:buClr>
                <a:schemeClr val="tx2">
                  <a:lumMod val="65000"/>
                  <a:lumOff val="35000"/>
                </a:schemeClr>
              </a:buClr>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Over the long term, conduct a </a:t>
            </a:r>
            <a:r>
              <a:rPr lang="en-GB" sz="1000" b="1">
                <a:solidFill>
                  <a:schemeClr val="tx2">
                    <a:lumMod val="65000"/>
                    <a:lumOff val="35000"/>
                  </a:schemeClr>
                </a:solidFill>
                <a:latin typeface="Arial" panose="020B0604020202020204" pitchFamily="34" charset="0"/>
                <a:cs typeface="Arial" panose="020B0604020202020204" pitchFamily="34" charset="0"/>
              </a:rPr>
              <a:t>root cause analysis of the gaps and challenges </a:t>
            </a:r>
            <a:r>
              <a:rPr lang="en-GB" sz="1000">
                <a:solidFill>
                  <a:schemeClr val="tx2">
                    <a:lumMod val="65000"/>
                    <a:lumOff val="35000"/>
                  </a:schemeClr>
                </a:solidFill>
                <a:latin typeface="Arial" panose="020B0604020202020204" pitchFamily="34" charset="0"/>
                <a:cs typeface="Arial" panose="020B0604020202020204" pitchFamily="34" charset="0"/>
              </a:rPr>
              <a:t>across the system to identify the common factors such as limited funding and / or resources that are causing the gaps and challenges. </a:t>
            </a:r>
          </a:p>
          <a:p>
            <a:pPr marL="184150" lvl="0" indent="-184150">
              <a:spcBef>
                <a:spcPts val="600"/>
              </a:spcBef>
              <a:spcAft>
                <a:spcPts val="600"/>
              </a:spcAft>
              <a:buClr>
                <a:schemeClr val="tx2">
                  <a:lumMod val="65000"/>
                  <a:lumOff val="35000"/>
                </a:schemeClr>
              </a:buClr>
              <a:buFont typeface="Arial" panose="020B0604020202020204" pitchFamily="34" charset="0"/>
              <a:buChar char="•"/>
              <a:defRPr/>
            </a:pPr>
            <a:r>
              <a:rPr lang="en-GB" sz="1000" b="1">
                <a:solidFill>
                  <a:schemeClr val="tx2">
                    <a:lumMod val="65000"/>
                    <a:lumOff val="35000"/>
                  </a:schemeClr>
                </a:solidFill>
                <a:latin typeface="Arial" panose="020B0604020202020204" pitchFamily="34" charset="0"/>
                <a:cs typeface="Arial" panose="020B0604020202020204" pitchFamily="34" charset="0"/>
              </a:rPr>
              <a:t>Utilise the service mapping document to support staff across the system to gain a better understanding of the service provision</a:t>
            </a:r>
            <a:r>
              <a:rPr lang="en-GB" sz="1000">
                <a:solidFill>
                  <a:schemeClr val="tx2">
                    <a:lumMod val="65000"/>
                    <a:lumOff val="35000"/>
                  </a:schemeClr>
                </a:solidFill>
                <a:latin typeface="Arial" panose="020B0604020202020204" pitchFamily="34" charset="0"/>
                <a:cs typeface="Arial" panose="020B0604020202020204" pitchFamily="34" charset="0"/>
              </a:rPr>
              <a:t>, entry criteria and scope of existing services such that patients and service users can have improved signposting to the most appropriate services. </a:t>
            </a:r>
          </a:p>
        </p:txBody>
      </p:sp>
      <p:graphicFrame>
        <p:nvGraphicFramePr>
          <p:cNvPr id="22" name="Table 21">
            <a:extLst>
              <a:ext uri="{FF2B5EF4-FFF2-40B4-BE49-F238E27FC236}">
                <a16:creationId xmlns:a16="http://schemas.microsoft.com/office/drawing/2014/main" id="{EC95EC7F-70FF-5B43-AAB5-D230137C9B77}"/>
              </a:ext>
            </a:extLst>
          </p:cNvPr>
          <p:cNvGraphicFramePr>
            <a:graphicFrameLocks noGrp="1"/>
          </p:cNvGraphicFramePr>
          <p:nvPr>
            <p:extLst>
              <p:ext uri="{D42A27DB-BD31-4B8C-83A1-F6EECF244321}">
                <p14:modId xmlns:p14="http://schemas.microsoft.com/office/powerpoint/2010/main" val="861747474"/>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Tree>
    <p:extLst>
      <p:ext uri="{BB962C8B-B14F-4D97-AF65-F5344CB8AC3E}">
        <p14:creationId xmlns:p14="http://schemas.microsoft.com/office/powerpoint/2010/main" val="60551736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0641"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en-IN" sz="2800">
              <a:solidFill>
                <a:srgbClr val="FFFFFF"/>
              </a:solidFill>
              <a:sym typeface="Arial" panose="020B0604020202020204" pitchFamily="34" charset="0"/>
            </a:endParaRPr>
          </a:p>
        </p:txBody>
      </p:sp>
      <p:sp>
        <p:nvSpPr>
          <p:cNvPr id="2" name="Title 1"/>
          <p:cNvSpPr>
            <a:spLocks noGrp="1"/>
          </p:cNvSpPr>
          <p:nvPr>
            <p:ph type="title"/>
          </p:nvPr>
        </p:nvSpPr>
        <p:spPr>
          <a:xfrm>
            <a:off x="545264" y="297277"/>
            <a:ext cx="9366179" cy="434010"/>
          </a:xfrm>
          <a:prstGeom prst="rect">
            <a:avLst/>
          </a:prstGeom>
        </p:spPr>
        <p:txBody>
          <a:bodyPr/>
          <a:lstStyle/>
          <a:p>
            <a:r>
              <a:rPr lang="en-US"/>
              <a:t>Service mapping</a:t>
            </a:r>
            <a:endParaRPr lang="en-IN"/>
          </a:p>
        </p:txBody>
      </p:sp>
      <p:sp>
        <p:nvSpPr>
          <p:cNvPr id="6" name="Footer Placeholder 5">
            <a:extLst>
              <a:ext uri="{FF2B5EF4-FFF2-40B4-BE49-F238E27FC236}">
                <a16:creationId xmlns:a16="http://schemas.microsoft.com/office/drawing/2014/main" id="{62E3292C-AE15-8E46-8E62-F9C713150B0B}"/>
              </a:ext>
            </a:extLst>
          </p:cNvPr>
          <p:cNvSpPr>
            <a:spLocks noGrp="1"/>
          </p:cNvSpPr>
          <p:nvPr>
            <p:ph type="ftr" sz="quarter" idx="14"/>
          </p:nvPr>
        </p:nvSpPr>
        <p:spPr/>
        <p:txBody>
          <a:bodyPr/>
          <a:lstStyle/>
          <a:p>
            <a:r>
              <a:rPr lang="en-GB"/>
              <a:t>© Moorhouse 2021  </a:t>
            </a:r>
          </a:p>
        </p:txBody>
      </p:sp>
      <p:pic>
        <p:nvPicPr>
          <p:cNvPr id="9" name="Picture 8" descr="Timeline, calendar&#10;&#10;Description automatically generated">
            <a:extLst>
              <a:ext uri="{FF2B5EF4-FFF2-40B4-BE49-F238E27FC236}">
                <a16:creationId xmlns:a16="http://schemas.microsoft.com/office/drawing/2014/main" id="{F4AA1760-BB5E-2D4B-B292-BCFF1C2211C1}"/>
              </a:ext>
            </a:extLst>
          </p:cNvPr>
          <p:cNvPicPr>
            <a:picLocks noChangeAspect="1"/>
          </p:cNvPicPr>
          <p:nvPr/>
        </p:nvPicPr>
        <p:blipFill rotWithShape="1">
          <a:blip r:embed="rId8">
            <a:extLst>
              <a:ext uri="{28A0092B-C50C-407E-A947-70E740481C1C}">
                <a14:useLocalDpi xmlns:a14="http://schemas.microsoft.com/office/drawing/2010/main" val="0"/>
              </a:ext>
            </a:extLst>
          </a:blip>
          <a:srcRect b="58866"/>
          <a:stretch/>
        </p:blipFill>
        <p:spPr>
          <a:xfrm>
            <a:off x="546729" y="3014736"/>
            <a:ext cx="11420116" cy="1792200"/>
          </a:xfrm>
          <a:prstGeom prst="rect">
            <a:avLst/>
          </a:prstGeom>
        </p:spPr>
      </p:pic>
      <p:sp>
        <p:nvSpPr>
          <p:cNvPr id="14" name="Rectangle 7">
            <a:extLst>
              <a:ext uri="{FF2B5EF4-FFF2-40B4-BE49-F238E27FC236}">
                <a16:creationId xmlns:a16="http://schemas.microsoft.com/office/drawing/2014/main" id="{0B1C539B-11B5-D548-9272-286ED508473B}"/>
              </a:ext>
            </a:extLst>
          </p:cNvPr>
          <p:cNvSpPr/>
          <p:nvPr/>
        </p:nvSpPr>
        <p:spPr>
          <a:xfrm>
            <a:off x="510638" y="832641"/>
            <a:ext cx="11112792" cy="276999"/>
          </a:xfrm>
          <a:prstGeom prst="rect">
            <a:avLst/>
          </a:prstGeom>
        </p:spPr>
        <p:txBody>
          <a:bodyPr wrap="square">
            <a:spAutoFit/>
          </a:bodyPr>
          <a:lstStyle/>
          <a:p>
            <a:r>
              <a:rPr lang="en-GB" sz="1200" b="1">
                <a:solidFill>
                  <a:srgbClr val="50235B"/>
                </a:solidFill>
                <a:latin typeface="Arial" panose="020B0604020202020204" pitchFamily="34" charset="0"/>
                <a:cs typeface="Arial" panose="020B0604020202020204" pitchFamily="34" charset="0"/>
              </a:rPr>
              <a:t>A map of existing services has been created in excel, with key information available for each of the 76 service offerings. </a:t>
            </a:r>
          </a:p>
        </p:txBody>
      </p:sp>
      <p:sp>
        <p:nvSpPr>
          <p:cNvPr id="12" name="Rectangle 11">
            <a:extLst>
              <a:ext uri="{FF2B5EF4-FFF2-40B4-BE49-F238E27FC236}">
                <a16:creationId xmlns:a16="http://schemas.microsoft.com/office/drawing/2014/main" id="{C2123E69-BD00-EC4E-9DEE-7380A20C6E35}"/>
              </a:ext>
            </a:extLst>
          </p:cNvPr>
          <p:cNvSpPr/>
          <p:nvPr/>
        </p:nvSpPr>
        <p:spPr>
          <a:xfrm>
            <a:off x="2379488" y="5162311"/>
            <a:ext cx="1260000" cy="862149"/>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rgbClr val="50235C"/>
                </a:solidFill>
              </a:rPr>
              <a:t>Summary</a:t>
            </a:r>
            <a:r>
              <a:rPr lang="en-GB" sz="900">
                <a:solidFill>
                  <a:srgbClr val="50235C"/>
                </a:solidFill>
              </a:rPr>
              <a:t> - Summary of the service and what it offers to service users</a:t>
            </a:r>
          </a:p>
        </p:txBody>
      </p:sp>
      <p:sp>
        <p:nvSpPr>
          <p:cNvPr id="15" name="Rectangle 14">
            <a:extLst>
              <a:ext uri="{FF2B5EF4-FFF2-40B4-BE49-F238E27FC236}">
                <a16:creationId xmlns:a16="http://schemas.microsoft.com/office/drawing/2014/main" id="{9B5646B4-0E60-7F43-8198-D232D3D6E9AC}"/>
              </a:ext>
            </a:extLst>
          </p:cNvPr>
          <p:cNvSpPr/>
          <p:nvPr/>
        </p:nvSpPr>
        <p:spPr>
          <a:xfrm>
            <a:off x="3727723" y="1694818"/>
            <a:ext cx="1260000" cy="849600"/>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rgbClr val="50235C"/>
                </a:solidFill>
              </a:rPr>
              <a:t>Organisation Name </a:t>
            </a:r>
            <a:r>
              <a:rPr lang="en-GB" sz="900">
                <a:solidFill>
                  <a:srgbClr val="50235C"/>
                </a:solidFill>
              </a:rPr>
              <a:t>- Organisation that is delivering the service</a:t>
            </a:r>
          </a:p>
        </p:txBody>
      </p:sp>
      <p:sp>
        <p:nvSpPr>
          <p:cNvPr id="16" name="Rectangle 15">
            <a:extLst>
              <a:ext uri="{FF2B5EF4-FFF2-40B4-BE49-F238E27FC236}">
                <a16:creationId xmlns:a16="http://schemas.microsoft.com/office/drawing/2014/main" id="{47994770-58E3-2147-82B6-665805922250}"/>
              </a:ext>
            </a:extLst>
          </p:cNvPr>
          <p:cNvSpPr/>
          <p:nvPr/>
        </p:nvSpPr>
        <p:spPr>
          <a:xfrm>
            <a:off x="4468412" y="5160100"/>
            <a:ext cx="1260000" cy="853591"/>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rgbClr val="50235C"/>
                </a:solidFill>
              </a:rPr>
              <a:t>Organisation Type </a:t>
            </a:r>
            <a:r>
              <a:rPr lang="en-GB" sz="900">
                <a:solidFill>
                  <a:srgbClr val="50235C"/>
                </a:solidFill>
              </a:rPr>
              <a:t>- Organisation type (for categorisation)</a:t>
            </a:r>
          </a:p>
        </p:txBody>
      </p:sp>
      <p:sp>
        <p:nvSpPr>
          <p:cNvPr id="17" name="Rectangle 16">
            <a:extLst>
              <a:ext uri="{FF2B5EF4-FFF2-40B4-BE49-F238E27FC236}">
                <a16:creationId xmlns:a16="http://schemas.microsoft.com/office/drawing/2014/main" id="{90317DA8-67D0-624E-B206-F37034F4D249}"/>
              </a:ext>
            </a:extLst>
          </p:cNvPr>
          <p:cNvSpPr/>
          <p:nvPr/>
        </p:nvSpPr>
        <p:spPr>
          <a:xfrm>
            <a:off x="5122714" y="1694818"/>
            <a:ext cx="1260000" cy="849600"/>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rgbClr val="50235C"/>
                </a:solidFill>
              </a:rPr>
              <a:t>Sector</a:t>
            </a:r>
            <a:r>
              <a:rPr lang="en-GB" sz="900">
                <a:solidFill>
                  <a:srgbClr val="50235C"/>
                </a:solidFill>
              </a:rPr>
              <a:t> – the sector that the service provider operates in, i.e. third, health etc</a:t>
            </a:r>
          </a:p>
        </p:txBody>
      </p:sp>
      <p:sp>
        <p:nvSpPr>
          <p:cNvPr id="18" name="Rectangle 17">
            <a:extLst>
              <a:ext uri="{FF2B5EF4-FFF2-40B4-BE49-F238E27FC236}">
                <a16:creationId xmlns:a16="http://schemas.microsoft.com/office/drawing/2014/main" id="{3BC1A861-F5FB-7445-90C7-A5F9773060D1}"/>
              </a:ext>
            </a:extLst>
          </p:cNvPr>
          <p:cNvSpPr/>
          <p:nvPr/>
        </p:nvSpPr>
        <p:spPr>
          <a:xfrm>
            <a:off x="5826896" y="5162817"/>
            <a:ext cx="1431241" cy="853591"/>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rgbClr val="50235C"/>
                </a:solidFill>
              </a:rPr>
              <a:t>Service Type </a:t>
            </a:r>
            <a:r>
              <a:rPr lang="en-GB" sz="900">
                <a:solidFill>
                  <a:srgbClr val="50235C"/>
                </a:solidFill>
              </a:rPr>
              <a:t>- mental, physical, social care, early intervention, community outreach, etc</a:t>
            </a:r>
          </a:p>
        </p:txBody>
      </p:sp>
      <p:sp>
        <p:nvSpPr>
          <p:cNvPr id="19" name="Rectangle 18">
            <a:extLst>
              <a:ext uri="{FF2B5EF4-FFF2-40B4-BE49-F238E27FC236}">
                <a16:creationId xmlns:a16="http://schemas.microsoft.com/office/drawing/2014/main" id="{06DFB2FC-95CA-0B4B-9DF0-6A90691C1AAF}"/>
              </a:ext>
            </a:extLst>
          </p:cNvPr>
          <p:cNvSpPr/>
          <p:nvPr/>
        </p:nvSpPr>
        <p:spPr>
          <a:xfrm>
            <a:off x="6517705" y="1694818"/>
            <a:ext cx="1260000" cy="849600"/>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rgbClr val="50235C"/>
                </a:solidFill>
              </a:rPr>
              <a:t>Service setting </a:t>
            </a:r>
            <a:r>
              <a:rPr lang="en-GB" sz="900">
                <a:solidFill>
                  <a:srgbClr val="50235C"/>
                </a:solidFill>
              </a:rPr>
              <a:t>– where the service is delivered, in hospital, in primary care, in the community</a:t>
            </a:r>
          </a:p>
        </p:txBody>
      </p:sp>
      <p:sp>
        <p:nvSpPr>
          <p:cNvPr id="20" name="Rectangle 19">
            <a:extLst>
              <a:ext uri="{FF2B5EF4-FFF2-40B4-BE49-F238E27FC236}">
                <a16:creationId xmlns:a16="http://schemas.microsoft.com/office/drawing/2014/main" id="{F79E7AF6-D050-9B49-8C47-5F427141F539}"/>
              </a:ext>
            </a:extLst>
          </p:cNvPr>
          <p:cNvSpPr/>
          <p:nvPr/>
        </p:nvSpPr>
        <p:spPr>
          <a:xfrm>
            <a:off x="7356621" y="5167389"/>
            <a:ext cx="1431241" cy="851992"/>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rgbClr val="50235C"/>
                </a:solidFill>
              </a:rPr>
              <a:t>Geographical patch </a:t>
            </a:r>
            <a:r>
              <a:rPr lang="en-GB" sz="900">
                <a:solidFill>
                  <a:srgbClr val="50235C"/>
                </a:solidFill>
              </a:rPr>
              <a:t>–  area that operates,  to support understanding of gaps and differences across the patch</a:t>
            </a:r>
          </a:p>
        </p:txBody>
      </p:sp>
      <p:sp>
        <p:nvSpPr>
          <p:cNvPr id="21" name="Rectangle 20">
            <a:extLst>
              <a:ext uri="{FF2B5EF4-FFF2-40B4-BE49-F238E27FC236}">
                <a16:creationId xmlns:a16="http://schemas.microsoft.com/office/drawing/2014/main" id="{6300BFAC-9D94-3A4C-B38C-6285B00D63B7}"/>
              </a:ext>
            </a:extLst>
          </p:cNvPr>
          <p:cNvSpPr/>
          <p:nvPr/>
        </p:nvSpPr>
        <p:spPr>
          <a:xfrm>
            <a:off x="7912696" y="1689335"/>
            <a:ext cx="1260000" cy="849600"/>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rgbClr val="50235C"/>
                </a:solidFill>
              </a:rPr>
              <a:t>Service capacity </a:t>
            </a:r>
            <a:r>
              <a:rPr lang="en-GB" sz="900">
                <a:solidFill>
                  <a:srgbClr val="50235C"/>
                </a:solidFill>
              </a:rPr>
              <a:t>– to understand the volume of users that can use the service at any given time</a:t>
            </a:r>
          </a:p>
        </p:txBody>
      </p:sp>
      <p:sp>
        <p:nvSpPr>
          <p:cNvPr id="22" name="Rectangle 21">
            <a:extLst>
              <a:ext uri="{FF2B5EF4-FFF2-40B4-BE49-F238E27FC236}">
                <a16:creationId xmlns:a16="http://schemas.microsoft.com/office/drawing/2014/main" id="{FA244FE5-B54A-FA45-9F97-08286B132B33}"/>
              </a:ext>
            </a:extLst>
          </p:cNvPr>
          <p:cNvSpPr/>
          <p:nvPr/>
        </p:nvSpPr>
        <p:spPr>
          <a:xfrm>
            <a:off x="8886346" y="5166589"/>
            <a:ext cx="1260000" cy="853591"/>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rgbClr val="50235C"/>
                </a:solidFill>
              </a:rPr>
              <a:t>Referral source </a:t>
            </a:r>
            <a:r>
              <a:rPr lang="en-GB" sz="900">
                <a:solidFill>
                  <a:srgbClr val="50235C"/>
                </a:solidFill>
              </a:rPr>
              <a:t>– how people are referred into the service</a:t>
            </a:r>
          </a:p>
        </p:txBody>
      </p:sp>
      <p:sp>
        <p:nvSpPr>
          <p:cNvPr id="24" name="Rectangle 23">
            <a:extLst>
              <a:ext uri="{FF2B5EF4-FFF2-40B4-BE49-F238E27FC236}">
                <a16:creationId xmlns:a16="http://schemas.microsoft.com/office/drawing/2014/main" id="{F2E01983-6D3C-1D4B-BE7A-9226144A9DAC}"/>
              </a:ext>
            </a:extLst>
          </p:cNvPr>
          <p:cNvSpPr/>
          <p:nvPr/>
        </p:nvSpPr>
        <p:spPr>
          <a:xfrm>
            <a:off x="9307687" y="1689335"/>
            <a:ext cx="1260000" cy="849600"/>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rgbClr val="50235C"/>
                </a:solidFill>
              </a:rPr>
              <a:t>Entry criteria </a:t>
            </a:r>
            <a:r>
              <a:rPr lang="en-GB" sz="900">
                <a:solidFill>
                  <a:srgbClr val="50235C"/>
                </a:solidFill>
              </a:rPr>
              <a:t>– the type of users / challenges that this service supports</a:t>
            </a:r>
          </a:p>
        </p:txBody>
      </p:sp>
      <p:sp>
        <p:nvSpPr>
          <p:cNvPr id="25" name="Rectangle 24">
            <a:extLst>
              <a:ext uri="{FF2B5EF4-FFF2-40B4-BE49-F238E27FC236}">
                <a16:creationId xmlns:a16="http://schemas.microsoft.com/office/drawing/2014/main" id="{BA1724D7-9CF7-7C4F-BD43-05F065F60F08}"/>
              </a:ext>
            </a:extLst>
          </p:cNvPr>
          <p:cNvSpPr/>
          <p:nvPr/>
        </p:nvSpPr>
        <p:spPr>
          <a:xfrm>
            <a:off x="10244830" y="5166589"/>
            <a:ext cx="1843538" cy="859281"/>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rgbClr val="50235C"/>
                </a:solidFill>
              </a:rPr>
              <a:t>Exclusion criteria</a:t>
            </a:r>
            <a:r>
              <a:rPr lang="en-GB" sz="900">
                <a:solidFill>
                  <a:srgbClr val="50235C"/>
                </a:solidFill>
              </a:rPr>
              <a:t> – any factors or presentations that result in a user being excluded or discounted from a given service</a:t>
            </a:r>
          </a:p>
        </p:txBody>
      </p:sp>
      <p:sp>
        <p:nvSpPr>
          <p:cNvPr id="26" name="Rectangle 25">
            <a:extLst>
              <a:ext uri="{FF2B5EF4-FFF2-40B4-BE49-F238E27FC236}">
                <a16:creationId xmlns:a16="http://schemas.microsoft.com/office/drawing/2014/main" id="{FB651069-BDE0-1348-8004-AF151BBD4442}"/>
              </a:ext>
            </a:extLst>
          </p:cNvPr>
          <p:cNvSpPr/>
          <p:nvPr/>
        </p:nvSpPr>
        <p:spPr>
          <a:xfrm>
            <a:off x="10702676" y="1679654"/>
            <a:ext cx="1260000" cy="859281"/>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rgbClr val="50235C"/>
                </a:solidFill>
              </a:rPr>
              <a:t>Source</a:t>
            </a:r>
            <a:r>
              <a:rPr lang="en-GB" sz="900">
                <a:solidFill>
                  <a:srgbClr val="50235C"/>
                </a:solidFill>
              </a:rPr>
              <a:t> – location of any relevant artefacts and information about the service</a:t>
            </a:r>
          </a:p>
        </p:txBody>
      </p:sp>
      <p:sp>
        <p:nvSpPr>
          <p:cNvPr id="27" name="Rectangle 26">
            <a:extLst>
              <a:ext uri="{FF2B5EF4-FFF2-40B4-BE49-F238E27FC236}">
                <a16:creationId xmlns:a16="http://schemas.microsoft.com/office/drawing/2014/main" id="{F1638528-F1EE-1A47-8D7D-031C70C9D51E}"/>
              </a:ext>
            </a:extLst>
          </p:cNvPr>
          <p:cNvSpPr/>
          <p:nvPr/>
        </p:nvSpPr>
        <p:spPr>
          <a:xfrm>
            <a:off x="546729" y="1689335"/>
            <a:ext cx="1260000" cy="849600"/>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rgbClr val="50235C"/>
                </a:solidFill>
              </a:rPr>
              <a:t>Name of service </a:t>
            </a:r>
            <a:r>
              <a:rPr lang="en-GB" sz="900">
                <a:solidFill>
                  <a:srgbClr val="50235C"/>
                </a:solidFill>
              </a:rPr>
              <a:t>– The common name/names of each service</a:t>
            </a:r>
          </a:p>
        </p:txBody>
      </p:sp>
      <p:cxnSp>
        <p:nvCxnSpPr>
          <p:cNvPr id="29" name="Straight Arrow Connector 28">
            <a:extLst>
              <a:ext uri="{FF2B5EF4-FFF2-40B4-BE49-F238E27FC236}">
                <a16:creationId xmlns:a16="http://schemas.microsoft.com/office/drawing/2014/main" id="{0B1C6789-76C7-2643-B4EE-B4BB92E9FD63}"/>
              </a:ext>
            </a:extLst>
          </p:cNvPr>
          <p:cNvCxnSpPr>
            <a:stCxn id="27" idx="2"/>
          </p:cNvCxnSpPr>
          <p:nvPr/>
        </p:nvCxnSpPr>
        <p:spPr>
          <a:xfrm>
            <a:off x="1176729" y="2538935"/>
            <a:ext cx="0" cy="47580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423180AB-186F-B446-8A88-670A3A4F5A2B}"/>
              </a:ext>
            </a:extLst>
          </p:cNvPr>
          <p:cNvCxnSpPr>
            <a:cxnSpLocks/>
            <a:stCxn id="12" idx="0"/>
          </p:cNvCxnSpPr>
          <p:nvPr/>
        </p:nvCxnSpPr>
        <p:spPr>
          <a:xfrm flipH="1" flipV="1">
            <a:off x="2899749" y="4819828"/>
            <a:ext cx="109739" cy="34248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E1F1BB4E-63BA-2F4A-AFBF-F25637BC856D}"/>
              </a:ext>
            </a:extLst>
          </p:cNvPr>
          <p:cNvCxnSpPr>
            <a:cxnSpLocks/>
            <a:stCxn id="15" idx="2"/>
          </p:cNvCxnSpPr>
          <p:nvPr/>
        </p:nvCxnSpPr>
        <p:spPr>
          <a:xfrm>
            <a:off x="4357723" y="2544418"/>
            <a:ext cx="373977" cy="47031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B306803B-E943-A94B-9673-8DBC950436B0}"/>
              </a:ext>
            </a:extLst>
          </p:cNvPr>
          <p:cNvCxnSpPr>
            <a:cxnSpLocks/>
            <a:stCxn id="17" idx="2"/>
          </p:cNvCxnSpPr>
          <p:nvPr/>
        </p:nvCxnSpPr>
        <p:spPr>
          <a:xfrm>
            <a:off x="5752714" y="2544418"/>
            <a:ext cx="135177" cy="47031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1D5B3665-B1BF-4447-825D-49883C4CF923}"/>
              </a:ext>
            </a:extLst>
          </p:cNvPr>
          <p:cNvCxnSpPr>
            <a:cxnSpLocks/>
            <a:stCxn id="19" idx="2"/>
          </p:cNvCxnSpPr>
          <p:nvPr/>
        </p:nvCxnSpPr>
        <p:spPr>
          <a:xfrm flipH="1">
            <a:off x="7012714" y="2544418"/>
            <a:ext cx="134991" cy="47031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1ADD3DA8-E740-0D4E-805F-FA36E72AD403}"/>
              </a:ext>
            </a:extLst>
          </p:cNvPr>
          <p:cNvCxnSpPr>
            <a:cxnSpLocks/>
            <a:stCxn id="21" idx="2"/>
          </p:cNvCxnSpPr>
          <p:nvPr/>
        </p:nvCxnSpPr>
        <p:spPr>
          <a:xfrm flipH="1">
            <a:off x="8103494" y="2538935"/>
            <a:ext cx="439202" cy="48128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3685426F-219C-C646-9675-502BA0C8D85A}"/>
              </a:ext>
            </a:extLst>
          </p:cNvPr>
          <p:cNvCxnSpPr>
            <a:cxnSpLocks/>
            <a:stCxn id="24" idx="2"/>
          </p:cNvCxnSpPr>
          <p:nvPr/>
        </p:nvCxnSpPr>
        <p:spPr>
          <a:xfrm>
            <a:off x="9937687" y="2538935"/>
            <a:ext cx="9847" cy="48128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ED59C27A-720B-3F4C-850F-928CE397FD26}"/>
              </a:ext>
            </a:extLst>
          </p:cNvPr>
          <p:cNvCxnSpPr>
            <a:cxnSpLocks/>
            <a:stCxn id="26" idx="2"/>
          </p:cNvCxnSpPr>
          <p:nvPr/>
        </p:nvCxnSpPr>
        <p:spPr>
          <a:xfrm>
            <a:off x="11332676" y="2538935"/>
            <a:ext cx="180693" cy="48128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48A34E94-E3E6-9441-B0AF-BBEF3171E8A7}"/>
              </a:ext>
            </a:extLst>
          </p:cNvPr>
          <p:cNvCxnSpPr>
            <a:cxnSpLocks/>
            <a:stCxn id="16" idx="0"/>
          </p:cNvCxnSpPr>
          <p:nvPr/>
        </p:nvCxnSpPr>
        <p:spPr>
          <a:xfrm flipV="1">
            <a:off x="5098412" y="4801894"/>
            <a:ext cx="264096" cy="358206"/>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31D8246B-9B98-3141-BAD4-3821EFD7692D}"/>
              </a:ext>
            </a:extLst>
          </p:cNvPr>
          <p:cNvCxnSpPr>
            <a:cxnSpLocks/>
            <a:stCxn id="18" idx="0"/>
          </p:cNvCxnSpPr>
          <p:nvPr/>
        </p:nvCxnSpPr>
        <p:spPr>
          <a:xfrm flipH="1" flipV="1">
            <a:off x="6496089" y="4819829"/>
            <a:ext cx="46428" cy="34298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762AC9D9-3156-6946-B738-342DDCC17B2C}"/>
              </a:ext>
            </a:extLst>
          </p:cNvPr>
          <p:cNvCxnSpPr>
            <a:cxnSpLocks/>
            <a:stCxn id="20" idx="0"/>
          </p:cNvCxnSpPr>
          <p:nvPr/>
        </p:nvCxnSpPr>
        <p:spPr>
          <a:xfrm flipH="1" flipV="1">
            <a:off x="7561172" y="4791823"/>
            <a:ext cx="511070" cy="375566"/>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47632726-CE22-A84C-A5C3-50268025FA68}"/>
              </a:ext>
            </a:extLst>
          </p:cNvPr>
          <p:cNvCxnSpPr>
            <a:cxnSpLocks/>
            <a:stCxn id="22" idx="0"/>
          </p:cNvCxnSpPr>
          <p:nvPr/>
        </p:nvCxnSpPr>
        <p:spPr>
          <a:xfrm flipH="1" flipV="1">
            <a:off x="9172696" y="4797307"/>
            <a:ext cx="343650" cy="369282"/>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7D5B19ED-89ED-B049-BCDF-AA812266A48B}"/>
              </a:ext>
            </a:extLst>
          </p:cNvPr>
          <p:cNvCxnSpPr>
            <a:cxnSpLocks/>
            <a:stCxn id="25" idx="0"/>
          </p:cNvCxnSpPr>
          <p:nvPr/>
        </p:nvCxnSpPr>
        <p:spPr>
          <a:xfrm flipH="1" flipV="1">
            <a:off x="11058935" y="4791823"/>
            <a:ext cx="107664" cy="374766"/>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graphicFrame>
        <p:nvGraphicFramePr>
          <p:cNvPr id="35" name="Table 34">
            <a:extLst>
              <a:ext uri="{FF2B5EF4-FFF2-40B4-BE49-F238E27FC236}">
                <a16:creationId xmlns:a16="http://schemas.microsoft.com/office/drawing/2014/main" id="{391F84A2-1F64-084A-A72C-E6E5600A0035}"/>
              </a:ext>
            </a:extLst>
          </p:cNvPr>
          <p:cNvGraphicFramePr>
            <a:graphicFrameLocks noGrp="1"/>
          </p:cNvGraphicFramePr>
          <p:nvPr>
            <p:extLst>
              <p:ext uri="{D42A27DB-BD31-4B8C-83A1-F6EECF244321}">
                <p14:modId xmlns:p14="http://schemas.microsoft.com/office/powerpoint/2010/main" val="1105787063"/>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Tree>
    <p:extLst>
      <p:ext uri="{BB962C8B-B14F-4D97-AF65-F5344CB8AC3E}">
        <p14:creationId xmlns:p14="http://schemas.microsoft.com/office/powerpoint/2010/main" val="72851380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1DEC92A-C88D-F946-A1A9-8B38E6C4179D}"/>
              </a:ext>
            </a:extLst>
          </p:cNvPr>
          <p:cNvSpPr/>
          <p:nvPr/>
        </p:nvSpPr>
        <p:spPr>
          <a:xfrm>
            <a:off x="517131" y="1623206"/>
            <a:ext cx="3162458" cy="260222"/>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lish-GB" sz="1200" b="1">
                <a:solidFill>
                  <a:srgbClr val="50235C"/>
                </a:solidFill>
              </a:rPr>
              <a:t>Approach &amp; </a:t>
            </a:r>
            <a:r>
              <a:rPr lang="en-GB" sz="1200" b="1">
                <a:solidFill>
                  <a:srgbClr val="50235C"/>
                </a:solidFill>
              </a:rPr>
              <a:t>o</a:t>
            </a:r>
            <a:r>
              <a:rPr lang="english-GB" sz="1200" b="1">
                <a:solidFill>
                  <a:srgbClr val="50235C"/>
                </a:solidFill>
              </a:rPr>
              <a:t>utput</a:t>
            </a:r>
          </a:p>
        </p:txBody>
      </p:sp>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2689"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800" b="0" i="0" u="none" strike="noStrike" kern="1200" cap="none" spc="0" normalizeH="0" baseline="0" noProof="0">
              <a:ln>
                <a:noFill/>
              </a:ln>
              <a:solidFill>
                <a:srgbClr val="FFFFFF"/>
              </a:solidFill>
              <a:effectLst/>
              <a:uLnTx/>
              <a:uFillTx/>
              <a:latin typeface="Arial" panose="020B0604020202020204"/>
              <a:ea typeface="+mn-ea"/>
              <a:cs typeface="+mn-cs"/>
              <a:sym typeface="Arial" panose="020B0604020202020204" pitchFamily="34" charset="0"/>
            </a:endParaRPr>
          </a:p>
        </p:txBody>
      </p:sp>
      <p:sp>
        <p:nvSpPr>
          <p:cNvPr id="2" name="Title 1"/>
          <p:cNvSpPr>
            <a:spLocks noGrp="1"/>
          </p:cNvSpPr>
          <p:nvPr>
            <p:ph type="title"/>
          </p:nvPr>
        </p:nvSpPr>
        <p:spPr>
          <a:xfrm>
            <a:off x="510638" y="297277"/>
            <a:ext cx="9321425" cy="434010"/>
          </a:xfrm>
          <a:prstGeom prst="rect">
            <a:avLst/>
          </a:prstGeom>
        </p:spPr>
        <p:txBody>
          <a:bodyPr/>
          <a:lstStyle/>
          <a:p>
            <a:r>
              <a:rPr lang="en-GB"/>
              <a:t>Executive summary: patient journey mapping</a:t>
            </a:r>
          </a:p>
        </p:txBody>
      </p:sp>
      <p:sp>
        <p:nvSpPr>
          <p:cNvPr id="5" name="Footer Placeholder 4">
            <a:extLst>
              <a:ext uri="{FF2B5EF4-FFF2-40B4-BE49-F238E27FC236}">
                <a16:creationId xmlns:a16="http://schemas.microsoft.com/office/drawing/2014/main" id="{8378A888-C2F3-1F46-BFE9-6AED0C113342}"/>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50235C"/>
                </a:solidFill>
                <a:effectLst/>
                <a:uLnTx/>
                <a:uFillTx/>
                <a:latin typeface="Arial" panose="020B0604020202020204"/>
                <a:ea typeface="+mn-ea"/>
                <a:cs typeface="+mn-cs"/>
              </a:rPr>
              <a:t>© Moorhouse 2021 [Restricted]</a:t>
            </a:r>
          </a:p>
        </p:txBody>
      </p:sp>
      <p:sp>
        <p:nvSpPr>
          <p:cNvPr id="27" name="Rectangle 26">
            <a:extLst>
              <a:ext uri="{FF2B5EF4-FFF2-40B4-BE49-F238E27FC236}">
                <a16:creationId xmlns:a16="http://schemas.microsoft.com/office/drawing/2014/main" id="{4EFAD1A4-9034-8448-A693-CCB4220B8B5E}"/>
              </a:ext>
            </a:extLst>
          </p:cNvPr>
          <p:cNvSpPr/>
          <p:nvPr/>
        </p:nvSpPr>
        <p:spPr>
          <a:xfrm>
            <a:off x="510638" y="871696"/>
            <a:ext cx="11272233" cy="461665"/>
          </a:xfrm>
          <a:prstGeom prst="rect">
            <a:avLst/>
          </a:prstGeom>
        </p:spPr>
        <p:txBody>
          <a:bodyPr wrap="square" lIns="0">
            <a:spAutoFit/>
          </a:bodyPr>
          <a:lstStyle/>
          <a:p>
            <a:r>
              <a:rPr lang="en-GB" sz="1200" b="1">
                <a:solidFill>
                  <a:srgbClr val="51235C"/>
                </a:solidFill>
                <a:latin typeface="Arial" panose="020B0604020202020204" pitchFamily="34" charset="0"/>
                <a:cs typeface="Arial" panose="020B0604020202020204" pitchFamily="34" charset="0"/>
              </a:rPr>
              <a:t>To support and validate the findings of the gap analysis a detailed assessment of three areas of challenge raised by staff and service users were assessed in detail. </a:t>
            </a:r>
          </a:p>
        </p:txBody>
      </p:sp>
      <p:cxnSp>
        <p:nvCxnSpPr>
          <p:cNvPr id="29" name="Straight Connector 28">
            <a:extLst>
              <a:ext uri="{FF2B5EF4-FFF2-40B4-BE49-F238E27FC236}">
                <a16:creationId xmlns:a16="http://schemas.microsoft.com/office/drawing/2014/main" id="{614F206B-05A2-7C4C-95E4-28B2D9B67F64}"/>
              </a:ext>
            </a:extLst>
          </p:cNvPr>
          <p:cNvCxnSpPr>
            <a:cxnSpLocks/>
          </p:cNvCxnSpPr>
          <p:nvPr/>
        </p:nvCxnSpPr>
        <p:spPr>
          <a:xfrm>
            <a:off x="4114360" y="1999792"/>
            <a:ext cx="0" cy="4207845"/>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762DF57-84A7-E447-9663-FFF81F2335B2}"/>
              </a:ext>
            </a:extLst>
          </p:cNvPr>
          <p:cNvCxnSpPr>
            <a:cxnSpLocks/>
          </p:cNvCxnSpPr>
          <p:nvPr/>
        </p:nvCxnSpPr>
        <p:spPr>
          <a:xfrm>
            <a:off x="8071378" y="1999792"/>
            <a:ext cx="0" cy="4207845"/>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5831CEDB-D38E-1343-BE9C-83F0EFBBD13F}"/>
              </a:ext>
            </a:extLst>
          </p:cNvPr>
          <p:cNvSpPr txBox="1"/>
          <p:nvPr/>
        </p:nvSpPr>
        <p:spPr>
          <a:xfrm>
            <a:off x="4491059" y="1623206"/>
            <a:ext cx="3162467" cy="276999"/>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2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b="1">
                <a:solidFill>
                  <a:srgbClr val="50235C"/>
                </a:solidFill>
              </a:rPr>
              <a:t>Findings</a:t>
            </a:r>
          </a:p>
        </p:txBody>
      </p:sp>
      <p:sp>
        <p:nvSpPr>
          <p:cNvPr id="40" name="TextBox 39">
            <a:extLst>
              <a:ext uri="{FF2B5EF4-FFF2-40B4-BE49-F238E27FC236}">
                <a16:creationId xmlns:a16="http://schemas.microsoft.com/office/drawing/2014/main" id="{E1C0E2C8-7B47-E548-A07D-68D7A4F22BA7}"/>
              </a:ext>
            </a:extLst>
          </p:cNvPr>
          <p:cNvSpPr txBox="1"/>
          <p:nvPr/>
        </p:nvSpPr>
        <p:spPr>
          <a:xfrm>
            <a:off x="8464995" y="1623206"/>
            <a:ext cx="3162467" cy="276999"/>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2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b="1">
                <a:solidFill>
                  <a:srgbClr val="50235C"/>
                </a:solidFill>
              </a:rPr>
              <a:t>Recommendations &amp; next steps</a:t>
            </a:r>
          </a:p>
        </p:txBody>
      </p:sp>
      <p:sp>
        <p:nvSpPr>
          <p:cNvPr id="43" name="Rectangle 42">
            <a:extLst>
              <a:ext uri="{FF2B5EF4-FFF2-40B4-BE49-F238E27FC236}">
                <a16:creationId xmlns:a16="http://schemas.microsoft.com/office/drawing/2014/main" id="{6722C459-EA4B-9046-BFE4-5ADCCCE9822B}"/>
              </a:ext>
            </a:extLst>
          </p:cNvPr>
          <p:cNvSpPr/>
          <p:nvPr/>
        </p:nvSpPr>
        <p:spPr>
          <a:xfrm rot="16200000">
            <a:off x="-523929" y="5587903"/>
            <a:ext cx="1668641" cy="276999"/>
          </a:xfrm>
          <a:prstGeom prst="rect">
            <a:avLst/>
          </a:prstGeom>
        </p:spPr>
        <p:txBody>
          <a:bodyPr wrap="square" lIns="0">
            <a:spAutoFit/>
          </a:bodyPr>
          <a:lstStyle/>
          <a:p>
            <a:pPr algn="ctr"/>
            <a:r>
              <a:rPr lang="en-GB" sz="1200" b="1">
                <a:solidFill>
                  <a:srgbClr val="51235C"/>
                </a:solidFill>
                <a:latin typeface="Arial" panose="020B0604020202020204" pitchFamily="34" charset="0"/>
                <a:cs typeface="Arial" panose="020B0604020202020204" pitchFamily="34" charset="0"/>
              </a:rPr>
              <a:t>Output</a:t>
            </a:r>
          </a:p>
        </p:txBody>
      </p:sp>
      <p:sp>
        <p:nvSpPr>
          <p:cNvPr id="44" name="Rectangle 43">
            <a:extLst>
              <a:ext uri="{FF2B5EF4-FFF2-40B4-BE49-F238E27FC236}">
                <a16:creationId xmlns:a16="http://schemas.microsoft.com/office/drawing/2014/main" id="{94F77078-9FB8-334E-9C10-E9F04E16BBA7}"/>
              </a:ext>
            </a:extLst>
          </p:cNvPr>
          <p:cNvSpPr/>
          <p:nvPr/>
        </p:nvSpPr>
        <p:spPr>
          <a:xfrm>
            <a:off x="510639" y="4974572"/>
            <a:ext cx="3168950" cy="1472805"/>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8" name="TextBox 47">
            <a:extLst>
              <a:ext uri="{FF2B5EF4-FFF2-40B4-BE49-F238E27FC236}">
                <a16:creationId xmlns:a16="http://schemas.microsoft.com/office/drawing/2014/main" id="{A64AE93D-4341-5940-88E2-777BF375B524}"/>
              </a:ext>
            </a:extLst>
          </p:cNvPr>
          <p:cNvSpPr txBox="1"/>
          <p:nvPr/>
        </p:nvSpPr>
        <p:spPr>
          <a:xfrm>
            <a:off x="1483418" y="5875752"/>
            <a:ext cx="1191280" cy="400110"/>
          </a:xfrm>
          <a:prstGeom prst="rect">
            <a:avLst/>
          </a:prstGeom>
          <a:noFill/>
        </p:spPr>
        <p:txBody>
          <a:bodyPr wrap="square" lIns="91440" tIns="45720" rIns="91440" bIns="45720" rtlCol="0" anchor="t">
            <a:spAutoFit/>
          </a:bodyPr>
          <a:lstStyle/>
          <a:p>
            <a:pPr marR="0" lvl="0" algn="ctr" defTabSz="914400" rtl="0" eaLnBrk="1" fontAlgn="auto" latinLnBrk="0" hangingPunct="1">
              <a:lnSpc>
                <a:spcPct val="100000"/>
              </a:lnSpc>
              <a:spcBef>
                <a:spcPts val="0"/>
              </a:spcBef>
              <a:spcAft>
                <a:spcPts val="600"/>
              </a:spcAft>
              <a:buClr>
                <a:srgbClr val="50235C"/>
              </a:buClr>
              <a:buSzTx/>
              <a:tabLst/>
              <a:defRPr/>
            </a:pPr>
            <a:r>
              <a:rPr lang="en-GB" sz="1000" spc="-5">
                <a:solidFill>
                  <a:schemeClr val="tx1">
                    <a:lumMod val="50000"/>
                    <a:lumOff val="50000"/>
                  </a:schemeClr>
                </a:solidFill>
                <a:latin typeface="Arial" panose="020B0604020202020204"/>
                <a:cs typeface="Arial"/>
              </a:rPr>
              <a:t>Pathway specific recommendations</a:t>
            </a:r>
            <a:endParaRPr kumimoji="0" lang="en-GB" sz="10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endParaRPr>
          </a:p>
        </p:txBody>
      </p:sp>
      <p:sp>
        <p:nvSpPr>
          <p:cNvPr id="49" name="TextBox 48">
            <a:extLst>
              <a:ext uri="{FF2B5EF4-FFF2-40B4-BE49-F238E27FC236}">
                <a16:creationId xmlns:a16="http://schemas.microsoft.com/office/drawing/2014/main" id="{EB12C5EA-D5E9-6642-B105-31F682D36F5D}"/>
              </a:ext>
            </a:extLst>
          </p:cNvPr>
          <p:cNvSpPr txBox="1"/>
          <p:nvPr/>
        </p:nvSpPr>
        <p:spPr>
          <a:xfrm>
            <a:off x="484636" y="5875714"/>
            <a:ext cx="1079645" cy="400110"/>
          </a:xfrm>
          <a:prstGeom prst="rect">
            <a:avLst/>
          </a:prstGeom>
          <a:noFill/>
        </p:spPr>
        <p:txBody>
          <a:bodyPr wrap="square" lIns="91440" tIns="45720" rIns="91440" bIns="45720" rtlCol="0" anchor="t">
            <a:spAutoFit/>
          </a:bodyPr>
          <a:lstStyle/>
          <a:p>
            <a:pPr marR="0" lvl="0" algn="ctr" defTabSz="914400" rtl="0" eaLnBrk="1" fontAlgn="auto" latinLnBrk="0" hangingPunct="1">
              <a:lnSpc>
                <a:spcPct val="100000"/>
              </a:lnSpc>
              <a:spcBef>
                <a:spcPts val="0"/>
              </a:spcBef>
              <a:spcAft>
                <a:spcPts val="600"/>
              </a:spcAft>
              <a:buClr>
                <a:srgbClr val="50235C"/>
              </a:buClr>
              <a:buSzTx/>
              <a:tabLst/>
              <a:defRPr/>
            </a:pPr>
            <a:r>
              <a:rPr kumimoji="0" lang="en-GB" sz="10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rPr>
              <a:t>3x patient journey maps</a:t>
            </a:r>
          </a:p>
        </p:txBody>
      </p:sp>
      <p:sp>
        <p:nvSpPr>
          <p:cNvPr id="51" name="TextBox 50">
            <a:extLst>
              <a:ext uri="{FF2B5EF4-FFF2-40B4-BE49-F238E27FC236}">
                <a16:creationId xmlns:a16="http://schemas.microsoft.com/office/drawing/2014/main" id="{390FA1DD-16DF-2E48-8A6B-AA33E10B0B14}"/>
              </a:ext>
            </a:extLst>
          </p:cNvPr>
          <p:cNvSpPr txBox="1"/>
          <p:nvPr/>
        </p:nvSpPr>
        <p:spPr>
          <a:xfrm>
            <a:off x="510638" y="2093538"/>
            <a:ext cx="3162457" cy="2631490"/>
          </a:xfrm>
          <a:prstGeom prst="rect">
            <a:avLst/>
          </a:prstGeom>
          <a:noFill/>
        </p:spPr>
        <p:txBody>
          <a:bodyPr wrap="square" rtlCol="0">
            <a:spAutoFit/>
          </a:bodyPr>
          <a:lstStyle/>
          <a:p>
            <a:pPr marL="171450" lvl="0" indent="-171450" defTabSz="685800">
              <a:spcBef>
                <a:spcPts val="300"/>
              </a:spcBef>
              <a:spcAft>
                <a:spcPts val="300"/>
              </a:spcAft>
              <a:buFont typeface="Arial" panose="020B0604020202020204" pitchFamily="34" charset="0"/>
              <a:buChar char="•"/>
              <a:defRPr/>
            </a:pPr>
            <a:r>
              <a:rPr lang="en-GB" sz="1000">
                <a:solidFill>
                  <a:schemeClr val="tx1">
                    <a:lumMod val="65000"/>
                    <a:lumOff val="35000"/>
                  </a:schemeClr>
                </a:solidFill>
                <a:latin typeface="Arial" panose="020B0604020202020204" pitchFamily="34" charset="0"/>
                <a:cs typeface="Arial" panose="020B0604020202020204" pitchFamily="34" charset="0"/>
              </a:rPr>
              <a:t>Interviews and workshops were held with staff and teams representing each focus area as well a number of service users with lived experience of each pathway. </a:t>
            </a:r>
          </a:p>
          <a:p>
            <a:pPr marL="171450" lvl="0" indent="-171450" defTabSz="685800">
              <a:spcBef>
                <a:spcPts val="300"/>
              </a:spcBef>
              <a:spcAft>
                <a:spcPts val="300"/>
              </a:spcAft>
              <a:buFont typeface="Arial" panose="020B0604020202020204" pitchFamily="34" charset="0"/>
              <a:buChar char="•"/>
              <a:defRPr/>
            </a:pPr>
            <a:r>
              <a:rPr lang="en-GB" sz="1000">
                <a:solidFill>
                  <a:schemeClr val="tx1">
                    <a:lumMod val="65000"/>
                    <a:lumOff val="35000"/>
                  </a:schemeClr>
                </a:solidFill>
                <a:latin typeface="Arial" panose="020B0604020202020204" pitchFamily="34" charset="0"/>
                <a:cs typeface="Arial" panose="020B0604020202020204" pitchFamily="34" charset="0"/>
              </a:rPr>
              <a:t>Data analysis was undertaken using data from NHS England and PHE to support the case for change in each focus area.</a:t>
            </a:r>
          </a:p>
          <a:p>
            <a:pPr marL="171450" lvl="0" indent="-171450" defTabSz="685800">
              <a:spcBef>
                <a:spcPts val="300"/>
              </a:spcBef>
              <a:spcAft>
                <a:spcPts val="300"/>
              </a:spcAft>
              <a:buFont typeface="Arial" panose="020B0604020202020204" pitchFamily="34" charset="0"/>
              <a:buChar char="•"/>
              <a:defRPr/>
            </a:pPr>
            <a:r>
              <a:rPr lang="en-GB" sz="1000">
                <a:solidFill>
                  <a:schemeClr val="tx1">
                    <a:lumMod val="65000"/>
                    <a:lumOff val="35000"/>
                  </a:schemeClr>
                </a:solidFill>
                <a:latin typeface="Arial" panose="020B0604020202020204" pitchFamily="34" charset="0"/>
                <a:cs typeface="Arial" panose="020B0604020202020204" pitchFamily="34" charset="0"/>
              </a:rPr>
              <a:t>Best practice was gathered from other regions and systems across England to support the development of recommendations. </a:t>
            </a:r>
          </a:p>
          <a:p>
            <a:pPr marL="171450" lvl="0" indent="-171450" defTabSz="685800">
              <a:spcBef>
                <a:spcPts val="300"/>
              </a:spcBef>
              <a:spcAft>
                <a:spcPts val="300"/>
              </a:spcAft>
              <a:buFont typeface="Arial" panose="020B0604020202020204" pitchFamily="34" charset="0"/>
              <a:buChar char="•"/>
              <a:defRPr/>
            </a:pPr>
            <a:r>
              <a:rPr lang="en-GB" sz="1000">
                <a:solidFill>
                  <a:schemeClr val="tx1">
                    <a:lumMod val="65000"/>
                    <a:lumOff val="35000"/>
                  </a:schemeClr>
                </a:solidFill>
                <a:latin typeface="Arial" panose="020B0604020202020204" pitchFamily="34" charset="0"/>
                <a:cs typeface="Arial" panose="020B0604020202020204" pitchFamily="34" charset="0"/>
              </a:rPr>
              <a:t>For each focus area a journey map was produced in collaboration with front line teams to highlight the challenges and support the development of recommendations presented throughout this document. </a:t>
            </a:r>
            <a:endParaRPr lang="en-GB" sz="1000">
              <a:solidFill>
                <a:srgbClr val="50235B"/>
              </a:solidFill>
              <a:highlight>
                <a:srgbClr val="FFFF00"/>
              </a:highlight>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A304E711-3C9F-5048-87C2-367B868CA4C9}"/>
              </a:ext>
            </a:extLst>
          </p:cNvPr>
          <p:cNvSpPr txBox="1"/>
          <p:nvPr/>
        </p:nvSpPr>
        <p:spPr>
          <a:xfrm>
            <a:off x="4491069" y="2093538"/>
            <a:ext cx="3162457" cy="4339650"/>
          </a:xfrm>
          <a:prstGeom prst="rect">
            <a:avLst/>
          </a:prstGeom>
          <a:noFill/>
        </p:spPr>
        <p:txBody>
          <a:bodyPr wrap="square" rtlCol="0">
            <a:spAutoFit/>
          </a:bodyPr>
          <a:lstStyle/>
          <a:p>
            <a:pPr marL="171450" lvl="0" indent="-171450" defTabSz="685800">
              <a:spcBef>
                <a:spcPts val="300"/>
              </a:spcBef>
              <a:spcAft>
                <a:spcPts val="300"/>
              </a:spcAft>
              <a:buFont typeface="Arial" panose="020B0604020202020204" pitchFamily="34" charset="0"/>
              <a:buChar char="•"/>
              <a:defRPr/>
            </a:pPr>
            <a:r>
              <a:rPr lang="en-GB" sz="1000" b="1">
                <a:solidFill>
                  <a:schemeClr val="tx1">
                    <a:lumMod val="65000"/>
                    <a:lumOff val="35000"/>
                  </a:schemeClr>
                </a:solidFill>
                <a:latin typeface="Arial" panose="020B0604020202020204" pitchFamily="34" charset="0"/>
                <a:cs typeface="Arial" panose="020B0604020202020204" pitchFamily="34" charset="0"/>
              </a:rPr>
              <a:t>Mental health and Autism:</a:t>
            </a:r>
          </a:p>
          <a:p>
            <a:pPr marL="355600" lvl="1" indent="-169863" defTabSz="685800">
              <a:spcBef>
                <a:spcPts val="300"/>
              </a:spcBef>
              <a:spcAft>
                <a:spcPts val="300"/>
              </a:spcAft>
              <a:buFont typeface="Arial" panose="020B0604020202020204" pitchFamily="34" charset="0"/>
              <a:buChar char="•"/>
              <a:defRPr/>
            </a:pPr>
            <a:r>
              <a:rPr lang="en-GB" sz="1000">
                <a:solidFill>
                  <a:schemeClr val="tx1">
                    <a:lumMod val="75000"/>
                    <a:lumOff val="25000"/>
                  </a:schemeClr>
                </a:solidFill>
                <a:latin typeface="Arial" panose="020B0604020202020204" pitchFamily="34" charset="0"/>
                <a:cs typeface="Arial" panose="020B0604020202020204" pitchFamily="34" charset="0"/>
              </a:rPr>
              <a:t>13 key challenges were identified. </a:t>
            </a:r>
          </a:p>
          <a:p>
            <a:pPr marL="355600" lvl="1" indent="-169863" defTabSz="685800">
              <a:spcBef>
                <a:spcPts val="300"/>
              </a:spcBef>
              <a:spcAft>
                <a:spcPts val="300"/>
              </a:spcAft>
              <a:buFont typeface="Arial" panose="020B0604020202020204" pitchFamily="34" charset="0"/>
              <a:buChar char="•"/>
              <a:defRPr/>
            </a:pPr>
            <a:r>
              <a:rPr lang="en-GB" sz="1000">
                <a:solidFill>
                  <a:schemeClr val="tx1">
                    <a:lumMod val="75000"/>
                    <a:lumOff val="25000"/>
                  </a:schemeClr>
                </a:solidFill>
                <a:latin typeface="Arial" panose="020B0604020202020204" pitchFamily="34" charset="0"/>
                <a:cs typeface="Arial" panose="020B0604020202020204" pitchFamily="34" charset="0"/>
              </a:rPr>
              <a:t>The limited reasonable adjustments currently in place for people with Autism was identified as a key challenge.</a:t>
            </a:r>
          </a:p>
          <a:p>
            <a:pPr marL="355600" lvl="1" indent="-169863" defTabSz="685800">
              <a:spcBef>
                <a:spcPts val="300"/>
              </a:spcBef>
              <a:spcAft>
                <a:spcPts val="300"/>
              </a:spcAft>
              <a:buFont typeface="Arial" panose="020B0604020202020204" pitchFamily="34" charset="0"/>
              <a:buChar char="•"/>
              <a:defRPr/>
            </a:pPr>
            <a:r>
              <a:rPr lang="en-GB" sz="1000">
                <a:solidFill>
                  <a:schemeClr val="tx1">
                    <a:lumMod val="75000"/>
                    <a:lumOff val="25000"/>
                  </a:schemeClr>
                </a:solidFill>
                <a:latin typeface="Arial" panose="020B0604020202020204" pitchFamily="34" charset="0"/>
                <a:cs typeface="Arial" panose="020B0604020202020204" pitchFamily="34" charset="0"/>
              </a:rPr>
              <a:t>7 areas identified for targeted improvement.</a:t>
            </a:r>
          </a:p>
          <a:p>
            <a:pPr marL="355600" lvl="1" indent="-169863" defTabSz="685800">
              <a:spcBef>
                <a:spcPts val="300"/>
              </a:spcBef>
              <a:spcAft>
                <a:spcPts val="300"/>
              </a:spcAft>
              <a:buFont typeface="Arial" panose="020B0604020202020204" pitchFamily="34" charset="0"/>
              <a:buChar char="•"/>
              <a:defRPr/>
            </a:pPr>
            <a:endParaRPr lang="en-GB" sz="800">
              <a:solidFill>
                <a:schemeClr val="tx1">
                  <a:lumMod val="65000"/>
                  <a:lumOff val="35000"/>
                </a:schemeClr>
              </a:solidFill>
              <a:latin typeface="Arial" panose="020B0604020202020204" pitchFamily="34" charset="0"/>
              <a:cs typeface="Arial" panose="020B0604020202020204" pitchFamily="34" charset="0"/>
            </a:endParaRPr>
          </a:p>
          <a:p>
            <a:pPr marL="171450" lvl="0" indent="-171450" defTabSz="685800">
              <a:spcBef>
                <a:spcPts val="300"/>
              </a:spcBef>
              <a:spcAft>
                <a:spcPts val="300"/>
              </a:spcAft>
              <a:buFont typeface="Arial" panose="020B0604020202020204" pitchFamily="34" charset="0"/>
              <a:buChar char="•"/>
              <a:defRPr/>
            </a:pPr>
            <a:r>
              <a:rPr lang="en-GB" sz="1000" b="1">
                <a:solidFill>
                  <a:schemeClr val="tx1">
                    <a:lumMod val="65000"/>
                    <a:lumOff val="35000"/>
                  </a:schemeClr>
                </a:solidFill>
                <a:latin typeface="Arial" panose="020B0604020202020204" pitchFamily="34" charset="0"/>
                <a:cs typeface="Arial" panose="020B0604020202020204" pitchFamily="34" charset="0"/>
              </a:rPr>
              <a:t>Mental health and drug and alcohol:</a:t>
            </a:r>
          </a:p>
          <a:p>
            <a:pPr marL="355600" lvl="1" indent="-169863" defTabSz="685800">
              <a:spcBef>
                <a:spcPts val="300"/>
              </a:spcBef>
              <a:spcAft>
                <a:spcPts val="300"/>
              </a:spcAft>
              <a:buFont typeface="Arial" panose="020B0604020202020204" pitchFamily="34" charset="0"/>
              <a:buChar char="•"/>
              <a:defRPr/>
            </a:pPr>
            <a:r>
              <a:rPr lang="en-GB" sz="1000">
                <a:solidFill>
                  <a:schemeClr val="tx1">
                    <a:lumMod val="75000"/>
                    <a:lumOff val="25000"/>
                  </a:schemeClr>
                </a:solidFill>
                <a:latin typeface="Arial" panose="020B0604020202020204" pitchFamily="34" charset="0"/>
                <a:cs typeface="Arial" panose="020B0604020202020204" pitchFamily="34" charset="0"/>
              </a:rPr>
              <a:t>8 key challenges were identified. </a:t>
            </a:r>
          </a:p>
          <a:p>
            <a:pPr marL="355600" lvl="1" indent="-169863" defTabSz="685800">
              <a:spcBef>
                <a:spcPts val="300"/>
              </a:spcBef>
              <a:spcAft>
                <a:spcPts val="300"/>
              </a:spcAft>
              <a:buFont typeface="Arial" panose="020B0604020202020204" pitchFamily="34" charset="0"/>
              <a:buChar char="•"/>
              <a:defRPr/>
            </a:pPr>
            <a:r>
              <a:rPr lang="en-GB" sz="1000">
                <a:solidFill>
                  <a:schemeClr val="tx1">
                    <a:lumMod val="75000"/>
                    <a:lumOff val="25000"/>
                  </a:schemeClr>
                </a:solidFill>
                <a:latin typeface="Arial" panose="020B0604020202020204" pitchFamily="34" charset="0"/>
                <a:cs typeface="Arial" panose="020B0604020202020204" pitchFamily="34" charset="0"/>
              </a:rPr>
              <a:t>Staff and service users raised the issue of a ‘revolving door’ between mental health services and drug and alcohol services. </a:t>
            </a:r>
          </a:p>
          <a:p>
            <a:pPr marL="355600" lvl="1" indent="-169863" defTabSz="685800">
              <a:spcBef>
                <a:spcPts val="300"/>
              </a:spcBef>
              <a:spcAft>
                <a:spcPts val="300"/>
              </a:spcAft>
              <a:buFont typeface="Arial" panose="020B0604020202020204" pitchFamily="34" charset="0"/>
              <a:buChar char="•"/>
              <a:defRPr/>
            </a:pPr>
            <a:r>
              <a:rPr lang="en-GB" sz="1000">
                <a:solidFill>
                  <a:schemeClr val="tx1">
                    <a:lumMod val="75000"/>
                    <a:lumOff val="25000"/>
                  </a:schemeClr>
                </a:solidFill>
                <a:latin typeface="Arial" panose="020B0604020202020204" pitchFamily="34" charset="0"/>
                <a:cs typeface="Arial" panose="020B0604020202020204" pitchFamily="34" charset="0"/>
              </a:rPr>
              <a:t>5 areas identified for targeted improvement.</a:t>
            </a:r>
          </a:p>
          <a:p>
            <a:pPr marL="355600" lvl="1" indent="-169863" defTabSz="685800">
              <a:spcBef>
                <a:spcPts val="300"/>
              </a:spcBef>
              <a:spcAft>
                <a:spcPts val="300"/>
              </a:spcAft>
              <a:buFont typeface="Arial" panose="020B0604020202020204" pitchFamily="34" charset="0"/>
              <a:buChar char="•"/>
              <a:defRPr/>
            </a:pPr>
            <a:endParaRPr lang="en-GB" sz="800">
              <a:solidFill>
                <a:schemeClr val="tx1">
                  <a:lumMod val="65000"/>
                  <a:lumOff val="35000"/>
                </a:schemeClr>
              </a:solidFill>
              <a:latin typeface="Arial" panose="020B0604020202020204" pitchFamily="34" charset="0"/>
              <a:cs typeface="Arial" panose="020B0604020202020204" pitchFamily="34" charset="0"/>
            </a:endParaRPr>
          </a:p>
          <a:p>
            <a:pPr marL="171450" lvl="0" indent="-171450" defTabSz="685800">
              <a:spcBef>
                <a:spcPts val="300"/>
              </a:spcBef>
              <a:spcAft>
                <a:spcPts val="300"/>
              </a:spcAft>
              <a:buFont typeface="Arial" panose="020B0604020202020204" pitchFamily="34" charset="0"/>
              <a:buChar char="•"/>
              <a:defRPr/>
            </a:pPr>
            <a:r>
              <a:rPr lang="en-GB" sz="1000" b="1">
                <a:solidFill>
                  <a:schemeClr val="tx1">
                    <a:lumMod val="65000"/>
                    <a:lumOff val="35000"/>
                  </a:schemeClr>
                </a:solidFill>
                <a:latin typeface="Arial" panose="020B0604020202020204" pitchFamily="34" charset="0"/>
                <a:cs typeface="Arial" panose="020B0604020202020204" pitchFamily="34" charset="0"/>
              </a:rPr>
              <a:t>Severe mental illness physical health checks:</a:t>
            </a:r>
            <a:endParaRPr lang="en-GB" sz="1000" b="1">
              <a:solidFill>
                <a:srgbClr val="50235B"/>
              </a:solidFill>
              <a:latin typeface="Arial" panose="020B0604020202020204" pitchFamily="34" charset="0"/>
              <a:cs typeface="Arial" panose="020B0604020202020204" pitchFamily="34" charset="0"/>
            </a:endParaRPr>
          </a:p>
          <a:p>
            <a:pPr marL="355600" lvl="1" indent="-169863" defTabSz="685800">
              <a:spcBef>
                <a:spcPts val="300"/>
              </a:spcBef>
              <a:spcAft>
                <a:spcPts val="300"/>
              </a:spcAft>
              <a:buFont typeface="Arial" panose="020B0604020202020204" pitchFamily="34" charset="0"/>
              <a:buChar char="•"/>
              <a:defRPr/>
            </a:pPr>
            <a:r>
              <a:rPr lang="en-GB" sz="1000">
                <a:solidFill>
                  <a:schemeClr val="tx1">
                    <a:lumMod val="75000"/>
                    <a:lumOff val="25000"/>
                  </a:schemeClr>
                </a:solidFill>
                <a:latin typeface="Arial" panose="020B0604020202020204" pitchFamily="34" charset="0"/>
                <a:cs typeface="Arial" panose="020B0604020202020204" pitchFamily="34" charset="0"/>
              </a:rPr>
              <a:t>8 key challenges identified.</a:t>
            </a:r>
          </a:p>
          <a:p>
            <a:pPr marL="355600" lvl="1" indent="-169863" defTabSz="685800">
              <a:spcBef>
                <a:spcPts val="300"/>
              </a:spcBef>
              <a:spcAft>
                <a:spcPts val="300"/>
              </a:spcAft>
              <a:buFont typeface="Arial" panose="020B0604020202020204" pitchFamily="34" charset="0"/>
              <a:buChar char="•"/>
              <a:defRPr/>
            </a:pPr>
            <a:r>
              <a:rPr lang="en-GB" sz="1000">
                <a:solidFill>
                  <a:schemeClr val="tx1">
                    <a:lumMod val="75000"/>
                    <a:lumOff val="25000"/>
                  </a:schemeClr>
                </a:solidFill>
                <a:latin typeface="Arial" panose="020B0604020202020204" pitchFamily="34" charset="0"/>
                <a:cs typeface="Arial" panose="020B0604020202020204" pitchFamily="34" charset="0"/>
              </a:rPr>
              <a:t>A lack of resources available to support the  delivery of PHCs was identified as a key challenge. </a:t>
            </a:r>
          </a:p>
          <a:p>
            <a:pPr marL="355600" lvl="1" indent="-169863" defTabSz="685800">
              <a:spcBef>
                <a:spcPts val="300"/>
              </a:spcBef>
              <a:spcAft>
                <a:spcPts val="300"/>
              </a:spcAft>
              <a:buFont typeface="Arial" panose="020B0604020202020204" pitchFamily="34" charset="0"/>
              <a:buChar char="•"/>
              <a:defRPr/>
            </a:pPr>
            <a:r>
              <a:rPr lang="en-GB" sz="1000">
                <a:solidFill>
                  <a:schemeClr val="tx1">
                    <a:lumMod val="75000"/>
                    <a:lumOff val="25000"/>
                  </a:schemeClr>
                </a:solidFill>
                <a:latin typeface="Arial" panose="020B0604020202020204" pitchFamily="34" charset="0"/>
                <a:cs typeface="Arial" panose="020B0604020202020204" pitchFamily="34" charset="0"/>
              </a:rPr>
              <a:t>6 areas identified for targeted improvement.</a:t>
            </a:r>
          </a:p>
          <a:p>
            <a:pPr marL="171450" lvl="0" indent="-171450" defTabSz="685800">
              <a:spcBef>
                <a:spcPts val="300"/>
              </a:spcBef>
              <a:spcAft>
                <a:spcPts val="300"/>
              </a:spcAft>
              <a:buFont typeface="Arial" panose="020B0604020202020204" pitchFamily="34" charset="0"/>
              <a:buChar char="•"/>
              <a:defRPr/>
            </a:pPr>
            <a:endParaRPr lang="en-GB" sz="1000">
              <a:solidFill>
                <a:schemeClr val="tx1">
                  <a:lumMod val="65000"/>
                  <a:lumOff val="35000"/>
                </a:schemeClr>
              </a:solidFill>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6B47840B-56F0-5440-A0A4-30994039B249}"/>
              </a:ext>
            </a:extLst>
          </p:cNvPr>
          <p:cNvSpPr txBox="1"/>
          <p:nvPr/>
        </p:nvSpPr>
        <p:spPr>
          <a:xfrm>
            <a:off x="8448086" y="2093537"/>
            <a:ext cx="3162457" cy="4508927"/>
          </a:xfrm>
          <a:prstGeom prst="rect">
            <a:avLst/>
          </a:prstGeom>
          <a:noFill/>
        </p:spPr>
        <p:txBody>
          <a:bodyPr wrap="square" rtlCol="0">
            <a:spAutoFit/>
          </a:bodyPr>
          <a:lstStyle/>
          <a:p>
            <a:pPr lvl="0" defTabSz="685800">
              <a:spcBef>
                <a:spcPts val="300"/>
              </a:spcBef>
              <a:spcAft>
                <a:spcPts val="300"/>
              </a:spcAft>
              <a:defRPr/>
            </a:pPr>
            <a:r>
              <a:rPr lang="en-GB" sz="1000">
                <a:solidFill>
                  <a:schemeClr val="tx1">
                    <a:lumMod val="65000"/>
                    <a:lumOff val="35000"/>
                  </a:schemeClr>
                </a:solidFill>
                <a:latin typeface="Arial" panose="020B0604020202020204" pitchFamily="34" charset="0"/>
                <a:cs typeface="Arial" panose="020B0604020202020204" pitchFamily="34" charset="0"/>
              </a:rPr>
              <a:t>Top recommendations to implement for each pathway include:</a:t>
            </a:r>
          </a:p>
          <a:p>
            <a:pPr marL="171450" lvl="0" indent="-171450" defTabSz="685800">
              <a:spcBef>
                <a:spcPts val="300"/>
              </a:spcBef>
              <a:spcAft>
                <a:spcPts val="300"/>
              </a:spcAft>
              <a:buFont typeface="Arial" panose="020B0604020202020204" pitchFamily="34" charset="0"/>
              <a:buChar char="•"/>
              <a:defRPr/>
            </a:pPr>
            <a:r>
              <a:rPr lang="en-GB" sz="1000" b="1">
                <a:solidFill>
                  <a:schemeClr val="tx1">
                    <a:lumMod val="65000"/>
                    <a:lumOff val="35000"/>
                  </a:schemeClr>
                </a:solidFill>
                <a:latin typeface="Arial" panose="020B0604020202020204" pitchFamily="34" charset="0"/>
                <a:cs typeface="Arial" panose="020B0604020202020204" pitchFamily="34" charset="0"/>
              </a:rPr>
              <a:t>Mental health and Autism:</a:t>
            </a:r>
          </a:p>
          <a:p>
            <a:pPr marL="355600" lvl="1" indent="-169863" defTabSz="685800">
              <a:spcBef>
                <a:spcPts val="300"/>
              </a:spcBef>
              <a:spcAft>
                <a:spcPts val="300"/>
              </a:spcAft>
              <a:buFont typeface="Arial" panose="020B0604020202020204" pitchFamily="34" charset="0"/>
              <a:buChar char="•"/>
              <a:defRPr/>
            </a:pPr>
            <a:r>
              <a:rPr lang="en-GB" sz="1000">
                <a:solidFill>
                  <a:schemeClr val="tx1">
                    <a:lumMod val="75000"/>
                    <a:lumOff val="25000"/>
                  </a:schemeClr>
                </a:solidFill>
                <a:latin typeface="Arial" panose="020B0604020202020204" pitchFamily="34" charset="0"/>
                <a:cs typeface="Arial" panose="020B0604020202020204" pitchFamily="34" charset="0"/>
              </a:rPr>
              <a:t>Wide rollout of standardised Autism passports.</a:t>
            </a:r>
          </a:p>
          <a:p>
            <a:pPr marL="355600" lvl="1" indent="-169863" defTabSz="685800">
              <a:spcBef>
                <a:spcPts val="300"/>
              </a:spcBef>
              <a:spcAft>
                <a:spcPts val="300"/>
              </a:spcAft>
              <a:buFont typeface="Arial" panose="020B0604020202020204" pitchFamily="34" charset="0"/>
              <a:buChar char="•"/>
              <a:defRPr/>
            </a:pPr>
            <a:r>
              <a:rPr lang="en-GB" sz="1000">
                <a:solidFill>
                  <a:schemeClr val="tx1">
                    <a:lumMod val="75000"/>
                    <a:lumOff val="25000"/>
                  </a:schemeClr>
                </a:solidFill>
                <a:latin typeface="Arial" panose="020B0604020202020204" pitchFamily="34" charset="0"/>
                <a:cs typeface="Arial" panose="020B0604020202020204" pitchFamily="34" charset="0"/>
              </a:rPr>
              <a:t>Rollout of staff training and awareness campaign to support understanding of Autism. </a:t>
            </a:r>
          </a:p>
          <a:p>
            <a:pPr marL="355600" lvl="1" indent="-169863" defTabSz="685800">
              <a:spcBef>
                <a:spcPts val="300"/>
              </a:spcBef>
              <a:spcAft>
                <a:spcPts val="300"/>
              </a:spcAft>
              <a:buFont typeface="Arial" panose="020B0604020202020204" pitchFamily="34" charset="0"/>
              <a:buChar char="•"/>
              <a:defRPr/>
            </a:pPr>
            <a:r>
              <a:rPr lang="en-GB" sz="1000">
                <a:solidFill>
                  <a:schemeClr val="tx1">
                    <a:lumMod val="75000"/>
                    <a:lumOff val="25000"/>
                  </a:schemeClr>
                </a:solidFill>
                <a:latin typeface="Arial" panose="020B0604020202020204" pitchFamily="34" charset="0"/>
                <a:cs typeface="Arial" panose="020B0604020202020204" pitchFamily="34" charset="0"/>
              </a:rPr>
              <a:t>Implement minor adjustments to physical care settings. </a:t>
            </a:r>
          </a:p>
          <a:p>
            <a:pPr marL="355600" lvl="1" indent="-169863" defTabSz="685800">
              <a:spcBef>
                <a:spcPts val="300"/>
              </a:spcBef>
              <a:spcAft>
                <a:spcPts val="300"/>
              </a:spcAft>
              <a:buFont typeface="Arial" panose="020B0604020202020204" pitchFamily="34" charset="0"/>
              <a:buChar char="•"/>
              <a:defRPr/>
            </a:pPr>
            <a:endParaRPr lang="en-GB" sz="200">
              <a:solidFill>
                <a:schemeClr val="tx1">
                  <a:lumMod val="65000"/>
                  <a:lumOff val="35000"/>
                </a:schemeClr>
              </a:solidFill>
              <a:latin typeface="Arial" panose="020B0604020202020204" pitchFamily="34" charset="0"/>
              <a:cs typeface="Arial" panose="020B0604020202020204" pitchFamily="34" charset="0"/>
            </a:endParaRPr>
          </a:p>
          <a:p>
            <a:pPr marL="171450" indent="-171450" defTabSz="685800">
              <a:spcBef>
                <a:spcPts val="300"/>
              </a:spcBef>
              <a:spcAft>
                <a:spcPts val="300"/>
              </a:spcAft>
              <a:buFont typeface="Arial" panose="020B0604020202020204" pitchFamily="34" charset="0"/>
              <a:buChar char="•"/>
              <a:defRPr/>
            </a:pPr>
            <a:r>
              <a:rPr lang="en-GB" sz="1000" b="1">
                <a:solidFill>
                  <a:schemeClr val="tx1">
                    <a:lumMod val="65000"/>
                    <a:lumOff val="35000"/>
                  </a:schemeClr>
                </a:solidFill>
                <a:latin typeface="Arial" panose="020B0604020202020204" pitchFamily="34" charset="0"/>
                <a:cs typeface="Arial" panose="020B0604020202020204" pitchFamily="34" charset="0"/>
              </a:rPr>
              <a:t>Mental health and drug and alcohol:</a:t>
            </a:r>
          </a:p>
          <a:p>
            <a:pPr marL="355600" lvl="1" indent="-169863" defTabSz="685800">
              <a:spcBef>
                <a:spcPts val="300"/>
              </a:spcBef>
              <a:spcAft>
                <a:spcPts val="300"/>
              </a:spcAft>
              <a:buFont typeface="Arial" panose="020B0604020202020204" pitchFamily="34" charset="0"/>
              <a:buChar char="•"/>
              <a:defRPr/>
            </a:pPr>
            <a:r>
              <a:rPr lang="en-GB" sz="1000">
                <a:solidFill>
                  <a:schemeClr val="tx1">
                    <a:lumMod val="75000"/>
                    <a:lumOff val="25000"/>
                  </a:schemeClr>
                </a:solidFill>
                <a:latin typeface="Arial" panose="020B0604020202020204" pitchFamily="34" charset="0"/>
                <a:cs typeface="Arial" panose="020B0604020202020204" pitchFamily="34" charset="0"/>
              </a:rPr>
              <a:t>Improve lines of communication and joint working between mental health and drug and alcohol teams. </a:t>
            </a:r>
          </a:p>
          <a:p>
            <a:pPr marL="355600" lvl="1" indent="-169863" defTabSz="685800">
              <a:spcBef>
                <a:spcPts val="300"/>
              </a:spcBef>
              <a:spcAft>
                <a:spcPts val="300"/>
              </a:spcAft>
              <a:buFont typeface="Arial" panose="020B0604020202020204" pitchFamily="34" charset="0"/>
              <a:buChar char="•"/>
              <a:defRPr/>
            </a:pPr>
            <a:r>
              <a:rPr lang="en-GB" sz="1000">
                <a:solidFill>
                  <a:schemeClr val="tx1">
                    <a:lumMod val="75000"/>
                    <a:lumOff val="25000"/>
                  </a:schemeClr>
                </a:solidFill>
                <a:latin typeface="Arial" panose="020B0604020202020204" pitchFamily="34" charset="0"/>
                <a:cs typeface="Arial" panose="020B0604020202020204" pitchFamily="34" charset="0"/>
              </a:rPr>
              <a:t>Increase the community outreach for this cohort of service users. </a:t>
            </a:r>
          </a:p>
          <a:p>
            <a:pPr marL="355600" lvl="1" indent="-169863" defTabSz="685800">
              <a:spcBef>
                <a:spcPts val="300"/>
              </a:spcBef>
              <a:spcAft>
                <a:spcPts val="300"/>
              </a:spcAft>
              <a:buFont typeface="Arial" panose="020B0604020202020204" pitchFamily="34" charset="0"/>
              <a:buChar char="•"/>
              <a:defRPr/>
            </a:pPr>
            <a:endParaRPr lang="en-GB" sz="500">
              <a:solidFill>
                <a:schemeClr val="tx1">
                  <a:lumMod val="65000"/>
                  <a:lumOff val="35000"/>
                </a:schemeClr>
              </a:solidFill>
              <a:latin typeface="Arial" panose="020B0604020202020204" pitchFamily="34" charset="0"/>
              <a:cs typeface="Arial" panose="020B0604020202020204" pitchFamily="34" charset="0"/>
            </a:endParaRPr>
          </a:p>
          <a:p>
            <a:pPr marL="171450" lvl="0" indent="-171450" defTabSz="685800">
              <a:spcBef>
                <a:spcPts val="300"/>
              </a:spcBef>
              <a:spcAft>
                <a:spcPts val="300"/>
              </a:spcAft>
              <a:buFont typeface="Arial" panose="020B0604020202020204" pitchFamily="34" charset="0"/>
              <a:buChar char="•"/>
              <a:defRPr/>
            </a:pPr>
            <a:r>
              <a:rPr lang="en-GB" sz="1000" b="1">
                <a:solidFill>
                  <a:schemeClr val="tx1">
                    <a:lumMod val="65000"/>
                    <a:lumOff val="35000"/>
                  </a:schemeClr>
                </a:solidFill>
                <a:latin typeface="Arial" panose="020B0604020202020204" pitchFamily="34" charset="0"/>
                <a:cs typeface="Arial" panose="020B0604020202020204" pitchFamily="34" charset="0"/>
              </a:rPr>
              <a:t>Severe mental illness physical health checks:</a:t>
            </a:r>
            <a:endParaRPr lang="en-GB" sz="1000" b="1">
              <a:solidFill>
                <a:srgbClr val="50235B"/>
              </a:solidFill>
              <a:latin typeface="Arial" panose="020B0604020202020204" pitchFamily="34" charset="0"/>
              <a:cs typeface="Arial" panose="020B0604020202020204" pitchFamily="34" charset="0"/>
            </a:endParaRPr>
          </a:p>
          <a:p>
            <a:pPr marL="355600" lvl="1" indent="-169863" defTabSz="685800">
              <a:spcBef>
                <a:spcPts val="300"/>
              </a:spcBef>
              <a:spcAft>
                <a:spcPts val="300"/>
              </a:spcAft>
              <a:buFont typeface="Arial" panose="020B0604020202020204" pitchFamily="34" charset="0"/>
              <a:buChar char="•"/>
              <a:defRPr/>
            </a:pPr>
            <a:r>
              <a:rPr lang="en-GB" sz="1000">
                <a:solidFill>
                  <a:schemeClr val="tx1">
                    <a:lumMod val="75000"/>
                    <a:lumOff val="25000"/>
                  </a:schemeClr>
                </a:solidFill>
                <a:latin typeface="Arial" panose="020B0604020202020204" pitchFamily="34" charset="0"/>
                <a:cs typeface="Arial" panose="020B0604020202020204" pitchFamily="34" charset="0"/>
              </a:rPr>
              <a:t>Deployment of additional admin staff.</a:t>
            </a:r>
          </a:p>
          <a:p>
            <a:pPr marL="355600" lvl="1" indent="-169863" defTabSz="685800">
              <a:spcBef>
                <a:spcPts val="300"/>
              </a:spcBef>
              <a:spcAft>
                <a:spcPts val="300"/>
              </a:spcAft>
              <a:buFont typeface="Arial" panose="020B0604020202020204" pitchFamily="34" charset="0"/>
              <a:buChar char="•"/>
              <a:defRPr/>
            </a:pPr>
            <a:r>
              <a:rPr lang="en-GB" sz="1000">
                <a:solidFill>
                  <a:schemeClr val="tx1">
                    <a:lumMod val="75000"/>
                    <a:lumOff val="25000"/>
                  </a:schemeClr>
                </a:solidFill>
                <a:latin typeface="Arial" panose="020B0604020202020204" pitchFamily="34" charset="0"/>
                <a:cs typeface="Arial" panose="020B0604020202020204" pitchFamily="34" charset="0"/>
              </a:rPr>
              <a:t>Improve staff and user education on SMI PHCs.</a:t>
            </a:r>
          </a:p>
          <a:p>
            <a:pPr marL="355600" lvl="1" indent="-169863" defTabSz="685800">
              <a:spcBef>
                <a:spcPts val="300"/>
              </a:spcBef>
              <a:spcAft>
                <a:spcPts val="300"/>
              </a:spcAft>
              <a:buFont typeface="Arial" panose="020B0604020202020204" pitchFamily="34" charset="0"/>
              <a:buChar char="•"/>
              <a:defRPr/>
            </a:pPr>
            <a:r>
              <a:rPr lang="en-GB" sz="1000">
                <a:solidFill>
                  <a:schemeClr val="tx1">
                    <a:lumMod val="75000"/>
                    <a:lumOff val="25000"/>
                  </a:schemeClr>
                </a:solidFill>
                <a:latin typeface="Arial" panose="020B0604020202020204" pitchFamily="34" charset="0"/>
                <a:cs typeface="Arial" panose="020B0604020202020204" pitchFamily="34" charset="0"/>
              </a:rPr>
              <a:t>Facilitate better joint working facilitated by improved data sharing across the system.</a:t>
            </a:r>
          </a:p>
          <a:p>
            <a:pPr marL="171450" lvl="0" indent="-171450" defTabSz="685800">
              <a:spcBef>
                <a:spcPts val="300"/>
              </a:spcBef>
              <a:spcAft>
                <a:spcPts val="300"/>
              </a:spcAft>
              <a:buFont typeface="Arial" panose="020B0604020202020204" pitchFamily="34" charset="0"/>
              <a:buChar char="•"/>
              <a:defRPr/>
            </a:pPr>
            <a:endParaRPr lang="en-GB" sz="1000">
              <a:solidFill>
                <a:schemeClr val="tx1">
                  <a:lumMod val="65000"/>
                  <a:lumOff val="35000"/>
                </a:schemeClr>
              </a:solidFill>
              <a:latin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36411416-0443-D740-85C2-8523B88D0425}"/>
              </a:ext>
            </a:extLst>
          </p:cNvPr>
          <p:cNvPicPr>
            <a:picLocks noChangeAspect="1"/>
          </p:cNvPicPr>
          <p:nvPr/>
        </p:nvPicPr>
        <p:blipFill>
          <a:blip r:embed="rId8"/>
          <a:stretch>
            <a:fillRect/>
          </a:stretch>
        </p:blipFill>
        <p:spPr>
          <a:xfrm>
            <a:off x="590507" y="5197733"/>
            <a:ext cx="867905" cy="488197"/>
          </a:xfrm>
          <a:prstGeom prst="rect">
            <a:avLst/>
          </a:prstGeom>
          <a:ln>
            <a:solidFill>
              <a:srgbClr val="50235C"/>
            </a:solidFill>
          </a:ln>
          <a:effectLst>
            <a:outerShdw blurRad="50800" dist="38100" dir="8100000" algn="tr" rotWithShape="0">
              <a:prstClr val="black">
                <a:alpha val="40000"/>
              </a:prstClr>
            </a:outerShdw>
          </a:effectLst>
        </p:spPr>
      </p:pic>
      <p:pic>
        <p:nvPicPr>
          <p:cNvPr id="8" name="Picture 7">
            <a:extLst>
              <a:ext uri="{FF2B5EF4-FFF2-40B4-BE49-F238E27FC236}">
                <a16:creationId xmlns:a16="http://schemas.microsoft.com/office/drawing/2014/main" id="{E435291F-1767-9C46-A749-B3CE734B9698}"/>
              </a:ext>
            </a:extLst>
          </p:cNvPr>
          <p:cNvPicPr>
            <a:picLocks noChangeAspect="1"/>
          </p:cNvPicPr>
          <p:nvPr/>
        </p:nvPicPr>
        <p:blipFill>
          <a:blip r:embed="rId9"/>
          <a:stretch>
            <a:fillRect/>
          </a:stretch>
        </p:blipFill>
        <p:spPr>
          <a:xfrm>
            <a:off x="1672944" y="5212036"/>
            <a:ext cx="867905" cy="488197"/>
          </a:xfrm>
          <a:prstGeom prst="rect">
            <a:avLst/>
          </a:prstGeom>
          <a:ln>
            <a:solidFill>
              <a:srgbClr val="50235C"/>
            </a:solidFill>
          </a:ln>
          <a:effectLst>
            <a:outerShdw blurRad="50800" dist="38100" dir="8100000" algn="tr" rotWithShape="0">
              <a:prstClr val="black">
                <a:alpha val="40000"/>
              </a:prstClr>
            </a:outerShdw>
          </a:effectLst>
        </p:spPr>
      </p:pic>
      <p:pic>
        <p:nvPicPr>
          <p:cNvPr id="9" name="Picture 8">
            <a:extLst>
              <a:ext uri="{FF2B5EF4-FFF2-40B4-BE49-F238E27FC236}">
                <a16:creationId xmlns:a16="http://schemas.microsoft.com/office/drawing/2014/main" id="{400C6BE4-A822-6E44-9B24-F756FDE9E77D}"/>
              </a:ext>
            </a:extLst>
          </p:cNvPr>
          <p:cNvPicPr>
            <a:picLocks noChangeAspect="1"/>
          </p:cNvPicPr>
          <p:nvPr/>
        </p:nvPicPr>
        <p:blipFill>
          <a:blip r:embed="rId10"/>
          <a:stretch>
            <a:fillRect/>
          </a:stretch>
        </p:blipFill>
        <p:spPr>
          <a:xfrm>
            <a:off x="2753164" y="5208367"/>
            <a:ext cx="867905" cy="488197"/>
          </a:xfrm>
          <a:prstGeom prst="rect">
            <a:avLst/>
          </a:prstGeom>
          <a:ln>
            <a:solidFill>
              <a:srgbClr val="50235C"/>
            </a:solidFill>
          </a:ln>
          <a:effectLst>
            <a:outerShdw blurRad="50800" dist="38100" dir="8100000" algn="tr" rotWithShape="0">
              <a:prstClr val="black">
                <a:alpha val="40000"/>
              </a:prstClr>
            </a:outerShdw>
          </a:effectLst>
        </p:spPr>
      </p:pic>
      <p:sp>
        <p:nvSpPr>
          <p:cNvPr id="26" name="TextBox 25">
            <a:extLst>
              <a:ext uri="{FF2B5EF4-FFF2-40B4-BE49-F238E27FC236}">
                <a16:creationId xmlns:a16="http://schemas.microsoft.com/office/drawing/2014/main" id="{27A44249-673A-9A48-BCCB-06257C40F871}"/>
              </a:ext>
            </a:extLst>
          </p:cNvPr>
          <p:cNvSpPr txBox="1"/>
          <p:nvPr/>
        </p:nvSpPr>
        <p:spPr>
          <a:xfrm>
            <a:off x="2583087" y="5871545"/>
            <a:ext cx="1191280" cy="400110"/>
          </a:xfrm>
          <a:prstGeom prst="rect">
            <a:avLst/>
          </a:prstGeom>
          <a:noFill/>
        </p:spPr>
        <p:txBody>
          <a:bodyPr wrap="square" lIns="91440" tIns="45720" rIns="91440" bIns="45720" rtlCol="0" anchor="t">
            <a:spAutoFit/>
          </a:bodyPr>
          <a:lstStyle/>
          <a:p>
            <a:pPr marR="0" lvl="0" algn="ctr" defTabSz="914400" rtl="0" eaLnBrk="1" fontAlgn="auto" latinLnBrk="0" hangingPunct="1">
              <a:lnSpc>
                <a:spcPct val="100000"/>
              </a:lnSpc>
              <a:spcBef>
                <a:spcPts val="0"/>
              </a:spcBef>
              <a:spcAft>
                <a:spcPts val="600"/>
              </a:spcAft>
              <a:buClr>
                <a:srgbClr val="50235C"/>
              </a:buClr>
              <a:buSzTx/>
              <a:tabLst/>
              <a:defRPr/>
            </a:pPr>
            <a:r>
              <a:rPr lang="en-GB" sz="1000" spc="-5">
                <a:solidFill>
                  <a:schemeClr val="tx1">
                    <a:lumMod val="50000"/>
                    <a:lumOff val="50000"/>
                  </a:schemeClr>
                </a:solidFill>
                <a:latin typeface="Arial" panose="020B0604020202020204"/>
                <a:cs typeface="Arial"/>
              </a:rPr>
              <a:t>Prioritised recommendations</a:t>
            </a:r>
            <a:endParaRPr kumimoji="0" lang="en-GB" sz="10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endParaRPr>
          </a:p>
        </p:txBody>
      </p:sp>
      <p:graphicFrame>
        <p:nvGraphicFramePr>
          <p:cNvPr id="24" name="Table 23">
            <a:extLst>
              <a:ext uri="{FF2B5EF4-FFF2-40B4-BE49-F238E27FC236}">
                <a16:creationId xmlns:a16="http://schemas.microsoft.com/office/drawing/2014/main" id="{8999902F-A701-7F41-B506-A7645DA3C09B}"/>
              </a:ext>
            </a:extLst>
          </p:cNvPr>
          <p:cNvGraphicFramePr>
            <a:graphicFrameLocks noGrp="1"/>
          </p:cNvGraphicFramePr>
          <p:nvPr>
            <p:extLst>
              <p:ext uri="{D42A27DB-BD31-4B8C-83A1-F6EECF244321}">
                <p14:modId xmlns:p14="http://schemas.microsoft.com/office/powerpoint/2010/main" val="861747474"/>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Tree>
    <p:extLst>
      <p:ext uri="{BB962C8B-B14F-4D97-AF65-F5344CB8AC3E}">
        <p14:creationId xmlns:p14="http://schemas.microsoft.com/office/powerpoint/2010/main" val="304833708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1DEC92A-C88D-F946-A1A9-8B38E6C4179D}"/>
              </a:ext>
            </a:extLst>
          </p:cNvPr>
          <p:cNvSpPr/>
          <p:nvPr/>
        </p:nvSpPr>
        <p:spPr>
          <a:xfrm>
            <a:off x="517131" y="1623206"/>
            <a:ext cx="3162458" cy="260222"/>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lish-GB" sz="1200" b="1">
                <a:solidFill>
                  <a:srgbClr val="50235C"/>
                </a:solidFill>
              </a:rPr>
              <a:t>Approach &amp; Output</a:t>
            </a:r>
          </a:p>
        </p:txBody>
      </p:sp>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4737"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800" b="0" i="0" u="none" strike="noStrike" kern="1200" cap="none" spc="0" normalizeH="0" baseline="0" noProof="0">
              <a:ln>
                <a:noFill/>
              </a:ln>
              <a:solidFill>
                <a:srgbClr val="FFFFFF"/>
              </a:solidFill>
              <a:effectLst/>
              <a:uLnTx/>
              <a:uFillTx/>
              <a:latin typeface="Arial" panose="020B0604020202020204"/>
              <a:ea typeface="+mn-ea"/>
              <a:cs typeface="+mn-cs"/>
              <a:sym typeface="Arial" panose="020B0604020202020204" pitchFamily="34" charset="0"/>
            </a:endParaRPr>
          </a:p>
        </p:txBody>
      </p:sp>
      <p:sp>
        <p:nvSpPr>
          <p:cNvPr id="2" name="Title 1"/>
          <p:cNvSpPr>
            <a:spLocks noGrp="1"/>
          </p:cNvSpPr>
          <p:nvPr>
            <p:ph type="title"/>
          </p:nvPr>
        </p:nvSpPr>
        <p:spPr>
          <a:xfrm>
            <a:off x="510638" y="297277"/>
            <a:ext cx="9321425" cy="434010"/>
          </a:xfrm>
          <a:prstGeom prst="rect">
            <a:avLst/>
          </a:prstGeom>
        </p:spPr>
        <p:txBody>
          <a:bodyPr/>
          <a:lstStyle/>
          <a:p>
            <a:r>
              <a:rPr lang="en-GB"/>
              <a:t>Executive summary: Vision and strategy</a:t>
            </a:r>
          </a:p>
        </p:txBody>
      </p:sp>
      <p:sp>
        <p:nvSpPr>
          <p:cNvPr id="5" name="Footer Placeholder 4">
            <a:extLst>
              <a:ext uri="{FF2B5EF4-FFF2-40B4-BE49-F238E27FC236}">
                <a16:creationId xmlns:a16="http://schemas.microsoft.com/office/drawing/2014/main" id="{8378A888-C2F3-1F46-BFE9-6AED0C113342}"/>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50235C"/>
                </a:solidFill>
                <a:effectLst/>
                <a:uLnTx/>
                <a:uFillTx/>
                <a:latin typeface="Arial" panose="020B0604020202020204"/>
                <a:ea typeface="+mn-ea"/>
                <a:cs typeface="+mn-cs"/>
              </a:rPr>
              <a:t>© Moorhouse 2021 [Restricted]</a:t>
            </a:r>
          </a:p>
        </p:txBody>
      </p:sp>
      <p:sp>
        <p:nvSpPr>
          <p:cNvPr id="27" name="Rectangle 26">
            <a:extLst>
              <a:ext uri="{FF2B5EF4-FFF2-40B4-BE49-F238E27FC236}">
                <a16:creationId xmlns:a16="http://schemas.microsoft.com/office/drawing/2014/main" id="{4EFAD1A4-9034-8448-A693-CCB4220B8B5E}"/>
              </a:ext>
            </a:extLst>
          </p:cNvPr>
          <p:cNvSpPr/>
          <p:nvPr/>
        </p:nvSpPr>
        <p:spPr>
          <a:xfrm>
            <a:off x="510638" y="871696"/>
            <a:ext cx="11272233" cy="461665"/>
          </a:xfrm>
          <a:prstGeom prst="rect">
            <a:avLst/>
          </a:prstGeom>
        </p:spPr>
        <p:txBody>
          <a:bodyPr wrap="square" lIns="0">
            <a:spAutoFit/>
          </a:bodyPr>
          <a:lstStyle/>
          <a:p>
            <a:r>
              <a:rPr lang="en-GB" sz="1200" b="1">
                <a:solidFill>
                  <a:srgbClr val="51235C"/>
                </a:solidFill>
                <a:latin typeface="Arial" panose="020B0604020202020204" pitchFamily="34" charset="0"/>
                <a:cs typeface="Arial" panose="020B0604020202020204" pitchFamily="34" charset="0"/>
              </a:rPr>
              <a:t>A clear and co-designed vision and strategy has been developed to support the improvement, alignment and rationalisation of mental health services across STW. This is intended to be easy to understand and resonate with all users of adult mental health services. </a:t>
            </a:r>
          </a:p>
        </p:txBody>
      </p:sp>
      <p:cxnSp>
        <p:nvCxnSpPr>
          <p:cNvPr id="29" name="Straight Connector 28">
            <a:extLst>
              <a:ext uri="{FF2B5EF4-FFF2-40B4-BE49-F238E27FC236}">
                <a16:creationId xmlns:a16="http://schemas.microsoft.com/office/drawing/2014/main" id="{614F206B-05A2-7C4C-95E4-28B2D9B67F64}"/>
              </a:ext>
            </a:extLst>
          </p:cNvPr>
          <p:cNvCxnSpPr>
            <a:cxnSpLocks/>
          </p:cNvCxnSpPr>
          <p:nvPr/>
        </p:nvCxnSpPr>
        <p:spPr>
          <a:xfrm>
            <a:off x="4114360" y="1999792"/>
            <a:ext cx="0" cy="4207845"/>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762DF57-84A7-E447-9663-FFF81F2335B2}"/>
              </a:ext>
            </a:extLst>
          </p:cNvPr>
          <p:cNvCxnSpPr>
            <a:cxnSpLocks/>
          </p:cNvCxnSpPr>
          <p:nvPr/>
        </p:nvCxnSpPr>
        <p:spPr>
          <a:xfrm>
            <a:off x="8071378" y="1999792"/>
            <a:ext cx="0" cy="4207845"/>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5831CEDB-D38E-1343-BE9C-83F0EFBBD13F}"/>
              </a:ext>
            </a:extLst>
          </p:cNvPr>
          <p:cNvSpPr txBox="1"/>
          <p:nvPr/>
        </p:nvSpPr>
        <p:spPr>
          <a:xfrm>
            <a:off x="4491059" y="1623206"/>
            <a:ext cx="3162467" cy="276999"/>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2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b="1">
                <a:solidFill>
                  <a:srgbClr val="50235C"/>
                </a:solidFill>
              </a:rPr>
              <a:t>Findings</a:t>
            </a:r>
          </a:p>
        </p:txBody>
      </p:sp>
      <p:sp>
        <p:nvSpPr>
          <p:cNvPr id="40" name="TextBox 39">
            <a:extLst>
              <a:ext uri="{FF2B5EF4-FFF2-40B4-BE49-F238E27FC236}">
                <a16:creationId xmlns:a16="http://schemas.microsoft.com/office/drawing/2014/main" id="{E1C0E2C8-7B47-E548-A07D-68D7A4F22BA7}"/>
              </a:ext>
            </a:extLst>
          </p:cNvPr>
          <p:cNvSpPr txBox="1"/>
          <p:nvPr/>
        </p:nvSpPr>
        <p:spPr>
          <a:xfrm>
            <a:off x="8464995" y="1623206"/>
            <a:ext cx="3162467" cy="276999"/>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2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b="1">
                <a:solidFill>
                  <a:srgbClr val="50235C"/>
                </a:solidFill>
              </a:rPr>
              <a:t>Recommendations &amp; next steps</a:t>
            </a:r>
          </a:p>
        </p:txBody>
      </p:sp>
      <p:sp>
        <p:nvSpPr>
          <p:cNvPr id="43" name="Rectangle 42">
            <a:extLst>
              <a:ext uri="{FF2B5EF4-FFF2-40B4-BE49-F238E27FC236}">
                <a16:creationId xmlns:a16="http://schemas.microsoft.com/office/drawing/2014/main" id="{6722C459-EA4B-9046-BFE4-5ADCCCE9822B}"/>
              </a:ext>
            </a:extLst>
          </p:cNvPr>
          <p:cNvSpPr/>
          <p:nvPr/>
        </p:nvSpPr>
        <p:spPr>
          <a:xfrm rot="16200000">
            <a:off x="-581795" y="5503934"/>
            <a:ext cx="1668641" cy="276999"/>
          </a:xfrm>
          <a:prstGeom prst="rect">
            <a:avLst/>
          </a:prstGeom>
        </p:spPr>
        <p:txBody>
          <a:bodyPr wrap="square" lIns="0">
            <a:spAutoFit/>
          </a:bodyPr>
          <a:lstStyle/>
          <a:p>
            <a:pPr algn="ctr"/>
            <a:r>
              <a:rPr lang="en-GB" sz="1200" b="1">
                <a:solidFill>
                  <a:srgbClr val="51235C"/>
                </a:solidFill>
                <a:latin typeface="Arial" panose="020B0604020202020204" pitchFamily="34" charset="0"/>
                <a:cs typeface="Arial" panose="020B0604020202020204" pitchFamily="34" charset="0"/>
              </a:rPr>
              <a:t>Output</a:t>
            </a:r>
          </a:p>
        </p:txBody>
      </p:sp>
      <p:sp>
        <p:nvSpPr>
          <p:cNvPr id="44" name="Rectangle 43">
            <a:extLst>
              <a:ext uri="{FF2B5EF4-FFF2-40B4-BE49-F238E27FC236}">
                <a16:creationId xmlns:a16="http://schemas.microsoft.com/office/drawing/2014/main" id="{94F77078-9FB8-334E-9C10-E9F04E16BBA7}"/>
              </a:ext>
            </a:extLst>
          </p:cNvPr>
          <p:cNvSpPr/>
          <p:nvPr/>
        </p:nvSpPr>
        <p:spPr>
          <a:xfrm>
            <a:off x="510638" y="4892082"/>
            <a:ext cx="3162457" cy="1448773"/>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9" name="TextBox 48">
            <a:extLst>
              <a:ext uri="{FF2B5EF4-FFF2-40B4-BE49-F238E27FC236}">
                <a16:creationId xmlns:a16="http://schemas.microsoft.com/office/drawing/2014/main" id="{EB12C5EA-D5E9-6642-B105-31F682D36F5D}"/>
              </a:ext>
            </a:extLst>
          </p:cNvPr>
          <p:cNvSpPr txBox="1"/>
          <p:nvPr/>
        </p:nvSpPr>
        <p:spPr>
          <a:xfrm>
            <a:off x="757262" y="5874324"/>
            <a:ext cx="1079645" cy="400110"/>
          </a:xfrm>
          <a:prstGeom prst="rect">
            <a:avLst/>
          </a:prstGeom>
          <a:noFill/>
        </p:spPr>
        <p:txBody>
          <a:bodyPr wrap="square" lIns="91440" tIns="45720" rIns="91440" bIns="45720" rtlCol="0" anchor="t">
            <a:spAutoFit/>
          </a:bodyPr>
          <a:lstStyle/>
          <a:p>
            <a:pPr marR="0" lvl="0" algn="ctr" defTabSz="914400" rtl="0" eaLnBrk="1" fontAlgn="auto" latinLnBrk="0" hangingPunct="1">
              <a:lnSpc>
                <a:spcPct val="100000"/>
              </a:lnSpc>
              <a:spcBef>
                <a:spcPts val="0"/>
              </a:spcBef>
              <a:spcAft>
                <a:spcPts val="600"/>
              </a:spcAft>
              <a:buClr>
                <a:srgbClr val="50235C"/>
              </a:buClr>
              <a:buSzTx/>
              <a:tabLst/>
              <a:defRPr/>
            </a:pPr>
            <a:r>
              <a:rPr kumimoji="0" lang="en-GB" sz="10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rPr>
              <a:t>Vision and strategy</a:t>
            </a:r>
          </a:p>
        </p:txBody>
      </p:sp>
      <p:sp>
        <p:nvSpPr>
          <p:cNvPr id="51" name="TextBox 50">
            <a:extLst>
              <a:ext uri="{FF2B5EF4-FFF2-40B4-BE49-F238E27FC236}">
                <a16:creationId xmlns:a16="http://schemas.microsoft.com/office/drawing/2014/main" id="{390FA1DD-16DF-2E48-8A6B-AA33E10B0B14}"/>
              </a:ext>
            </a:extLst>
          </p:cNvPr>
          <p:cNvSpPr txBox="1"/>
          <p:nvPr/>
        </p:nvSpPr>
        <p:spPr>
          <a:xfrm>
            <a:off x="510638" y="2093538"/>
            <a:ext cx="3162457" cy="2631490"/>
          </a:xfrm>
          <a:prstGeom prst="rect">
            <a:avLst/>
          </a:prstGeom>
          <a:noFill/>
        </p:spPr>
        <p:txBody>
          <a:bodyPr wrap="square" rtlCol="0">
            <a:spAutoFit/>
          </a:bodyPr>
          <a:lstStyle/>
          <a:p>
            <a:pPr marL="171450" indent="-171450">
              <a:spcBef>
                <a:spcPts val="300"/>
              </a:spcBef>
              <a:spcAft>
                <a:spcPts val="300"/>
              </a:spcAft>
              <a:buFont typeface="Arial" panose="020B0604020202020204" pitchFamily="34" charset="0"/>
              <a:buChar char="•"/>
            </a:pPr>
            <a:r>
              <a:rPr lang="en-GB" sz="1000" b="1">
                <a:solidFill>
                  <a:schemeClr val="tx2">
                    <a:lumMod val="65000"/>
                    <a:lumOff val="35000"/>
                  </a:schemeClr>
                </a:solidFill>
              </a:rPr>
              <a:t>To produce the vision, a tried and tested method was used</a:t>
            </a:r>
            <a:r>
              <a:rPr lang="en-GB" sz="1000">
                <a:solidFill>
                  <a:schemeClr val="tx2">
                    <a:lumMod val="65000"/>
                    <a:lumOff val="35000"/>
                  </a:schemeClr>
                </a:solidFill>
              </a:rPr>
              <a:t> to formulate the vision and strategy for STW mental health services, structured through;</a:t>
            </a:r>
          </a:p>
          <a:p>
            <a:pPr marL="317500" lvl="1" indent="-177800">
              <a:spcBef>
                <a:spcPts val="300"/>
              </a:spcBef>
              <a:spcAft>
                <a:spcPts val="300"/>
              </a:spcAft>
              <a:buFont typeface="Arial" panose="020B0604020202020204" pitchFamily="34" charset="0"/>
              <a:buChar char="•"/>
            </a:pPr>
            <a:r>
              <a:rPr lang="en-GB" sz="1000">
                <a:solidFill>
                  <a:schemeClr val="tx2">
                    <a:lumMod val="65000"/>
                    <a:lumOff val="35000"/>
                  </a:schemeClr>
                </a:solidFill>
              </a:rPr>
              <a:t>A series of workshops to build the </a:t>
            </a:r>
            <a:r>
              <a:rPr lang="en-GB" sz="1000" b="1">
                <a:solidFill>
                  <a:schemeClr val="tx2">
                    <a:lumMod val="65000"/>
                    <a:lumOff val="35000"/>
                  </a:schemeClr>
                </a:solidFill>
              </a:rPr>
              <a:t>vision, high level strategy and design principles </a:t>
            </a:r>
            <a:r>
              <a:rPr lang="en-GB" sz="1000">
                <a:solidFill>
                  <a:schemeClr val="tx2">
                    <a:lumMod val="65000"/>
                    <a:lumOff val="35000"/>
                  </a:schemeClr>
                </a:solidFill>
              </a:rPr>
              <a:t>and agree upon a single vision for mental health services. </a:t>
            </a:r>
          </a:p>
          <a:p>
            <a:pPr marL="317500" lvl="1" indent="-177800">
              <a:spcBef>
                <a:spcPts val="300"/>
              </a:spcBef>
              <a:spcAft>
                <a:spcPts val="300"/>
              </a:spcAft>
              <a:buFont typeface="Arial" panose="020B0604020202020204" pitchFamily="34" charset="0"/>
              <a:buChar char="•"/>
            </a:pPr>
            <a:r>
              <a:rPr lang="en-GB" sz="1000" b="1">
                <a:solidFill>
                  <a:schemeClr val="tx2">
                    <a:lumMod val="65000"/>
                    <a:lumOff val="35000"/>
                  </a:schemeClr>
                </a:solidFill>
              </a:rPr>
              <a:t>Service users </a:t>
            </a:r>
            <a:r>
              <a:rPr lang="en-GB" sz="1000">
                <a:solidFill>
                  <a:schemeClr val="tx2">
                    <a:lumMod val="65000"/>
                    <a:lumOff val="35000"/>
                  </a:schemeClr>
                </a:solidFill>
              </a:rPr>
              <a:t>were involved in workshops to ensure that the service user voice and perspective was captured and reflected.</a:t>
            </a:r>
          </a:p>
          <a:p>
            <a:pPr marL="317500" lvl="1" indent="-177800">
              <a:spcBef>
                <a:spcPts val="300"/>
              </a:spcBef>
              <a:spcAft>
                <a:spcPts val="300"/>
              </a:spcAft>
              <a:buFont typeface="Arial" panose="020B0604020202020204" pitchFamily="34" charset="0"/>
              <a:buChar char="•"/>
            </a:pPr>
            <a:r>
              <a:rPr lang="en-GB" sz="1000">
                <a:solidFill>
                  <a:schemeClr val="tx2">
                    <a:lumMod val="65000"/>
                    <a:lumOff val="35000"/>
                  </a:schemeClr>
                </a:solidFill>
              </a:rPr>
              <a:t>An </a:t>
            </a:r>
            <a:r>
              <a:rPr lang="en-GB" sz="1000" b="1">
                <a:solidFill>
                  <a:schemeClr val="tx2">
                    <a:lumMod val="65000"/>
                    <a:lumOff val="35000"/>
                  </a:schemeClr>
                </a:solidFill>
              </a:rPr>
              <a:t>additional focus group </a:t>
            </a:r>
            <a:r>
              <a:rPr lang="en-GB" sz="1000">
                <a:solidFill>
                  <a:schemeClr val="tx2">
                    <a:lumMod val="65000"/>
                    <a:lumOff val="35000"/>
                  </a:schemeClr>
                </a:solidFill>
              </a:rPr>
              <a:t>was held with a small group of service users to test the vision and strategy and ensure it resonated with those using mental health services</a:t>
            </a:r>
            <a:r>
              <a:rPr lang="en-GB" sz="1000">
                <a:solidFill>
                  <a:schemeClr val="tx1">
                    <a:lumMod val="75000"/>
                    <a:lumOff val="25000"/>
                  </a:schemeClr>
                </a:solidFill>
              </a:rPr>
              <a:t>. </a:t>
            </a:r>
          </a:p>
        </p:txBody>
      </p:sp>
      <p:sp>
        <p:nvSpPr>
          <p:cNvPr id="21" name="TextBox 20">
            <a:extLst>
              <a:ext uri="{FF2B5EF4-FFF2-40B4-BE49-F238E27FC236}">
                <a16:creationId xmlns:a16="http://schemas.microsoft.com/office/drawing/2014/main" id="{A304E711-3C9F-5048-87C2-367B868CA4C9}"/>
              </a:ext>
            </a:extLst>
          </p:cNvPr>
          <p:cNvSpPr txBox="1"/>
          <p:nvPr/>
        </p:nvSpPr>
        <p:spPr>
          <a:xfrm>
            <a:off x="4491069" y="2093538"/>
            <a:ext cx="3162457" cy="4247317"/>
          </a:xfrm>
          <a:prstGeom prst="rect">
            <a:avLst/>
          </a:prstGeom>
          <a:noFill/>
        </p:spPr>
        <p:txBody>
          <a:bodyPr wrap="square" rtlCol="0">
            <a:spAutoFit/>
          </a:bodyPr>
          <a:lstStyle/>
          <a:p>
            <a:pPr marL="171450" lvl="0" indent="-171450" defTabSz="685800">
              <a:spcBef>
                <a:spcPts val="300"/>
              </a:spcBef>
              <a:spcAft>
                <a:spcPts val="300"/>
              </a:spcAft>
              <a:buFont typeface="Arial" panose="020B0604020202020204" pitchFamily="34" charset="0"/>
              <a:buChar char="•"/>
              <a:defRPr/>
            </a:pPr>
            <a:r>
              <a:rPr lang="en-GB" sz="1000">
                <a:solidFill>
                  <a:schemeClr val="tx1">
                    <a:lumMod val="65000"/>
                    <a:lumOff val="35000"/>
                  </a:schemeClr>
                </a:solidFill>
                <a:latin typeface="Arial" panose="020B0604020202020204" pitchFamily="34" charset="0"/>
                <a:cs typeface="Arial" panose="020B0604020202020204" pitchFamily="34" charset="0"/>
              </a:rPr>
              <a:t>Through a series of collaborative workshops, </a:t>
            </a:r>
            <a:r>
              <a:rPr lang="en-GB" sz="1000" b="1">
                <a:solidFill>
                  <a:schemeClr val="tx1">
                    <a:lumMod val="65000"/>
                    <a:lumOff val="35000"/>
                  </a:schemeClr>
                </a:solidFill>
                <a:latin typeface="Arial" panose="020B0604020202020204" pitchFamily="34" charset="0"/>
                <a:cs typeface="Arial" panose="020B0604020202020204" pitchFamily="34" charset="0"/>
              </a:rPr>
              <a:t>17 design principles</a:t>
            </a:r>
            <a:r>
              <a:rPr lang="en-GB" sz="1000">
                <a:solidFill>
                  <a:schemeClr val="tx1">
                    <a:lumMod val="65000"/>
                    <a:lumOff val="35000"/>
                  </a:schemeClr>
                </a:solidFill>
                <a:latin typeface="Arial" panose="020B0604020202020204" pitchFamily="34" charset="0"/>
                <a:cs typeface="Arial" panose="020B0604020202020204" pitchFamily="34" charset="0"/>
              </a:rPr>
              <a:t> were identified covering </a:t>
            </a:r>
            <a:r>
              <a:rPr lang="en-GB" sz="1000" b="1">
                <a:solidFill>
                  <a:schemeClr val="tx1">
                    <a:lumMod val="65000"/>
                    <a:lumOff val="35000"/>
                  </a:schemeClr>
                </a:solidFill>
                <a:latin typeface="Arial" panose="020B0604020202020204" pitchFamily="34" charset="0"/>
                <a:cs typeface="Arial" panose="020B0604020202020204" pitchFamily="34" charset="0"/>
              </a:rPr>
              <a:t>five key themes:</a:t>
            </a:r>
          </a:p>
          <a:p>
            <a:pPr marL="466725" lvl="1" indent="-228600" defTabSz="685800">
              <a:spcBef>
                <a:spcPts val="300"/>
              </a:spcBef>
              <a:spcAft>
                <a:spcPts val="300"/>
              </a:spcAft>
              <a:buFont typeface="+mj-lt"/>
              <a:buAutoNum type="arabicPeriod"/>
              <a:defRPr/>
            </a:pPr>
            <a:r>
              <a:rPr lang="en-GB" sz="1000">
                <a:solidFill>
                  <a:schemeClr val="tx1">
                    <a:lumMod val="65000"/>
                    <a:lumOff val="35000"/>
                  </a:schemeClr>
                </a:solidFill>
                <a:latin typeface="Arial" panose="020B0604020202020204" pitchFamily="34" charset="0"/>
                <a:cs typeface="Arial" panose="020B0604020202020204" pitchFamily="34" charset="0"/>
              </a:rPr>
              <a:t>Patient Journey</a:t>
            </a:r>
          </a:p>
          <a:p>
            <a:pPr marL="466725" lvl="1" indent="-228600" defTabSz="685800">
              <a:spcBef>
                <a:spcPts val="300"/>
              </a:spcBef>
              <a:spcAft>
                <a:spcPts val="300"/>
              </a:spcAft>
              <a:buFont typeface="+mj-lt"/>
              <a:buAutoNum type="arabicPeriod"/>
              <a:defRPr/>
            </a:pPr>
            <a:r>
              <a:rPr lang="en-GB" sz="1000">
                <a:solidFill>
                  <a:schemeClr val="tx1">
                    <a:lumMod val="65000"/>
                    <a:lumOff val="35000"/>
                  </a:schemeClr>
                </a:solidFill>
                <a:latin typeface="Arial" panose="020B0604020202020204" pitchFamily="34" charset="0"/>
                <a:cs typeface="Arial" panose="020B0604020202020204" pitchFamily="34" charset="0"/>
              </a:rPr>
              <a:t>Culture</a:t>
            </a:r>
          </a:p>
          <a:p>
            <a:pPr marL="466725" lvl="1" indent="-228600" defTabSz="685800">
              <a:spcBef>
                <a:spcPts val="300"/>
              </a:spcBef>
              <a:spcAft>
                <a:spcPts val="300"/>
              </a:spcAft>
              <a:buFont typeface="+mj-lt"/>
              <a:buAutoNum type="arabicPeriod"/>
              <a:defRPr/>
            </a:pPr>
            <a:r>
              <a:rPr lang="en-GB" sz="1000">
                <a:solidFill>
                  <a:schemeClr val="tx1">
                    <a:lumMod val="65000"/>
                    <a:lumOff val="35000"/>
                  </a:schemeClr>
                </a:solidFill>
                <a:latin typeface="Arial" panose="020B0604020202020204" pitchFamily="34" charset="0"/>
                <a:cs typeface="Arial" panose="020B0604020202020204" pitchFamily="34" charset="0"/>
              </a:rPr>
              <a:t>Collaboration</a:t>
            </a:r>
          </a:p>
          <a:p>
            <a:pPr marL="466725" lvl="1" indent="-228600" defTabSz="685800">
              <a:spcBef>
                <a:spcPts val="300"/>
              </a:spcBef>
              <a:spcAft>
                <a:spcPts val="300"/>
              </a:spcAft>
              <a:buFont typeface="+mj-lt"/>
              <a:buAutoNum type="arabicPeriod"/>
              <a:defRPr/>
            </a:pPr>
            <a:r>
              <a:rPr lang="en-GB" sz="1000">
                <a:solidFill>
                  <a:schemeClr val="tx1">
                    <a:lumMod val="65000"/>
                    <a:lumOff val="35000"/>
                  </a:schemeClr>
                </a:solidFill>
                <a:latin typeface="Arial" panose="020B0604020202020204" pitchFamily="34" charset="0"/>
                <a:cs typeface="Arial" panose="020B0604020202020204" pitchFamily="34" charset="0"/>
              </a:rPr>
              <a:t>Patient centred care</a:t>
            </a:r>
          </a:p>
          <a:p>
            <a:pPr marL="466725" lvl="1" indent="-228600" defTabSz="685800">
              <a:spcBef>
                <a:spcPts val="300"/>
              </a:spcBef>
              <a:spcAft>
                <a:spcPts val="300"/>
              </a:spcAft>
              <a:buFont typeface="+mj-lt"/>
              <a:buAutoNum type="arabicPeriod"/>
              <a:defRPr/>
            </a:pPr>
            <a:r>
              <a:rPr lang="en-GB" sz="1000">
                <a:solidFill>
                  <a:schemeClr val="tx1">
                    <a:lumMod val="65000"/>
                    <a:lumOff val="35000"/>
                  </a:schemeClr>
                </a:solidFill>
                <a:latin typeface="Arial" panose="020B0604020202020204" pitchFamily="34" charset="0"/>
                <a:cs typeface="Arial" panose="020B0604020202020204" pitchFamily="34" charset="0"/>
              </a:rPr>
              <a:t>Equal Access</a:t>
            </a:r>
            <a:endParaRPr lang="en-GB" sz="1000">
              <a:solidFill>
                <a:schemeClr val="tx1">
                  <a:lumMod val="75000"/>
                  <a:lumOff val="25000"/>
                </a:schemeClr>
              </a:solidFill>
              <a:latin typeface="Arial" panose="020B0604020202020204" pitchFamily="34" charset="0"/>
              <a:cs typeface="Arial" panose="020B0604020202020204" pitchFamily="34" charset="0"/>
            </a:endParaRPr>
          </a:p>
          <a:p>
            <a:pPr marL="171450" lvl="0" indent="-171450" defTabSz="685800">
              <a:spcBef>
                <a:spcPts val="300"/>
              </a:spcBef>
              <a:spcAft>
                <a:spcPts val="300"/>
              </a:spcAft>
              <a:buFont typeface="Arial" panose="020B0604020202020204" pitchFamily="34" charset="0"/>
              <a:buChar char="•"/>
              <a:defRPr/>
            </a:pPr>
            <a:r>
              <a:rPr lang="en-GB" sz="1000">
                <a:solidFill>
                  <a:srgbClr val="000000">
                    <a:lumMod val="65000"/>
                    <a:lumOff val="35000"/>
                  </a:srgbClr>
                </a:solidFill>
                <a:latin typeface="Arial" panose="020B0604020202020204" pitchFamily="34" charset="0"/>
                <a:cs typeface="Arial" panose="020B0604020202020204" pitchFamily="34" charset="0"/>
              </a:rPr>
              <a:t>The vision for mental health services was defined as:</a:t>
            </a:r>
          </a:p>
          <a:p>
            <a:pPr marL="404813" lvl="1" indent="-166688" defTabSz="685800">
              <a:spcBef>
                <a:spcPts val="300"/>
              </a:spcBef>
              <a:spcAft>
                <a:spcPts val="300"/>
              </a:spcAft>
              <a:buFont typeface="Arial" panose="020B0604020202020204" pitchFamily="34" charset="0"/>
              <a:buChar char="•"/>
              <a:defRPr/>
            </a:pPr>
            <a:r>
              <a:rPr lang="en-GB" sz="1000" i="1">
                <a:solidFill>
                  <a:srgbClr val="000000">
                    <a:lumMod val="65000"/>
                    <a:lumOff val="35000"/>
                  </a:srgbClr>
                </a:solidFill>
                <a:latin typeface="Arial" panose="020B0604020202020204" pitchFamily="34" charset="0"/>
                <a:cs typeface="Arial" panose="020B0604020202020204" pitchFamily="34" charset="0"/>
              </a:rPr>
              <a:t>“</a:t>
            </a:r>
            <a:r>
              <a:rPr lang="en-GB" sz="1000" b="1" i="1">
                <a:solidFill>
                  <a:srgbClr val="000000">
                    <a:lumMod val="65000"/>
                    <a:lumOff val="35000"/>
                  </a:srgbClr>
                </a:solidFill>
                <a:latin typeface="Arial" panose="020B0604020202020204" pitchFamily="34" charset="0"/>
                <a:cs typeface="Arial" panose="020B0604020202020204" pitchFamily="34" charset="0"/>
              </a:rPr>
              <a:t>Our vision: residents of Shropshire, Telford and Wrekin experience their best mental health and wellbeing, and have easy access to the right treatment and support services, which are underpinned by hope and optimism.</a:t>
            </a:r>
            <a:r>
              <a:rPr lang="en-GB" sz="1000" i="1">
                <a:solidFill>
                  <a:srgbClr val="000000">
                    <a:lumMod val="65000"/>
                    <a:lumOff val="35000"/>
                  </a:srgbClr>
                </a:solidFill>
                <a:latin typeface="Arial" panose="020B0604020202020204" pitchFamily="34" charset="0"/>
                <a:cs typeface="Arial" panose="020B0604020202020204" pitchFamily="34" charset="0"/>
              </a:rPr>
              <a:t>”</a:t>
            </a:r>
          </a:p>
          <a:p>
            <a:pPr marL="171450" lvl="0" indent="-171450" defTabSz="685800">
              <a:spcBef>
                <a:spcPts val="300"/>
              </a:spcBef>
              <a:spcAft>
                <a:spcPts val="300"/>
              </a:spcAft>
              <a:buFont typeface="Arial" panose="020B0604020202020204" pitchFamily="34" charset="0"/>
              <a:buChar char="•"/>
              <a:defRPr/>
            </a:pPr>
            <a:r>
              <a:rPr lang="en-GB" sz="1000">
                <a:solidFill>
                  <a:srgbClr val="000000">
                    <a:lumMod val="65000"/>
                    <a:lumOff val="35000"/>
                  </a:srgbClr>
                </a:solidFill>
                <a:latin typeface="Arial" panose="020B0604020202020204" pitchFamily="34" charset="0"/>
                <a:cs typeface="Arial" panose="020B0604020202020204" pitchFamily="34" charset="0"/>
              </a:rPr>
              <a:t>Four ‘why’ statements were developed representing the reasons for the vision.</a:t>
            </a:r>
          </a:p>
          <a:p>
            <a:pPr marL="171450" lvl="0" indent="-171450" defTabSz="685800">
              <a:spcBef>
                <a:spcPts val="300"/>
              </a:spcBef>
              <a:spcAft>
                <a:spcPts val="300"/>
              </a:spcAft>
              <a:buFont typeface="Arial" panose="020B0604020202020204" pitchFamily="34" charset="0"/>
              <a:buChar char="•"/>
              <a:defRPr/>
            </a:pPr>
            <a:r>
              <a:rPr lang="en-GB" sz="1000">
                <a:solidFill>
                  <a:srgbClr val="000000">
                    <a:lumMod val="65000"/>
                    <a:lumOff val="35000"/>
                  </a:srgbClr>
                </a:solidFill>
                <a:latin typeface="Arial" panose="020B0604020202020204" pitchFamily="34" charset="0"/>
                <a:cs typeface="Arial" panose="020B0604020202020204" pitchFamily="34" charset="0"/>
              </a:rPr>
              <a:t>Eight ‘How’ statements were produced, forming the building blocks for the strategy to implement the vision.</a:t>
            </a:r>
            <a:endParaRPr lang="en-GB" sz="1000">
              <a:solidFill>
                <a:schemeClr val="tx1">
                  <a:lumMod val="75000"/>
                  <a:lumOff val="25000"/>
                </a:schemeClr>
              </a:solidFill>
              <a:latin typeface="Arial" panose="020B0604020202020204" pitchFamily="34" charset="0"/>
              <a:cs typeface="Arial" panose="020B0604020202020204" pitchFamily="34" charset="0"/>
            </a:endParaRPr>
          </a:p>
          <a:p>
            <a:pPr marL="628650" lvl="1" indent="-171450" defTabSz="685800">
              <a:spcBef>
                <a:spcPts val="300"/>
              </a:spcBef>
              <a:spcAft>
                <a:spcPts val="300"/>
              </a:spcAft>
              <a:buFont typeface="Arial" panose="020B0604020202020204" pitchFamily="34" charset="0"/>
              <a:buChar char="•"/>
              <a:defRPr/>
            </a:pPr>
            <a:endParaRPr lang="en-GB" sz="1000">
              <a:solidFill>
                <a:schemeClr val="tx1">
                  <a:lumMod val="65000"/>
                  <a:lumOff val="35000"/>
                </a:schemeClr>
              </a:solidFill>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6B47840B-56F0-5440-A0A4-30994039B249}"/>
              </a:ext>
            </a:extLst>
          </p:cNvPr>
          <p:cNvSpPr txBox="1"/>
          <p:nvPr/>
        </p:nvSpPr>
        <p:spPr>
          <a:xfrm>
            <a:off x="8448086" y="2093537"/>
            <a:ext cx="3162457" cy="3836948"/>
          </a:xfrm>
          <a:prstGeom prst="rect">
            <a:avLst/>
          </a:prstGeom>
          <a:noFill/>
        </p:spPr>
        <p:txBody>
          <a:bodyPr wrap="square" rtlCol="0">
            <a:spAutoFit/>
          </a:bodyPr>
          <a:lstStyle/>
          <a:p>
            <a:pPr marL="171450" lvl="0" indent="-171450" defTabSz="685800">
              <a:spcBef>
                <a:spcPts val="600"/>
              </a:spcBef>
              <a:spcAft>
                <a:spcPts val="600"/>
              </a:spcAft>
              <a:buFont typeface="Arial" panose="020B0604020202020204" pitchFamily="34" charset="0"/>
              <a:buChar char="•"/>
              <a:defRPr/>
            </a:pPr>
            <a:r>
              <a:rPr lang="en-GB" sz="1000">
                <a:solidFill>
                  <a:schemeClr val="tx1">
                    <a:lumMod val="65000"/>
                    <a:lumOff val="35000"/>
                  </a:schemeClr>
                </a:solidFill>
                <a:latin typeface="Arial" panose="020B0604020202020204" pitchFamily="34" charset="0"/>
                <a:cs typeface="Arial" panose="020B0604020202020204" pitchFamily="34" charset="0"/>
              </a:rPr>
              <a:t>To support the implementation of the vision and strategy for mental health services, a high-level roadmap has been developed. </a:t>
            </a:r>
          </a:p>
          <a:p>
            <a:pPr marL="171450" lvl="0" indent="-171450" defTabSz="685800">
              <a:spcBef>
                <a:spcPts val="600"/>
              </a:spcBef>
              <a:spcAft>
                <a:spcPts val="600"/>
              </a:spcAft>
              <a:buFont typeface="Arial" panose="020B0604020202020204" pitchFamily="34" charset="0"/>
              <a:buChar char="•"/>
              <a:defRPr/>
            </a:pPr>
            <a:r>
              <a:rPr lang="en-GB" sz="1000">
                <a:solidFill>
                  <a:schemeClr val="tx1">
                    <a:lumMod val="65000"/>
                    <a:lumOff val="35000"/>
                  </a:schemeClr>
                </a:solidFill>
                <a:latin typeface="Arial" panose="020B0604020202020204" pitchFamily="34" charset="0"/>
                <a:cs typeface="Arial" panose="020B0604020202020204" pitchFamily="34" charset="0"/>
              </a:rPr>
              <a:t>The roadmap is comprised of eight key strategic priorities;</a:t>
            </a:r>
          </a:p>
          <a:p>
            <a:pPr marL="503238" lvl="1" indent="-228600" defTabSz="685800">
              <a:spcBef>
                <a:spcPts val="400"/>
              </a:spcBef>
              <a:spcAft>
                <a:spcPts val="400"/>
              </a:spcAft>
              <a:buFont typeface="+mj-lt"/>
              <a:buAutoNum type="arabicPeriod"/>
              <a:defRPr/>
            </a:pPr>
            <a:r>
              <a:rPr lang="en-US" sz="1000">
                <a:solidFill>
                  <a:schemeClr val="tx2">
                    <a:lumMod val="65000"/>
                    <a:lumOff val="35000"/>
                  </a:schemeClr>
                </a:solidFill>
                <a:latin typeface="Arial" panose="020B0604020202020204" pitchFamily="34" charset="0"/>
                <a:cs typeface="Arial" panose="020B0604020202020204" pitchFamily="34" charset="0"/>
              </a:rPr>
              <a:t>Raise the profile and awareness of Mental Health</a:t>
            </a:r>
            <a:endParaRPr lang="en-GB" sz="1000">
              <a:solidFill>
                <a:schemeClr val="tx2">
                  <a:lumMod val="65000"/>
                  <a:lumOff val="35000"/>
                </a:schemeClr>
              </a:solidFill>
              <a:latin typeface="Arial" panose="020B0604020202020204" pitchFamily="34" charset="0"/>
              <a:cs typeface="Arial" panose="020B0604020202020204" pitchFamily="34" charset="0"/>
            </a:endParaRPr>
          </a:p>
          <a:p>
            <a:pPr marL="503238" lvl="1" indent="-228600" defTabSz="685800">
              <a:spcBef>
                <a:spcPts val="400"/>
              </a:spcBef>
              <a:spcAft>
                <a:spcPts val="400"/>
              </a:spcAft>
              <a:buFont typeface="+mj-lt"/>
              <a:buAutoNum type="arabicPeriod"/>
              <a:defRPr/>
            </a:pPr>
            <a:r>
              <a:rPr lang="en-GB" sz="1000">
                <a:solidFill>
                  <a:schemeClr val="tx2">
                    <a:lumMod val="65000"/>
                    <a:lumOff val="35000"/>
                  </a:schemeClr>
                </a:solidFill>
                <a:latin typeface="Arial" panose="020B0604020202020204" pitchFamily="34" charset="0"/>
                <a:cs typeface="Arial" panose="020B0604020202020204" pitchFamily="34" charset="0"/>
              </a:rPr>
              <a:t>Proactive prevention </a:t>
            </a:r>
          </a:p>
          <a:p>
            <a:pPr marL="503238" lvl="1" indent="-228600" defTabSz="685800">
              <a:spcBef>
                <a:spcPts val="400"/>
              </a:spcBef>
              <a:spcAft>
                <a:spcPts val="400"/>
              </a:spcAft>
              <a:buFont typeface="+mj-lt"/>
              <a:buAutoNum type="arabicPeriod"/>
              <a:defRPr/>
            </a:pPr>
            <a:r>
              <a:rPr lang="en-GB" sz="1000">
                <a:solidFill>
                  <a:schemeClr val="tx2">
                    <a:lumMod val="65000"/>
                    <a:lumOff val="35000"/>
                  </a:schemeClr>
                </a:solidFill>
                <a:latin typeface="Arial" panose="020B0604020202020204" pitchFamily="34" charset="0"/>
                <a:cs typeface="Arial" panose="020B0604020202020204" pitchFamily="34" charset="0"/>
              </a:rPr>
              <a:t>Easy access to support and services </a:t>
            </a:r>
          </a:p>
          <a:p>
            <a:pPr marL="503238" lvl="1" indent="-228600" defTabSz="685800">
              <a:spcBef>
                <a:spcPts val="400"/>
              </a:spcBef>
              <a:spcAft>
                <a:spcPts val="400"/>
              </a:spcAft>
              <a:buFont typeface="+mj-lt"/>
              <a:buAutoNum type="arabicPeriod"/>
              <a:defRPr/>
            </a:pPr>
            <a:r>
              <a:rPr lang="en-GB" sz="1000">
                <a:solidFill>
                  <a:schemeClr val="tx2">
                    <a:lumMod val="65000"/>
                    <a:lumOff val="35000"/>
                  </a:schemeClr>
                </a:solidFill>
                <a:latin typeface="Arial" panose="020B0604020202020204" pitchFamily="34" charset="0"/>
                <a:cs typeface="Arial" panose="020B0604020202020204" pitchFamily="34" charset="0"/>
              </a:rPr>
              <a:t>Act as one integrated system </a:t>
            </a:r>
          </a:p>
          <a:p>
            <a:pPr marL="503238" lvl="1" indent="-228600" defTabSz="685800">
              <a:spcBef>
                <a:spcPts val="400"/>
              </a:spcBef>
              <a:spcAft>
                <a:spcPts val="400"/>
              </a:spcAft>
              <a:buFont typeface="+mj-lt"/>
              <a:buAutoNum type="arabicPeriod"/>
              <a:defRPr/>
            </a:pPr>
            <a:r>
              <a:rPr lang="en-GB" sz="1000">
                <a:solidFill>
                  <a:schemeClr val="tx2">
                    <a:lumMod val="65000"/>
                    <a:lumOff val="35000"/>
                  </a:schemeClr>
                </a:solidFill>
                <a:latin typeface="Arial" panose="020B0604020202020204" pitchFamily="34" charset="0"/>
                <a:cs typeface="Arial" panose="020B0604020202020204" pitchFamily="34" charset="0"/>
              </a:rPr>
              <a:t>Focus on health inequalities </a:t>
            </a:r>
          </a:p>
          <a:p>
            <a:pPr marL="503238" lvl="1" indent="-228600" defTabSz="685800">
              <a:spcBef>
                <a:spcPts val="400"/>
              </a:spcBef>
              <a:spcAft>
                <a:spcPts val="400"/>
              </a:spcAft>
              <a:buFont typeface="+mj-lt"/>
              <a:buAutoNum type="arabicPeriod"/>
              <a:defRPr/>
            </a:pPr>
            <a:r>
              <a:rPr lang="en-GB" sz="1000">
                <a:solidFill>
                  <a:schemeClr val="tx2">
                    <a:lumMod val="65000"/>
                    <a:lumOff val="35000"/>
                  </a:schemeClr>
                </a:solidFill>
                <a:latin typeface="Arial" panose="020B0604020202020204" pitchFamily="34" charset="0"/>
                <a:cs typeface="Arial" panose="020B0604020202020204" pitchFamily="34" charset="0"/>
              </a:rPr>
              <a:t>Build community resources </a:t>
            </a:r>
          </a:p>
          <a:p>
            <a:pPr marL="503238" lvl="1" indent="-228600" defTabSz="685800">
              <a:spcBef>
                <a:spcPts val="400"/>
              </a:spcBef>
              <a:spcAft>
                <a:spcPts val="400"/>
              </a:spcAft>
              <a:buFont typeface="+mj-lt"/>
              <a:buAutoNum type="arabicPeriod"/>
              <a:defRPr/>
            </a:pPr>
            <a:r>
              <a:rPr lang="en-GB" sz="1000">
                <a:solidFill>
                  <a:schemeClr val="tx2">
                    <a:lumMod val="65000"/>
                    <a:lumOff val="35000"/>
                  </a:schemeClr>
                </a:solidFill>
                <a:latin typeface="Arial" panose="020B0604020202020204" pitchFamily="34" charset="0"/>
                <a:cs typeface="Arial" panose="020B0604020202020204" pitchFamily="34" charset="0"/>
              </a:rPr>
              <a:t>Support the workforce and their wellbeing</a:t>
            </a:r>
          </a:p>
          <a:p>
            <a:pPr marL="503238" lvl="1" indent="-228600" defTabSz="685800">
              <a:spcBef>
                <a:spcPts val="400"/>
              </a:spcBef>
              <a:spcAft>
                <a:spcPts val="400"/>
              </a:spcAft>
              <a:buFont typeface="+mj-lt"/>
              <a:buAutoNum type="arabicPeriod"/>
              <a:defRPr/>
            </a:pPr>
            <a:r>
              <a:rPr lang="en-GB" sz="1000">
                <a:solidFill>
                  <a:schemeClr val="tx2">
                    <a:lumMod val="65000"/>
                    <a:lumOff val="35000"/>
                  </a:schemeClr>
                </a:solidFill>
                <a:latin typeface="Arial" panose="020B0604020202020204" pitchFamily="34" charset="0"/>
                <a:cs typeface="Arial" panose="020B0604020202020204" pitchFamily="34" charset="0"/>
              </a:rPr>
              <a:t>Supported transition from services</a:t>
            </a:r>
          </a:p>
          <a:p>
            <a:pPr marL="182563" lvl="1" indent="-165100" defTabSz="685800">
              <a:spcBef>
                <a:spcPts val="600"/>
              </a:spcBef>
              <a:spcAft>
                <a:spcPts val="600"/>
              </a:spcAft>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These strategic priorities form the basis of the prioritised roadmap of future activity for STW mental health services. </a:t>
            </a:r>
          </a:p>
        </p:txBody>
      </p:sp>
      <p:sp>
        <p:nvSpPr>
          <p:cNvPr id="26" name="TextBox 25">
            <a:extLst>
              <a:ext uri="{FF2B5EF4-FFF2-40B4-BE49-F238E27FC236}">
                <a16:creationId xmlns:a16="http://schemas.microsoft.com/office/drawing/2014/main" id="{27A44249-673A-9A48-BCCB-06257C40F871}"/>
              </a:ext>
            </a:extLst>
          </p:cNvPr>
          <p:cNvSpPr txBox="1"/>
          <p:nvPr/>
        </p:nvSpPr>
        <p:spPr>
          <a:xfrm>
            <a:off x="2272939" y="5942194"/>
            <a:ext cx="1191280" cy="246221"/>
          </a:xfrm>
          <a:prstGeom prst="rect">
            <a:avLst/>
          </a:prstGeom>
          <a:noFill/>
        </p:spPr>
        <p:txBody>
          <a:bodyPr wrap="square" lIns="91440" tIns="45720" rIns="91440" bIns="45720" rtlCol="0" anchor="t">
            <a:spAutoFit/>
          </a:bodyPr>
          <a:lstStyle/>
          <a:p>
            <a:pPr marR="0" lvl="0" algn="ctr" defTabSz="914400" rtl="0" eaLnBrk="1" fontAlgn="auto" latinLnBrk="0" hangingPunct="1">
              <a:lnSpc>
                <a:spcPct val="100000"/>
              </a:lnSpc>
              <a:spcBef>
                <a:spcPts val="0"/>
              </a:spcBef>
              <a:spcAft>
                <a:spcPts val="600"/>
              </a:spcAft>
              <a:buClr>
                <a:srgbClr val="50235C"/>
              </a:buClr>
              <a:buSzTx/>
              <a:tabLst/>
              <a:defRPr/>
            </a:pPr>
            <a:r>
              <a:rPr lang="en-GB" sz="1000" spc="-5">
                <a:solidFill>
                  <a:schemeClr val="tx1">
                    <a:lumMod val="50000"/>
                    <a:lumOff val="50000"/>
                  </a:schemeClr>
                </a:solidFill>
                <a:latin typeface="Arial" panose="020B0604020202020204"/>
                <a:cs typeface="Arial"/>
              </a:rPr>
              <a:t>Design principles</a:t>
            </a:r>
            <a:endParaRPr kumimoji="0" lang="en-GB" sz="10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endParaRPr>
          </a:p>
        </p:txBody>
      </p:sp>
      <p:pic>
        <p:nvPicPr>
          <p:cNvPr id="24" name="Picture 23">
            <a:extLst>
              <a:ext uri="{FF2B5EF4-FFF2-40B4-BE49-F238E27FC236}">
                <a16:creationId xmlns:a16="http://schemas.microsoft.com/office/drawing/2014/main" id="{E4EC5E62-0674-1D4E-AD21-7CCA08CAB0A2}"/>
              </a:ext>
            </a:extLst>
          </p:cNvPr>
          <p:cNvPicPr>
            <a:picLocks noChangeAspect="1"/>
          </p:cNvPicPr>
          <p:nvPr/>
        </p:nvPicPr>
        <p:blipFill>
          <a:blip r:embed="rId8"/>
          <a:stretch>
            <a:fillRect/>
          </a:stretch>
        </p:blipFill>
        <p:spPr>
          <a:xfrm>
            <a:off x="705485" y="5137998"/>
            <a:ext cx="1200028" cy="675016"/>
          </a:xfrm>
          <a:prstGeom prst="rect">
            <a:avLst/>
          </a:prstGeom>
          <a:ln>
            <a:solidFill>
              <a:srgbClr val="50235C"/>
            </a:solidFill>
          </a:ln>
          <a:effectLst>
            <a:outerShdw blurRad="50800" dist="38100" dir="2700000" algn="tl" rotWithShape="0">
              <a:prstClr val="black">
                <a:alpha val="40000"/>
              </a:prstClr>
            </a:outerShdw>
          </a:effectLst>
        </p:spPr>
      </p:pic>
      <p:pic>
        <p:nvPicPr>
          <p:cNvPr id="25" name="Picture 24">
            <a:extLst>
              <a:ext uri="{FF2B5EF4-FFF2-40B4-BE49-F238E27FC236}">
                <a16:creationId xmlns:a16="http://schemas.microsoft.com/office/drawing/2014/main" id="{A5BE0438-DEFC-F341-A9E8-148205E3A022}"/>
              </a:ext>
            </a:extLst>
          </p:cNvPr>
          <p:cNvPicPr>
            <a:picLocks noChangeAspect="1"/>
          </p:cNvPicPr>
          <p:nvPr/>
        </p:nvPicPr>
        <p:blipFill>
          <a:blip r:embed="rId9"/>
          <a:stretch>
            <a:fillRect/>
          </a:stretch>
        </p:blipFill>
        <p:spPr>
          <a:xfrm>
            <a:off x="2264191" y="5137998"/>
            <a:ext cx="1200028" cy="675016"/>
          </a:xfrm>
          <a:prstGeom prst="rect">
            <a:avLst/>
          </a:prstGeom>
          <a:ln>
            <a:solidFill>
              <a:srgbClr val="50235C"/>
            </a:solidFill>
          </a:ln>
          <a:effectLst>
            <a:outerShdw blurRad="50800" dist="38100" dir="2700000" algn="tl" rotWithShape="0">
              <a:prstClr val="black">
                <a:alpha val="40000"/>
              </a:prstClr>
            </a:outerShdw>
          </a:effectLst>
        </p:spPr>
      </p:pic>
      <p:graphicFrame>
        <p:nvGraphicFramePr>
          <p:cNvPr id="28" name="Table 27">
            <a:extLst>
              <a:ext uri="{FF2B5EF4-FFF2-40B4-BE49-F238E27FC236}">
                <a16:creationId xmlns:a16="http://schemas.microsoft.com/office/drawing/2014/main" id="{A1BC9E32-3B47-0545-A194-E3B091C8EE52}"/>
              </a:ext>
            </a:extLst>
          </p:cNvPr>
          <p:cNvGraphicFramePr>
            <a:graphicFrameLocks noGrp="1"/>
          </p:cNvGraphicFramePr>
          <p:nvPr>
            <p:extLst>
              <p:ext uri="{D42A27DB-BD31-4B8C-83A1-F6EECF244321}">
                <p14:modId xmlns:p14="http://schemas.microsoft.com/office/powerpoint/2010/main" val="861747474"/>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Tree>
    <p:extLst>
      <p:ext uri="{BB962C8B-B14F-4D97-AF65-F5344CB8AC3E}">
        <p14:creationId xmlns:p14="http://schemas.microsoft.com/office/powerpoint/2010/main" val="151945119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785"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en-IN" sz="2800">
              <a:solidFill>
                <a:srgbClr val="FFFFFF"/>
              </a:solidFill>
              <a:sym typeface="Arial" panose="020B0604020202020204" pitchFamily="34" charset="0"/>
            </a:endParaRPr>
          </a:p>
        </p:txBody>
      </p:sp>
      <p:sp>
        <p:nvSpPr>
          <p:cNvPr id="2" name="Title 1"/>
          <p:cNvSpPr>
            <a:spLocks noGrp="1"/>
          </p:cNvSpPr>
          <p:nvPr>
            <p:ph type="title"/>
          </p:nvPr>
        </p:nvSpPr>
        <p:spPr>
          <a:prstGeom prst="rect">
            <a:avLst/>
          </a:prstGeom>
        </p:spPr>
        <p:txBody>
          <a:bodyPr/>
          <a:lstStyle/>
          <a:p>
            <a:r>
              <a:rPr lang="en-US"/>
              <a:t>Defining the Mental Health vision</a:t>
            </a:r>
            <a:endParaRPr lang="en-IN"/>
          </a:p>
        </p:txBody>
      </p:sp>
      <p:sp>
        <p:nvSpPr>
          <p:cNvPr id="9" name="Rectangle 8">
            <a:extLst>
              <a:ext uri="{FF2B5EF4-FFF2-40B4-BE49-F238E27FC236}">
                <a16:creationId xmlns:a16="http://schemas.microsoft.com/office/drawing/2014/main" id="{830963B0-EC21-6844-B457-D76C8A955C49}"/>
              </a:ext>
            </a:extLst>
          </p:cNvPr>
          <p:cNvSpPr/>
          <p:nvPr/>
        </p:nvSpPr>
        <p:spPr>
          <a:xfrm>
            <a:off x="510638" y="1264314"/>
            <a:ext cx="11093532" cy="830865"/>
          </a:xfrm>
          <a:prstGeom prst="rect">
            <a:avLst/>
          </a:prstGeom>
          <a:solidFill>
            <a:schemeClr val="bg1"/>
          </a:solidFill>
          <a:ln w="12700" cap="flat" cmpd="sng" algn="ctr">
            <a:solidFill>
              <a:schemeClr val="accent1"/>
            </a:solidFill>
            <a:prstDash val="solid"/>
            <a:miter lim="800000"/>
          </a:ln>
          <a:effectLst/>
        </p:spPr>
        <p:txBody>
          <a:bodyPr rtlCol="0" anchor="ctr"/>
          <a:lstStyle/>
          <a:p>
            <a:pPr algn="ctr" defTabSz="685800">
              <a:defRPr/>
            </a:pPr>
            <a:r>
              <a:rPr lang="en-US" sz="1200" b="1">
                <a:solidFill>
                  <a:srgbClr val="50235B"/>
                </a:solidFill>
                <a:latin typeface="Arial" panose="020B0604020202020204" pitchFamily="34" charset="0"/>
                <a:cs typeface="Arial" panose="020B0604020202020204" pitchFamily="34" charset="0"/>
              </a:rPr>
              <a:t>Our vision: residents of Shropshire, Telford and Wrekin experience their best mental health and wellbeing and have easy access to the right treatment and support services, which are underpinned by hope and optimism.</a:t>
            </a:r>
          </a:p>
        </p:txBody>
      </p:sp>
      <p:sp>
        <p:nvSpPr>
          <p:cNvPr id="13" name="Rectangle 12">
            <a:extLst>
              <a:ext uri="{FF2B5EF4-FFF2-40B4-BE49-F238E27FC236}">
                <a16:creationId xmlns:a16="http://schemas.microsoft.com/office/drawing/2014/main" id="{07E3E143-5154-A646-87A3-08C21A5C36E8}"/>
              </a:ext>
            </a:extLst>
          </p:cNvPr>
          <p:cNvSpPr/>
          <p:nvPr/>
        </p:nvSpPr>
        <p:spPr>
          <a:xfrm>
            <a:off x="6167866" y="4503828"/>
            <a:ext cx="1193377" cy="1253473"/>
          </a:xfrm>
          <a:prstGeom prst="rect">
            <a:avLst/>
          </a:prstGeom>
          <a:solidFill>
            <a:schemeClr val="bg1"/>
          </a:solidFill>
          <a:ln w="12700" cap="flat" cmpd="sng" algn="ctr">
            <a:solidFill>
              <a:srgbClr val="50235B"/>
            </a:solidFill>
            <a:prstDash val="solid"/>
            <a:miter lim="800000"/>
          </a:ln>
          <a:effectLst/>
        </p:spPr>
        <p:txBody>
          <a:bodyPr rtlCol="0" anchor="ctr"/>
          <a:lstStyle/>
          <a:p>
            <a:pPr algn="ctr" defTabSz="685800">
              <a:defRPr/>
            </a:pPr>
            <a:r>
              <a:rPr lang="en-GB" sz="1200">
                <a:solidFill>
                  <a:srgbClr val="50235B"/>
                </a:solidFill>
              </a:rPr>
              <a:t>Focus on health inequalities</a:t>
            </a:r>
          </a:p>
        </p:txBody>
      </p:sp>
      <p:sp>
        <p:nvSpPr>
          <p:cNvPr id="15" name="Rectangle 14">
            <a:extLst>
              <a:ext uri="{FF2B5EF4-FFF2-40B4-BE49-F238E27FC236}">
                <a16:creationId xmlns:a16="http://schemas.microsoft.com/office/drawing/2014/main" id="{B9ED7676-D75E-CD4C-AEC6-C56A164704ED}"/>
              </a:ext>
            </a:extLst>
          </p:cNvPr>
          <p:cNvSpPr/>
          <p:nvPr/>
        </p:nvSpPr>
        <p:spPr>
          <a:xfrm>
            <a:off x="8996480" y="4510825"/>
            <a:ext cx="1193377" cy="1253473"/>
          </a:xfrm>
          <a:prstGeom prst="rect">
            <a:avLst/>
          </a:prstGeom>
          <a:solidFill>
            <a:schemeClr val="bg1"/>
          </a:solidFill>
          <a:ln w="12700" cap="flat" cmpd="sng" algn="ctr">
            <a:solidFill>
              <a:srgbClr val="50235B"/>
            </a:solidFill>
            <a:prstDash val="solid"/>
            <a:miter lim="800000"/>
          </a:ln>
          <a:effectLst/>
        </p:spPr>
        <p:txBody>
          <a:bodyPr rtlCol="0" anchor="ctr"/>
          <a:lstStyle/>
          <a:p>
            <a:pPr algn="ctr"/>
            <a:r>
              <a:rPr lang="en-GB" sz="1200">
                <a:solidFill>
                  <a:srgbClr val="50235B"/>
                </a:solidFill>
              </a:rPr>
              <a:t>Support the workforce and their wellbeing</a:t>
            </a:r>
          </a:p>
        </p:txBody>
      </p:sp>
      <p:sp>
        <p:nvSpPr>
          <p:cNvPr id="16" name="Rectangle 15">
            <a:extLst>
              <a:ext uri="{FF2B5EF4-FFF2-40B4-BE49-F238E27FC236}">
                <a16:creationId xmlns:a16="http://schemas.microsoft.com/office/drawing/2014/main" id="{31C5E5D2-FFD8-E746-BB5C-961B37795212}"/>
              </a:ext>
            </a:extLst>
          </p:cNvPr>
          <p:cNvSpPr/>
          <p:nvPr/>
        </p:nvSpPr>
        <p:spPr>
          <a:xfrm>
            <a:off x="510638" y="4507625"/>
            <a:ext cx="1193377" cy="1253473"/>
          </a:xfrm>
          <a:prstGeom prst="rect">
            <a:avLst/>
          </a:prstGeom>
          <a:solidFill>
            <a:schemeClr val="bg1"/>
          </a:solidFill>
          <a:ln w="12700" cap="flat" cmpd="sng" algn="ctr">
            <a:solidFill>
              <a:srgbClr val="50235B"/>
            </a:solidFill>
            <a:prstDash val="solid"/>
            <a:miter lim="800000"/>
          </a:ln>
          <a:effectLst/>
        </p:spPr>
        <p:txBody>
          <a:bodyPr rtlCol="0" anchor="ctr"/>
          <a:lstStyle/>
          <a:p>
            <a:pPr lvl="0" algn="ctr" defTabSz="685800">
              <a:defRPr/>
            </a:pPr>
            <a:r>
              <a:rPr lang="en-GB" sz="1200">
                <a:solidFill>
                  <a:srgbClr val="50235B"/>
                </a:solidFill>
                <a:latin typeface="Arial" panose="020B0604020202020204" pitchFamily="34" charset="0"/>
                <a:cs typeface="Arial" panose="020B0604020202020204" pitchFamily="34" charset="0"/>
              </a:rPr>
              <a:t>Raise the profile and awareness of Mental Health</a:t>
            </a:r>
          </a:p>
        </p:txBody>
      </p:sp>
      <p:sp>
        <p:nvSpPr>
          <p:cNvPr id="17" name="Rectangle 16">
            <a:extLst>
              <a:ext uri="{FF2B5EF4-FFF2-40B4-BE49-F238E27FC236}">
                <a16:creationId xmlns:a16="http://schemas.microsoft.com/office/drawing/2014/main" id="{8F40B7A4-92EF-1C4F-9A1E-FC9FB344D392}"/>
              </a:ext>
            </a:extLst>
          </p:cNvPr>
          <p:cNvSpPr/>
          <p:nvPr/>
        </p:nvSpPr>
        <p:spPr>
          <a:xfrm>
            <a:off x="1924945" y="4503828"/>
            <a:ext cx="1193377" cy="1253474"/>
          </a:xfrm>
          <a:prstGeom prst="rect">
            <a:avLst/>
          </a:prstGeom>
          <a:solidFill>
            <a:schemeClr val="bg1"/>
          </a:solidFill>
          <a:ln w="12700" cap="flat" cmpd="sng" algn="ctr">
            <a:solidFill>
              <a:srgbClr val="50235B"/>
            </a:solidFill>
            <a:prstDash val="solid"/>
            <a:miter lim="800000"/>
          </a:ln>
          <a:effectLst/>
        </p:spPr>
        <p:txBody>
          <a:bodyPr rtlCol="0" anchor="ctr"/>
          <a:lstStyle/>
          <a:p>
            <a:pPr lvl="0" algn="ctr" defTabSz="685800">
              <a:defRPr/>
            </a:pPr>
            <a:r>
              <a:rPr lang="en-GB" sz="1200">
                <a:solidFill>
                  <a:srgbClr val="50235B"/>
                </a:solidFill>
                <a:latin typeface="Arial" panose="020B0604020202020204" pitchFamily="34" charset="0"/>
                <a:cs typeface="Arial" panose="020B0604020202020204" pitchFamily="34" charset="0"/>
              </a:rPr>
              <a:t>Proactive prevention</a:t>
            </a:r>
          </a:p>
        </p:txBody>
      </p:sp>
      <p:sp>
        <p:nvSpPr>
          <p:cNvPr id="18" name="Shape 1554">
            <a:extLst>
              <a:ext uri="{FF2B5EF4-FFF2-40B4-BE49-F238E27FC236}">
                <a16:creationId xmlns:a16="http://schemas.microsoft.com/office/drawing/2014/main" id="{D54C0A8D-B585-F947-B1C1-8FBC376E832E}"/>
              </a:ext>
            </a:extLst>
          </p:cNvPr>
          <p:cNvSpPr/>
          <p:nvPr/>
        </p:nvSpPr>
        <p:spPr>
          <a:xfrm>
            <a:off x="510638" y="4080443"/>
            <a:ext cx="11093531" cy="315684"/>
          </a:xfrm>
          <a:prstGeom prst="rect">
            <a:avLst/>
          </a:prstGeom>
          <a:solidFill>
            <a:schemeClr val="accent1"/>
          </a:solidFill>
          <a:ln w="9525" cap="flat" cmpd="sng">
            <a:noFill/>
            <a:prstDash val="solid"/>
            <a:miter lim="800000"/>
            <a:headEnd type="none" w="sm" len="sm"/>
            <a:tailEnd type="none" w="sm" len="sm"/>
          </a:ln>
        </p:spPr>
        <p:txBody>
          <a:bodyPr spcFirstLastPara="1" lIns="91425" tIns="45694" rIns="91425" bIns="45694" anchor="ctr"/>
          <a:lstStyle/>
          <a:p>
            <a:pPr algn="ctr">
              <a:defRPr/>
            </a:pPr>
            <a:r>
              <a:rPr lang="en-GB" sz="1100" b="1" i="1">
                <a:solidFill>
                  <a:schemeClr val="bg1"/>
                </a:solidFill>
                <a:latin typeface="Arial" panose="020B0604020202020204" pitchFamily="34" charset="0"/>
                <a:cs typeface="Arial" panose="020B0604020202020204" pitchFamily="34" charset="0"/>
              </a:rPr>
              <a:t>How this vision will be achieved</a:t>
            </a:r>
          </a:p>
        </p:txBody>
      </p:sp>
      <p:sp>
        <p:nvSpPr>
          <p:cNvPr id="19" name="Shape 1554">
            <a:extLst>
              <a:ext uri="{FF2B5EF4-FFF2-40B4-BE49-F238E27FC236}">
                <a16:creationId xmlns:a16="http://schemas.microsoft.com/office/drawing/2014/main" id="{FFED9F2A-CA37-494A-BFE0-FB9D9F9AC70D}"/>
              </a:ext>
            </a:extLst>
          </p:cNvPr>
          <p:cNvSpPr/>
          <p:nvPr/>
        </p:nvSpPr>
        <p:spPr>
          <a:xfrm>
            <a:off x="510639" y="2164643"/>
            <a:ext cx="11093532" cy="315684"/>
          </a:xfrm>
          <a:prstGeom prst="rect">
            <a:avLst/>
          </a:prstGeom>
          <a:solidFill>
            <a:schemeClr val="accent1"/>
          </a:solidFill>
          <a:ln w="9525" cap="flat" cmpd="sng">
            <a:noFill/>
            <a:prstDash val="solid"/>
            <a:miter lim="800000"/>
            <a:headEnd type="none" w="sm" len="sm"/>
            <a:tailEnd type="none" w="sm" len="sm"/>
          </a:ln>
        </p:spPr>
        <p:txBody>
          <a:bodyPr spcFirstLastPara="1" lIns="91425" tIns="45694" rIns="91425" bIns="45694" anchor="ctr"/>
          <a:lstStyle/>
          <a:p>
            <a:pPr algn="ctr">
              <a:defRPr/>
            </a:pPr>
            <a:r>
              <a:rPr lang="en-GB" sz="1100" b="1" i="1">
                <a:solidFill>
                  <a:schemeClr val="bg1"/>
                </a:solidFill>
                <a:latin typeface="Arial" panose="020B0604020202020204" pitchFamily="34" charset="0"/>
                <a:cs typeface="Arial" panose="020B0604020202020204" pitchFamily="34" charset="0"/>
              </a:rPr>
              <a:t>Why the team is trying to achieve this</a:t>
            </a:r>
          </a:p>
        </p:txBody>
      </p:sp>
      <p:sp>
        <p:nvSpPr>
          <p:cNvPr id="20" name="Shape 1554">
            <a:extLst>
              <a:ext uri="{FF2B5EF4-FFF2-40B4-BE49-F238E27FC236}">
                <a16:creationId xmlns:a16="http://schemas.microsoft.com/office/drawing/2014/main" id="{402E6269-6E43-284C-994C-53753D65F08A}"/>
              </a:ext>
            </a:extLst>
          </p:cNvPr>
          <p:cNvSpPr/>
          <p:nvPr/>
        </p:nvSpPr>
        <p:spPr>
          <a:xfrm>
            <a:off x="510639" y="880875"/>
            <a:ext cx="11093533" cy="310480"/>
          </a:xfrm>
          <a:prstGeom prst="rect">
            <a:avLst/>
          </a:prstGeom>
          <a:solidFill>
            <a:schemeClr val="accent1"/>
          </a:solidFill>
          <a:ln w="9525" cap="flat" cmpd="sng">
            <a:noFill/>
            <a:prstDash val="solid"/>
            <a:miter lim="800000"/>
            <a:headEnd type="none" w="sm" len="sm"/>
            <a:tailEnd type="none" w="sm" len="sm"/>
          </a:ln>
        </p:spPr>
        <p:txBody>
          <a:bodyPr spcFirstLastPara="1" lIns="91425" tIns="45694" rIns="91425" bIns="45694" anchor="ctr"/>
          <a:lstStyle/>
          <a:p>
            <a:pPr algn="ctr">
              <a:defRPr/>
            </a:pPr>
            <a:r>
              <a:rPr lang="en-GB" sz="1100" b="1" i="1">
                <a:solidFill>
                  <a:schemeClr val="bg1"/>
                </a:solidFill>
                <a:latin typeface="Arial" panose="020B0604020202020204" pitchFamily="34" charset="0"/>
                <a:cs typeface="Arial" panose="020B0604020202020204" pitchFamily="34" charset="0"/>
              </a:rPr>
              <a:t>What is the vision for Mental Health services across STW?</a:t>
            </a:r>
          </a:p>
        </p:txBody>
      </p:sp>
      <p:sp>
        <p:nvSpPr>
          <p:cNvPr id="21" name="TextBox 20">
            <a:extLst>
              <a:ext uri="{FF2B5EF4-FFF2-40B4-BE49-F238E27FC236}">
                <a16:creationId xmlns:a16="http://schemas.microsoft.com/office/drawing/2014/main" id="{BDEDC1B4-4EAF-6E44-8678-C93206F31AAC}"/>
              </a:ext>
            </a:extLst>
          </p:cNvPr>
          <p:cNvSpPr txBox="1"/>
          <p:nvPr/>
        </p:nvSpPr>
        <p:spPr>
          <a:xfrm>
            <a:off x="10152517" y="996888"/>
            <a:ext cx="184731" cy="369332"/>
          </a:xfrm>
          <a:prstGeom prst="rect">
            <a:avLst/>
          </a:prstGeom>
          <a:noFill/>
        </p:spPr>
        <p:txBody>
          <a:bodyPr wrap="square" rtlCol="0">
            <a:spAutoFit/>
          </a:bodyPr>
          <a:lstStyle/>
          <a:p>
            <a:endParaRPr lang="en-GB"/>
          </a:p>
        </p:txBody>
      </p:sp>
      <p:sp>
        <p:nvSpPr>
          <p:cNvPr id="12" name="Rectangle 11">
            <a:extLst>
              <a:ext uri="{FF2B5EF4-FFF2-40B4-BE49-F238E27FC236}">
                <a16:creationId xmlns:a16="http://schemas.microsoft.com/office/drawing/2014/main" id="{0B514D86-AD76-1A4D-94B9-37EEA1E6BAF5}"/>
              </a:ext>
            </a:extLst>
          </p:cNvPr>
          <p:cNvSpPr/>
          <p:nvPr/>
        </p:nvSpPr>
        <p:spPr>
          <a:xfrm>
            <a:off x="6156629" y="2970297"/>
            <a:ext cx="1188167" cy="1012047"/>
          </a:xfrm>
          <a:prstGeom prst="rect">
            <a:avLst/>
          </a:prstGeom>
          <a:solidFill>
            <a:schemeClr val="bg1"/>
          </a:solidFill>
          <a:ln w="12700" cap="flat" cmpd="sng" algn="ctr">
            <a:solidFill>
              <a:srgbClr val="50235B"/>
            </a:solidFill>
            <a:prstDash val="solid"/>
            <a:miter lim="800000"/>
          </a:ln>
          <a:effectLst/>
        </p:spPr>
        <p:txBody>
          <a:bodyPr rtlCol="0" anchor="ctr"/>
          <a:lstStyle/>
          <a:p>
            <a:pPr lvl="0" algn="ctr" defTabSz="685800">
              <a:defRPr/>
            </a:pPr>
            <a:r>
              <a:rPr lang="en-GB" sz="1200">
                <a:solidFill>
                  <a:srgbClr val="50235B"/>
                </a:solidFill>
                <a:latin typeface="Arial" panose="020B0604020202020204" pitchFamily="34" charset="0"/>
                <a:cs typeface="Arial" panose="020B0604020202020204" pitchFamily="34" charset="0"/>
              </a:rPr>
              <a:t>To improve health outcomes</a:t>
            </a:r>
          </a:p>
        </p:txBody>
      </p:sp>
      <p:sp>
        <p:nvSpPr>
          <p:cNvPr id="34" name="Rounded Rectangular Callout 33">
            <a:extLst>
              <a:ext uri="{FF2B5EF4-FFF2-40B4-BE49-F238E27FC236}">
                <a16:creationId xmlns:a16="http://schemas.microsoft.com/office/drawing/2014/main" id="{C7B4C74E-B074-E44F-8C83-59DA5CD2D3FA}"/>
              </a:ext>
            </a:extLst>
          </p:cNvPr>
          <p:cNvSpPr/>
          <p:nvPr/>
        </p:nvSpPr>
        <p:spPr>
          <a:xfrm>
            <a:off x="7453769" y="2526471"/>
            <a:ext cx="1327403" cy="1012047"/>
          </a:xfrm>
          <a:prstGeom prst="wedgeRoundRectCallout">
            <a:avLst>
              <a:gd name="adj1" fmla="val -56949"/>
              <a:gd name="adj2" fmla="val 71021"/>
              <a:gd name="adj3" fmla="val 16667"/>
            </a:avLst>
          </a:prstGeom>
          <a:solidFill>
            <a:srgbClr val="DFD9E3"/>
          </a:solidFill>
          <a:ln>
            <a:solidFill>
              <a:srgbClr val="50235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a:solidFill>
                  <a:srgbClr val="50235B"/>
                </a:solidFill>
              </a:rPr>
              <a:t>I feel healthier all round when I am supported with my mental health</a:t>
            </a:r>
          </a:p>
        </p:txBody>
      </p:sp>
      <p:sp>
        <p:nvSpPr>
          <p:cNvPr id="36" name="Rectangle 35">
            <a:extLst>
              <a:ext uri="{FF2B5EF4-FFF2-40B4-BE49-F238E27FC236}">
                <a16:creationId xmlns:a16="http://schemas.microsoft.com/office/drawing/2014/main" id="{4EEC3B5D-60E2-4840-BF55-2759035A708B}"/>
              </a:ext>
            </a:extLst>
          </p:cNvPr>
          <p:cNvSpPr/>
          <p:nvPr/>
        </p:nvSpPr>
        <p:spPr>
          <a:xfrm>
            <a:off x="3339252" y="4505576"/>
            <a:ext cx="1193377" cy="1253474"/>
          </a:xfrm>
          <a:prstGeom prst="rect">
            <a:avLst/>
          </a:prstGeom>
          <a:solidFill>
            <a:schemeClr val="bg1"/>
          </a:solidFill>
          <a:ln w="12700" cap="flat" cmpd="sng" algn="ctr">
            <a:solidFill>
              <a:srgbClr val="50235B"/>
            </a:solidFill>
            <a:prstDash val="solid"/>
            <a:miter lim="800000"/>
          </a:ln>
          <a:effectLst/>
        </p:spPr>
        <p:txBody>
          <a:bodyPr rtlCol="0" anchor="ctr"/>
          <a:lstStyle/>
          <a:p>
            <a:pPr algn="ctr"/>
            <a:r>
              <a:rPr lang="en-GB" sz="1200">
                <a:solidFill>
                  <a:srgbClr val="50235B"/>
                </a:solidFill>
              </a:rPr>
              <a:t>Easy and timely access to support and services</a:t>
            </a:r>
          </a:p>
        </p:txBody>
      </p:sp>
      <p:sp>
        <p:nvSpPr>
          <p:cNvPr id="38" name="Rectangle 37">
            <a:extLst>
              <a:ext uri="{FF2B5EF4-FFF2-40B4-BE49-F238E27FC236}">
                <a16:creationId xmlns:a16="http://schemas.microsoft.com/office/drawing/2014/main" id="{9451E953-DDBA-304B-A8F4-C16709E44AE3}"/>
              </a:ext>
            </a:extLst>
          </p:cNvPr>
          <p:cNvSpPr/>
          <p:nvPr/>
        </p:nvSpPr>
        <p:spPr>
          <a:xfrm>
            <a:off x="7582173" y="4507625"/>
            <a:ext cx="1193377" cy="1253473"/>
          </a:xfrm>
          <a:prstGeom prst="rect">
            <a:avLst/>
          </a:prstGeom>
          <a:solidFill>
            <a:schemeClr val="bg1"/>
          </a:solidFill>
          <a:ln w="12700" cap="flat" cmpd="sng" algn="ctr">
            <a:solidFill>
              <a:srgbClr val="50235B"/>
            </a:solidFill>
            <a:prstDash val="solid"/>
            <a:miter lim="800000"/>
          </a:ln>
          <a:effectLst/>
        </p:spPr>
        <p:txBody>
          <a:bodyPr rtlCol="0" anchor="ctr"/>
          <a:lstStyle/>
          <a:p>
            <a:pPr algn="ctr"/>
            <a:r>
              <a:rPr lang="en-GB" sz="1200">
                <a:solidFill>
                  <a:srgbClr val="50235B"/>
                </a:solidFill>
              </a:rPr>
              <a:t>Build community resources</a:t>
            </a:r>
          </a:p>
        </p:txBody>
      </p:sp>
      <p:sp>
        <p:nvSpPr>
          <p:cNvPr id="10" name="Rectangle 9">
            <a:extLst>
              <a:ext uri="{FF2B5EF4-FFF2-40B4-BE49-F238E27FC236}">
                <a16:creationId xmlns:a16="http://schemas.microsoft.com/office/drawing/2014/main" id="{AA4B3751-6FF3-874A-8E5D-223CB4CE2C1E}"/>
              </a:ext>
            </a:extLst>
          </p:cNvPr>
          <p:cNvSpPr/>
          <p:nvPr/>
        </p:nvSpPr>
        <p:spPr>
          <a:xfrm>
            <a:off x="8990618" y="2970296"/>
            <a:ext cx="1188167" cy="1012048"/>
          </a:xfrm>
          <a:prstGeom prst="rect">
            <a:avLst/>
          </a:prstGeom>
          <a:solidFill>
            <a:schemeClr val="bg1"/>
          </a:solidFill>
          <a:ln w="12700" cap="flat" cmpd="sng" algn="ctr">
            <a:solidFill>
              <a:srgbClr val="50235B"/>
            </a:solidFill>
            <a:prstDash val="solid"/>
            <a:miter lim="800000"/>
          </a:ln>
          <a:effectLst/>
        </p:spPr>
        <p:txBody>
          <a:bodyPr rtlCol="0" anchor="ctr"/>
          <a:lstStyle/>
          <a:p>
            <a:pPr algn="ctr" defTabSz="685800">
              <a:defRPr/>
            </a:pPr>
            <a:r>
              <a:rPr lang="en-GB" sz="1200">
                <a:solidFill>
                  <a:srgbClr val="50235B"/>
                </a:solidFill>
              </a:rPr>
              <a:t>To reduce health inequalities</a:t>
            </a:r>
          </a:p>
        </p:txBody>
      </p:sp>
      <p:sp>
        <p:nvSpPr>
          <p:cNvPr id="39" name="Rounded Rectangular Callout 38">
            <a:extLst>
              <a:ext uri="{FF2B5EF4-FFF2-40B4-BE49-F238E27FC236}">
                <a16:creationId xmlns:a16="http://schemas.microsoft.com/office/drawing/2014/main" id="{C28C593A-B50A-0E4A-88B3-22558DF03A33}"/>
              </a:ext>
            </a:extLst>
          </p:cNvPr>
          <p:cNvSpPr/>
          <p:nvPr/>
        </p:nvSpPr>
        <p:spPr>
          <a:xfrm>
            <a:off x="10276764" y="2535430"/>
            <a:ext cx="1327403" cy="1012048"/>
          </a:xfrm>
          <a:prstGeom prst="wedgeRoundRectCallout">
            <a:avLst>
              <a:gd name="adj1" fmla="val -54488"/>
              <a:gd name="adj2" fmla="val 77474"/>
              <a:gd name="adj3" fmla="val 16667"/>
            </a:avLst>
          </a:prstGeom>
          <a:solidFill>
            <a:srgbClr val="DFD9E3"/>
          </a:solidFill>
          <a:ln>
            <a:solidFill>
              <a:srgbClr val="50235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a:solidFill>
                  <a:srgbClr val="50235B"/>
                </a:solidFill>
              </a:rPr>
              <a:t>I can get the care and support I need no matter who I am or where I live</a:t>
            </a:r>
          </a:p>
        </p:txBody>
      </p:sp>
      <p:sp>
        <p:nvSpPr>
          <p:cNvPr id="11" name="Rectangle 10">
            <a:extLst>
              <a:ext uri="{FF2B5EF4-FFF2-40B4-BE49-F238E27FC236}">
                <a16:creationId xmlns:a16="http://schemas.microsoft.com/office/drawing/2014/main" id="{2268E45F-6B0F-9E49-A688-899F2496CF6B}"/>
              </a:ext>
            </a:extLst>
          </p:cNvPr>
          <p:cNvSpPr/>
          <p:nvPr/>
        </p:nvSpPr>
        <p:spPr>
          <a:xfrm>
            <a:off x="3308352" y="2965701"/>
            <a:ext cx="1188167" cy="1001497"/>
          </a:xfrm>
          <a:prstGeom prst="rect">
            <a:avLst/>
          </a:prstGeom>
          <a:solidFill>
            <a:schemeClr val="bg1"/>
          </a:solidFill>
          <a:ln w="12700" cap="flat" cmpd="sng" algn="ctr">
            <a:solidFill>
              <a:srgbClr val="50235B"/>
            </a:solidFill>
            <a:prstDash val="solid"/>
            <a:miter lim="800000"/>
          </a:ln>
          <a:effectLst/>
        </p:spPr>
        <p:txBody>
          <a:bodyPr rtlCol="0" anchor="ctr"/>
          <a:lstStyle/>
          <a:p>
            <a:pPr algn="ctr" defTabSz="685800">
              <a:defRPr/>
            </a:pPr>
            <a:r>
              <a:rPr lang="en-GB" sz="1200">
                <a:solidFill>
                  <a:srgbClr val="50235B"/>
                </a:solidFill>
              </a:rPr>
              <a:t>To increase wellbeing and independence</a:t>
            </a:r>
          </a:p>
        </p:txBody>
      </p:sp>
      <p:sp>
        <p:nvSpPr>
          <p:cNvPr id="40" name="Rounded Rectangular Callout 39">
            <a:extLst>
              <a:ext uri="{FF2B5EF4-FFF2-40B4-BE49-F238E27FC236}">
                <a16:creationId xmlns:a16="http://schemas.microsoft.com/office/drawing/2014/main" id="{551DA18D-B257-704C-9B01-981ED0BFCCE0}"/>
              </a:ext>
            </a:extLst>
          </p:cNvPr>
          <p:cNvSpPr/>
          <p:nvPr/>
        </p:nvSpPr>
        <p:spPr>
          <a:xfrm>
            <a:off x="4619780" y="2535430"/>
            <a:ext cx="1327403" cy="1012047"/>
          </a:xfrm>
          <a:prstGeom prst="wedgeRoundRectCallout">
            <a:avLst>
              <a:gd name="adj1" fmla="val -56948"/>
              <a:gd name="adj2" fmla="val 74247"/>
              <a:gd name="adj3" fmla="val 16667"/>
            </a:avLst>
          </a:prstGeom>
          <a:solidFill>
            <a:srgbClr val="DFD9E3"/>
          </a:solidFill>
          <a:ln>
            <a:solidFill>
              <a:srgbClr val="50235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a:solidFill>
                  <a:srgbClr val="50235B"/>
                </a:solidFill>
              </a:rPr>
              <a:t>My wellbeing is supported and I am able to live as independently as possible​</a:t>
            </a:r>
          </a:p>
        </p:txBody>
      </p:sp>
      <p:sp>
        <p:nvSpPr>
          <p:cNvPr id="33" name="Rectangle 32">
            <a:extLst>
              <a:ext uri="{FF2B5EF4-FFF2-40B4-BE49-F238E27FC236}">
                <a16:creationId xmlns:a16="http://schemas.microsoft.com/office/drawing/2014/main" id="{DC26EBA0-F03D-114A-BE3F-18DDFB6D24C7}"/>
              </a:ext>
            </a:extLst>
          </p:cNvPr>
          <p:cNvSpPr/>
          <p:nvPr/>
        </p:nvSpPr>
        <p:spPr>
          <a:xfrm>
            <a:off x="509031" y="2975240"/>
            <a:ext cx="1188168" cy="984885"/>
          </a:xfrm>
          <a:prstGeom prst="rect">
            <a:avLst/>
          </a:prstGeom>
          <a:solidFill>
            <a:schemeClr val="bg1"/>
          </a:solidFill>
          <a:ln w="12700" cap="flat" cmpd="sng" algn="ctr">
            <a:solidFill>
              <a:srgbClr val="50235B"/>
            </a:solidFill>
            <a:prstDash val="solid"/>
            <a:miter lim="800000"/>
          </a:ln>
          <a:effectLst/>
        </p:spPr>
        <p:txBody>
          <a:bodyPr rtlCol="0" anchor="ctr"/>
          <a:lstStyle/>
          <a:p>
            <a:pPr algn="ctr"/>
            <a:r>
              <a:rPr lang="en-GB" sz="1200">
                <a:solidFill>
                  <a:srgbClr val="50235B"/>
                </a:solidFill>
              </a:rPr>
              <a:t>To ensure people have a positive support experience</a:t>
            </a:r>
          </a:p>
        </p:txBody>
      </p:sp>
      <p:sp>
        <p:nvSpPr>
          <p:cNvPr id="42" name="Rounded Rectangular Callout 41">
            <a:extLst>
              <a:ext uri="{FF2B5EF4-FFF2-40B4-BE49-F238E27FC236}">
                <a16:creationId xmlns:a16="http://schemas.microsoft.com/office/drawing/2014/main" id="{08601101-FA62-104A-A08A-5797E34F9ED6}"/>
              </a:ext>
            </a:extLst>
          </p:cNvPr>
          <p:cNvSpPr/>
          <p:nvPr/>
        </p:nvSpPr>
        <p:spPr>
          <a:xfrm>
            <a:off x="1812760" y="2526471"/>
            <a:ext cx="1327403" cy="1012047"/>
          </a:xfrm>
          <a:prstGeom prst="wedgeRoundRectCallout">
            <a:avLst>
              <a:gd name="adj1" fmla="val -56948"/>
              <a:gd name="adj2" fmla="val 74247"/>
              <a:gd name="adj3" fmla="val 16667"/>
            </a:avLst>
          </a:prstGeom>
          <a:solidFill>
            <a:srgbClr val="DFD9E3"/>
          </a:solidFill>
          <a:ln>
            <a:solidFill>
              <a:srgbClr val="50235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a:solidFill>
                  <a:srgbClr val="50235B"/>
                </a:solidFill>
              </a:rPr>
              <a:t>Friendly and approachable staff support me throughout my care journey</a:t>
            </a:r>
          </a:p>
        </p:txBody>
      </p:sp>
      <p:sp>
        <p:nvSpPr>
          <p:cNvPr id="27" name="Rectangle 26">
            <a:extLst>
              <a:ext uri="{FF2B5EF4-FFF2-40B4-BE49-F238E27FC236}">
                <a16:creationId xmlns:a16="http://schemas.microsoft.com/office/drawing/2014/main" id="{8A7ED0D4-851F-9C41-AA1B-B59BF341AA0D}"/>
              </a:ext>
            </a:extLst>
          </p:cNvPr>
          <p:cNvSpPr/>
          <p:nvPr/>
        </p:nvSpPr>
        <p:spPr>
          <a:xfrm>
            <a:off x="4753559" y="4504424"/>
            <a:ext cx="1193377" cy="1253474"/>
          </a:xfrm>
          <a:prstGeom prst="rect">
            <a:avLst/>
          </a:prstGeom>
          <a:solidFill>
            <a:schemeClr val="bg1"/>
          </a:solidFill>
          <a:ln w="12700" cap="flat" cmpd="sng" algn="ctr">
            <a:solidFill>
              <a:srgbClr val="50235B"/>
            </a:solidFill>
            <a:prstDash val="solid"/>
            <a:miter lim="800000"/>
          </a:ln>
          <a:effectLst/>
        </p:spPr>
        <p:txBody>
          <a:bodyPr rtlCol="0" anchor="ctr"/>
          <a:lstStyle/>
          <a:p>
            <a:pPr algn="ctr"/>
            <a:r>
              <a:rPr lang="en-GB" sz="1200">
                <a:solidFill>
                  <a:srgbClr val="50235B"/>
                </a:solidFill>
              </a:rPr>
              <a:t>Act as one integrated system</a:t>
            </a:r>
            <a:endParaRPr lang="en-GB" sz="1200" b="1">
              <a:solidFill>
                <a:srgbClr val="50235B"/>
              </a:solidFill>
            </a:endParaRPr>
          </a:p>
        </p:txBody>
      </p:sp>
      <p:sp>
        <p:nvSpPr>
          <p:cNvPr id="31" name="Left-right Arrow 30">
            <a:extLst>
              <a:ext uri="{FF2B5EF4-FFF2-40B4-BE49-F238E27FC236}">
                <a16:creationId xmlns:a16="http://schemas.microsoft.com/office/drawing/2014/main" id="{E4D90DAF-1445-3540-9BF7-751D7147172A}"/>
              </a:ext>
            </a:extLst>
          </p:cNvPr>
          <p:cNvSpPr/>
          <p:nvPr/>
        </p:nvSpPr>
        <p:spPr>
          <a:xfrm>
            <a:off x="910749" y="5872596"/>
            <a:ext cx="10693419" cy="315684"/>
          </a:xfrm>
          <a:prstGeom prst="leftRightArrow">
            <a:avLst/>
          </a:prstGeom>
          <a:solidFill>
            <a:srgbClr val="DFD9E3"/>
          </a:solidFill>
          <a:ln w="12700" cap="flat" cmpd="sng" algn="ctr">
            <a:noFill/>
            <a:prstDash val="solid"/>
            <a:miter lim="800000"/>
          </a:ln>
          <a:effectLst/>
        </p:spPr>
        <p:txBody>
          <a:bodyPr lIns="36000" rIns="36000" rtlCol="0" anchor="ctr"/>
          <a:lstStyle/>
          <a:p>
            <a:pPr algn="ctr" defTabSz="685800">
              <a:defRPr/>
            </a:pPr>
            <a:r>
              <a:rPr lang="en-GB" sz="1050">
                <a:solidFill>
                  <a:srgbClr val="50235B"/>
                </a:solidFill>
                <a:latin typeface="Arial" panose="020B0604020202020204" pitchFamily="34" charset="0"/>
                <a:cs typeface="Arial" panose="020B0604020202020204" pitchFamily="34" charset="0"/>
              </a:rPr>
              <a:t>Patient Safety</a:t>
            </a:r>
          </a:p>
        </p:txBody>
      </p:sp>
      <p:sp>
        <p:nvSpPr>
          <p:cNvPr id="32" name="Left-right Arrow 31">
            <a:extLst>
              <a:ext uri="{FF2B5EF4-FFF2-40B4-BE49-F238E27FC236}">
                <a16:creationId xmlns:a16="http://schemas.microsoft.com/office/drawing/2014/main" id="{DCA2AF9B-2F13-0A47-8335-9A9507521FEC}"/>
              </a:ext>
            </a:extLst>
          </p:cNvPr>
          <p:cNvSpPr/>
          <p:nvPr/>
        </p:nvSpPr>
        <p:spPr>
          <a:xfrm>
            <a:off x="910748" y="6177557"/>
            <a:ext cx="10693419" cy="315684"/>
          </a:xfrm>
          <a:prstGeom prst="leftRightArrow">
            <a:avLst/>
          </a:prstGeom>
          <a:solidFill>
            <a:srgbClr val="DFD9E3"/>
          </a:solidFill>
          <a:ln w="12700" cap="flat" cmpd="sng" algn="ctr">
            <a:noFill/>
            <a:prstDash val="solid"/>
            <a:miter lim="800000"/>
          </a:ln>
          <a:effectLst/>
        </p:spPr>
        <p:txBody>
          <a:bodyPr lIns="36000" rIns="36000" rtlCol="0" anchor="ctr"/>
          <a:lstStyle/>
          <a:p>
            <a:pPr algn="ctr" defTabSz="685800">
              <a:defRPr/>
            </a:pPr>
            <a:r>
              <a:rPr lang="en-GB" sz="1050">
                <a:solidFill>
                  <a:srgbClr val="50235B"/>
                </a:solidFill>
                <a:latin typeface="Arial" panose="020B0604020202020204" pitchFamily="34" charset="0"/>
                <a:cs typeface="Arial" panose="020B0604020202020204" pitchFamily="34" charset="0"/>
              </a:rPr>
              <a:t>Positive risk taking</a:t>
            </a:r>
          </a:p>
        </p:txBody>
      </p:sp>
      <p:sp>
        <p:nvSpPr>
          <p:cNvPr id="35" name="Left-right Arrow 34">
            <a:extLst>
              <a:ext uri="{FF2B5EF4-FFF2-40B4-BE49-F238E27FC236}">
                <a16:creationId xmlns:a16="http://schemas.microsoft.com/office/drawing/2014/main" id="{19C6468E-F4CB-4B47-95DB-368B01CD4FA6}"/>
              </a:ext>
            </a:extLst>
          </p:cNvPr>
          <p:cNvSpPr/>
          <p:nvPr/>
        </p:nvSpPr>
        <p:spPr>
          <a:xfrm>
            <a:off x="910748" y="6482517"/>
            <a:ext cx="10693419" cy="315684"/>
          </a:xfrm>
          <a:prstGeom prst="leftRightArrow">
            <a:avLst/>
          </a:prstGeom>
          <a:solidFill>
            <a:srgbClr val="DFD9E3"/>
          </a:solidFill>
          <a:ln w="12700" cap="flat" cmpd="sng" algn="ctr">
            <a:noFill/>
            <a:prstDash val="solid"/>
            <a:miter lim="800000"/>
          </a:ln>
          <a:effectLst/>
        </p:spPr>
        <p:txBody>
          <a:bodyPr lIns="36000" rIns="36000" rtlCol="0" anchor="ctr"/>
          <a:lstStyle/>
          <a:p>
            <a:pPr algn="ctr" defTabSz="685800">
              <a:defRPr/>
            </a:pPr>
            <a:r>
              <a:rPr lang="en-GB" sz="1050">
                <a:solidFill>
                  <a:srgbClr val="50235B"/>
                </a:solidFill>
                <a:latin typeface="Arial" panose="020B0604020202020204" pitchFamily="34" charset="0"/>
                <a:cs typeface="Arial" panose="020B0604020202020204" pitchFamily="34" charset="0"/>
              </a:rPr>
              <a:t>Appropriate levels of funding</a:t>
            </a:r>
          </a:p>
        </p:txBody>
      </p:sp>
      <p:sp>
        <p:nvSpPr>
          <p:cNvPr id="7" name="TextBox 6">
            <a:extLst>
              <a:ext uri="{FF2B5EF4-FFF2-40B4-BE49-F238E27FC236}">
                <a16:creationId xmlns:a16="http://schemas.microsoft.com/office/drawing/2014/main" id="{4E5F52BF-C941-9C41-BEBD-3E19F5FA1276}"/>
              </a:ext>
            </a:extLst>
          </p:cNvPr>
          <p:cNvSpPr txBox="1"/>
          <p:nvPr/>
        </p:nvSpPr>
        <p:spPr>
          <a:xfrm rot="16200000">
            <a:off x="212800" y="6100253"/>
            <a:ext cx="995786" cy="400110"/>
          </a:xfrm>
          <a:prstGeom prst="rect">
            <a:avLst/>
          </a:prstGeom>
          <a:solidFill>
            <a:srgbClr val="50235B"/>
          </a:solidFill>
        </p:spPr>
        <p:txBody>
          <a:bodyPr wrap="none" rtlCol="0">
            <a:spAutoFit/>
          </a:bodyPr>
          <a:lstStyle/>
          <a:p>
            <a:pPr algn="ctr"/>
            <a:r>
              <a:rPr lang="en-GB" sz="1000" b="1">
                <a:solidFill>
                  <a:schemeClr val="bg1"/>
                </a:solidFill>
              </a:rPr>
              <a:t>Core</a:t>
            </a:r>
          </a:p>
          <a:p>
            <a:pPr algn="ctr"/>
            <a:r>
              <a:rPr lang="en-GB" sz="1000" b="1">
                <a:solidFill>
                  <a:schemeClr val="bg1"/>
                </a:solidFill>
              </a:rPr>
              <a:t>Assumptions</a:t>
            </a:r>
          </a:p>
        </p:txBody>
      </p:sp>
      <p:sp>
        <p:nvSpPr>
          <p:cNvPr id="29" name="Rectangle 28">
            <a:extLst>
              <a:ext uri="{FF2B5EF4-FFF2-40B4-BE49-F238E27FC236}">
                <a16:creationId xmlns:a16="http://schemas.microsoft.com/office/drawing/2014/main" id="{76739A09-28BB-8D4C-973E-BDE6FCD0BE69}"/>
              </a:ext>
            </a:extLst>
          </p:cNvPr>
          <p:cNvSpPr/>
          <p:nvPr/>
        </p:nvSpPr>
        <p:spPr>
          <a:xfrm>
            <a:off x="10410790" y="4507928"/>
            <a:ext cx="1193377" cy="1253473"/>
          </a:xfrm>
          <a:prstGeom prst="rect">
            <a:avLst/>
          </a:prstGeom>
          <a:solidFill>
            <a:schemeClr val="bg1"/>
          </a:solidFill>
          <a:ln w="12700" cap="flat" cmpd="sng" algn="ctr">
            <a:solidFill>
              <a:srgbClr val="50235B"/>
            </a:solidFill>
            <a:prstDash val="solid"/>
            <a:miter lim="800000"/>
          </a:ln>
          <a:effectLst/>
        </p:spPr>
        <p:txBody>
          <a:bodyPr rtlCol="0" anchor="ctr"/>
          <a:lstStyle/>
          <a:p>
            <a:pPr algn="ctr"/>
            <a:r>
              <a:rPr lang="en-GB" sz="1200">
                <a:solidFill>
                  <a:srgbClr val="50235B"/>
                </a:solidFill>
              </a:rPr>
              <a:t>Supported transition from services</a:t>
            </a:r>
          </a:p>
        </p:txBody>
      </p:sp>
    </p:spTree>
    <p:extLst>
      <p:ext uri="{BB962C8B-B14F-4D97-AF65-F5344CB8AC3E}">
        <p14:creationId xmlns:p14="http://schemas.microsoft.com/office/powerpoint/2010/main" val="206569464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1DEC92A-C88D-F946-A1A9-8B38E6C4179D}"/>
              </a:ext>
            </a:extLst>
          </p:cNvPr>
          <p:cNvSpPr/>
          <p:nvPr/>
        </p:nvSpPr>
        <p:spPr>
          <a:xfrm>
            <a:off x="517131" y="1623206"/>
            <a:ext cx="3162458" cy="260222"/>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lish-GB" sz="1200" b="1">
                <a:solidFill>
                  <a:srgbClr val="50235C"/>
                </a:solidFill>
              </a:rPr>
              <a:t>Approach &amp; </a:t>
            </a:r>
            <a:r>
              <a:rPr lang="en-GB" sz="1200" b="1">
                <a:solidFill>
                  <a:srgbClr val="50235C"/>
                </a:solidFill>
              </a:rPr>
              <a:t>o</a:t>
            </a:r>
            <a:r>
              <a:rPr lang="english-GB" sz="1200" b="1">
                <a:solidFill>
                  <a:srgbClr val="50235C"/>
                </a:solidFill>
              </a:rPr>
              <a:t>utput</a:t>
            </a:r>
          </a:p>
        </p:txBody>
      </p:sp>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8833"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800" b="0" i="0" u="none" strike="noStrike" kern="1200" cap="none" spc="0" normalizeH="0" baseline="0" noProof="0">
              <a:ln>
                <a:noFill/>
              </a:ln>
              <a:solidFill>
                <a:srgbClr val="FFFFFF"/>
              </a:solidFill>
              <a:effectLst/>
              <a:uLnTx/>
              <a:uFillTx/>
              <a:latin typeface="Arial" panose="020B0604020202020204"/>
              <a:ea typeface="+mn-ea"/>
              <a:cs typeface="+mn-cs"/>
              <a:sym typeface="Arial" panose="020B0604020202020204" pitchFamily="34" charset="0"/>
            </a:endParaRPr>
          </a:p>
        </p:txBody>
      </p:sp>
      <p:sp>
        <p:nvSpPr>
          <p:cNvPr id="2" name="Title 1"/>
          <p:cNvSpPr>
            <a:spLocks noGrp="1"/>
          </p:cNvSpPr>
          <p:nvPr>
            <p:ph type="title"/>
          </p:nvPr>
        </p:nvSpPr>
        <p:spPr>
          <a:xfrm>
            <a:off x="510638" y="297277"/>
            <a:ext cx="9321425" cy="434010"/>
          </a:xfrm>
          <a:prstGeom prst="rect">
            <a:avLst/>
          </a:prstGeom>
        </p:spPr>
        <p:txBody>
          <a:bodyPr/>
          <a:lstStyle/>
          <a:p>
            <a:r>
              <a:rPr lang="en-GB"/>
              <a:t>Executive summary: Roadmap</a:t>
            </a:r>
          </a:p>
        </p:txBody>
      </p:sp>
      <p:sp>
        <p:nvSpPr>
          <p:cNvPr id="5" name="Footer Placeholder 4">
            <a:extLst>
              <a:ext uri="{FF2B5EF4-FFF2-40B4-BE49-F238E27FC236}">
                <a16:creationId xmlns:a16="http://schemas.microsoft.com/office/drawing/2014/main" id="{8378A888-C2F3-1F46-BFE9-6AED0C113342}"/>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50235C"/>
                </a:solidFill>
                <a:effectLst/>
                <a:uLnTx/>
                <a:uFillTx/>
                <a:latin typeface="Arial" panose="020B0604020202020204"/>
                <a:ea typeface="+mn-ea"/>
                <a:cs typeface="+mn-cs"/>
              </a:rPr>
              <a:t>© Moorhouse 2021 [Restricted]</a:t>
            </a:r>
          </a:p>
        </p:txBody>
      </p:sp>
      <p:sp>
        <p:nvSpPr>
          <p:cNvPr id="27" name="Rectangle 26">
            <a:extLst>
              <a:ext uri="{FF2B5EF4-FFF2-40B4-BE49-F238E27FC236}">
                <a16:creationId xmlns:a16="http://schemas.microsoft.com/office/drawing/2014/main" id="{4EFAD1A4-9034-8448-A693-CCB4220B8B5E}"/>
              </a:ext>
            </a:extLst>
          </p:cNvPr>
          <p:cNvSpPr/>
          <p:nvPr/>
        </p:nvSpPr>
        <p:spPr>
          <a:xfrm>
            <a:off x="510638" y="871696"/>
            <a:ext cx="11272233" cy="461665"/>
          </a:xfrm>
          <a:prstGeom prst="rect">
            <a:avLst/>
          </a:prstGeom>
        </p:spPr>
        <p:txBody>
          <a:bodyPr wrap="square" lIns="0">
            <a:spAutoFit/>
          </a:bodyPr>
          <a:lstStyle/>
          <a:p>
            <a:r>
              <a:rPr lang="en-GB" sz="1200" b="1">
                <a:solidFill>
                  <a:srgbClr val="51235C"/>
                </a:solidFill>
                <a:latin typeface="Arial" panose="020B0604020202020204" pitchFamily="34" charset="0"/>
                <a:cs typeface="Arial" panose="020B0604020202020204" pitchFamily="34" charset="0"/>
              </a:rPr>
              <a:t>A roadmap for the implementation of the vision and strategy for mental health services was created to support the system to prioritise and drive forward a series of recommendations. </a:t>
            </a:r>
          </a:p>
        </p:txBody>
      </p:sp>
      <p:cxnSp>
        <p:nvCxnSpPr>
          <p:cNvPr id="29" name="Straight Connector 28">
            <a:extLst>
              <a:ext uri="{FF2B5EF4-FFF2-40B4-BE49-F238E27FC236}">
                <a16:creationId xmlns:a16="http://schemas.microsoft.com/office/drawing/2014/main" id="{614F206B-05A2-7C4C-95E4-28B2D9B67F64}"/>
              </a:ext>
            </a:extLst>
          </p:cNvPr>
          <p:cNvCxnSpPr>
            <a:cxnSpLocks/>
          </p:cNvCxnSpPr>
          <p:nvPr/>
        </p:nvCxnSpPr>
        <p:spPr>
          <a:xfrm>
            <a:off x="4114360" y="1999792"/>
            <a:ext cx="0" cy="4207845"/>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762DF57-84A7-E447-9663-FFF81F2335B2}"/>
              </a:ext>
            </a:extLst>
          </p:cNvPr>
          <p:cNvCxnSpPr>
            <a:cxnSpLocks/>
          </p:cNvCxnSpPr>
          <p:nvPr/>
        </p:nvCxnSpPr>
        <p:spPr>
          <a:xfrm>
            <a:off x="8071378" y="1999792"/>
            <a:ext cx="0" cy="4207845"/>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5831CEDB-D38E-1343-BE9C-83F0EFBBD13F}"/>
              </a:ext>
            </a:extLst>
          </p:cNvPr>
          <p:cNvSpPr txBox="1"/>
          <p:nvPr/>
        </p:nvSpPr>
        <p:spPr>
          <a:xfrm>
            <a:off x="4491059" y="1623206"/>
            <a:ext cx="3162467" cy="276999"/>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2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b="1">
                <a:solidFill>
                  <a:srgbClr val="50235C"/>
                </a:solidFill>
              </a:rPr>
              <a:t>Findings</a:t>
            </a:r>
          </a:p>
        </p:txBody>
      </p:sp>
      <p:sp>
        <p:nvSpPr>
          <p:cNvPr id="40" name="TextBox 39">
            <a:extLst>
              <a:ext uri="{FF2B5EF4-FFF2-40B4-BE49-F238E27FC236}">
                <a16:creationId xmlns:a16="http://schemas.microsoft.com/office/drawing/2014/main" id="{E1C0E2C8-7B47-E548-A07D-68D7A4F22BA7}"/>
              </a:ext>
            </a:extLst>
          </p:cNvPr>
          <p:cNvSpPr txBox="1"/>
          <p:nvPr/>
        </p:nvSpPr>
        <p:spPr>
          <a:xfrm>
            <a:off x="8464995" y="1623206"/>
            <a:ext cx="3162467" cy="276999"/>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2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b="1">
                <a:solidFill>
                  <a:srgbClr val="50235C"/>
                </a:solidFill>
              </a:rPr>
              <a:t>Recommendations &amp; next steps</a:t>
            </a:r>
          </a:p>
        </p:txBody>
      </p:sp>
      <p:sp>
        <p:nvSpPr>
          <p:cNvPr id="43" name="Rectangle 42">
            <a:extLst>
              <a:ext uri="{FF2B5EF4-FFF2-40B4-BE49-F238E27FC236}">
                <a16:creationId xmlns:a16="http://schemas.microsoft.com/office/drawing/2014/main" id="{6722C459-EA4B-9046-BFE4-5ADCCCE9822B}"/>
              </a:ext>
            </a:extLst>
          </p:cNvPr>
          <p:cNvSpPr/>
          <p:nvPr/>
        </p:nvSpPr>
        <p:spPr>
          <a:xfrm rot="16200000">
            <a:off x="-531889" y="5494598"/>
            <a:ext cx="1668641" cy="276999"/>
          </a:xfrm>
          <a:prstGeom prst="rect">
            <a:avLst/>
          </a:prstGeom>
        </p:spPr>
        <p:txBody>
          <a:bodyPr wrap="square" lIns="0">
            <a:spAutoFit/>
          </a:bodyPr>
          <a:lstStyle/>
          <a:p>
            <a:pPr algn="ctr"/>
            <a:r>
              <a:rPr lang="en-GB" sz="1200" b="1">
                <a:solidFill>
                  <a:srgbClr val="51235C"/>
                </a:solidFill>
                <a:latin typeface="Arial" panose="020B0604020202020204" pitchFamily="34" charset="0"/>
                <a:cs typeface="Arial" panose="020B0604020202020204" pitchFamily="34" charset="0"/>
              </a:rPr>
              <a:t>Output</a:t>
            </a:r>
          </a:p>
        </p:txBody>
      </p:sp>
      <p:sp>
        <p:nvSpPr>
          <p:cNvPr id="44" name="Rectangle 43">
            <a:extLst>
              <a:ext uri="{FF2B5EF4-FFF2-40B4-BE49-F238E27FC236}">
                <a16:creationId xmlns:a16="http://schemas.microsoft.com/office/drawing/2014/main" id="{94F77078-9FB8-334E-9C10-E9F04E16BBA7}"/>
              </a:ext>
            </a:extLst>
          </p:cNvPr>
          <p:cNvSpPr/>
          <p:nvPr/>
        </p:nvSpPr>
        <p:spPr>
          <a:xfrm>
            <a:off x="517131" y="4892082"/>
            <a:ext cx="3162457" cy="1448773"/>
          </a:xfrm>
          <a:prstGeom prst="rect">
            <a:avLst/>
          </a:prstGeom>
          <a:solidFill>
            <a:srgbClr val="F1ED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9" name="TextBox 48">
            <a:extLst>
              <a:ext uri="{FF2B5EF4-FFF2-40B4-BE49-F238E27FC236}">
                <a16:creationId xmlns:a16="http://schemas.microsoft.com/office/drawing/2014/main" id="{EB12C5EA-D5E9-6642-B105-31F682D36F5D}"/>
              </a:ext>
            </a:extLst>
          </p:cNvPr>
          <p:cNvSpPr txBox="1"/>
          <p:nvPr/>
        </p:nvSpPr>
        <p:spPr>
          <a:xfrm>
            <a:off x="681507" y="5932876"/>
            <a:ext cx="1079645" cy="246221"/>
          </a:xfrm>
          <a:prstGeom prst="rect">
            <a:avLst/>
          </a:prstGeom>
          <a:noFill/>
        </p:spPr>
        <p:txBody>
          <a:bodyPr wrap="square" lIns="91440" tIns="45720" rIns="91440" bIns="45720" rtlCol="0" anchor="t">
            <a:spAutoFit/>
          </a:bodyPr>
          <a:lstStyle/>
          <a:p>
            <a:pPr marR="0" lvl="0" algn="ctr" defTabSz="914400" rtl="0" eaLnBrk="1" fontAlgn="auto" latinLnBrk="0" hangingPunct="1">
              <a:lnSpc>
                <a:spcPct val="100000"/>
              </a:lnSpc>
              <a:spcBef>
                <a:spcPts val="0"/>
              </a:spcBef>
              <a:spcAft>
                <a:spcPts val="600"/>
              </a:spcAft>
              <a:buClr>
                <a:srgbClr val="50235C"/>
              </a:buClr>
              <a:buSzTx/>
              <a:tabLst/>
              <a:defRPr/>
            </a:pPr>
            <a:r>
              <a:rPr kumimoji="0" lang="en-GB" sz="10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rPr>
              <a:t>Roadmap</a:t>
            </a:r>
          </a:p>
        </p:txBody>
      </p:sp>
      <p:sp>
        <p:nvSpPr>
          <p:cNvPr id="51" name="TextBox 50">
            <a:extLst>
              <a:ext uri="{FF2B5EF4-FFF2-40B4-BE49-F238E27FC236}">
                <a16:creationId xmlns:a16="http://schemas.microsoft.com/office/drawing/2014/main" id="{390FA1DD-16DF-2E48-8A6B-AA33E10B0B14}"/>
              </a:ext>
            </a:extLst>
          </p:cNvPr>
          <p:cNvSpPr txBox="1"/>
          <p:nvPr/>
        </p:nvSpPr>
        <p:spPr>
          <a:xfrm>
            <a:off x="510638" y="2093538"/>
            <a:ext cx="3162457" cy="2554545"/>
          </a:xfrm>
          <a:prstGeom prst="rect">
            <a:avLst/>
          </a:prstGeom>
          <a:noFill/>
        </p:spPr>
        <p:txBody>
          <a:bodyPr wrap="square" rtlCol="0">
            <a:spAutoFit/>
          </a:bodyPr>
          <a:lstStyle/>
          <a:p>
            <a:pPr marL="171450" lvl="0" indent="-171450" defTabSz="685800">
              <a:spcBef>
                <a:spcPts val="600"/>
              </a:spcBef>
              <a:spcAft>
                <a:spcPts val="600"/>
              </a:spcAft>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Using the outputs from the gap analysis, the</a:t>
            </a:r>
            <a:r>
              <a:rPr lang="en-GB" sz="1000" b="1">
                <a:solidFill>
                  <a:schemeClr val="tx2">
                    <a:lumMod val="65000"/>
                    <a:lumOff val="35000"/>
                  </a:schemeClr>
                </a:solidFill>
                <a:latin typeface="Arial" panose="020B0604020202020204" pitchFamily="34" charset="0"/>
                <a:cs typeface="Arial" panose="020B0604020202020204" pitchFamily="34" charset="0"/>
              </a:rPr>
              <a:t> current activities across the system were identified and mapped </a:t>
            </a:r>
            <a:r>
              <a:rPr lang="en-GB" sz="1000">
                <a:solidFill>
                  <a:schemeClr val="tx2">
                    <a:lumMod val="65000"/>
                    <a:lumOff val="35000"/>
                  </a:schemeClr>
                </a:solidFill>
                <a:latin typeface="Arial" panose="020B0604020202020204" pitchFamily="34" charset="0"/>
                <a:cs typeface="Arial" panose="020B0604020202020204" pitchFamily="34" charset="0"/>
              </a:rPr>
              <a:t>to each strategic priority. </a:t>
            </a:r>
          </a:p>
          <a:p>
            <a:pPr marL="171450" lvl="0" indent="-171450" defTabSz="685800">
              <a:spcBef>
                <a:spcPts val="600"/>
              </a:spcBef>
              <a:spcAft>
                <a:spcPts val="600"/>
              </a:spcAft>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Next, a series of workshops were held, co-producing </a:t>
            </a:r>
            <a:r>
              <a:rPr lang="en-GB" sz="1000" b="1">
                <a:solidFill>
                  <a:schemeClr val="tx2">
                    <a:lumMod val="65000"/>
                    <a:lumOff val="35000"/>
                  </a:schemeClr>
                </a:solidFill>
                <a:latin typeface="Arial" panose="020B0604020202020204" pitchFamily="34" charset="0"/>
                <a:cs typeface="Arial" panose="020B0604020202020204" pitchFamily="34" charset="0"/>
              </a:rPr>
              <a:t>70 recommendations </a:t>
            </a:r>
            <a:r>
              <a:rPr lang="en-GB" sz="1000">
                <a:solidFill>
                  <a:schemeClr val="tx2">
                    <a:lumMod val="65000"/>
                    <a:lumOff val="35000"/>
                  </a:schemeClr>
                </a:solidFill>
                <a:latin typeface="Arial" panose="020B0604020202020204" pitchFamily="34" charset="0"/>
                <a:cs typeface="Arial" panose="020B0604020202020204" pitchFamily="34" charset="0"/>
              </a:rPr>
              <a:t>with the ICS leadership,</a:t>
            </a:r>
            <a:r>
              <a:rPr lang="en-GB" sz="1000" b="1">
                <a:solidFill>
                  <a:schemeClr val="tx2">
                    <a:lumMod val="65000"/>
                    <a:lumOff val="35000"/>
                  </a:schemeClr>
                </a:solidFill>
                <a:latin typeface="Arial" panose="020B0604020202020204" pitchFamily="34" charset="0"/>
                <a:cs typeface="Arial" panose="020B0604020202020204" pitchFamily="34" charset="0"/>
              </a:rPr>
              <a:t> </a:t>
            </a:r>
            <a:r>
              <a:rPr lang="en-GB" sz="1000">
                <a:solidFill>
                  <a:schemeClr val="tx2">
                    <a:lumMod val="65000"/>
                    <a:lumOff val="35000"/>
                  </a:schemeClr>
                </a:solidFill>
                <a:latin typeface="Arial" panose="020B0604020202020204" pitchFamily="34" charset="0"/>
                <a:cs typeface="Arial" panose="020B0604020202020204" pitchFamily="34" charset="0"/>
              </a:rPr>
              <a:t>to support the delivery of each of the priority areas. </a:t>
            </a:r>
          </a:p>
          <a:p>
            <a:pPr marL="171450" lvl="0" indent="-171450" defTabSz="685800">
              <a:spcBef>
                <a:spcPts val="600"/>
              </a:spcBef>
              <a:spcAft>
                <a:spcPts val="600"/>
              </a:spcAft>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A </a:t>
            </a:r>
            <a:r>
              <a:rPr lang="en-GB" sz="1000" b="1">
                <a:solidFill>
                  <a:schemeClr val="tx2">
                    <a:lumMod val="65000"/>
                    <a:lumOff val="35000"/>
                  </a:schemeClr>
                </a:solidFill>
                <a:latin typeface="Arial" panose="020B0604020202020204" pitchFamily="34" charset="0"/>
                <a:cs typeface="Arial" panose="020B0604020202020204" pitchFamily="34" charset="0"/>
              </a:rPr>
              <a:t>prioritisation exercise </a:t>
            </a:r>
            <a:r>
              <a:rPr lang="en-GB" sz="1000">
                <a:solidFill>
                  <a:schemeClr val="tx2">
                    <a:lumMod val="65000"/>
                    <a:lumOff val="35000"/>
                  </a:schemeClr>
                </a:solidFill>
                <a:latin typeface="Arial" panose="020B0604020202020204" pitchFamily="34" charset="0"/>
                <a:cs typeface="Arial" panose="020B0604020202020204" pitchFamily="34" charset="0"/>
              </a:rPr>
              <a:t>was completed with key stakeholders to assess the impact, ease, resource required and timeline of delivery. </a:t>
            </a:r>
          </a:p>
          <a:p>
            <a:pPr marL="171450" lvl="0" indent="-171450" defTabSz="685800">
              <a:spcBef>
                <a:spcPts val="600"/>
              </a:spcBef>
              <a:spcAft>
                <a:spcPts val="600"/>
              </a:spcAft>
              <a:buFont typeface="Arial" panose="020B0604020202020204" pitchFamily="34" charset="0"/>
              <a:buChar char="•"/>
              <a:defRPr/>
            </a:pPr>
            <a:r>
              <a:rPr lang="en-GB" sz="1000">
                <a:solidFill>
                  <a:schemeClr val="tx2">
                    <a:lumMod val="65000"/>
                    <a:lumOff val="35000"/>
                  </a:schemeClr>
                </a:solidFill>
                <a:latin typeface="Arial" panose="020B0604020202020204" pitchFamily="34" charset="0"/>
                <a:cs typeface="Arial" panose="020B0604020202020204" pitchFamily="34" charset="0"/>
              </a:rPr>
              <a:t>These </a:t>
            </a:r>
            <a:r>
              <a:rPr lang="en-GB" sz="1000" b="1">
                <a:solidFill>
                  <a:schemeClr val="tx2">
                    <a:lumMod val="65000"/>
                    <a:lumOff val="35000"/>
                  </a:schemeClr>
                </a:solidFill>
                <a:latin typeface="Arial" panose="020B0604020202020204" pitchFamily="34" charset="0"/>
                <a:cs typeface="Arial" panose="020B0604020202020204" pitchFamily="34" charset="0"/>
              </a:rPr>
              <a:t>recommendations were then mapped to produce a prioritised roadmap </a:t>
            </a:r>
            <a:r>
              <a:rPr lang="en-GB" sz="1000">
                <a:solidFill>
                  <a:schemeClr val="tx2">
                    <a:lumMod val="65000"/>
                    <a:lumOff val="35000"/>
                  </a:schemeClr>
                </a:solidFill>
                <a:latin typeface="Arial" panose="020B0604020202020204" pitchFamily="34" charset="0"/>
                <a:cs typeface="Arial" panose="020B0604020202020204" pitchFamily="34" charset="0"/>
              </a:rPr>
              <a:t>to support delivery. </a:t>
            </a:r>
          </a:p>
        </p:txBody>
      </p:sp>
      <p:sp>
        <p:nvSpPr>
          <p:cNvPr id="21" name="TextBox 20">
            <a:extLst>
              <a:ext uri="{FF2B5EF4-FFF2-40B4-BE49-F238E27FC236}">
                <a16:creationId xmlns:a16="http://schemas.microsoft.com/office/drawing/2014/main" id="{A304E711-3C9F-5048-87C2-367B868CA4C9}"/>
              </a:ext>
            </a:extLst>
          </p:cNvPr>
          <p:cNvSpPr txBox="1"/>
          <p:nvPr/>
        </p:nvSpPr>
        <p:spPr>
          <a:xfrm>
            <a:off x="4403144" y="2093538"/>
            <a:ext cx="3384911" cy="4555093"/>
          </a:xfrm>
          <a:prstGeom prst="rect">
            <a:avLst/>
          </a:prstGeom>
          <a:noFill/>
        </p:spPr>
        <p:txBody>
          <a:bodyPr wrap="square" rtlCol="0">
            <a:spAutoFit/>
          </a:bodyPr>
          <a:lstStyle/>
          <a:p>
            <a:pPr marL="17463" lvl="1" defTabSz="685800">
              <a:spcBef>
                <a:spcPts val="200"/>
              </a:spcBef>
              <a:spcAft>
                <a:spcPts val="200"/>
              </a:spcAft>
              <a:tabLst>
                <a:tab pos="2116138" algn="l"/>
              </a:tabLst>
              <a:defRPr/>
            </a:pPr>
            <a:r>
              <a:rPr lang="en-GB" sz="1000">
                <a:solidFill>
                  <a:schemeClr val="tx2">
                    <a:lumMod val="65000"/>
                    <a:lumOff val="35000"/>
                  </a:schemeClr>
                </a:solidFill>
                <a:latin typeface="Arial" panose="020B0604020202020204" pitchFamily="34" charset="0"/>
                <a:cs typeface="Arial" panose="020B0604020202020204" pitchFamily="34" charset="0"/>
              </a:rPr>
              <a:t>For each strategic priority a series of prioritised recommendations were produced:</a:t>
            </a:r>
          </a:p>
          <a:p>
            <a:pPr marL="188913" lvl="1" indent="-171450" defTabSz="685800">
              <a:spcBef>
                <a:spcPts val="200"/>
              </a:spcBef>
              <a:spcAft>
                <a:spcPts val="200"/>
              </a:spcAft>
              <a:buFont typeface="Arial" panose="020B0604020202020204" pitchFamily="34" charset="0"/>
              <a:buChar char="•"/>
              <a:defRPr/>
            </a:pPr>
            <a:r>
              <a:rPr lang="en-GB" sz="1000" b="1">
                <a:solidFill>
                  <a:schemeClr val="tx2">
                    <a:lumMod val="65000"/>
                    <a:lumOff val="35000"/>
                  </a:schemeClr>
                </a:solidFill>
                <a:latin typeface="Arial" panose="020B0604020202020204" pitchFamily="34" charset="0"/>
                <a:cs typeface="Arial" panose="020B0604020202020204" pitchFamily="34" charset="0"/>
              </a:rPr>
              <a:t>Raise the profile and awareness of Mental Health </a:t>
            </a:r>
            <a:r>
              <a:rPr lang="en-GB" sz="1000">
                <a:solidFill>
                  <a:schemeClr val="tx2">
                    <a:lumMod val="65000"/>
                    <a:lumOff val="35000"/>
                  </a:schemeClr>
                </a:solidFill>
                <a:latin typeface="Arial" panose="020B0604020202020204" pitchFamily="34" charset="0"/>
                <a:cs typeface="Arial" panose="020B0604020202020204" pitchFamily="34" charset="0"/>
              </a:rPr>
              <a:t>– eight recommendations were produced including one quick win. </a:t>
            </a:r>
          </a:p>
          <a:p>
            <a:pPr marL="188913" lvl="1" indent="-171450" defTabSz="685800">
              <a:spcBef>
                <a:spcPts val="200"/>
              </a:spcBef>
              <a:spcAft>
                <a:spcPts val="200"/>
              </a:spcAft>
              <a:buFont typeface="Arial" panose="020B0604020202020204" pitchFamily="34" charset="0"/>
              <a:buChar char="•"/>
              <a:defRPr/>
            </a:pPr>
            <a:r>
              <a:rPr lang="en-GB" sz="1000" b="1">
                <a:solidFill>
                  <a:schemeClr val="tx2">
                    <a:lumMod val="65000"/>
                    <a:lumOff val="35000"/>
                  </a:schemeClr>
                </a:solidFill>
                <a:latin typeface="Arial" panose="020B0604020202020204" pitchFamily="34" charset="0"/>
                <a:cs typeface="Arial" panose="020B0604020202020204" pitchFamily="34" charset="0"/>
              </a:rPr>
              <a:t>Proactive prevention </a:t>
            </a:r>
            <a:r>
              <a:rPr lang="en-GB" sz="1000">
                <a:solidFill>
                  <a:schemeClr val="tx2">
                    <a:lumMod val="65000"/>
                    <a:lumOff val="35000"/>
                  </a:schemeClr>
                </a:solidFill>
                <a:latin typeface="Arial" panose="020B0604020202020204" pitchFamily="34" charset="0"/>
                <a:cs typeface="Arial" panose="020B0604020202020204" pitchFamily="34" charset="0"/>
              </a:rPr>
              <a:t>– 10 recommendations were produced with delivery focused over the medium to long term. </a:t>
            </a:r>
          </a:p>
          <a:p>
            <a:pPr marL="188913" lvl="1" indent="-171450" defTabSz="685800">
              <a:spcBef>
                <a:spcPts val="200"/>
              </a:spcBef>
              <a:spcAft>
                <a:spcPts val="200"/>
              </a:spcAft>
              <a:buFont typeface="Arial" panose="020B0604020202020204" pitchFamily="34" charset="0"/>
              <a:buChar char="•"/>
              <a:defRPr/>
            </a:pPr>
            <a:r>
              <a:rPr lang="en-GB" sz="1000" b="1">
                <a:solidFill>
                  <a:schemeClr val="tx2">
                    <a:lumMod val="65000"/>
                    <a:lumOff val="35000"/>
                  </a:schemeClr>
                </a:solidFill>
                <a:latin typeface="Arial" panose="020B0604020202020204" pitchFamily="34" charset="0"/>
                <a:cs typeface="Arial" panose="020B0604020202020204" pitchFamily="34" charset="0"/>
              </a:rPr>
              <a:t>Easy access to support and services </a:t>
            </a:r>
            <a:r>
              <a:rPr lang="en-GB" sz="1000">
                <a:solidFill>
                  <a:schemeClr val="tx2">
                    <a:lumMod val="65000"/>
                    <a:lumOff val="35000"/>
                  </a:schemeClr>
                </a:solidFill>
                <a:latin typeface="Arial" panose="020B0604020202020204" pitchFamily="34" charset="0"/>
                <a:cs typeface="Arial" panose="020B0604020202020204" pitchFamily="34" charset="0"/>
              </a:rPr>
              <a:t>– 10 recommendations were produced with a focus on awareness of and access to the front door. </a:t>
            </a:r>
          </a:p>
          <a:p>
            <a:pPr marL="188913" lvl="1" indent="-171450" defTabSz="685800">
              <a:spcBef>
                <a:spcPts val="200"/>
              </a:spcBef>
              <a:spcAft>
                <a:spcPts val="200"/>
              </a:spcAft>
              <a:buFont typeface="Arial" panose="020B0604020202020204" pitchFamily="34" charset="0"/>
              <a:buChar char="•"/>
              <a:defRPr/>
            </a:pPr>
            <a:r>
              <a:rPr lang="en-GB" sz="1000" b="1">
                <a:solidFill>
                  <a:schemeClr val="tx2">
                    <a:lumMod val="65000"/>
                    <a:lumOff val="35000"/>
                  </a:schemeClr>
                </a:solidFill>
                <a:latin typeface="Arial" panose="020B0604020202020204" pitchFamily="34" charset="0"/>
                <a:cs typeface="Arial" panose="020B0604020202020204" pitchFamily="34" charset="0"/>
              </a:rPr>
              <a:t>Act as one integrated system </a:t>
            </a:r>
            <a:r>
              <a:rPr lang="en-GB" sz="1000">
                <a:solidFill>
                  <a:schemeClr val="tx2">
                    <a:lumMod val="65000"/>
                    <a:lumOff val="35000"/>
                  </a:schemeClr>
                </a:solidFill>
                <a:latin typeface="Arial" panose="020B0604020202020204" pitchFamily="34" charset="0"/>
                <a:cs typeface="Arial" panose="020B0604020202020204" pitchFamily="34" charset="0"/>
              </a:rPr>
              <a:t>– eight recommendations were produced including one quick win focused on place-based leadership. </a:t>
            </a:r>
          </a:p>
          <a:p>
            <a:pPr marL="188913" lvl="1" indent="-171450" defTabSz="685800">
              <a:spcBef>
                <a:spcPts val="200"/>
              </a:spcBef>
              <a:spcAft>
                <a:spcPts val="200"/>
              </a:spcAft>
              <a:buFont typeface="Arial" panose="020B0604020202020204" pitchFamily="34" charset="0"/>
              <a:buChar char="•"/>
              <a:defRPr/>
            </a:pPr>
            <a:r>
              <a:rPr lang="en-GB" sz="1000" b="1">
                <a:solidFill>
                  <a:schemeClr val="tx2">
                    <a:lumMod val="65000"/>
                    <a:lumOff val="35000"/>
                  </a:schemeClr>
                </a:solidFill>
                <a:latin typeface="Arial" panose="020B0604020202020204" pitchFamily="34" charset="0"/>
                <a:cs typeface="Arial" panose="020B0604020202020204" pitchFamily="34" charset="0"/>
              </a:rPr>
              <a:t>Focus on health inequalities </a:t>
            </a:r>
            <a:r>
              <a:rPr lang="en-GB" sz="1000">
                <a:solidFill>
                  <a:schemeClr val="tx2">
                    <a:lumMod val="65000"/>
                    <a:lumOff val="35000"/>
                  </a:schemeClr>
                </a:solidFill>
                <a:latin typeface="Arial" panose="020B0604020202020204" pitchFamily="34" charset="0"/>
                <a:cs typeface="Arial" panose="020B0604020202020204" pitchFamily="34" charset="0"/>
              </a:rPr>
              <a:t>– 11 key recommendations were identified that thread through all areas of focus. </a:t>
            </a:r>
          </a:p>
          <a:p>
            <a:pPr marL="188913" lvl="1" indent="-171450" defTabSz="685800">
              <a:spcBef>
                <a:spcPts val="200"/>
              </a:spcBef>
              <a:spcAft>
                <a:spcPts val="200"/>
              </a:spcAft>
              <a:buFont typeface="Arial" panose="020B0604020202020204" pitchFamily="34" charset="0"/>
              <a:buChar char="•"/>
              <a:defRPr/>
            </a:pPr>
            <a:r>
              <a:rPr lang="en-GB" sz="1000" b="1">
                <a:solidFill>
                  <a:schemeClr val="tx2">
                    <a:lumMod val="65000"/>
                    <a:lumOff val="35000"/>
                  </a:schemeClr>
                </a:solidFill>
                <a:latin typeface="Arial" panose="020B0604020202020204" pitchFamily="34" charset="0"/>
                <a:cs typeface="Arial" panose="020B0604020202020204" pitchFamily="34" charset="0"/>
              </a:rPr>
              <a:t>Build community resources </a:t>
            </a:r>
            <a:r>
              <a:rPr lang="en-GB" sz="1000">
                <a:solidFill>
                  <a:schemeClr val="tx2">
                    <a:lumMod val="65000"/>
                    <a:lumOff val="35000"/>
                  </a:schemeClr>
                </a:solidFill>
                <a:latin typeface="Arial" panose="020B0604020202020204" pitchFamily="34" charset="0"/>
                <a:cs typeface="Arial" panose="020B0604020202020204" pitchFamily="34" charset="0"/>
              </a:rPr>
              <a:t>– eight recommendations produced focused on supporting people outside of hospital. </a:t>
            </a:r>
          </a:p>
          <a:p>
            <a:pPr marL="188913" lvl="1" indent="-171450" defTabSz="685800">
              <a:spcBef>
                <a:spcPts val="200"/>
              </a:spcBef>
              <a:spcAft>
                <a:spcPts val="200"/>
              </a:spcAft>
              <a:buFont typeface="Arial" panose="020B0604020202020204" pitchFamily="34" charset="0"/>
              <a:buChar char="•"/>
              <a:defRPr/>
            </a:pPr>
            <a:r>
              <a:rPr lang="en-GB" sz="1000" b="1">
                <a:solidFill>
                  <a:schemeClr val="tx2">
                    <a:lumMod val="65000"/>
                    <a:lumOff val="35000"/>
                  </a:schemeClr>
                </a:solidFill>
                <a:latin typeface="Arial" panose="020B0604020202020204" pitchFamily="34" charset="0"/>
                <a:cs typeface="Arial" panose="020B0604020202020204" pitchFamily="34" charset="0"/>
              </a:rPr>
              <a:t>Support the workforce and their wellbeing </a:t>
            </a:r>
            <a:r>
              <a:rPr lang="en-GB" sz="1000">
                <a:solidFill>
                  <a:schemeClr val="tx2">
                    <a:lumMod val="65000"/>
                    <a:lumOff val="35000"/>
                  </a:schemeClr>
                </a:solidFill>
                <a:latin typeface="Arial" panose="020B0604020202020204" pitchFamily="34" charset="0"/>
                <a:cs typeface="Arial" panose="020B0604020202020204" pitchFamily="34" charset="0"/>
              </a:rPr>
              <a:t>– eight recommendations produced to support the front-line workforce. </a:t>
            </a:r>
          </a:p>
          <a:p>
            <a:pPr marL="188913" lvl="1" indent="-171450" defTabSz="685800">
              <a:spcBef>
                <a:spcPts val="200"/>
              </a:spcBef>
              <a:spcAft>
                <a:spcPts val="200"/>
              </a:spcAft>
              <a:buFont typeface="Arial" panose="020B0604020202020204" pitchFamily="34" charset="0"/>
              <a:buChar char="•"/>
              <a:defRPr/>
            </a:pPr>
            <a:r>
              <a:rPr lang="en-GB" sz="1000" b="1">
                <a:solidFill>
                  <a:schemeClr val="tx2">
                    <a:lumMod val="65000"/>
                    <a:lumOff val="35000"/>
                  </a:schemeClr>
                </a:solidFill>
                <a:latin typeface="Arial" panose="020B0604020202020204" pitchFamily="34" charset="0"/>
                <a:cs typeface="Arial" panose="020B0604020202020204" pitchFamily="34" charset="0"/>
              </a:rPr>
              <a:t>Supported transition from services </a:t>
            </a:r>
            <a:r>
              <a:rPr lang="en-GB" sz="1000">
                <a:solidFill>
                  <a:schemeClr val="tx2">
                    <a:lumMod val="65000"/>
                    <a:lumOff val="35000"/>
                  </a:schemeClr>
                </a:solidFill>
                <a:latin typeface="Arial" panose="020B0604020202020204" pitchFamily="34" charset="0"/>
                <a:cs typeface="Arial" panose="020B0604020202020204" pitchFamily="34" charset="0"/>
              </a:rPr>
              <a:t>– five recommendations produced through the workshops. </a:t>
            </a:r>
          </a:p>
          <a:p>
            <a:pPr lvl="1" defTabSz="685800">
              <a:spcBef>
                <a:spcPts val="200"/>
              </a:spcBef>
              <a:spcAft>
                <a:spcPts val="200"/>
              </a:spcAft>
              <a:defRPr/>
            </a:pPr>
            <a:endParaRPr lang="en-GB" sz="1000">
              <a:solidFill>
                <a:schemeClr val="tx1">
                  <a:lumMod val="65000"/>
                  <a:lumOff val="35000"/>
                </a:schemeClr>
              </a:solidFill>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6B47840B-56F0-5440-A0A4-30994039B249}"/>
              </a:ext>
            </a:extLst>
          </p:cNvPr>
          <p:cNvSpPr txBox="1"/>
          <p:nvPr/>
        </p:nvSpPr>
        <p:spPr>
          <a:xfrm>
            <a:off x="8448086" y="2093537"/>
            <a:ext cx="3162457" cy="3170099"/>
          </a:xfrm>
          <a:prstGeom prst="rect">
            <a:avLst/>
          </a:prstGeom>
          <a:noFill/>
        </p:spPr>
        <p:txBody>
          <a:bodyPr wrap="square" rtlCol="0">
            <a:spAutoFit/>
          </a:bodyPr>
          <a:lstStyle/>
          <a:p>
            <a:pPr marL="171450" lvl="0" indent="-171450" defTabSz="685800">
              <a:spcBef>
                <a:spcPts val="600"/>
              </a:spcBef>
              <a:spcAft>
                <a:spcPts val="600"/>
              </a:spcAft>
              <a:buFont typeface="Arial" panose="020B0604020202020204" pitchFamily="34" charset="0"/>
              <a:buChar char="•"/>
              <a:defRPr/>
            </a:pPr>
            <a:r>
              <a:rPr lang="en-GB" sz="1000">
                <a:solidFill>
                  <a:schemeClr val="tx1">
                    <a:lumMod val="65000"/>
                    <a:lumOff val="35000"/>
                  </a:schemeClr>
                </a:solidFill>
                <a:latin typeface="Arial" panose="020B0604020202020204" pitchFamily="34" charset="0"/>
                <a:cs typeface="Arial" panose="020B0604020202020204" pitchFamily="34" charset="0"/>
              </a:rPr>
              <a:t>In total, 70 recommendations were produced, with </a:t>
            </a:r>
            <a:r>
              <a:rPr lang="en-GB" sz="1000" b="1">
                <a:solidFill>
                  <a:schemeClr val="tx1">
                    <a:lumMod val="65000"/>
                    <a:lumOff val="35000"/>
                  </a:schemeClr>
                </a:solidFill>
                <a:latin typeface="Arial" panose="020B0604020202020204" pitchFamily="34" charset="0"/>
                <a:cs typeface="Arial" panose="020B0604020202020204" pitchFamily="34" charset="0"/>
              </a:rPr>
              <a:t>six quick wins identified and 10 recommendations prioritised </a:t>
            </a:r>
            <a:r>
              <a:rPr lang="en-GB" sz="1000">
                <a:solidFill>
                  <a:schemeClr val="tx1">
                    <a:lumMod val="65000"/>
                    <a:lumOff val="35000"/>
                  </a:schemeClr>
                </a:solidFill>
                <a:latin typeface="Arial" panose="020B0604020202020204" pitchFamily="34" charset="0"/>
                <a:cs typeface="Arial" panose="020B0604020202020204" pitchFamily="34" charset="0"/>
              </a:rPr>
              <a:t>based on impact and ease of implementation. </a:t>
            </a:r>
          </a:p>
          <a:p>
            <a:pPr marL="171450" lvl="0" indent="-171450" defTabSz="685800">
              <a:spcBef>
                <a:spcPts val="600"/>
              </a:spcBef>
              <a:spcAft>
                <a:spcPts val="600"/>
              </a:spcAft>
              <a:buFont typeface="Arial" panose="020B0604020202020204" pitchFamily="34" charset="0"/>
              <a:buChar char="•"/>
              <a:defRPr/>
            </a:pPr>
            <a:r>
              <a:rPr lang="en-GB" sz="1000">
                <a:solidFill>
                  <a:schemeClr val="tx1">
                    <a:lumMod val="65000"/>
                    <a:lumOff val="35000"/>
                  </a:schemeClr>
                </a:solidFill>
                <a:latin typeface="Arial" panose="020B0604020202020204" pitchFamily="34" charset="0"/>
                <a:cs typeface="Arial" panose="020B0604020202020204" pitchFamily="34" charset="0"/>
              </a:rPr>
              <a:t>To support the delivery of these recommendations, a series of </a:t>
            </a:r>
            <a:r>
              <a:rPr lang="en-GB" sz="1000" b="1">
                <a:solidFill>
                  <a:schemeClr val="tx1">
                    <a:lumMod val="65000"/>
                    <a:lumOff val="35000"/>
                  </a:schemeClr>
                </a:solidFill>
                <a:latin typeface="Arial" panose="020B0604020202020204" pitchFamily="34" charset="0"/>
                <a:cs typeface="Arial" panose="020B0604020202020204" pitchFamily="34" charset="0"/>
              </a:rPr>
              <a:t>next steps </a:t>
            </a:r>
            <a:r>
              <a:rPr lang="en-GB" sz="1000">
                <a:solidFill>
                  <a:schemeClr val="tx1">
                    <a:lumMod val="65000"/>
                    <a:lumOff val="35000"/>
                  </a:schemeClr>
                </a:solidFill>
                <a:latin typeface="Arial" panose="020B0604020202020204" pitchFamily="34" charset="0"/>
                <a:cs typeface="Arial" panose="020B0604020202020204" pitchFamily="34" charset="0"/>
              </a:rPr>
              <a:t>should be followed:</a:t>
            </a:r>
          </a:p>
          <a:p>
            <a:pPr marL="363538" lvl="0" indent="-161925" defTabSz="685800">
              <a:spcBef>
                <a:spcPts val="600"/>
              </a:spcBef>
              <a:spcAft>
                <a:spcPts val="600"/>
              </a:spcAft>
              <a:buFont typeface="Arial" panose="020B0604020202020204" pitchFamily="34" charset="0"/>
              <a:buChar char="•"/>
              <a:defRPr/>
            </a:pPr>
            <a:r>
              <a:rPr lang="en-GB" sz="1000">
                <a:solidFill>
                  <a:schemeClr val="tx1">
                    <a:lumMod val="65000"/>
                    <a:lumOff val="35000"/>
                  </a:schemeClr>
                </a:solidFill>
                <a:latin typeface="Arial" panose="020B0604020202020204" pitchFamily="34" charset="0"/>
                <a:cs typeface="Arial" panose="020B0604020202020204" pitchFamily="34" charset="0"/>
              </a:rPr>
              <a:t>Ensure mental health leadership teams </a:t>
            </a:r>
            <a:r>
              <a:rPr lang="en-GB" sz="1000" b="1">
                <a:solidFill>
                  <a:schemeClr val="tx1">
                    <a:lumMod val="65000"/>
                    <a:lumOff val="35000"/>
                  </a:schemeClr>
                </a:solidFill>
                <a:latin typeface="Arial" panose="020B0604020202020204" pitchFamily="34" charset="0"/>
                <a:cs typeface="Arial" panose="020B0604020202020204" pitchFamily="34" charset="0"/>
              </a:rPr>
              <a:t>support the key recommendations </a:t>
            </a:r>
            <a:r>
              <a:rPr lang="en-GB" sz="1000">
                <a:solidFill>
                  <a:schemeClr val="tx1">
                    <a:lumMod val="65000"/>
                    <a:lumOff val="35000"/>
                  </a:schemeClr>
                </a:solidFill>
                <a:latin typeface="Arial" panose="020B0604020202020204" pitchFamily="34" charset="0"/>
                <a:cs typeface="Arial" panose="020B0604020202020204" pitchFamily="34" charset="0"/>
              </a:rPr>
              <a:t>included in the roadmap. </a:t>
            </a:r>
          </a:p>
          <a:p>
            <a:pPr marL="363538" lvl="0" indent="-161925" defTabSz="685800">
              <a:spcBef>
                <a:spcPts val="600"/>
              </a:spcBef>
              <a:spcAft>
                <a:spcPts val="600"/>
              </a:spcAft>
              <a:buFont typeface="Arial" panose="020B0604020202020204" pitchFamily="34" charset="0"/>
              <a:buChar char="•"/>
              <a:defRPr/>
            </a:pPr>
            <a:r>
              <a:rPr lang="en-GB" sz="1000">
                <a:solidFill>
                  <a:schemeClr val="tx1">
                    <a:lumMod val="65000"/>
                    <a:lumOff val="35000"/>
                  </a:schemeClr>
                </a:solidFill>
                <a:latin typeface="Arial" panose="020B0604020202020204" pitchFamily="34" charset="0"/>
                <a:cs typeface="Arial" panose="020B0604020202020204" pitchFamily="34" charset="0"/>
              </a:rPr>
              <a:t>Undertake an </a:t>
            </a:r>
            <a:r>
              <a:rPr lang="en-GB" sz="1000" b="1">
                <a:solidFill>
                  <a:schemeClr val="tx1">
                    <a:lumMod val="65000"/>
                    <a:lumOff val="35000"/>
                  </a:schemeClr>
                </a:solidFill>
                <a:latin typeface="Arial" panose="020B0604020202020204" pitchFamily="34" charset="0"/>
                <a:cs typeface="Arial" panose="020B0604020202020204" pitchFamily="34" charset="0"/>
              </a:rPr>
              <a:t>assessment of </a:t>
            </a:r>
            <a:r>
              <a:rPr lang="en-GB" sz="1000">
                <a:solidFill>
                  <a:schemeClr val="tx1">
                    <a:lumMod val="65000"/>
                    <a:lumOff val="35000"/>
                  </a:schemeClr>
                </a:solidFill>
                <a:latin typeface="Arial" panose="020B0604020202020204" pitchFamily="34" charset="0"/>
                <a:cs typeface="Arial" panose="020B0604020202020204" pitchFamily="34" charset="0"/>
              </a:rPr>
              <a:t>all the recommendations to understand in detail the </a:t>
            </a:r>
            <a:r>
              <a:rPr lang="en-GB" sz="1000" b="1">
                <a:solidFill>
                  <a:schemeClr val="tx1">
                    <a:lumMod val="65000"/>
                    <a:lumOff val="35000"/>
                  </a:schemeClr>
                </a:solidFill>
                <a:latin typeface="Arial" panose="020B0604020202020204" pitchFamily="34" charset="0"/>
                <a:cs typeface="Arial" panose="020B0604020202020204" pitchFamily="34" charset="0"/>
              </a:rPr>
              <a:t>type and amount of resource required</a:t>
            </a:r>
            <a:r>
              <a:rPr lang="en-GB" sz="1000">
                <a:solidFill>
                  <a:schemeClr val="tx1">
                    <a:lumMod val="65000"/>
                    <a:lumOff val="35000"/>
                  </a:schemeClr>
                </a:solidFill>
                <a:latin typeface="Arial" panose="020B0604020202020204" pitchFamily="34" charset="0"/>
                <a:cs typeface="Arial" panose="020B0604020202020204" pitchFamily="34" charset="0"/>
              </a:rPr>
              <a:t>. </a:t>
            </a:r>
          </a:p>
          <a:p>
            <a:pPr marL="363538" lvl="0" indent="-161925" defTabSz="685800">
              <a:spcBef>
                <a:spcPts val="600"/>
              </a:spcBef>
              <a:spcAft>
                <a:spcPts val="600"/>
              </a:spcAft>
              <a:buFont typeface="Arial" panose="020B0604020202020204" pitchFamily="34" charset="0"/>
              <a:buChar char="•"/>
              <a:defRPr/>
            </a:pPr>
            <a:r>
              <a:rPr lang="en-GB" sz="1000">
                <a:solidFill>
                  <a:schemeClr val="tx1">
                    <a:lumMod val="65000"/>
                    <a:lumOff val="35000"/>
                  </a:schemeClr>
                </a:solidFill>
                <a:latin typeface="Arial" panose="020B0604020202020204" pitchFamily="34" charset="0"/>
                <a:cs typeface="Arial" panose="020B0604020202020204" pitchFamily="34" charset="0"/>
              </a:rPr>
              <a:t>Take this assessment to ICS leadership to support </a:t>
            </a:r>
            <a:r>
              <a:rPr lang="en-GB" sz="1000" b="1">
                <a:solidFill>
                  <a:schemeClr val="tx1">
                    <a:lumMod val="65000"/>
                    <a:lumOff val="35000"/>
                  </a:schemeClr>
                </a:solidFill>
                <a:latin typeface="Arial" panose="020B0604020202020204" pitchFamily="34" charset="0"/>
                <a:cs typeface="Arial" panose="020B0604020202020204" pitchFamily="34" charset="0"/>
              </a:rPr>
              <a:t>future planning and funding allocation </a:t>
            </a:r>
            <a:r>
              <a:rPr lang="en-GB" sz="1000">
                <a:solidFill>
                  <a:schemeClr val="tx1">
                    <a:lumMod val="65000"/>
                    <a:lumOff val="35000"/>
                  </a:schemeClr>
                </a:solidFill>
                <a:latin typeface="Arial" panose="020B0604020202020204" pitchFamily="34" charset="0"/>
                <a:cs typeface="Arial" panose="020B0604020202020204" pitchFamily="34" charset="0"/>
              </a:rPr>
              <a:t>to mental health services. </a:t>
            </a:r>
            <a:endParaRPr lang="en-GB" sz="1000">
              <a:solidFill>
                <a:schemeClr val="tx2">
                  <a:lumMod val="65000"/>
                  <a:lumOff val="35000"/>
                </a:schemeClr>
              </a:solidFill>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27A44249-673A-9A48-BCCB-06257C40F871}"/>
              </a:ext>
            </a:extLst>
          </p:cNvPr>
          <p:cNvSpPr txBox="1"/>
          <p:nvPr/>
        </p:nvSpPr>
        <p:spPr>
          <a:xfrm>
            <a:off x="2285639" y="5850624"/>
            <a:ext cx="1191280" cy="400110"/>
          </a:xfrm>
          <a:prstGeom prst="rect">
            <a:avLst/>
          </a:prstGeom>
          <a:noFill/>
        </p:spPr>
        <p:txBody>
          <a:bodyPr wrap="square" lIns="91440" tIns="45720" rIns="91440" bIns="45720" rtlCol="0" anchor="t">
            <a:spAutoFit/>
          </a:bodyPr>
          <a:lstStyle/>
          <a:p>
            <a:pPr marR="0" lvl="0" algn="ctr" defTabSz="914400" rtl="0" eaLnBrk="1" fontAlgn="auto" latinLnBrk="0" hangingPunct="1">
              <a:lnSpc>
                <a:spcPct val="100000"/>
              </a:lnSpc>
              <a:spcBef>
                <a:spcPts val="0"/>
              </a:spcBef>
              <a:spcAft>
                <a:spcPts val="600"/>
              </a:spcAft>
              <a:buClr>
                <a:srgbClr val="50235C"/>
              </a:buClr>
              <a:buSzTx/>
              <a:tabLst/>
              <a:defRPr/>
            </a:pPr>
            <a:r>
              <a:rPr lang="en-GB" sz="1000" spc="-5">
                <a:solidFill>
                  <a:schemeClr val="tx1">
                    <a:lumMod val="50000"/>
                    <a:lumOff val="50000"/>
                  </a:schemeClr>
                </a:solidFill>
                <a:latin typeface="Arial" panose="020B0604020202020204"/>
                <a:cs typeface="Arial"/>
              </a:rPr>
              <a:t>Prioritised recommendations</a:t>
            </a:r>
            <a:endParaRPr kumimoji="0" lang="en-GB" sz="1000" b="0" i="0" u="none" strike="noStrike" kern="1200" cap="none" spc="-5" normalizeH="0" baseline="0" noProof="0">
              <a:ln>
                <a:noFill/>
              </a:ln>
              <a:solidFill>
                <a:schemeClr val="tx1">
                  <a:lumMod val="50000"/>
                  <a:lumOff val="50000"/>
                </a:schemeClr>
              </a:solidFill>
              <a:effectLst/>
              <a:uLnTx/>
              <a:uFillTx/>
              <a:latin typeface="Arial" panose="020B0604020202020204"/>
              <a:ea typeface="+mn-ea"/>
              <a:cs typeface="Arial"/>
            </a:endParaRPr>
          </a:p>
        </p:txBody>
      </p:sp>
      <p:pic>
        <p:nvPicPr>
          <p:cNvPr id="30" name="Picture 29">
            <a:extLst>
              <a:ext uri="{FF2B5EF4-FFF2-40B4-BE49-F238E27FC236}">
                <a16:creationId xmlns:a16="http://schemas.microsoft.com/office/drawing/2014/main" id="{FAAECF3D-310E-874F-8EB6-20AB06B441CC}"/>
              </a:ext>
            </a:extLst>
          </p:cNvPr>
          <p:cNvPicPr>
            <a:picLocks noChangeAspect="1"/>
          </p:cNvPicPr>
          <p:nvPr/>
        </p:nvPicPr>
        <p:blipFill>
          <a:blip r:embed="rId8"/>
          <a:stretch>
            <a:fillRect/>
          </a:stretch>
        </p:blipFill>
        <p:spPr>
          <a:xfrm>
            <a:off x="708903" y="5152846"/>
            <a:ext cx="1191280" cy="670095"/>
          </a:xfrm>
          <a:prstGeom prst="rect">
            <a:avLst/>
          </a:prstGeom>
          <a:ln>
            <a:solidFill>
              <a:srgbClr val="50235C"/>
            </a:solidFill>
          </a:ln>
          <a:effectLst>
            <a:outerShdw blurRad="50800" dist="38100" dir="8100000" algn="tr" rotWithShape="0">
              <a:prstClr val="black">
                <a:alpha val="40000"/>
              </a:prstClr>
            </a:outerShdw>
          </a:effectLst>
        </p:spPr>
      </p:pic>
      <p:pic>
        <p:nvPicPr>
          <p:cNvPr id="7" name="Picture 6">
            <a:extLst>
              <a:ext uri="{FF2B5EF4-FFF2-40B4-BE49-F238E27FC236}">
                <a16:creationId xmlns:a16="http://schemas.microsoft.com/office/drawing/2014/main" id="{62713D0C-A1FC-BA45-A939-9FEBAC921831}"/>
              </a:ext>
            </a:extLst>
          </p:cNvPr>
          <p:cNvPicPr>
            <a:picLocks noChangeAspect="1"/>
          </p:cNvPicPr>
          <p:nvPr/>
        </p:nvPicPr>
        <p:blipFill>
          <a:blip r:embed="rId9"/>
          <a:stretch>
            <a:fillRect/>
          </a:stretch>
        </p:blipFill>
        <p:spPr>
          <a:xfrm>
            <a:off x="2308037" y="5133876"/>
            <a:ext cx="1191280" cy="670095"/>
          </a:xfrm>
          <a:prstGeom prst="rect">
            <a:avLst/>
          </a:prstGeom>
          <a:ln>
            <a:solidFill>
              <a:srgbClr val="50235C"/>
            </a:solidFill>
          </a:ln>
          <a:effectLst>
            <a:outerShdw blurRad="50800" dist="38100" dir="8100000" algn="tr" rotWithShape="0">
              <a:prstClr val="black">
                <a:alpha val="40000"/>
              </a:prstClr>
            </a:outerShdw>
          </a:effectLst>
        </p:spPr>
      </p:pic>
      <p:graphicFrame>
        <p:nvGraphicFramePr>
          <p:cNvPr id="23" name="Table 22">
            <a:extLst>
              <a:ext uri="{FF2B5EF4-FFF2-40B4-BE49-F238E27FC236}">
                <a16:creationId xmlns:a16="http://schemas.microsoft.com/office/drawing/2014/main" id="{A08D19B9-B70C-D249-8F94-133BDE3B85A2}"/>
              </a:ext>
            </a:extLst>
          </p:cNvPr>
          <p:cNvGraphicFramePr>
            <a:graphicFrameLocks noGrp="1"/>
          </p:cNvGraphicFramePr>
          <p:nvPr>
            <p:extLst>
              <p:ext uri="{D42A27DB-BD31-4B8C-83A1-F6EECF244321}">
                <p14:modId xmlns:p14="http://schemas.microsoft.com/office/powerpoint/2010/main" val="861747474"/>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Tree>
    <p:extLst>
      <p:ext uri="{BB962C8B-B14F-4D97-AF65-F5344CB8AC3E}">
        <p14:creationId xmlns:p14="http://schemas.microsoft.com/office/powerpoint/2010/main" val="34605469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B4E578F4-DF35-E147-8C03-9349EAE34444}"/>
              </a:ext>
            </a:extLst>
          </p:cNvPr>
          <p:cNvPicPr>
            <a:picLocks noChangeAspect="1"/>
          </p:cNvPicPr>
          <p:nvPr/>
        </p:nvPicPr>
        <p:blipFill rotWithShape="1">
          <a:blip r:embed="rId2"/>
          <a:srcRect t="10982" r="2655"/>
          <a:stretch/>
        </p:blipFill>
        <p:spPr>
          <a:xfrm>
            <a:off x="959756" y="2923867"/>
            <a:ext cx="5500757" cy="3604580"/>
          </a:xfrm>
          <a:prstGeom prst="rect">
            <a:avLst/>
          </a:prstGeom>
        </p:spPr>
      </p:pic>
      <p:sp>
        <p:nvSpPr>
          <p:cNvPr id="3" name="Title 2">
            <a:extLst>
              <a:ext uri="{FF2B5EF4-FFF2-40B4-BE49-F238E27FC236}">
                <a16:creationId xmlns:a16="http://schemas.microsoft.com/office/drawing/2014/main" id="{9727F235-D435-AC40-9012-B1AFF6D2161F}"/>
              </a:ext>
            </a:extLst>
          </p:cNvPr>
          <p:cNvSpPr>
            <a:spLocks noGrp="1"/>
          </p:cNvSpPr>
          <p:nvPr>
            <p:ph type="title"/>
          </p:nvPr>
        </p:nvSpPr>
        <p:spPr/>
        <p:txBody>
          <a:bodyPr/>
          <a:lstStyle/>
          <a:p>
            <a:r>
              <a:rPr lang="en-US"/>
              <a:t>Local area overview</a:t>
            </a:r>
          </a:p>
        </p:txBody>
      </p:sp>
      <p:sp>
        <p:nvSpPr>
          <p:cNvPr id="5" name="Footer Placeholder 4">
            <a:extLst>
              <a:ext uri="{FF2B5EF4-FFF2-40B4-BE49-F238E27FC236}">
                <a16:creationId xmlns:a16="http://schemas.microsoft.com/office/drawing/2014/main" id="{E01DC938-C4A5-8740-A6FF-914B6074CE62}"/>
              </a:ext>
            </a:extLst>
          </p:cNvPr>
          <p:cNvSpPr>
            <a:spLocks noGrp="1"/>
          </p:cNvSpPr>
          <p:nvPr>
            <p:ph type="ftr" sz="quarter" idx="13"/>
          </p:nvPr>
        </p:nvSpPr>
        <p:spPr/>
        <p:txBody>
          <a:bodyPr/>
          <a:lstStyle/>
          <a:p>
            <a:r>
              <a:rPr lang="en-GB"/>
              <a:t>© Moorhouse 2021</a:t>
            </a:r>
          </a:p>
        </p:txBody>
      </p:sp>
      <p:graphicFrame>
        <p:nvGraphicFramePr>
          <p:cNvPr id="6" name="Table 5">
            <a:extLst>
              <a:ext uri="{FF2B5EF4-FFF2-40B4-BE49-F238E27FC236}">
                <a16:creationId xmlns:a16="http://schemas.microsoft.com/office/drawing/2014/main" id="{6F702D48-9599-724C-B5B3-CF659D19C36A}"/>
              </a:ext>
            </a:extLst>
          </p:cNvPr>
          <p:cNvGraphicFramePr>
            <a:graphicFrameLocks noGrp="1"/>
          </p:cNvGraphicFramePr>
          <p:nvPr>
            <p:extLst>
              <p:ext uri="{D42A27DB-BD31-4B8C-83A1-F6EECF244321}">
                <p14:modId xmlns:p14="http://schemas.microsoft.com/office/powerpoint/2010/main" val="3033446209"/>
              </p:ext>
            </p:extLst>
          </p:nvPr>
        </p:nvGraphicFramePr>
        <p:xfrm>
          <a:off x="7541442" y="1001712"/>
          <a:ext cx="3862925" cy="5165655"/>
        </p:xfrm>
        <a:graphic>
          <a:graphicData uri="http://schemas.openxmlformats.org/drawingml/2006/table">
            <a:tbl>
              <a:tblPr/>
              <a:tblGrid>
                <a:gridCol w="1227291">
                  <a:extLst>
                    <a:ext uri="{9D8B030D-6E8A-4147-A177-3AD203B41FA5}">
                      <a16:colId xmlns:a16="http://schemas.microsoft.com/office/drawing/2014/main" val="20000"/>
                    </a:ext>
                  </a:extLst>
                </a:gridCol>
                <a:gridCol w="2635634">
                  <a:extLst>
                    <a:ext uri="{9D8B030D-6E8A-4147-A177-3AD203B41FA5}">
                      <a16:colId xmlns:a16="http://schemas.microsoft.com/office/drawing/2014/main" val="20002"/>
                    </a:ext>
                  </a:extLst>
                </a:gridCol>
              </a:tblGrid>
              <a:tr h="316242">
                <a:tc gridSpan="2">
                  <a:txBody>
                    <a:bodyPr/>
                    <a:lstStyle/>
                    <a:p>
                      <a:pPr marL="7200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lang="en-GB" sz="1000" b="1">
                          <a:solidFill>
                            <a:srgbClr val="50235C"/>
                          </a:solidFill>
                          <a:latin typeface="Arial" panose="020B0604020202020204" pitchFamily="34" charset="0"/>
                          <a:cs typeface="Arial" panose="020B0604020202020204" pitchFamily="34" charset="0"/>
                        </a:rPr>
                        <a:t>Key facts and figures</a:t>
                      </a:r>
                      <a:endParaRPr kumimoji="0" lang="en-US" sz="1000" b="1" i="0" u="none" strike="noStrike" kern="1200" cap="none" spc="0" normalizeH="0" baseline="0" noProof="0">
                        <a:ln>
                          <a:noFill/>
                        </a:ln>
                        <a:solidFill>
                          <a:srgbClr val="50235C"/>
                        </a:solidFill>
                        <a:effectLst/>
                        <a:uLnTx/>
                        <a:uFillTx/>
                        <a:latin typeface="Arial" panose="020B0604020202020204" pitchFamily="34" charset="0"/>
                        <a:ea typeface="+mn-ea"/>
                        <a:cs typeface="Arial" panose="020B0604020202020204" pitchFamily="34" charset="0"/>
                      </a:endParaRPr>
                    </a:p>
                  </a:txBody>
                  <a:tcPr marL="4839" marR="4839" marT="36000" marB="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rgbClr val="CCBCD1"/>
                      </a:solidFill>
                      <a:prstDash val="solid"/>
                      <a:round/>
                      <a:headEnd type="none" w="med" len="med"/>
                      <a:tailEnd type="none" w="med" len="med"/>
                    </a:lnB>
                    <a:lnTlToBr>
                      <a:noFill/>
                    </a:lnTlToBr>
                    <a:lnBlToTr>
                      <a:noFill/>
                    </a:lnBlToTr>
                    <a:solidFill>
                      <a:srgbClr val="F1EDF4"/>
                    </a:solidFill>
                  </a:tcPr>
                </a:tc>
                <a:tc hMerge="1">
                  <a:txBody>
                    <a:body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lang="en-GB" sz="1100" b="1">
                          <a:solidFill>
                            <a:schemeClr val="bg1"/>
                          </a:solidFill>
                          <a:latin typeface="Arial" panose="020B0604020202020204" pitchFamily="34" charset="0"/>
                          <a:cs typeface="Arial" panose="020B0604020202020204" pitchFamily="34" charset="0"/>
                        </a:rPr>
                        <a:t>STW Integrated Care System (ICS) </a:t>
                      </a:r>
                      <a:endParaRPr kumimoji="0" lang="en-US" sz="11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endParaRPr>
                    </a:p>
                  </a:txBody>
                  <a:tcPr marL="36000" marR="0" marT="36000" marB="3600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83688D"/>
                    </a:solidFill>
                  </a:tcPr>
                </a:tc>
                <a:extLst>
                  <a:ext uri="{0D108BD9-81ED-4DB2-BD59-A6C34878D82A}">
                    <a16:rowId xmlns:a16="http://schemas.microsoft.com/office/drawing/2014/main" val="1539181908"/>
                  </a:ext>
                </a:extLst>
              </a:tr>
              <a:tr h="419106">
                <a:tc>
                  <a:txBody>
                    <a:bodyPr/>
                    <a:lstStyle/>
                    <a:p>
                      <a:pPr marL="71438" marR="0" lvl="0" indent="0" algn="l" defTabSz="1071563" rtl="0" eaLnBrk="1" fontAlgn="t" latinLnBrk="0" hangingPunct="1">
                        <a:lnSpc>
                          <a:spcPct val="100000"/>
                        </a:lnSpc>
                        <a:spcBef>
                          <a:spcPts val="600"/>
                        </a:spcBef>
                        <a:spcAft>
                          <a:spcPts val="600"/>
                        </a:spcAft>
                        <a:buClrTx/>
                        <a:buSzTx/>
                        <a:buFontTx/>
                        <a:buNone/>
                        <a:tabLst/>
                        <a:defRPr/>
                      </a:pPr>
                      <a:r>
                        <a:rPr kumimoji="0" lang="en-US" altLang="en-US" sz="1000" b="1" i="0" u="none" strike="noStrike" kern="1200" cap="none" normalizeH="0" baseline="0" noProof="0">
                          <a:ln>
                            <a:noFill/>
                          </a:ln>
                          <a:solidFill>
                            <a:srgbClr val="50235B"/>
                          </a:solidFill>
                          <a:effectLst/>
                          <a:latin typeface="Arial" panose="020B0604020202020204" pitchFamily="34" charset="0"/>
                          <a:ea typeface="+mn-ea"/>
                          <a:cs typeface="Arial" panose="020B0604020202020204" pitchFamily="34" charset="0"/>
                        </a:rPr>
                        <a:t>Footprint </a:t>
                      </a:r>
                    </a:p>
                  </a:txBody>
                  <a:tcPr marL="4839" marR="4839" marT="36000" marB="0" anchor="ctr" horzOverflow="overflow">
                    <a:lnL w="12700" cap="flat" cmpd="sng" algn="ctr">
                      <a:solidFill>
                        <a:srgbClr val="CCBCD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000">
                          <a:solidFill>
                            <a:schemeClr val="tx1">
                              <a:lumMod val="65000"/>
                              <a:lumOff val="35000"/>
                            </a:schemeClr>
                          </a:solidFill>
                          <a:latin typeface="Arial" panose="020B0604020202020204" pitchFamily="34" charset="0"/>
                          <a:cs typeface="Arial" panose="020B0604020202020204" pitchFamily="34" charset="0"/>
                        </a:rPr>
                        <a:t>1,347sq miles</a:t>
                      </a:r>
                    </a:p>
                  </a:txBody>
                  <a:tcPr marL="36000" marR="0" marT="36000" marB="36000" anchor="ctr">
                    <a:lnL w="6350" cap="flat" cmpd="sng" algn="ctr">
                      <a:no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274768469"/>
                  </a:ext>
                </a:extLst>
              </a:tr>
              <a:tr h="898579">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71438" marR="0" lvl="0" indent="0" algn="l" defTabSz="1071563" rtl="0" eaLnBrk="1" fontAlgn="t" latinLnBrk="0" hangingPunct="1">
                        <a:lnSpc>
                          <a:spcPct val="100000"/>
                        </a:lnSpc>
                        <a:spcBef>
                          <a:spcPts val="600"/>
                        </a:spcBef>
                        <a:spcAft>
                          <a:spcPts val="600"/>
                        </a:spcAft>
                        <a:buClrTx/>
                        <a:buSzTx/>
                        <a:buFontTx/>
                        <a:buNone/>
                        <a:tabLst/>
                        <a:defRPr/>
                      </a:pPr>
                      <a:r>
                        <a:rPr kumimoji="0" lang="en-US" altLang="en-US" sz="1000" b="1" i="0" u="none" strike="noStrike" kern="1200" cap="none" normalizeH="0" baseline="0" noProof="0">
                          <a:ln>
                            <a:noFill/>
                          </a:ln>
                          <a:solidFill>
                            <a:srgbClr val="50235B"/>
                          </a:solidFill>
                          <a:effectLst/>
                          <a:latin typeface="Arial" panose="020B0604020202020204" pitchFamily="34" charset="0"/>
                          <a:ea typeface="+mn-ea"/>
                          <a:cs typeface="Arial" panose="020B0604020202020204" pitchFamily="34" charset="0"/>
                        </a:rPr>
                        <a:t>Population size</a:t>
                      </a:r>
                    </a:p>
                  </a:txBody>
                  <a:tcPr marL="4839" marR="4839" marT="36000" marB="0" anchor="ctr" horzOverflow="overflow">
                    <a:lnL w="12700" cap="flat" cmpd="sng" algn="ctr">
                      <a:solidFill>
                        <a:srgbClr val="CCBCD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000">
                          <a:solidFill>
                            <a:schemeClr val="tx1">
                              <a:lumMod val="65000"/>
                              <a:lumOff val="35000"/>
                            </a:schemeClr>
                          </a:solidFill>
                          <a:latin typeface="Arial" panose="020B0604020202020204" pitchFamily="34" charset="0"/>
                          <a:cs typeface="Arial" panose="020B0604020202020204" pitchFamily="34" charset="0"/>
                        </a:rPr>
                        <a:t>Shropshire estimated population 310,000 </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000">
                          <a:solidFill>
                            <a:schemeClr val="tx1">
                              <a:lumMod val="65000"/>
                              <a:lumOff val="35000"/>
                            </a:schemeClr>
                          </a:solidFill>
                          <a:latin typeface="Arial" panose="020B0604020202020204" pitchFamily="34" charset="0"/>
                          <a:cs typeface="Arial" panose="020B0604020202020204" pitchFamily="34" charset="0"/>
                        </a:rPr>
                        <a:t>Telford &amp; Wrekin estimated population of 170,000. </a:t>
                      </a:r>
                      <a:endParaRPr lang="en-US" sz="1000" b="0" kern="1200" baseline="0">
                        <a:solidFill>
                          <a:schemeClr val="tx1">
                            <a:lumMod val="65000"/>
                            <a:lumOff val="35000"/>
                          </a:schemeClr>
                        </a:solidFill>
                        <a:latin typeface="Arial" panose="020B0604020202020204" pitchFamily="34" charset="0"/>
                        <a:ea typeface="+mn-ea"/>
                        <a:cs typeface="Arial" panose="020B0604020202020204" pitchFamily="34" charset="0"/>
                      </a:endParaRPr>
                    </a:p>
                  </a:txBody>
                  <a:tcPr marL="36000" marR="0" marT="36000" marB="36000" anchor="ctr">
                    <a:lnL w="6350" cap="flat" cmpd="sng" algn="ctr">
                      <a:no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756714">
                <a:tc>
                  <a:txBody>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altLang="en-US" sz="1000" b="1" i="0" u="none" strike="noStrike" cap="none" normalizeH="0" baseline="0" noProof="0">
                          <a:ln>
                            <a:noFill/>
                          </a:ln>
                          <a:solidFill>
                            <a:srgbClr val="50235B"/>
                          </a:solidFill>
                          <a:effectLst/>
                          <a:latin typeface="Arial" panose="020B0604020202020204" pitchFamily="34" charset="0"/>
                          <a:ea typeface="Arial" charset="0"/>
                          <a:cs typeface="Arial" panose="020B0604020202020204" pitchFamily="34" charset="0"/>
                        </a:rPr>
                        <a:t>Local Authorities </a:t>
                      </a:r>
                    </a:p>
                  </a:txBody>
                  <a:tcPr marT="36000" anchor="ctr">
                    <a:lnL w="12700" cap="flat" cmpd="sng" algn="ctr">
                      <a:solidFill>
                        <a:srgbClr val="CCBCD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000">
                          <a:solidFill>
                            <a:schemeClr val="tx1">
                              <a:lumMod val="65000"/>
                              <a:lumOff val="35000"/>
                            </a:schemeClr>
                          </a:solidFill>
                          <a:latin typeface="Arial" panose="020B0604020202020204" pitchFamily="34" charset="0"/>
                          <a:cs typeface="Arial" panose="020B0604020202020204" pitchFamily="34" charset="0"/>
                        </a:rPr>
                        <a:t>Shropshire Council </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000">
                          <a:solidFill>
                            <a:schemeClr val="tx1">
                              <a:lumMod val="65000"/>
                              <a:lumOff val="35000"/>
                            </a:schemeClr>
                          </a:solidFill>
                          <a:latin typeface="Arial" panose="020B0604020202020204" pitchFamily="34" charset="0"/>
                          <a:cs typeface="Arial" panose="020B0604020202020204" pitchFamily="34" charset="0"/>
                        </a:rPr>
                        <a:t>Telford &amp; Wrekin Council</a:t>
                      </a:r>
                      <a:endParaRPr lang="en-US" sz="1000">
                        <a:solidFill>
                          <a:schemeClr val="tx1">
                            <a:lumMod val="65000"/>
                            <a:lumOff val="35000"/>
                          </a:schemeClr>
                        </a:solidFill>
                        <a:latin typeface="Arial" panose="020B0604020202020204" pitchFamily="34" charset="0"/>
                        <a:cs typeface="Arial" panose="020B0604020202020204" pitchFamily="34" charset="0"/>
                      </a:endParaRPr>
                    </a:p>
                  </a:txBody>
                  <a:tcPr marL="36000" marR="0" marT="36000" marB="36000" anchor="ctr">
                    <a:lnL w="6350" cap="flat" cmpd="sng" algn="ctr">
                      <a:no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059866570"/>
                  </a:ext>
                </a:extLst>
              </a:tr>
              <a:tr h="2062722">
                <a:tc>
                  <a:txBody>
                    <a:bodyPr/>
                    <a:lstStyle/>
                    <a:p>
                      <a:pPr marL="71438" marR="0" lvl="0" indent="0" algn="l" defTabSz="1071563" rtl="0" eaLnBrk="1" fontAlgn="t" latinLnBrk="0" hangingPunct="1">
                        <a:lnSpc>
                          <a:spcPct val="100000"/>
                        </a:lnSpc>
                        <a:spcBef>
                          <a:spcPts val="600"/>
                        </a:spcBef>
                        <a:spcAft>
                          <a:spcPts val="600"/>
                        </a:spcAft>
                        <a:buClrTx/>
                        <a:buSzTx/>
                        <a:buFontTx/>
                        <a:buNone/>
                        <a:tabLst/>
                      </a:pPr>
                      <a:r>
                        <a:rPr kumimoji="0" lang="en-US" altLang="en-US" sz="1000" b="1" i="0" u="none" strike="noStrike" kern="1200" cap="none" normalizeH="0" baseline="0">
                          <a:ln>
                            <a:noFill/>
                          </a:ln>
                          <a:solidFill>
                            <a:srgbClr val="50235B"/>
                          </a:solidFill>
                          <a:effectLst/>
                          <a:latin typeface="Arial" panose="020B0604020202020204" pitchFamily="34" charset="0"/>
                          <a:ea typeface="Arial" charset="0"/>
                          <a:cs typeface="Arial" panose="020B0604020202020204" pitchFamily="34" charset="0"/>
                        </a:rPr>
                        <a:t>Provider organisations </a:t>
                      </a:r>
                    </a:p>
                  </a:txBody>
                  <a:tcPr marL="5242" marR="5242" marT="36000" marB="0" anchor="ctr" horzOverflow="overflow">
                    <a:lnL w="12700" cap="flat" cmpd="sng" algn="ctr">
                      <a:solidFill>
                        <a:srgbClr val="CCBCD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000">
                          <a:solidFill>
                            <a:schemeClr val="tx1">
                              <a:lumMod val="65000"/>
                              <a:lumOff val="35000"/>
                            </a:schemeClr>
                          </a:solidFill>
                          <a:latin typeface="Arial" panose="020B0604020202020204" pitchFamily="34" charset="0"/>
                          <a:cs typeface="Arial" panose="020B0604020202020204" pitchFamily="34" charset="0"/>
                        </a:rPr>
                        <a:t>Midlands Partnership Foundation Trust which covers Shropshire and Staffordshire</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000" kern="1200">
                          <a:solidFill>
                            <a:schemeClr val="tx1">
                              <a:lumMod val="65000"/>
                              <a:lumOff val="35000"/>
                            </a:schemeClr>
                          </a:solidFill>
                          <a:latin typeface="Arial" panose="020B0604020202020204" pitchFamily="34" charset="0"/>
                          <a:ea typeface="+mn-ea"/>
                          <a:cs typeface="Arial" panose="020B0604020202020204" pitchFamily="34" charset="0"/>
                        </a:rPr>
                        <a:t>Shrewsbury &amp; Telford Hospitals Trust</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000" kern="1200">
                          <a:solidFill>
                            <a:schemeClr val="tx1">
                              <a:lumMod val="65000"/>
                              <a:lumOff val="35000"/>
                            </a:schemeClr>
                          </a:solidFill>
                          <a:latin typeface="Arial" panose="020B0604020202020204" pitchFamily="34" charset="0"/>
                          <a:ea typeface="+mn-ea"/>
                          <a:cs typeface="Arial" panose="020B0604020202020204" pitchFamily="34" charset="0"/>
                        </a:rPr>
                        <a:t>Robert Jones &amp; Agnes Hunt Foundation Trust </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000" kern="1200">
                          <a:solidFill>
                            <a:schemeClr val="tx1">
                              <a:lumMod val="65000"/>
                              <a:lumOff val="35000"/>
                            </a:schemeClr>
                          </a:solidFill>
                          <a:latin typeface="Arial" panose="020B0604020202020204" pitchFamily="34" charset="0"/>
                          <a:ea typeface="+mn-ea"/>
                          <a:cs typeface="Arial" panose="020B0604020202020204" pitchFamily="34" charset="0"/>
                        </a:rPr>
                        <a:t>Shropshire Community Health Hospitals Trust</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000" kern="1200">
                          <a:solidFill>
                            <a:schemeClr val="tx1">
                              <a:lumMod val="65000"/>
                              <a:lumOff val="35000"/>
                            </a:schemeClr>
                          </a:solidFill>
                          <a:latin typeface="Arial" panose="020B0604020202020204" pitchFamily="34" charset="0"/>
                          <a:ea typeface="+mn-ea"/>
                          <a:cs typeface="Arial" panose="020B0604020202020204" pitchFamily="34" charset="0"/>
                        </a:rPr>
                        <a:t>West Midlands Ambulance Service University NHS Foundation Trust</a:t>
                      </a:r>
                    </a:p>
                  </a:txBody>
                  <a:tcPr marL="36000" marR="0" marT="36000" marB="36000" anchor="ctr">
                    <a:lnL w="6350" cap="flat" cmpd="sng" algn="ctr">
                      <a:no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616248325"/>
                  </a:ext>
                </a:extLst>
              </a:tr>
              <a:tr h="712292">
                <a:tc>
                  <a:txBody>
                    <a:bodyPr/>
                    <a:lstStyle/>
                    <a:p>
                      <a:pPr marL="71438" marR="0" lvl="0" indent="0" algn="l" defTabSz="1071563" rtl="0" eaLnBrk="1" fontAlgn="t" latinLnBrk="0" hangingPunct="1">
                        <a:lnSpc>
                          <a:spcPct val="100000"/>
                        </a:lnSpc>
                        <a:spcBef>
                          <a:spcPts val="600"/>
                        </a:spcBef>
                        <a:spcAft>
                          <a:spcPts val="600"/>
                        </a:spcAft>
                        <a:buClrTx/>
                        <a:buSzTx/>
                        <a:buFontTx/>
                        <a:buNone/>
                        <a:tabLst/>
                        <a:defRPr/>
                      </a:pPr>
                      <a:r>
                        <a:rPr kumimoji="0" lang="en-US" altLang="en-US" sz="1000" b="1" i="0" u="none" strike="noStrike" kern="1200" cap="none" normalizeH="0" baseline="0">
                          <a:ln>
                            <a:noFill/>
                          </a:ln>
                          <a:solidFill>
                            <a:srgbClr val="50235B"/>
                          </a:solidFill>
                          <a:effectLst/>
                          <a:latin typeface="Arial" panose="020B0604020202020204" pitchFamily="34" charset="0"/>
                          <a:ea typeface="Arial" charset="0"/>
                          <a:cs typeface="Arial" panose="020B0604020202020204" pitchFamily="34" charset="0"/>
                        </a:rPr>
                        <a:t>Mental health</a:t>
                      </a:r>
                      <a:r>
                        <a:rPr kumimoji="0" lang="en-US" altLang="en-US" sz="1000" b="1" i="0" u="none" strike="noStrike" kern="1200" cap="none" normalizeH="0" baseline="0">
                          <a:ln>
                            <a:noFill/>
                          </a:ln>
                          <a:solidFill>
                            <a:srgbClr val="50235B"/>
                          </a:solidFill>
                          <a:effectLst/>
                          <a:latin typeface="Arial" panose="020B0604020202020204" pitchFamily="34" charset="0"/>
                          <a:ea typeface="+mn-ea"/>
                          <a:cs typeface="Arial" panose="020B0604020202020204" pitchFamily="34" charset="0"/>
                        </a:rPr>
                        <a:t> spending per head</a:t>
                      </a:r>
                    </a:p>
                  </a:txBody>
                  <a:tcPr marL="5242" marR="5242" marT="36000" marB="0" anchor="ctr" horzOverflow="overflow">
                    <a:lnL w="12700" cap="flat" cmpd="sng" algn="ctr">
                      <a:solidFill>
                        <a:srgbClr val="CCBCD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000" kern="1200">
                          <a:solidFill>
                            <a:schemeClr val="tx1">
                              <a:lumMod val="65000"/>
                              <a:lumOff val="35000"/>
                            </a:schemeClr>
                          </a:solidFill>
                          <a:latin typeface="Arial" panose="020B0604020202020204" pitchFamily="34" charset="0"/>
                          <a:ea typeface="+mn-ea"/>
                          <a:cs typeface="Arial" panose="020B0604020202020204" pitchFamily="34" charset="0"/>
                        </a:rPr>
                        <a:t>*The NHS spent £67m in 2018-19 – 10.9% of its base allocation, roughly £135 per head</a:t>
                      </a:r>
                    </a:p>
                  </a:txBody>
                  <a:tcPr marL="36000" marR="0" marT="36000" marB="36000" anchor="ctr">
                    <a:lnL w="6350" cap="flat" cmpd="sng" algn="ctr">
                      <a:noFill/>
                      <a:prstDash val="solid"/>
                      <a:round/>
                      <a:headEnd type="none" w="med" len="med"/>
                      <a:tailEnd type="none" w="med" len="med"/>
                    </a:lnL>
                    <a:lnR w="12700" cap="flat" cmpd="sng" algn="ctr">
                      <a:solidFill>
                        <a:srgbClr val="CCBCD1"/>
                      </a:solidFill>
                      <a:prstDash val="solid"/>
                      <a:round/>
                      <a:headEnd type="none" w="med" len="med"/>
                      <a:tailEnd type="none" w="med" len="med"/>
                    </a:lnR>
                    <a:lnT w="12700" cap="flat" cmpd="sng" algn="ctr">
                      <a:solidFill>
                        <a:srgbClr val="CCBCD1"/>
                      </a:solidFill>
                      <a:prstDash val="solid"/>
                      <a:round/>
                      <a:headEnd type="none" w="med" len="med"/>
                      <a:tailEnd type="none" w="med" len="med"/>
                    </a:lnT>
                    <a:lnB w="12700" cap="flat" cmpd="sng" algn="ctr">
                      <a:solidFill>
                        <a:srgbClr val="CCBCD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903134419"/>
                  </a:ext>
                </a:extLst>
              </a:tr>
            </a:tbl>
          </a:graphicData>
        </a:graphic>
      </p:graphicFrame>
      <p:sp>
        <p:nvSpPr>
          <p:cNvPr id="4" name="TextBox 3">
            <a:extLst>
              <a:ext uri="{FF2B5EF4-FFF2-40B4-BE49-F238E27FC236}">
                <a16:creationId xmlns:a16="http://schemas.microsoft.com/office/drawing/2014/main" id="{99542A22-9D28-E047-AE05-7E06C859E778}"/>
              </a:ext>
            </a:extLst>
          </p:cNvPr>
          <p:cNvSpPr txBox="1"/>
          <p:nvPr/>
        </p:nvSpPr>
        <p:spPr>
          <a:xfrm>
            <a:off x="7541442" y="6167367"/>
            <a:ext cx="3862926" cy="307777"/>
          </a:xfrm>
          <a:prstGeom prst="rect">
            <a:avLst/>
          </a:prstGeom>
          <a:noFill/>
        </p:spPr>
        <p:txBody>
          <a:bodyPr wrap="square" rtlCol="0">
            <a:spAutoFit/>
          </a:bodyPr>
          <a:lstStyle/>
          <a:p>
            <a:r>
              <a:rPr lang="en-US" sz="700">
                <a:solidFill>
                  <a:schemeClr val="bg1">
                    <a:lumMod val="50000"/>
                  </a:schemeClr>
                </a:solidFill>
              </a:rPr>
              <a:t>*https://</a:t>
            </a:r>
            <a:r>
              <a:rPr lang="en-US" sz="700" err="1">
                <a:solidFill>
                  <a:schemeClr val="bg1">
                    <a:lumMod val="50000"/>
                  </a:schemeClr>
                </a:solidFill>
              </a:rPr>
              <a:t>www.mind.org.uk</a:t>
            </a:r>
            <a:r>
              <a:rPr lang="en-US" sz="700">
                <a:solidFill>
                  <a:schemeClr val="bg1">
                    <a:lumMod val="50000"/>
                  </a:schemeClr>
                </a:solidFill>
              </a:rPr>
              <a:t>/news-campaigns/news/</a:t>
            </a:r>
            <a:r>
              <a:rPr lang="en-US" sz="700" err="1">
                <a:solidFill>
                  <a:schemeClr val="bg1">
                    <a:lumMod val="50000"/>
                  </a:schemeClr>
                </a:solidFill>
              </a:rPr>
              <a:t>nhs</a:t>
            </a:r>
            <a:r>
              <a:rPr lang="en-US" sz="700">
                <a:solidFill>
                  <a:schemeClr val="bg1">
                    <a:lumMod val="50000"/>
                  </a:schemeClr>
                </a:solidFill>
              </a:rPr>
              <a:t>-figures-reveal-mental-health-spending-postcode-lottery/</a:t>
            </a:r>
          </a:p>
        </p:txBody>
      </p:sp>
      <p:sp>
        <p:nvSpPr>
          <p:cNvPr id="2" name="TextBox 1">
            <a:extLst>
              <a:ext uri="{FF2B5EF4-FFF2-40B4-BE49-F238E27FC236}">
                <a16:creationId xmlns:a16="http://schemas.microsoft.com/office/drawing/2014/main" id="{0599F168-896D-064C-9115-9052FA7C1D6A}"/>
              </a:ext>
            </a:extLst>
          </p:cNvPr>
          <p:cNvSpPr txBox="1"/>
          <p:nvPr/>
        </p:nvSpPr>
        <p:spPr>
          <a:xfrm>
            <a:off x="510639" y="1000518"/>
            <a:ext cx="6785708" cy="1754326"/>
          </a:xfrm>
          <a:prstGeom prst="rect">
            <a:avLst/>
          </a:prstGeom>
          <a:noFill/>
        </p:spPr>
        <p:txBody>
          <a:bodyPr wrap="square" rtlCol="0">
            <a:spAutoFit/>
          </a:bodyPr>
          <a:lstStyle/>
          <a:p>
            <a:pPr lvl="0"/>
            <a:r>
              <a:rPr lang="en-GB" sz="1200">
                <a:solidFill>
                  <a:schemeClr val="tx1">
                    <a:lumMod val="65000"/>
                    <a:lumOff val="35000"/>
                  </a:schemeClr>
                </a:solidFill>
              </a:rPr>
              <a:t>Shropshire, Telford &amp; Wrekin (STW) Integrated Care System (ICS) services a large footprint, serving a diverse population with a complex geography; Shropshire is a mostly rural county with 35% of the population living in villages, hamlets and dispersed dwellings; a relatively affluent county masking pockets of deprivation, growing food poverty, and rural isolation. Telford &amp; Wrekin is predominantly urban with more than a quarter living in the 20% most deprived nationally and some living in the most deprived areas.</a:t>
            </a:r>
          </a:p>
          <a:p>
            <a:pPr lvl="0"/>
            <a:endParaRPr lang="en-GB" sz="1200">
              <a:solidFill>
                <a:schemeClr val="tx1">
                  <a:lumMod val="65000"/>
                  <a:lumOff val="35000"/>
                </a:schemeClr>
              </a:solidFill>
            </a:endParaRPr>
          </a:p>
          <a:p>
            <a:pPr lvl="0"/>
            <a:r>
              <a:rPr lang="en-GB" sz="1200">
                <a:solidFill>
                  <a:schemeClr val="tx1">
                    <a:lumMod val="65000"/>
                    <a:lumOff val="35000"/>
                  </a:schemeClr>
                </a:solidFill>
              </a:rPr>
              <a:t>STW mental health service are among the poorest funded in England, calculated to receive the second lowest funding levels per head based on population size. </a:t>
            </a:r>
          </a:p>
        </p:txBody>
      </p:sp>
      <p:graphicFrame>
        <p:nvGraphicFramePr>
          <p:cNvPr id="10" name="Table 9">
            <a:extLst>
              <a:ext uri="{FF2B5EF4-FFF2-40B4-BE49-F238E27FC236}">
                <a16:creationId xmlns:a16="http://schemas.microsoft.com/office/drawing/2014/main" id="{D1DCE54B-E9E2-5545-872D-36D69F492A9B}"/>
              </a:ext>
            </a:extLst>
          </p:cNvPr>
          <p:cNvGraphicFramePr>
            <a:graphicFrameLocks noGrp="1"/>
          </p:cNvGraphicFramePr>
          <p:nvPr>
            <p:extLst>
              <p:ext uri="{D42A27DB-BD31-4B8C-83A1-F6EECF244321}">
                <p14:modId xmlns:p14="http://schemas.microsoft.com/office/powerpoint/2010/main" val="2498795124"/>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A"/>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Tree>
    <p:extLst>
      <p:ext uri="{BB962C8B-B14F-4D97-AF65-F5344CB8AC3E}">
        <p14:creationId xmlns:p14="http://schemas.microsoft.com/office/powerpoint/2010/main" val="427820482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0881"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en-IN" sz="2800">
              <a:solidFill>
                <a:srgbClr val="FFFFFF"/>
              </a:solidFill>
              <a:sym typeface="Arial" panose="020B0604020202020204" pitchFamily="34" charset="0"/>
            </a:endParaRPr>
          </a:p>
        </p:txBody>
      </p:sp>
      <p:sp>
        <p:nvSpPr>
          <p:cNvPr id="2" name="Title 1"/>
          <p:cNvSpPr>
            <a:spLocks noGrp="1"/>
          </p:cNvSpPr>
          <p:nvPr>
            <p:ph type="title"/>
          </p:nvPr>
        </p:nvSpPr>
        <p:spPr>
          <a:xfrm>
            <a:off x="545264" y="297277"/>
            <a:ext cx="9366179" cy="434010"/>
          </a:xfrm>
          <a:prstGeom prst="rect">
            <a:avLst/>
          </a:prstGeom>
        </p:spPr>
        <p:txBody>
          <a:bodyPr/>
          <a:lstStyle/>
          <a:p>
            <a:r>
              <a:rPr lang="en-US"/>
              <a:t>Roadmap sunray</a:t>
            </a:r>
            <a:endParaRPr lang="en-IN"/>
          </a:p>
        </p:txBody>
      </p:sp>
      <p:sp>
        <p:nvSpPr>
          <p:cNvPr id="6" name="Footer Placeholder 5">
            <a:extLst>
              <a:ext uri="{FF2B5EF4-FFF2-40B4-BE49-F238E27FC236}">
                <a16:creationId xmlns:a16="http://schemas.microsoft.com/office/drawing/2014/main" id="{62E3292C-AE15-8E46-8E62-F9C713150B0B}"/>
              </a:ext>
            </a:extLst>
          </p:cNvPr>
          <p:cNvSpPr>
            <a:spLocks noGrp="1"/>
          </p:cNvSpPr>
          <p:nvPr>
            <p:ph type="ftr" sz="quarter" idx="14"/>
          </p:nvPr>
        </p:nvSpPr>
        <p:spPr/>
        <p:txBody>
          <a:bodyPr/>
          <a:lstStyle/>
          <a:p>
            <a:r>
              <a:rPr lang="en-GB"/>
              <a:t>© Moorhouse 2021  </a:t>
            </a:r>
          </a:p>
        </p:txBody>
      </p:sp>
      <p:grpSp>
        <p:nvGrpSpPr>
          <p:cNvPr id="332" name="Group 331">
            <a:extLst>
              <a:ext uri="{FF2B5EF4-FFF2-40B4-BE49-F238E27FC236}">
                <a16:creationId xmlns:a16="http://schemas.microsoft.com/office/drawing/2014/main" id="{96330E01-B0C0-9D4C-8733-BECAFFFA47C6}"/>
              </a:ext>
            </a:extLst>
          </p:cNvPr>
          <p:cNvGrpSpPr/>
          <p:nvPr/>
        </p:nvGrpSpPr>
        <p:grpSpPr>
          <a:xfrm>
            <a:off x="306002" y="1470856"/>
            <a:ext cx="11342995" cy="4975368"/>
            <a:chOff x="739788" y="731397"/>
            <a:chExt cx="8071949" cy="5370572"/>
          </a:xfrm>
        </p:grpSpPr>
        <p:grpSp>
          <p:nvGrpSpPr>
            <p:cNvPr id="333" name="Group 332">
              <a:extLst>
                <a:ext uri="{FF2B5EF4-FFF2-40B4-BE49-F238E27FC236}">
                  <a16:creationId xmlns:a16="http://schemas.microsoft.com/office/drawing/2014/main" id="{F7D773FF-F92D-4B47-AAD0-AC6DB1FDFCEF}"/>
                </a:ext>
              </a:extLst>
            </p:cNvPr>
            <p:cNvGrpSpPr/>
            <p:nvPr/>
          </p:nvGrpSpPr>
          <p:grpSpPr>
            <a:xfrm>
              <a:off x="739788" y="948609"/>
              <a:ext cx="8018843" cy="4865822"/>
              <a:chOff x="739788" y="948609"/>
              <a:chExt cx="8018843" cy="4865822"/>
            </a:xfrm>
          </p:grpSpPr>
          <p:sp>
            <p:nvSpPr>
              <p:cNvPr id="353" name="Arc 10">
                <a:extLst>
                  <a:ext uri="{FF2B5EF4-FFF2-40B4-BE49-F238E27FC236}">
                    <a16:creationId xmlns:a16="http://schemas.microsoft.com/office/drawing/2014/main" id="{D71EA720-55CF-8647-B314-ECB9C72D87D8}"/>
                  </a:ext>
                </a:extLst>
              </p:cNvPr>
              <p:cNvSpPr>
                <a:spLocks/>
              </p:cNvSpPr>
              <p:nvPr/>
            </p:nvSpPr>
            <p:spPr bwMode="auto">
              <a:xfrm rot="10800000">
                <a:off x="1163024" y="1420250"/>
                <a:ext cx="7528093" cy="4394181"/>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bg1">
                  <a:lumMod val="85000"/>
                  <a:alpha val="24706"/>
                </a:schemeClr>
              </a:solidFill>
              <a:ln w="31750">
                <a:noFill/>
                <a:round/>
                <a:headEnd/>
                <a:tailEnd/>
              </a:ln>
              <a:effectLst/>
            </p:spPr>
            <p:txBody>
              <a:bodyPr wrap="none" anchor="ctr"/>
              <a:lstStyle/>
              <a:p>
                <a:pPr defTabSz="1219170">
                  <a:defRPr/>
                </a:pPr>
                <a:endParaRPr lang="en-GB" sz="2400">
                  <a:solidFill>
                    <a:srgbClr val="595959"/>
                  </a:solidFill>
                  <a:latin typeface="Calibri"/>
                  <a:cs typeface="Arial"/>
                  <a:sym typeface="Arial"/>
                </a:endParaRPr>
              </a:p>
            </p:txBody>
          </p:sp>
          <p:sp>
            <p:nvSpPr>
              <p:cNvPr id="354" name="Arc 21">
                <a:extLst>
                  <a:ext uri="{FF2B5EF4-FFF2-40B4-BE49-F238E27FC236}">
                    <a16:creationId xmlns:a16="http://schemas.microsoft.com/office/drawing/2014/main" id="{BF5B735A-5A32-934D-A256-F2808B598700}"/>
                  </a:ext>
                </a:extLst>
              </p:cNvPr>
              <p:cNvSpPr>
                <a:spLocks/>
              </p:cNvSpPr>
              <p:nvPr/>
            </p:nvSpPr>
            <p:spPr bwMode="auto">
              <a:xfrm rot="10800000">
                <a:off x="1833051" y="1406030"/>
                <a:ext cx="6925580" cy="4000707"/>
              </a:xfrm>
              <a:custGeom>
                <a:avLst/>
                <a:gdLst>
                  <a:gd name="G0" fmla="+- 338 0 0"/>
                  <a:gd name="G1" fmla="+- 21600 0 0"/>
                  <a:gd name="G2" fmla="+- 21600 0 0"/>
                  <a:gd name="T0" fmla="*/ 0 w 21938"/>
                  <a:gd name="T1" fmla="*/ 3 h 22126"/>
                  <a:gd name="T2" fmla="*/ 21932 w 21938"/>
                  <a:gd name="T3" fmla="*/ 22126 h 22126"/>
                  <a:gd name="T4" fmla="*/ 338 w 21938"/>
                  <a:gd name="T5" fmla="*/ 21600 h 22126"/>
                </a:gdLst>
                <a:ahLst/>
                <a:cxnLst>
                  <a:cxn ang="0">
                    <a:pos x="T0" y="T1"/>
                  </a:cxn>
                  <a:cxn ang="0">
                    <a:pos x="T2" y="T3"/>
                  </a:cxn>
                  <a:cxn ang="0">
                    <a:pos x="T4" y="T5"/>
                  </a:cxn>
                </a:cxnLst>
                <a:rect l="0" t="0" r="r" b="b"/>
                <a:pathLst>
                  <a:path w="21938" h="22126" fill="none" extrusionOk="0">
                    <a:moveTo>
                      <a:pt x="-1" y="2"/>
                    </a:moveTo>
                    <a:cubicBezTo>
                      <a:pt x="112" y="0"/>
                      <a:pt x="225" y="-1"/>
                      <a:pt x="338" y="0"/>
                    </a:cubicBezTo>
                    <a:cubicBezTo>
                      <a:pt x="12267" y="0"/>
                      <a:pt x="21938" y="9670"/>
                      <a:pt x="21938" y="21600"/>
                    </a:cubicBezTo>
                    <a:cubicBezTo>
                      <a:pt x="21938" y="21775"/>
                      <a:pt x="21935" y="21950"/>
                      <a:pt x="21931" y="22125"/>
                    </a:cubicBezTo>
                  </a:path>
                  <a:path w="21938" h="22126" stroke="0" extrusionOk="0">
                    <a:moveTo>
                      <a:pt x="-1" y="2"/>
                    </a:moveTo>
                    <a:cubicBezTo>
                      <a:pt x="112" y="0"/>
                      <a:pt x="225" y="-1"/>
                      <a:pt x="338" y="0"/>
                    </a:cubicBezTo>
                    <a:cubicBezTo>
                      <a:pt x="12267" y="0"/>
                      <a:pt x="21938" y="9670"/>
                      <a:pt x="21938" y="21600"/>
                    </a:cubicBezTo>
                    <a:cubicBezTo>
                      <a:pt x="21938" y="21775"/>
                      <a:pt x="21935" y="21950"/>
                      <a:pt x="21931" y="22125"/>
                    </a:cubicBezTo>
                    <a:lnTo>
                      <a:pt x="338" y="21600"/>
                    </a:lnTo>
                    <a:close/>
                  </a:path>
                </a:pathLst>
              </a:custGeom>
              <a:solidFill>
                <a:srgbClr val="C7C8CA">
                  <a:alpha val="50196"/>
                </a:srgbClr>
              </a:solidFill>
              <a:ln w="31750">
                <a:noFill/>
                <a:round/>
                <a:headEnd/>
                <a:tailEnd/>
              </a:ln>
              <a:effectLst/>
            </p:spPr>
            <p:txBody>
              <a:bodyPr wrap="none" anchor="ctr"/>
              <a:lstStyle/>
              <a:p>
                <a:pPr defTabSz="1219170">
                  <a:defRPr/>
                </a:pPr>
                <a:endParaRPr lang="en-GB" sz="2400">
                  <a:solidFill>
                    <a:srgbClr val="595959"/>
                  </a:solidFill>
                  <a:latin typeface="Calibri"/>
                  <a:cs typeface="Arial"/>
                  <a:sym typeface="Arial"/>
                </a:endParaRPr>
              </a:p>
            </p:txBody>
          </p:sp>
          <p:sp>
            <p:nvSpPr>
              <p:cNvPr id="355" name="Rectangle 14">
                <a:extLst>
                  <a:ext uri="{FF2B5EF4-FFF2-40B4-BE49-F238E27FC236}">
                    <a16:creationId xmlns:a16="http://schemas.microsoft.com/office/drawing/2014/main" id="{5B0924CC-D138-864A-9CF6-74BBF77123CE}"/>
                  </a:ext>
                </a:extLst>
              </p:cNvPr>
              <p:cNvSpPr>
                <a:spLocks noChangeArrowheads="1"/>
              </p:cNvSpPr>
              <p:nvPr/>
            </p:nvSpPr>
            <p:spPr bwMode="auto">
              <a:xfrm>
                <a:off x="1153314" y="953609"/>
                <a:ext cx="679738" cy="398195"/>
              </a:xfrm>
              <a:prstGeom prst="rect">
                <a:avLst/>
              </a:prstGeom>
              <a:solidFill>
                <a:srgbClr val="F1F1F2"/>
              </a:solidFill>
              <a:ln w="12700">
                <a:noFill/>
                <a:miter lim="800000"/>
                <a:headEnd/>
                <a:tailEnd/>
              </a:ln>
              <a:effectLst/>
            </p:spPr>
            <p:txBody>
              <a:bodyPr wrap="none" lIns="121900" tIns="60951" rIns="121900" bIns="60951" anchor="ctr"/>
              <a:lstStyle>
                <a:lvl1pPr defTabSz="912813">
                  <a:defRPr sz="2400">
                    <a:solidFill>
                      <a:schemeClr val="tx1"/>
                    </a:solidFill>
                    <a:latin typeface="Times" pitchFamily="18" charset="0"/>
                  </a:defRPr>
                </a:lvl1pPr>
                <a:lvl2pPr defTabSz="912813">
                  <a:defRPr sz="2400">
                    <a:solidFill>
                      <a:schemeClr val="tx1"/>
                    </a:solidFill>
                    <a:latin typeface="Times" pitchFamily="18" charset="0"/>
                  </a:defRPr>
                </a:lvl2pPr>
                <a:lvl3pPr marL="912813" defTabSz="912813">
                  <a:defRPr sz="2400">
                    <a:solidFill>
                      <a:schemeClr val="tx1"/>
                    </a:solidFill>
                    <a:latin typeface="Times" pitchFamily="18" charset="0"/>
                  </a:defRPr>
                </a:lvl3pPr>
                <a:lvl4pPr defTabSz="912813">
                  <a:defRPr sz="2400">
                    <a:solidFill>
                      <a:schemeClr val="tx1"/>
                    </a:solidFill>
                    <a:latin typeface="Times" pitchFamily="18" charset="0"/>
                  </a:defRPr>
                </a:lvl4pPr>
                <a:lvl5pPr defTabSz="912813">
                  <a:defRPr sz="2400">
                    <a:solidFill>
                      <a:schemeClr val="tx1"/>
                    </a:solidFill>
                    <a:latin typeface="Times" pitchFamily="18" charset="0"/>
                  </a:defRPr>
                </a:lvl5pPr>
                <a:lvl6pPr defTabSz="912813" eaLnBrk="0" fontAlgn="base" hangingPunct="0">
                  <a:spcBef>
                    <a:spcPct val="0"/>
                  </a:spcBef>
                  <a:spcAft>
                    <a:spcPct val="0"/>
                  </a:spcAft>
                  <a:defRPr sz="2400">
                    <a:solidFill>
                      <a:schemeClr val="tx1"/>
                    </a:solidFill>
                    <a:latin typeface="Times" pitchFamily="18" charset="0"/>
                  </a:defRPr>
                </a:lvl6pPr>
                <a:lvl7pPr defTabSz="912813" eaLnBrk="0" fontAlgn="base" hangingPunct="0">
                  <a:spcBef>
                    <a:spcPct val="0"/>
                  </a:spcBef>
                  <a:spcAft>
                    <a:spcPct val="0"/>
                  </a:spcAft>
                  <a:defRPr sz="2400">
                    <a:solidFill>
                      <a:schemeClr val="tx1"/>
                    </a:solidFill>
                    <a:latin typeface="Times" pitchFamily="18" charset="0"/>
                  </a:defRPr>
                </a:lvl7pPr>
                <a:lvl8pPr defTabSz="912813" eaLnBrk="0" fontAlgn="base" hangingPunct="0">
                  <a:spcBef>
                    <a:spcPct val="0"/>
                  </a:spcBef>
                  <a:spcAft>
                    <a:spcPct val="0"/>
                  </a:spcAft>
                  <a:defRPr sz="2400">
                    <a:solidFill>
                      <a:schemeClr val="tx1"/>
                    </a:solidFill>
                    <a:latin typeface="Times" pitchFamily="18" charset="0"/>
                  </a:defRPr>
                </a:lvl8pPr>
                <a:lvl9pPr defTabSz="912813" eaLnBrk="0" fontAlgn="base" hangingPunct="0">
                  <a:spcBef>
                    <a:spcPct val="0"/>
                  </a:spcBef>
                  <a:spcAft>
                    <a:spcPct val="0"/>
                  </a:spcAft>
                  <a:defRPr sz="2400">
                    <a:solidFill>
                      <a:schemeClr val="tx1"/>
                    </a:solidFill>
                    <a:latin typeface="Times" pitchFamily="18" charset="0"/>
                  </a:defRPr>
                </a:lvl9pPr>
              </a:lstStyle>
              <a:p>
                <a:pPr algn="ctr" defTabSz="1217054">
                  <a:defRPr/>
                </a:pPr>
                <a:r>
                  <a:rPr lang="en-GB" altLang="en-US" sz="1200" b="1">
                    <a:solidFill>
                      <a:srgbClr val="595959"/>
                    </a:solidFill>
                    <a:latin typeface="Calibri" panose="020F0502020204030204" pitchFamily="34" charset="0"/>
                    <a:ea typeface="Arial" charset="0"/>
                    <a:cs typeface="Calibri" panose="020F0502020204030204" pitchFamily="34" charset="0"/>
                    <a:sym typeface="Arial"/>
                  </a:rPr>
                  <a:t>0-6 months</a:t>
                </a:r>
                <a:endParaRPr lang="en-GB" altLang="en-US" sz="1200">
                  <a:solidFill>
                    <a:srgbClr val="595959"/>
                  </a:solidFill>
                  <a:latin typeface="Calibri" panose="020F0502020204030204" pitchFamily="34" charset="0"/>
                  <a:ea typeface="Arial" charset="0"/>
                  <a:cs typeface="Calibri" panose="020F0502020204030204" pitchFamily="34" charset="0"/>
                  <a:sym typeface="Arial"/>
                </a:endParaRPr>
              </a:p>
            </p:txBody>
          </p:sp>
          <p:sp>
            <p:nvSpPr>
              <p:cNvPr id="356" name="Rectangle 13">
                <a:extLst>
                  <a:ext uri="{FF2B5EF4-FFF2-40B4-BE49-F238E27FC236}">
                    <a16:creationId xmlns:a16="http://schemas.microsoft.com/office/drawing/2014/main" id="{EDCBF29A-386B-314C-B214-2735823D7C2E}"/>
                  </a:ext>
                </a:extLst>
              </p:cNvPr>
              <p:cNvSpPr>
                <a:spLocks noChangeArrowheads="1"/>
              </p:cNvSpPr>
              <p:nvPr/>
            </p:nvSpPr>
            <p:spPr bwMode="auto">
              <a:xfrm>
                <a:off x="1833051" y="948609"/>
                <a:ext cx="2938730" cy="393892"/>
              </a:xfrm>
              <a:prstGeom prst="rect">
                <a:avLst/>
              </a:prstGeom>
              <a:solidFill>
                <a:srgbClr val="DCDCDD"/>
              </a:solidFill>
              <a:ln w="12700">
                <a:noFill/>
                <a:miter lim="800000"/>
                <a:headEnd/>
                <a:tailEnd/>
              </a:ln>
              <a:effectLst/>
            </p:spPr>
            <p:txBody>
              <a:bodyPr wrap="none" anchor="ctr"/>
              <a:lstStyle/>
              <a:p>
                <a:pPr algn="ctr" defTabSz="1219170">
                  <a:buClr>
                    <a:srgbClr val="000000"/>
                  </a:buClr>
                  <a:defRPr/>
                </a:pPr>
                <a:r>
                  <a:rPr lang="en-GB" altLang="en-US" sz="1200" b="1">
                    <a:solidFill>
                      <a:srgbClr val="595959"/>
                    </a:solidFill>
                    <a:latin typeface="Calibri" panose="020F0502020204030204" pitchFamily="34" charset="0"/>
                    <a:ea typeface="Arial" charset="0"/>
                    <a:cs typeface="Calibri" panose="020F0502020204030204" pitchFamily="34" charset="0"/>
                    <a:sym typeface="Arial"/>
                  </a:rPr>
                  <a:t>6</a:t>
                </a:r>
                <a:r>
                  <a:rPr lang="en-GB" altLang="en-US" sz="1200" b="1" kern="0">
                    <a:solidFill>
                      <a:srgbClr val="595959"/>
                    </a:solidFill>
                    <a:latin typeface="Calibri" panose="020F0502020204030204" pitchFamily="34" charset="0"/>
                    <a:ea typeface="Arial" charset="0"/>
                    <a:cs typeface="Calibri" panose="020F0502020204030204" pitchFamily="34" charset="0"/>
                    <a:sym typeface="Arial"/>
                  </a:rPr>
                  <a:t>-18 months</a:t>
                </a:r>
                <a:endParaRPr lang="en-GB" altLang="en-US" sz="1200" b="1">
                  <a:solidFill>
                    <a:srgbClr val="595959"/>
                  </a:solidFill>
                  <a:latin typeface="Calibri" panose="020F0502020204030204" pitchFamily="34" charset="0"/>
                  <a:ea typeface="Arial" charset="0"/>
                  <a:cs typeface="Calibri" panose="020F0502020204030204" pitchFamily="34" charset="0"/>
                  <a:sym typeface="Arial"/>
                </a:endParaRPr>
              </a:p>
            </p:txBody>
          </p:sp>
          <p:sp>
            <p:nvSpPr>
              <p:cNvPr id="357" name="Rectangle 356">
                <a:extLst>
                  <a:ext uri="{FF2B5EF4-FFF2-40B4-BE49-F238E27FC236}">
                    <a16:creationId xmlns:a16="http://schemas.microsoft.com/office/drawing/2014/main" id="{3AEE194F-3CE5-114D-98E2-CC75B9EA7FB3}"/>
                  </a:ext>
                </a:extLst>
              </p:cNvPr>
              <p:cNvSpPr/>
              <p:nvPr/>
            </p:nvSpPr>
            <p:spPr>
              <a:xfrm>
                <a:off x="739788" y="1363941"/>
                <a:ext cx="7930959" cy="5882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a:solidFill>
                    <a:srgbClr val="595959"/>
                  </a:solidFill>
                  <a:latin typeface="Calibri"/>
                  <a:sym typeface="Arial"/>
                </a:endParaRPr>
              </a:p>
            </p:txBody>
          </p:sp>
          <p:sp>
            <p:nvSpPr>
              <p:cNvPr id="358" name="Line 16">
                <a:extLst>
                  <a:ext uri="{FF2B5EF4-FFF2-40B4-BE49-F238E27FC236}">
                    <a16:creationId xmlns:a16="http://schemas.microsoft.com/office/drawing/2014/main" id="{0EDA9308-7CF2-1347-A5F6-AEF1CF290F28}"/>
                  </a:ext>
                </a:extLst>
              </p:cNvPr>
              <p:cNvSpPr>
                <a:spLocks noChangeShapeType="1"/>
              </p:cNvSpPr>
              <p:nvPr/>
            </p:nvSpPr>
            <p:spPr bwMode="auto">
              <a:xfrm rot="10800000" flipV="1">
                <a:off x="1529579" y="1433607"/>
                <a:ext cx="7141161" cy="2047620"/>
              </a:xfrm>
              <a:prstGeom prst="line">
                <a:avLst/>
              </a:prstGeom>
              <a:noFill/>
              <a:ln w="38100">
                <a:solidFill>
                  <a:schemeClr val="bg1"/>
                </a:solidFill>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9170">
                  <a:defRPr/>
                </a:pPr>
                <a:endParaRPr lang="en-GB" sz="2400">
                  <a:solidFill>
                    <a:srgbClr val="595959"/>
                  </a:solidFill>
                  <a:latin typeface="Calibri"/>
                  <a:cs typeface="Arial"/>
                  <a:sym typeface="Arial"/>
                </a:endParaRPr>
              </a:p>
            </p:txBody>
          </p:sp>
          <p:sp>
            <p:nvSpPr>
              <p:cNvPr id="359" name="Line 16">
                <a:extLst>
                  <a:ext uri="{FF2B5EF4-FFF2-40B4-BE49-F238E27FC236}">
                    <a16:creationId xmlns:a16="http://schemas.microsoft.com/office/drawing/2014/main" id="{361C7D22-800D-4D49-B943-47594E0F4F6A}"/>
                  </a:ext>
                </a:extLst>
              </p:cNvPr>
              <p:cNvSpPr>
                <a:spLocks noChangeShapeType="1"/>
              </p:cNvSpPr>
              <p:nvPr/>
            </p:nvSpPr>
            <p:spPr bwMode="auto">
              <a:xfrm rot="10800000" flipV="1">
                <a:off x="860496" y="1433055"/>
                <a:ext cx="7810246" cy="982188"/>
              </a:xfrm>
              <a:prstGeom prst="line">
                <a:avLst/>
              </a:prstGeom>
              <a:noFill/>
              <a:ln w="38100">
                <a:solidFill>
                  <a:schemeClr val="bg1"/>
                </a:solidFill>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9170">
                  <a:defRPr/>
                </a:pPr>
                <a:endParaRPr lang="en-GB" sz="2400">
                  <a:solidFill>
                    <a:srgbClr val="595959"/>
                  </a:solidFill>
                  <a:latin typeface="Calibri"/>
                  <a:cs typeface="Arial"/>
                  <a:sym typeface="Arial"/>
                </a:endParaRPr>
              </a:p>
            </p:txBody>
          </p:sp>
        </p:grpSp>
        <p:sp>
          <p:nvSpPr>
            <p:cNvPr id="334" name="Rectangle 333">
              <a:extLst>
                <a:ext uri="{FF2B5EF4-FFF2-40B4-BE49-F238E27FC236}">
                  <a16:creationId xmlns:a16="http://schemas.microsoft.com/office/drawing/2014/main" id="{0670644B-DA0A-854E-9D45-00534A6D28D4}"/>
                </a:ext>
              </a:extLst>
            </p:cNvPr>
            <p:cNvSpPr/>
            <p:nvPr/>
          </p:nvSpPr>
          <p:spPr>
            <a:xfrm rot="5400000">
              <a:off x="6066143" y="3356374"/>
              <a:ext cx="5370572" cy="12061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a:solidFill>
                  <a:srgbClr val="595959"/>
                </a:solidFill>
                <a:latin typeface="Calibri"/>
                <a:sym typeface="Arial"/>
              </a:endParaRPr>
            </a:p>
          </p:txBody>
        </p:sp>
      </p:grpSp>
      <p:sp>
        <p:nvSpPr>
          <p:cNvPr id="360" name="Rounded Rectangle 359">
            <a:extLst>
              <a:ext uri="{FF2B5EF4-FFF2-40B4-BE49-F238E27FC236}">
                <a16:creationId xmlns:a16="http://schemas.microsoft.com/office/drawing/2014/main" id="{871EBADB-F32A-774F-8504-D235988BAF8C}"/>
              </a:ext>
            </a:extLst>
          </p:cNvPr>
          <p:cNvSpPr/>
          <p:nvPr/>
        </p:nvSpPr>
        <p:spPr>
          <a:xfrm>
            <a:off x="155993" y="5625747"/>
            <a:ext cx="4695018" cy="903606"/>
          </a:xfrm>
          <a:prstGeom prst="roundRect">
            <a:avLst>
              <a:gd name="adj" fmla="val 721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1867" kern="0">
              <a:solidFill>
                <a:srgbClr val="FFFFFF"/>
              </a:solidFill>
              <a:latin typeface="Arial"/>
              <a:sym typeface="Arial"/>
            </a:endParaRPr>
          </a:p>
        </p:txBody>
      </p:sp>
      <p:sp>
        <p:nvSpPr>
          <p:cNvPr id="361" name="Rectangle 360">
            <a:extLst>
              <a:ext uri="{FF2B5EF4-FFF2-40B4-BE49-F238E27FC236}">
                <a16:creationId xmlns:a16="http://schemas.microsoft.com/office/drawing/2014/main" id="{F209A0E1-B5CC-F74F-8F09-C4FA62376197}"/>
              </a:ext>
            </a:extLst>
          </p:cNvPr>
          <p:cNvSpPr/>
          <p:nvPr/>
        </p:nvSpPr>
        <p:spPr>
          <a:xfrm>
            <a:off x="184316" y="4223671"/>
            <a:ext cx="1246583" cy="32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defTabSz="914377">
              <a:defRPr/>
            </a:pPr>
            <a:r>
              <a:rPr lang="en-GB" sz="933" b="1" kern="0">
                <a:solidFill>
                  <a:srgbClr val="50235A"/>
                </a:solidFill>
                <a:latin typeface="Frutiger LT Std 65"/>
                <a:sym typeface="Arial"/>
              </a:rPr>
              <a:t>Key:</a:t>
            </a:r>
            <a:endParaRPr lang="en-GB" sz="933" b="1" kern="0">
              <a:solidFill>
                <a:srgbClr val="50235A"/>
              </a:solidFill>
              <a:latin typeface="Calibri" panose="020F0502020204030204" pitchFamily="34" charset="0"/>
              <a:cs typeface="Calibri" panose="020F0502020204030204" pitchFamily="34" charset="0"/>
              <a:sym typeface="Arial"/>
            </a:endParaRPr>
          </a:p>
        </p:txBody>
      </p:sp>
      <p:sp>
        <p:nvSpPr>
          <p:cNvPr id="362" name="Rectangle 361">
            <a:extLst>
              <a:ext uri="{FF2B5EF4-FFF2-40B4-BE49-F238E27FC236}">
                <a16:creationId xmlns:a16="http://schemas.microsoft.com/office/drawing/2014/main" id="{25998F0A-16B7-5947-8669-59B354E24DBA}"/>
              </a:ext>
            </a:extLst>
          </p:cNvPr>
          <p:cNvSpPr/>
          <p:nvPr/>
        </p:nvSpPr>
        <p:spPr>
          <a:xfrm>
            <a:off x="527342" y="5636006"/>
            <a:ext cx="1280897" cy="3322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defTabSz="914377">
              <a:defRPr/>
            </a:pPr>
            <a:r>
              <a:rPr lang="en-GB" sz="800" kern="0">
                <a:solidFill>
                  <a:srgbClr val="595959"/>
                </a:solidFill>
                <a:latin typeface="Calibri" panose="020F0502020204030204" pitchFamily="34" charset="0"/>
                <a:cs typeface="Calibri" panose="020F0502020204030204" pitchFamily="34" charset="0"/>
                <a:sym typeface="Arial"/>
              </a:rPr>
              <a:t>Raise the profile and awareness of mental health</a:t>
            </a:r>
          </a:p>
        </p:txBody>
      </p:sp>
      <p:sp>
        <p:nvSpPr>
          <p:cNvPr id="363" name="Rectangle 362">
            <a:extLst>
              <a:ext uri="{FF2B5EF4-FFF2-40B4-BE49-F238E27FC236}">
                <a16:creationId xmlns:a16="http://schemas.microsoft.com/office/drawing/2014/main" id="{090E91EB-F688-2C4C-8D08-799020230CF6}"/>
              </a:ext>
            </a:extLst>
          </p:cNvPr>
          <p:cNvSpPr/>
          <p:nvPr/>
        </p:nvSpPr>
        <p:spPr>
          <a:xfrm>
            <a:off x="527342" y="6245612"/>
            <a:ext cx="1280897" cy="3322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defTabSz="914377">
              <a:defRPr/>
            </a:pPr>
            <a:r>
              <a:rPr lang="en-GB" sz="800" kern="0">
                <a:solidFill>
                  <a:srgbClr val="595959"/>
                </a:solidFill>
                <a:latin typeface="Calibri" panose="020F0502020204030204" pitchFamily="34" charset="0"/>
                <a:cs typeface="Calibri" panose="020F0502020204030204" pitchFamily="34" charset="0"/>
                <a:sym typeface="Arial"/>
              </a:rPr>
              <a:t>Easy and timely access to support and services</a:t>
            </a:r>
          </a:p>
        </p:txBody>
      </p:sp>
      <p:sp>
        <p:nvSpPr>
          <p:cNvPr id="364" name="Rectangle 363">
            <a:extLst>
              <a:ext uri="{FF2B5EF4-FFF2-40B4-BE49-F238E27FC236}">
                <a16:creationId xmlns:a16="http://schemas.microsoft.com/office/drawing/2014/main" id="{33E1C776-16CC-7A42-B607-D17620DCA9F0}"/>
              </a:ext>
            </a:extLst>
          </p:cNvPr>
          <p:cNvSpPr/>
          <p:nvPr/>
        </p:nvSpPr>
        <p:spPr>
          <a:xfrm>
            <a:off x="2106018" y="5634600"/>
            <a:ext cx="1165820" cy="3204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defTabSz="914377">
              <a:defRPr/>
            </a:pPr>
            <a:r>
              <a:rPr lang="en-GB" sz="800" kern="0">
                <a:solidFill>
                  <a:srgbClr val="595959"/>
                </a:solidFill>
                <a:latin typeface="Calibri" panose="020F0502020204030204" pitchFamily="34" charset="0"/>
                <a:cs typeface="Calibri" panose="020F0502020204030204" pitchFamily="34" charset="0"/>
                <a:sym typeface="Arial"/>
              </a:rPr>
              <a:t>Act as one integrated system</a:t>
            </a:r>
          </a:p>
        </p:txBody>
      </p:sp>
      <p:sp>
        <p:nvSpPr>
          <p:cNvPr id="365" name="Rectangle 364">
            <a:extLst>
              <a:ext uri="{FF2B5EF4-FFF2-40B4-BE49-F238E27FC236}">
                <a16:creationId xmlns:a16="http://schemas.microsoft.com/office/drawing/2014/main" id="{DF9B834C-722D-4345-91D3-E4C23D016EB6}"/>
              </a:ext>
            </a:extLst>
          </p:cNvPr>
          <p:cNvSpPr/>
          <p:nvPr/>
        </p:nvSpPr>
        <p:spPr>
          <a:xfrm>
            <a:off x="2106018" y="5923659"/>
            <a:ext cx="1299296" cy="3322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defTabSz="914377">
              <a:defRPr/>
            </a:pPr>
            <a:r>
              <a:rPr lang="en-GB" sz="800" kern="0">
                <a:solidFill>
                  <a:srgbClr val="595959"/>
                </a:solidFill>
                <a:latin typeface="Calibri" panose="020F0502020204030204" pitchFamily="34" charset="0"/>
                <a:cs typeface="Calibri" panose="020F0502020204030204" pitchFamily="34" charset="0"/>
                <a:sym typeface="Arial"/>
              </a:rPr>
              <a:t>Focus on health inequalities</a:t>
            </a:r>
          </a:p>
        </p:txBody>
      </p:sp>
      <p:sp>
        <p:nvSpPr>
          <p:cNvPr id="366" name="Rectangle 365">
            <a:extLst>
              <a:ext uri="{FF2B5EF4-FFF2-40B4-BE49-F238E27FC236}">
                <a16:creationId xmlns:a16="http://schemas.microsoft.com/office/drawing/2014/main" id="{89C55481-7C76-694B-9872-52A7C8DCB825}"/>
              </a:ext>
            </a:extLst>
          </p:cNvPr>
          <p:cNvSpPr/>
          <p:nvPr/>
        </p:nvSpPr>
        <p:spPr>
          <a:xfrm>
            <a:off x="2106018" y="6228463"/>
            <a:ext cx="1165820" cy="2990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defTabSz="914377">
              <a:defRPr/>
            </a:pPr>
            <a:r>
              <a:rPr lang="en-GB" sz="800" kern="0">
                <a:solidFill>
                  <a:srgbClr val="595959"/>
                </a:solidFill>
                <a:latin typeface="Calibri" panose="020F0502020204030204" pitchFamily="34" charset="0"/>
                <a:cs typeface="Calibri" panose="020F0502020204030204" pitchFamily="34" charset="0"/>
                <a:sym typeface="Arial"/>
              </a:rPr>
              <a:t>Build Community resources</a:t>
            </a:r>
          </a:p>
        </p:txBody>
      </p:sp>
      <p:sp>
        <p:nvSpPr>
          <p:cNvPr id="367" name="Rectangle 366">
            <a:extLst>
              <a:ext uri="{FF2B5EF4-FFF2-40B4-BE49-F238E27FC236}">
                <a16:creationId xmlns:a16="http://schemas.microsoft.com/office/drawing/2014/main" id="{C11E1712-53AF-DB4E-86F1-812CF58B56B7}"/>
              </a:ext>
            </a:extLst>
          </p:cNvPr>
          <p:cNvSpPr/>
          <p:nvPr/>
        </p:nvSpPr>
        <p:spPr>
          <a:xfrm>
            <a:off x="3507777" y="5623211"/>
            <a:ext cx="1299296" cy="3322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defTabSz="914377">
              <a:defRPr/>
            </a:pPr>
            <a:r>
              <a:rPr lang="en-GB" sz="800" kern="0">
                <a:solidFill>
                  <a:srgbClr val="595959"/>
                </a:solidFill>
                <a:latin typeface="Calibri" panose="020F0502020204030204" pitchFamily="34" charset="0"/>
                <a:cs typeface="Calibri" panose="020F0502020204030204" pitchFamily="34" charset="0"/>
                <a:sym typeface="Arial"/>
              </a:rPr>
              <a:t>Support the workforce and their wellbeing</a:t>
            </a:r>
          </a:p>
        </p:txBody>
      </p:sp>
      <p:sp>
        <p:nvSpPr>
          <p:cNvPr id="368" name="Rectangle 367">
            <a:extLst>
              <a:ext uri="{FF2B5EF4-FFF2-40B4-BE49-F238E27FC236}">
                <a16:creationId xmlns:a16="http://schemas.microsoft.com/office/drawing/2014/main" id="{4423D3D0-E913-6E4C-B292-E0C6FB49E57B}"/>
              </a:ext>
            </a:extLst>
          </p:cNvPr>
          <p:cNvSpPr/>
          <p:nvPr/>
        </p:nvSpPr>
        <p:spPr>
          <a:xfrm>
            <a:off x="3507777" y="5928016"/>
            <a:ext cx="1299296" cy="3322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defTabSz="914377">
              <a:defRPr/>
            </a:pPr>
            <a:r>
              <a:rPr lang="en-GB" sz="800" kern="0">
                <a:solidFill>
                  <a:srgbClr val="595959"/>
                </a:solidFill>
                <a:latin typeface="Calibri" panose="020F0502020204030204" pitchFamily="34" charset="0"/>
                <a:cs typeface="Calibri" panose="020F0502020204030204" pitchFamily="34" charset="0"/>
                <a:sym typeface="Arial"/>
              </a:rPr>
              <a:t>Supported transition from services</a:t>
            </a:r>
          </a:p>
        </p:txBody>
      </p:sp>
      <p:sp>
        <p:nvSpPr>
          <p:cNvPr id="369" name="Rectangle 13">
            <a:extLst>
              <a:ext uri="{FF2B5EF4-FFF2-40B4-BE49-F238E27FC236}">
                <a16:creationId xmlns:a16="http://schemas.microsoft.com/office/drawing/2014/main" id="{6501FB08-87A8-9141-9515-DA1F59CD03C2}"/>
              </a:ext>
            </a:extLst>
          </p:cNvPr>
          <p:cNvSpPr>
            <a:spLocks noChangeArrowheads="1"/>
          </p:cNvSpPr>
          <p:nvPr/>
        </p:nvSpPr>
        <p:spPr bwMode="auto">
          <a:xfrm>
            <a:off x="5971906" y="1674431"/>
            <a:ext cx="5495383" cy="364907"/>
          </a:xfrm>
          <a:prstGeom prst="rect">
            <a:avLst/>
          </a:prstGeom>
          <a:solidFill>
            <a:srgbClr val="D1D1D2"/>
          </a:solidFill>
          <a:ln w="12700">
            <a:noFill/>
            <a:miter lim="800000"/>
            <a:headEnd/>
            <a:tailEnd/>
          </a:ln>
          <a:effectLst/>
        </p:spPr>
        <p:txBody>
          <a:bodyPr wrap="none" anchor="ctr"/>
          <a:lstStyle/>
          <a:p>
            <a:pPr algn="ctr" defTabSz="1219170">
              <a:buClr>
                <a:srgbClr val="000000"/>
              </a:buClr>
              <a:defRPr/>
            </a:pPr>
            <a:r>
              <a:rPr lang="en-GB" altLang="en-US" sz="1200" b="1" kern="0">
                <a:solidFill>
                  <a:srgbClr val="595959"/>
                </a:solidFill>
                <a:latin typeface="Calibri" panose="020F0502020204030204" pitchFamily="34" charset="0"/>
                <a:ea typeface="Arial" charset="0"/>
                <a:cs typeface="Calibri" panose="020F0502020204030204" pitchFamily="34" charset="0"/>
                <a:sym typeface="Arial"/>
              </a:rPr>
              <a:t>18+ months</a:t>
            </a:r>
            <a:endParaRPr lang="en-GB" altLang="en-US" sz="1200" b="1">
              <a:solidFill>
                <a:srgbClr val="595959"/>
              </a:solidFill>
              <a:latin typeface="Calibri" panose="020F0502020204030204" pitchFamily="34" charset="0"/>
              <a:ea typeface="Arial" charset="0"/>
              <a:cs typeface="Calibri" panose="020F0502020204030204" pitchFamily="34" charset="0"/>
              <a:sym typeface="Arial"/>
            </a:endParaRPr>
          </a:p>
        </p:txBody>
      </p:sp>
      <p:sp>
        <p:nvSpPr>
          <p:cNvPr id="370" name="Line 16">
            <a:extLst>
              <a:ext uri="{FF2B5EF4-FFF2-40B4-BE49-F238E27FC236}">
                <a16:creationId xmlns:a16="http://schemas.microsoft.com/office/drawing/2014/main" id="{27C80200-B306-8545-AEB1-3AA5E1551D17}"/>
              </a:ext>
            </a:extLst>
          </p:cNvPr>
          <p:cNvSpPr>
            <a:spLocks noChangeShapeType="1"/>
          </p:cNvSpPr>
          <p:nvPr/>
        </p:nvSpPr>
        <p:spPr bwMode="auto">
          <a:xfrm rot="10800000" flipV="1">
            <a:off x="2868236" y="2120881"/>
            <a:ext cx="8582625" cy="2795745"/>
          </a:xfrm>
          <a:prstGeom prst="line">
            <a:avLst/>
          </a:prstGeom>
          <a:noFill/>
          <a:ln w="38100">
            <a:solidFill>
              <a:schemeClr val="bg1"/>
            </a:solidFill>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9170">
              <a:defRPr/>
            </a:pPr>
            <a:endParaRPr lang="en-GB" sz="2400">
              <a:solidFill>
                <a:srgbClr val="595959"/>
              </a:solidFill>
              <a:latin typeface="Calibri"/>
              <a:cs typeface="Arial"/>
              <a:sym typeface="Arial"/>
            </a:endParaRPr>
          </a:p>
        </p:txBody>
      </p:sp>
      <p:sp>
        <p:nvSpPr>
          <p:cNvPr id="371" name="Line 16">
            <a:extLst>
              <a:ext uri="{FF2B5EF4-FFF2-40B4-BE49-F238E27FC236}">
                <a16:creationId xmlns:a16="http://schemas.microsoft.com/office/drawing/2014/main" id="{466D428A-8DAC-1B41-BCA9-683150C5E1DE}"/>
              </a:ext>
            </a:extLst>
          </p:cNvPr>
          <p:cNvSpPr>
            <a:spLocks noChangeShapeType="1"/>
          </p:cNvSpPr>
          <p:nvPr/>
        </p:nvSpPr>
        <p:spPr bwMode="auto">
          <a:xfrm rot="10800000" flipV="1">
            <a:off x="4861155" y="2127422"/>
            <a:ext cx="6589706" cy="3490399"/>
          </a:xfrm>
          <a:prstGeom prst="line">
            <a:avLst/>
          </a:prstGeom>
          <a:noFill/>
          <a:ln w="38100">
            <a:solidFill>
              <a:schemeClr val="bg1"/>
            </a:solidFill>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9170">
              <a:defRPr/>
            </a:pPr>
            <a:endParaRPr lang="en-GB" sz="2400">
              <a:solidFill>
                <a:srgbClr val="595959"/>
              </a:solidFill>
              <a:latin typeface="Calibri"/>
              <a:cs typeface="Arial"/>
              <a:sym typeface="Arial"/>
            </a:endParaRPr>
          </a:p>
        </p:txBody>
      </p:sp>
      <p:sp>
        <p:nvSpPr>
          <p:cNvPr id="372" name="Line 16">
            <a:extLst>
              <a:ext uri="{FF2B5EF4-FFF2-40B4-BE49-F238E27FC236}">
                <a16:creationId xmlns:a16="http://schemas.microsoft.com/office/drawing/2014/main" id="{D7B02BF3-AF4B-3444-AF31-7E6A339C9CDE}"/>
              </a:ext>
            </a:extLst>
          </p:cNvPr>
          <p:cNvSpPr>
            <a:spLocks noChangeShapeType="1"/>
          </p:cNvSpPr>
          <p:nvPr/>
        </p:nvSpPr>
        <p:spPr bwMode="auto">
          <a:xfrm rot="10800000" flipV="1">
            <a:off x="6928338" y="2114956"/>
            <a:ext cx="4532667" cy="3962854"/>
          </a:xfrm>
          <a:prstGeom prst="line">
            <a:avLst/>
          </a:prstGeom>
          <a:noFill/>
          <a:ln w="38100">
            <a:solidFill>
              <a:schemeClr val="bg1"/>
            </a:solidFill>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9170">
              <a:defRPr/>
            </a:pPr>
            <a:endParaRPr lang="en-GB" sz="2400">
              <a:solidFill>
                <a:srgbClr val="595959"/>
              </a:solidFill>
              <a:latin typeface="Calibri"/>
              <a:cs typeface="Arial"/>
              <a:sym typeface="Arial"/>
            </a:endParaRPr>
          </a:p>
        </p:txBody>
      </p:sp>
      <p:sp>
        <p:nvSpPr>
          <p:cNvPr id="373" name="Line 16">
            <a:extLst>
              <a:ext uri="{FF2B5EF4-FFF2-40B4-BE49-F238E27FC236}">
                <a16:creationId xmlns:a16="http://schemas.microsoft.com/office/drawing/2014/main" id="{C06CE678-7296-AE4B-9DC0-86C8B4C49671}"/>
              </a:ext>
            </a:extLst>
          </p:cNvPr>
          <p:cNvSpPr>
            <a:spLocks noChangeShapeType="1"/>
          </p:cNvSpPr>
          <p:nvPr/>
        </p:nvSpPr>
        <p:spPr bwMode="auto">
          <a:xfrm rot="10800000" flipV="1">
            <a:off x="8886092" y="2139792"/>
            <a:ext cx="2564769" cy="4143931"/>
          </a:xfrm>
          <a:prstGeom prst="line">
            <a:avLst/>
          </a:prstGeom>
          <a:noFill/>
          <a:ln w="38100">
            <a:solidFill>
              <a:schemeClr val="bg1"/>
            </a:solidFill>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9170">
              <a:defRPr/>
            </a:pPr>
            <a:endParaRPr lang="en-GB" sz="2400">
              <a:solidFill>
                <a:srgbClr val="595959"/>
              </a:solidFill>
              <a:latin typeface="Calibri"/>
              <a:cs typeface="Arial"/>
              <a:sym typeface="Arial"/>
            </a:endParaRPr>
          </a:p>
        </p:txBody>
      </p:sp>
      <p:sp>
        <p:nvSpPr>
          <p:cNvPr id="374" name="Arc 10">
            <a:extLst>
              <a:ext uri="{FF2B5EF4-FFF2-40B4-BE49-F238E27FC236}">
                <a16:creationId xmlns:a16="http://schemas.microsoft.com/office/drawing/2014/main" id="{4DB01846-F703-604C-B9C8-98E965F647FA}"/>
              </a:ext>
            </a:extLst>
          </p:cNvPr>
          <p:cNvSpPr>
            <a:spLocks/>
          </p:cNvSpPr>
          <p:nvPr/>
        </p:nvSpPr>
        <p:spPr bwMode="auto">
          <a:xfrm rot="10800000">
            <a:off x="5971905" y="2139791"/>
            <a:ext cx="5478955" cy="2043448"/>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BFBFBF"/>
          </a:solidFill>
          <a:ln w="31750">
            <a:noFill/>
            <a:round/>
            <a:headEnd/>
            <a:tailEnd/>
          </a:ln>
          <a:effectLst/>
        </p:spPr>
        <p:txBody>
          <a:bodyPr wrap="none" anchor="ctr"/>
          <a:lstStyle/>
          <a:p>
            <a:pPr defTabSz="1219170">
              <a:defRPr/>
            </a:pPr>
            <a:endParaRPr lang="en-GB" sz="2400">
              <a:solidFill>
                <a:srgbClr val="595959"/>
              </a:solidFill>
              <a:latin typeface="Calibri"/>
              <a:cs typeface="Arial"/>
              <a:sym typeface="Arial"/>
            </a:endParaRPr>
          </a:p>
        </p:txBody>
      </p:sp>
      <p:grpSp>
        <p:nvGrpSpPr>
          <p:cNvPr id="375" name="Group 374">
            <a:extLst>
              <a:ext uri="{FF2B5EF4-FFF2-40B4-BE49-F238E27FC236}">
                <a16:creationId xmlns:a16="http://schemas.microsoft.com/office/drawing/2014/main" id="{2C5677B7-A715-FB43-9058-E4CB9B6B25FF}"/>
              </a:ext>
            </a:extLst>
          </p:cNvPr>
          <p:cNvGrpSpPr/>
          <p:nvPr/>
        </p:nvGrpSpPr>
        <p:grpSpPr>
          <a:xfrm>
            <a:off x="2027394" y="2347692"/>
            <a:ext cx="338415" cy="254400"/>
            <a:chOff x="-1176915" y="3508496"/>
            <a:chExt cx="338415" cy="254400"/>
          </a:xfrm>
        </p:grpSpPr>
        <p:sp>
          <p:nvSpPr>
            <p:cNvPr id="376" name="Oval 375">
              <a:extLst>
                <a:ext uri="{FF2B5EF4-FFF2-40B4-BE49-F238E27FC236}">
                  <a16:creationId xmlns:a16="http://schemas.microsoft.com/office/drawing/2014/main" id="{ED889246-1DD3-6747-A1C7-4B8E4EE356B1}"/>
                </a:ext>
              </a:extLst>
            </p:cNvPr>
            <p:cNvSpPr/>
            <p:nvPr/>
          </p:nvSpPr>
          <p:spPr>
            <a:xfrm>
              <a:off x="-1133852" y="3508496"/>
              <a:ext cx="254400" cy="254400"/>
            </a:xfrm>
            <a:prstGeom prst="ellipse">
              <a:avLst/>
            </a:prstGeom>
            <a:solidFill>
              <a:srgbClr val="FF0000"/>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377" name="TextBox 376">
              <a:extLst>
                <a:ext uri="{FF2B5EF4-FFF2-40B4-BE49-F238E27FC236}">
                  <a16:creationId xmlns:a16="http://schemas.microsoft.com/office/drawing/2014/main" id="{683E7A56-7B59-A74D-A415-5F7FB46BC86E}"/>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A1</a:t>
              </a:r>
            </a:p>
          </p:txBody>
        </p:sp>
      </p:grpSp>
      <p:grpSp>
        <p:nvGrpSpPr>
          <p:cNvPr id="378" name="Group 377">
            <a:extLst>
              <a:ext uri="{FF2B5EF4-FFF2-40B4-BE49-F238E27FC236}">
                <a16:creationId xmlns:a16="http://schemas.microsoft.com/office/drawing/2014/main" id="{230AC2D1-DBEF-6F45-A396-49DBF9CC9653}"/>
              </a:ext>
            </a:extLst>
          </p:cNvPr>
          <p:cNvGrpSpPr/>
          <p:nvPr/>
        </p:nvGrpSpPr>
        <p:grpSpPr>
          <a:xfrm>
            <a:off x="3058843" y="2302260"/>
            <a:ext cx="338415" cy="254400"/>
            <a:chOff x="-1176915" y="3508496"/>
            <a:chExt cx="338415" cy="254400"/>
          </a:xfrm>
        </p:grpSpPr>
        <p:sp>
          <p:nvSpPr>
            <p:cNvPr id="379" name="Oval 378">
              <a:extLst>
                <a:ext uri="{FF2B5EF4-FFF2-40B4-BE49-F238E27FC236}">
                  <a16:creationId xmlns:a16="http://schemas.microsoft.com/office/drawing/2014/main" id="{B2D7AD1F-8210-C24C-9851-AAA434A0AC0C}"/>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380" name="TextBox 379">
              <a:extLst>
                <a:ext uri="{FF2B5EF4-FFF2-40B4-BE49-F238E27FC236}">
                  <a16:creationId xmlns:a16="http://schemas.microsoft.com/office/drawing/2014/main" id="{77A65330-BBDA-F54F-BC6A-C4768311B6F5}"/>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A3</a:t>
              </a:r>
            </a:p>
          </p:txBody>
        </p:sp>
      </p:grpSp>
      <p:grpSp>
        <p:nvGrpSpPr>
          <p:cNvPr id="381" name="Group 380">
            <a:extLst>
              <a:ext uri="{FF2B5EF4-FFF2-40B4-BE49-F238E27FC236}">
                <a16:creationId xmlns:a16="http://schemas.microsoft.com/office/drawing/2014/main" id="{031B5CEA-B20D-064B-8768-60957E1DBB7B}"/>
              </a:ext>
            </a:extLst>
          </p:cNvPr>
          <p:cNvGrpSpPr/>
          <p:nvPr/>
        </p:nvGrpSpPr>
        <p:grpSpPr>
          <a:xfrm>
            <a:off x="5866466" y="2181819"/>
            <a:ext cx="338415" cy="254400"/>
            <a:chOff x="-1176915" y="3508496"/>
            <a:chExt cx="338415" cy="254400"/>
          </a:xfrm>
        </p:grpSpPr>
        <p:sp>
          <p:nvSpPr>
            <p:cNvPr id="382" name="Oval 381">
              <a:extLst>
                <a:ext uri="{FF2B5EF4-FFF2-40B4-BE49-F238E27FC236}">
                  <a16:creationId xmlns:a16="http://schemas.microsoft.com/office/drawing/2014/main" id="{80892CAC-7231-FE49-8317-8802B822D368}"/>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383" name="TextBox 382">
              <a:extLst>
                <a:ext uri="{FF2B5EF4-FFF2-40B4-BE49-F238E27FC236}">
                  <a16:creationId xmlns:a16="http://schemas.microsoft.com/office/drawing/2014/main" id="{DCD73C9C-6196-F94F-B040-FFF3A0ACEA9B}"/>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A4</a:t>
              </a:r>
            </a:p>
          </p:txBody>
        </p:sp>
      </p:grpSp>
      <p:grpSp>
        <p:nvGrpSpPr>
          <p:cNvPr id="384" name="Group 383">
            <a:extLst>
              <a:ext uri="{FF2B5EF4-FFF2-40B4-BE49-F238E27FC236}">
                <a16:creationId xmlns:a16="http://schemas.microsoft.com/office/drawing/2014/main" id="{2D86A11A-D159-5940-9659-45F73D25FF7C}"/>
              </a:ext>
            </a:extLst>
          </p:cNvPr>
          <p:cNvGrpSpPr/>
          <p:nvPr/>
        </p:nvGrpSpPr>
        <p:grpSpPr>
          <a:xfrm>
            <a:off x="3543863" y="2278981"/>
            <a:ext cx="338415" cy="254400"/>
            <a:chOff x="-1176915" y="3508496"/>
            <a:chExt cx="338415" cy="254400"/>
          </a:xfrm>
        </p:grpSpPr>
        <p:sp>
          <p:nvSpPr>
            <p:cNvPr id="385" name="Oval 384">
              <a:extLst>
                <a:ext uri="{FF2B5EF4-FFF2-40B4-BE49-F238E27FC236}">
                  <a16:creationId xmlns:a16="http://schemas.microsoft.com/office/drawing/2014/main" id="{807EC24F-E913-384F-9CBB-3A1528976581}"/>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386" name="TextBox 385">
              <a:extLst>
                <a:ext uri="{FF2B5EF4-FFF2-40B4-BE49-F238E27FC236}">
                  <a16:creationId xmlns:a16="http://schemas.microsoft.com/office/drawing/2014/main" id="{2F3D1708-8D29-5C45-A64B-62929019DC59}"/>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A5</a:t>
              </a:r>
            </a:p>
          </p:txBody>
        </p:sp>
      </p:grpSp>
      <p:grpSp>
        <p:nvGrpSpPr>
          <p:cNvPr id="387" name="Group 386">
            <a:extLst>
              <a:ext uri="{FF2B5EF4-FFF2-40B4-BE49-F238E27FC236}">
                <a16:creationId xmlns:a16="http://schemas.microsoft.com/office/drawing/2014/main" id="{1AE86045-D921-D547-8EC1-1577AB336613}"/>
              </a:ext>
            </a:extLst>
          </p:cNvPr>
          <p:cNvGrpSpPr/>
          <p:nvPr/>
        </p:nvGrpSpPr>
        <p:grpSpPr>
          <a:xfrm>
            <a:off x="1294906" y="2371380"/>
            <a:ext cx="338415" cy="254400"/>
            <a:chOff x="-1176915" y="3508496"/>
            <a:chExt cx="338415" cy="254400"/>
          </a:xfrm>
        </p:grpSpPr>
        <p:sp>
          <p:nvSpPr>
            <p:cNvPr id="388" name="Oval 387">
              <a:extLst>
                <a:ext uri="{FF2B5EF4-FFF2-40B4-BE49-F238E27FC236}">
                  <a16:creationId xmlns:a16="http://schemas.microsoft.com/office/drawing/2014/main" id="{7DBDF985-53D7-2243-A2E4-D318623331AD}"/>
                </a:ext>
              </a:extLst>
            </p:cNvPr>
            <p:cNvSpPr/>
            <p:nvPr/>
          </p:nvSpPr>
          <p:spPr>
            <a:xfrm>
              <a:off x="-1133852" y="3508496"/>
              <a:ext cx="254400" cy="254400"/>
            </a:xfrm>
            <a:prstGeom prst="ellipse">
              <a:avLst/>
            </a:prstGeom>
            <a:solidFill>
              <a:srgbClr val="00B050"/>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389" name="TextBox 388">
              <a:extLst>
                <a:ext uri="{FF2B5EF4-FFF2-40B4-BE49-F238E27FC236}">
                  <a16:creationId xmlns:a16="http://schemas.microsoft.com/office/drawing/2014/main" id="{A9FC7D4E-8A87-B84F-89EF-209B00F51EF9}"/>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A6</a:t>
              </a:r>
            </a:p>
          </p:txBody>
        </p:sp>
      </p:grpSp>
      <p:grpSp>
        <p:nvGrpSpPr>
          <p:cNvPr id="390" name="Group 389">
            <a:extLst>
              <a:ext uri="{FF2B5EF4-FFF2-40B4-BE49-F238E27FC236}">
                <a16:creationId xmlns:a16="http://schemas.microsoft.com/office/drawing/2014/main" id="{5E361934-A40E-2348-9B79-4DDCC0763F8E}"/>
              </a:ext>
            </a:extLst>
          </p:cNvPr>
          <p:cNvGrpSpPr/>
          <p:nvPr/>
        </p:nvGrpSpPr>
        <p:grpSpPr>
          <a:xfrm>
            <a:off x="2355542" y="2332895"/>
            <a:ext cx="338415" cy="254400"/>
            <a:chOff x="-1176915" y="3508496"/>
            <a:chExt cx="338415" cy="254400"/>
          </a:xfrm>
        </p:grpSpPr>
        <p:sp>
          <p:nvSpPr>
            <p:cNvPr id="391" name="Oval 390">
              <a:extLst>
                <a:ext uri="{FF2B5EF4-FFF2-40B4-BE49-F238E27FC236}">
                  <a16:creationId xmlns:a16="http://schemas.microsoft.com/office/drawing/2014/main" id="{E41745B9-E5C7-8343-83A9-D897389A263E}"/>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392" name="TextBox 391">
              <a:extLst>
                <a:ext uri="{FF2B5EF4-FFF2-40B4-BE49-F238E27FC236}">
                  <a16:creationId xmlns:a16="http://schemas.microsoft.com/office/drawing/2014/main" id="{0A99A900-5DB5-5849-BED7-4175258230AD}"/>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A2</a:t>
              </a:r>
            </a:p>
          </p:txBody>
        </p:sp>
      </p:grpSp>
      <p:grpSp>
        <p:nvGrpSpPr>
          <p:cNvPr id="393" name="Group 392">
            <a:extLst>
              <a:ext uri="{FF2B5EF4-FFF2-40B4-BE49-F238E27FC236}">
                <a16:creationId xmlns:a16="http://schemas.microsoft.com/office/drawing/2014/main" id="{AE112AEE-9C83-D448-B174-7A6ED62D0A46}"/>
              </a:ext>
            </a:extLst>
          </p:cNvPr>
          <p:cNvGrpSpPr/>
          <p:nvPr/>
        </p:nvGrpSpPr>
        <p:grpSpPr>
          <a:xfrm>
            <a:off x="199162" y="5654703"/>
            <a:ext cx="338415" cy="254400"/>
            <a:chOff x="158018" y="4135479"/>
            <a:chExt cx="338415" cy="254400"/>
          </a:xfrm>
        </p:grpSpPr>
        <p:sp>
          <p:nvSpPr>
            <p:cNvPr id="394" name="Oval 393">
              <a:extLst>
                <a:ext uri="{FF2B5EF4-FFF2-40B4-BE49-F238E27FC236}">
                  <a16:creationId xmlns:a16="http://schemas.microsoft.com/office/drawing/2014/main" id="{A90F4021-38D9-5140-BC5A-AD1D2FCD4409}"/>
                </a:ext>
              </a:extLst>
            </p:cNvPr>
            <p:cNvSpPr/>
            <p:nvPr/>
          </p:nvSpPr>
          <p:spPr>
            <a:xfrm>
              <a:off x="201081" y="4135479"/>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395" name="TextBox 394">
              <a:extLst>
                <a:ext uri="{FF2B5EF4-FFF2-40B4-BE49-F238E27FC236}">
                  <a16:creationId xmlns:a16="http://schemas.microsoft.com/office/drawing/2014/main" id="{46B1FD7E-3505-284F-8B5D-B50EABA61B0D}"/>
                </a:ext>
              </a:extLst>
            </p:cNvPr>
            <p:cNvSpPr txBox="1"/>
            <p:nvPr/>
          </p:nvSpPr>
          <p:spPr>
            <a:xfrm>
              <a:off x="158018" y="4147263"/>
              <a:ext cx="338415" cy="230832"/>
            </a:xfrm>
            <a:prstGeom prst="rect">
              <a:avLst/>
            </a:prstGeom>
            <a:noFill/>
          </p:spPr>
          <p:txBody>
            <a:bodyPr wrap="square" rtlCol="0">
              <a:spAutoFit/>
            </a:bodyPr>
            <a:lstStyle/>
            <a:p>
              <a:pPr algn="ctr"/>
              <a:r>
                <a:rPr lang="en-GB" sz="900" b="1">
                  <a:solidFill>
                    <a:schemeClr val="bg1"/>
                  </a:solidFill>
                </a:rPr>
                <a:t>A</a:t>
              </a:r>
            </a:p>
          </p:txBody>
        </p:sp>
      </p:grpSp>
      <p:sp>
        <p:nvSpPr>
          <p:cNvPr id="396" name="Rectangle 395">
            <a:extLst>
              <a:ext uri="{FF2B5EF4-FFF2-40B4-BE49-F238E27FC236}">
                <a16:creationId xmlns:a16="http://schemas.microsoft.com/office/drawing/2014/main" id="{9F9BFDAF-4A21-7C47-9A22-9A17B659B486}"/>
              </a:ext>
            </a:extLst>
          </p:cNvPr>
          <p:cNvSpPr/>
          <p:nvPr/>
        </p:nvSpPr>
        <p:spPr>
          <a:xfrm>
            <a:off x="527342" y="5910503"/>
            <a:ext cx="2180642" cy="3322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defTabSz="914377">
              <a:defRPr/>
            </a:pPr>
            <a:r>
              <a:rPr lang="en-GB" sz="800" kern="0">
                <a:solidFill>
                  <a:srgbClr val="595959"/>
                </a:solidFill>
                <a:latin typeface="Calibri" panose="020F0502020204030204" pitchFamily="34" charset="0"/>
                <a:cs typeface="Calibri" panose="020F0502020204030204" pitchFamily="34" charset="0"/>
                <a:sym typeface="Arial"/>
              </a:rPr>
              <a:t> Proactive Prevention</a:t>
            </a:r>
          </a:p>
        </p:txBody>
      </p:sp>
      <p:grpSp>
        <p:nvGrpSpPr>
          <p:cNvPr id="397" name="Group 396">
            <a:extLst>
              <a:ext uri="{FF2B5EF4-FFF2-40B4-BE49-F238E27FC236}">
                <a16:creationId xmlns:a16="http://schemas.microsoft.com/office/drawing/2014/main" id="{7CA83CD6-E026-B44D-9D29-E43722747568}"/>
              </a:ext>
            </a:extLst>
          </p:cNvPr>
          <p:cNvGrpSpPr/>
          <p:nvPr/>
        </p:nvGrpSpPr>
        <p:grpSpPr>
          <a:xfrm>
            <a:off x="199162" y="5962397"/>
            <a:ext cx="338415" cy="254400"/>
            <a:chOff x="158018" y="4135479"/>
            <a:chExt cx="338415" cy="254400"/>
          </a:xfrm>
        </p:grpSpPr>
        <p:sp>
          <p:nvSpPr>
            <p:cNvPr id="398" name="Oval 397">
              <a:extLst>
                <a:ext uri="{FF2B5EF4-FFF2-40B4-BE49-F238E27FC236}">
                  <a16:creationId xmlns:a16="http://schemas.microsoft.com/office/drawing/2014/main" id="{DE2D11B0-2C93-874E-B922-9B409D7811DF}"/>
                </a:ext>
              </a:extLst>
            </p:cNvPr>
            <p:cNvSpPr/>
            <p:nvPr/>
          </p:nvSpPr>
          <p:spPr>
            <a:xfrm>
              <a:off x="201081" y="4135479"/>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399" name="TextBox 398">
              <a:extLst>
                <a:ext uri="{FF2B5EF4-FFF2-40B4-BE49-F238E27FC236}">
                  <a16:creationId xmlns:a16="http://schemas.microsoft.com/office/drawing/2014/main" id="{A0297404-5BE4-F247-81B6-F7F1C49B0FD4}"/>
                </a:ext>
              </a:extLst>
            </p:cNvPr>
            <p:cNvSpPr txBox="1"/>
            <p:nvPr/>
          </p:nvSpPr>
          <p:spPr>
            <a:xfrm>
              <a:off x="158018" y="4147263"/>
              <a:ext cx="338415" cy="230832"/>
            </a:xfrm>
            <a:prstGeom prst="rect">
              <a:avLst/>
            </a:prstGeom>
            <a:noFill/>
          </p:spPr>
          <p:txBody>
            <a:bodyPr wrap="square" rtlCol="0">
              <a:spAutoFit/>
            </a:bodyPr>
            <a:lstStyle/>
            <a:p>
              <a:pPr algn="ctr"/>
              <a:r>
                <a:rPr lang="en-GB" sz="900" b="1">
                  <a:solidFill>
                    <a:schemeClr val="bg1"/>
                  </a:solidFill>
                </a:rPr>
                <a:t>B</a:t>
              </a:r>
            </a:p>
          </p:txBody>
        </p:sp>
      </p:grpSp>
      <p:grpSp>
        <p:nvGrpSpPr>
          <p:cNvPr id="400" name="Group 399">
            <a:extLst>
              <a:ext uri="{FF2B5EF4-FFF2-40B4-BE49-F238E27FC236}">
                <a16:creationId xmlns:a16="http://schemas.microsoft.com/office/drawing/2014/main" id="{42E36BD6-BCC7-E944-8417-A80B7300F12C}"/>
              </a:ext>
            </a:extLst>
          </p:cNvPr>
          <p:cNvGrpSpPr/>
          <p:nvPr/>
        </p:nvGrpSpPr>
        <p:grpSpPr>
          <a:xfrm>
            <a:off x="199162" y="6270091"/>
            <a:ext cx="338415" cy="254400"/>
            <a:chOff x="158018" y="4135479"/>
            <a:chExt cx="338415" cy="254400"/>
          </a:xfrm>
        </p:grpSpPr>
        <p:sp>
          <p:nvSpPr>
            <p:cNvPr id="401" name="Oval 400">
              <a:extLst>
                <a:ext uri="{FF2B5EF4-FFF2-40B4-BE49-F238E27FC236}">
                  <a16:creationId xmlns:a16="http://schemas.microsoft.com/office/drawing/2014/main" id="{A37706FB-4B20-064F-A551-FE9463D08E47}"/>
                </a:ext>
              </a:extLst>
            </p:cNvPr>
            <p:cNvSpPr/>
            <p:nvPr/>
          </p:nvSpPr>
          <p:spPr>
            <a:xfrm>
              <a:off x="201081" y="4135479"/>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02" name="TextBox 401">
              <a:extLst>
                <a:ext uri="{FF2B5EF4-FFF2-40B4-BE49-F238E27FC236}">
                  <a16:creationId xmlns:a16="http://schemas.microsoft.com/office/drawing/2014/main" id="{AE04B00B-101E-0541-8042-DB1E9AAFC7F2}"/>
                </a:ext>
              </a:extLst>
            </p:cNvPr>
            <p:cNvSpPr txBox="1"/>
            <p:nvPr/>
          </p:nvSpPr>
          <p:spPr>
            <a:xfrm>
              <a:off x="158018" y="4147263"/>
              <a:ext cx="338415" cy="230832"/>
            </a:xfrm>
            <a:prstGeom prst="rect">
              <a:avLst/>
            </a:prstGeom>
            <a:noFill/>
          </p:spPr>
          <p:txBody>
            <a:bodyPr wrap="square" rtlCol="0">
              <a:spAutoFit/>
            </a:bodyPr>
            <a:lstStyle/>
            <a:p>
              <a:pPr algn="ctr"/>
              <a:r>
                <a:rPr lang="en-GB" sz="900" b="1">
                  <a:solidFill>
                    <a:schemeClr val="bg1"/>
                  </a:solidFill>
                </a:rPr>
                <a:t>C</a:t>
              </a:r>
            </a:p>
          </p:txBody>
        </p:sp>
      </p:grpSp>
      <p:grpSp>
        <p:nvGrpSpPr>
          <p:cNvPr id="403" name="Group 402">
            <a:extLst>
              <a:ext uri="{FF2B5EF4-FFF2-40B4-BE49-F238E27FC236}">
                <a16:creationId xmlns:a16="http://schemas.microsoft.com/office/drawing/2014/main" id="{C3EE8275-4BD0-D045-A255-A6DB6C7035BB}"/>
              </a:ext>
            </a:extLst>
          </p:cNvPr>
          <p:cNvGrpSpPr/>
          <p:nvPr/>
        </p:nvGrpSpPr>
        <p:grpSpPr>
          <a:xfrm>
            <a:off x="1777838" y="5661969"/>
            <a:ext cx="338415" cy="254400"/>
            <a:chOff x="158018" y="4135479"/>
            <a:chExt cx="338415" cy="254400"/>
          </a:xfrm>
        </p:grpSpPr>
        <p:sp>
          <p:nvSpPr>
            <p:cNvPr id="404" name="Oval 403">
              <a:extLst>
                <a:ext uri="{FF2B5EF4-FFF2-40B4-BE49-F238E27FC236}">
                  <a16:creationId xmlns:a16="http://schemas.microsoft.com/office/drawing/2014/main" id="{DE4461F6-20FD-774B-BC3C-92F3740E93BD}"/>
                </a:ext>
              </a:extLst>
            </p:cNvPr>
            <p:cNvSpPr/>
            <p:nvPr/>
          </p:nvSpPr>
          <p:spPr>
            <a:xfrm>
              <a:off x="201081" y="4135479"/>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05" name="TextBox 404">
              <a:extLst>
                <a:ext uri="{FF2B5EF4-FFF2-40B4-BE49-F238E27FC236}">
                  <a16:creationId xmlns:a16="http://schemas.microsoft.com/office/drawing/2014/main" id="{B0E62B7D-99E2-C046-8C78-EFF803F007B4}"/>
                </a:ext>
              </a:extLst>
            </p:cNvPr>
            <p:cNvSpPr txBox="1"/>
            <p:nvPr/>
          </p:nvSpPr>
          <p:spPr>
            <a:xfrm>
              <a:off x="158018" y="4147263"/>
              <a:ext cx="338415" cy="230832"/>
            </a:xfrm>
            <a:prstGeom prst="rect">
              <a:avLst/>
            </a:prstGeom>
            <a:noFill/>
          </p:spPr>
          <p:txBody>
            <a:bodyPr wrap="square" rtlCol="0">
              <a:spAutoFit/>
            </a:bodyPr>
            <a:lstStyle/>
            <a:p>
              <a:pPr algn="ctr"/>
              <a:r>
                <a:rPr lang="en-GB" sz="900" b="1">
                  <a:solidFill>
                    <a:schemeClr val="bg1"/>
                  </a:solidFill>
                </a:rPr>
                <a:t>D</a:t>
              </a:r>
            </a:p>
          </p:txBody>
        </p:sp>
      </p:grpSp>
      <p:grpSp>
        <p:nvGrpSpPr>
          <p:cNvPr id="406" name="Group 405">
            <a:extLst>
              <a:ext uri="{FF2B5EF4-FFF2-40B4-BE49-F238E27FC236}">
                <a16:creationId xmlns:a16="http://schemas.microsoft.com/office/drawing/2014/main" id="{ACD8ADDC-D70A-0746-959A-A7405FEBFF45}"/>
              </a:ext>
            </a:extLst>
          </p:cNvPr>
          <p:cNvGrpSpPr/>
          <p:nvPr/>
        </p:nvGrpSpPr>
        <p:grpSpPr>
          <a:xfrm>
            <a:off x="1777838" y="5953920"/>
            <a:ext cx="338415" cy="254400"/>
            <a:chOff x="158018" y="4135479"/>
            <a:chExt cx="338415" cy="254400"/>
          </a:xfrm>
        </p:grpSpPr>
        <p:sp>
          <p:nvSpPr>
            <p:cNvPr id="407" name="Oval 406">
              <a:extLst>
                <a:ext uri="{FF2B5EF4-FFF2-40B4-BE49-F238E27FC236}">
                  <a16:creationId xmlns:a16="http://schemas.microsoft.com/office/drawing/2014/main" id="{90236AE3-B2C3-E041-8C1F-9922D4208655}"/>
                </a:ext>
              </a:extLst>
            </p:cNvPr>
            <p:cNvSpPr/>
            <p:nvPr/>
          </p:nvSpPr>
          <p:spPr>
            <a:xfrm>
              <a:off x="201081" y="4135479"/>
              <a:ext cx="254400" cy="254400"/>
            </a:xfrm>
            <a:prstGeom prst="ellipse">
              <a:avLst/>
            </a:prstGeom>
            <a:solidFill>
              <a:srgbClr val="AC9AB1"/>
            </a:solidFill>
            <a:ln>
              <a:solidFill>
                <a:srgbClr val="5023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08" name="TextBox 407">
              <a:extLst>
                <a:ext uri="{FF2B5EF4-FFF2-40B4-BE49-F238E27FC236}">
                  <a16:creationId xmlns:a16="http://schemas.microsoft.com/office/drawing/2014/main" id="{B7B3DCD2-6077-9F42-AF21-8EE7E1EA1D89}"/>
                </a:ext>
              </a:extLst>
            </p:cNvPr>
            <p:cNvSpPr txBox="1"/>
            <p:nvPr/>
          </p:nvSpPr>
          <p:spPr>
            <a:xfrm>
              <a:off x="158018" y="4147263"/>
              <a:ext cx="338415" cy="230832"/>
            </a:xfrm>
            <a:prstGeom prst="rect">
              <a:avLst/>
            </a:prstGeom>
            <a:noFill/>
          </p:spPr>
          <p:txBody>
            <a:bodyPr wrap="square" rtlCol="0">
              <a:spAutoFit/>
            </a:bodyPr>
            <a:lstStyle/>
            <a:p>
              <a:pPr algn="ctr"/>
              <a:r>
                <a:rPr lang="en-GB" sz="900" b="1">
                  <a:solidFill>
                    <a:schemeClr val="bg1"/>
                  </a:solidFill>
                </a:rPr>
                <a:t>E</a:t>
              </a:r>
            </a:p>
          </p:txBody>
        </p:sp>
      </p:grpSp>
      <p:grpSp>
        <p:nvGrpSpPr>
          <p:cNvPr id="409" name="Group 408">
            <a:extLst>
              <a:ext uri="{FF2B5EF4-FFF2-40B4-BE49-F238E27FC236}">
                <a16:creationId xmlns:a16="http://schemas.microsoft.com/office/drawing/2014/main" id="{4B79473B-26B8-B243-B1DF-1F5FDD8D0416}"/>
              </a:ext>
            </a:extLst>
          </p:cNvPr>
          <p:cNvGrpSpPr/>
          <p:nvPr/>
        </p:nvGrpSpPr>
        <p:grpSpPr>
          <a:xfrm>
            <a:off x="1777838" y="6261614"/>
            <a:ext cx="338415" cy="254400"/>
            <a:chOff x="158018" y="4135479"/>
            <a:chExt cx="338415" cy="254400"/>
          </a:xfrm>
        </p:grpSpPr>
        <p:sp>
          <p:nvSpPr>
            <p:cNvPr id="410" name="Oval 409">
              <a:extLst>
                <a:ext uri="{FF2B5EF4-FFF2-40B4-BE49-F238E27FC236}">
                  <a16:creationId xmlns:a16="http://schemas.microsoft.com/office/drawing/2014/main" id="{C2605ECD-425B-2D4D-9678-4FCD32617EE3}"/>
                </a:ext>
              </a:extLst>
            </p:cNvPr>
            <p:cNvSpPr/>
            <p:nvPr/>
          </p:nvSpPr>
          <p:spPr>
            <a:xfrm>
              <a:off x="201081" y="4135479"/>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11" name="TextBox 410">
              <a:extLst>
                <a:ext uri="{FF2B5EF4-FFF2-40B4-BE49-F238E27FC236}">
                  <a16:creationId xmlns:a16="http://schemas.microsoft.com/office/drawing/2014/main" id="{78A2315D-5EB8-9445-9CD3-C17328DC3883}"/>
                </a:ext>
              </a:extLst>
            </p:cNvPr>
            <p:cNvSpPr txBox="1"/>
            <p:nvPr/>
          </p:nvSpPr>
          <p:spPr>
            <a:xfrm>
              <a:off x="158018" y="4147263"/>
              <a:ext cx="338415" cy="230832"/>
            </a:xfrm>
            <a:prstGeom prst="rect">
              <a:avLst/>
            </a:prstGeom>
            <a:noFill/>
          </p:spPr>
          <p:txBody>
            <a:bodyPr wrap="square" rtlCol="0">
              <a:spAutoFit/>
            </a:bodyPr>
            <a:lstStyle/>
            <a:p>
              <a:pPr algn="ctr"/>
              <a:r>
                <a:rPr lang="en-GB" sz="900" b="1">
                  <a:solidFill>
                    <a:schemeClr val="bg1"/>
                  </a:solidFill>
                </a:rPr>
                <a:t>F</a:t>
              </a:r>
            </a:p>
          </p:txBody>
        </p:sp>
      </p:grpSp>
      <p:grpSp>
        <p:nvGrpSpPr>
          <p:cNvPr id="412" name="Group 411">
            <a:extLst>
              <a:ext uri="{FF2B5EF4-FFF2-40B4-BE49-F238E27FC236}">
                <a16:creationId xmlns:a16="http://schemas.microsoft.com/office/drawing/2014/main" id="{1E4A24CA-5395-7840-9957-7E4CD10E2DF5}"/>
              </a:ext>
            </a:extLst>
          </p:cNvPr>
          <p:cNvGrpSpPr/>
          <p:nvPr/>
        </p:nvGrpSpPr>
        <p:grpSpPr>
          <a:xfrm>
            <a:off x="3179597" y="5659254"/>
            <a:ext cx="338415" cy="254400"/>
            <a:chOff x="158018" y="4135479"/>
            <a:chExt cx="338415" cy="254400"/>
          </a:xfrm>
        </p:grpSpPr>
        <p:sp>
          <p:nvSpPr>
            <p:cNvPr id="413" name="Oval 412">
              <a:extLst>
                <a:ext uri="{FF2B5EF4-FFF2-40B4-BE49-F238E27FC236}">
                  <a16:creationId xmlns:a16="http://schemas.microsoft.com/office/drawing/2014/main" id="{A9CE7132-F573-FB40-A03D-8BAECFFE34B1}"/>
                </a:ext>
              </a:extLst>
            </p:cNvPr>
            <p:cNvSpPr/>
            <p:nvPr/>
          </p:nvSpPr>
          <p:spPr>
            <a:xfrm>
              <a:off x="201081" y="4135479"/>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14" name="TextBox 413">
              <a:extLst>
                <a:ext uri="{FF2B5EF4-FFF2-40B4-BE49-F238E27FC236}">
                  <a16:creationId xmlns:a16="http://schemas.microsoft.com/office/drawing/2014/main" id="{DE1C6B01-A477-C741-B2F1-E5D71AE0F7B2}"/>
                </a:ext>
              </a:extLst>
            </p:cNvPr>
            <p:cNvSpPr txBox="1"/>
            <p:nvPr/>
          </p:nvSpPr>
          <p:spPr>
            <a:xfrm>
              <a:off x="158018" y="4147263"/>
              <a:ext cx="338415" cy="230832"/>
            </a:xfrm>
            <a:prstGeom prst="rect">
              <a:avLst/>
            </a:prstGeom>
            <a:noFill/>
          </p:spPr>
          <p:txBody>
            <a:bodyPr wrap="square" rtlCol="0">
              <a:spAutoFit/>
            </a:bodyPr>
            <a:lstStyle/>
            <a:p>
              <a:pPr algn="ctr"/>
              <a:r>
                <a:rPr lang="en-GB" sz="900" b="1">
                  <a:solidFill>
                    <a:schemeClr val="bg1"/>
                  </a:solidFill>
                </a:rPr>
                <a:t>G</a:t>
              </a:r>
            </a:p>
          </p:txBody>
        </p:sp>
      </p:grpSp>
      <p:grpSp>
        <p:nvGrpSpPr>
          <p:cNvPr id="415" name="Group 414">
            <a:extLst>
              <a:ext uri="{FF2B5EF4-FFF2-40B4-BE49-F238E27FC236}">
                <a16:creationId xmlns:a16="http://schemas.microsoft.com/office/drawing/2014/main" id="{D3E35BAE-D527-6546-AE3B-746E9867723E}"/>
              </a:ext>
            </a:extLst>
          </p:cNvPr>
          <p:cNvGrpSpPr/>
          <p:nvPr/>
        </p:nvGrpSpPr>
        <p:grpSpPr>
          <a:xfrm>
            <a:off x="3179597" y="5966946"/>
            <a:ext cx="338415" cy="254400"/>
            <a:chOff x="158018" y="4135479"/>
            <a:chExt cx="338415" cy="254400"/>
          </a:xfrm>
        </p:grpSpPr>
        <p:sp>
          <p:nvSpPr>
            <p:cNvPr id="416" name="Oval 415">
              <a:extLst>
                <a:ext uri="{FF2B5EF4-FFF2-40B4-BE49-F238E27FC236}">
                  <a16:creationId xmlns:a16="http://schemas.microsoft.com/office/drawing/2014/main" id="{DD1A1187-7BAD-0342-9498-3724E7F2F8AB}"/>
                </a:ext>
              </a:extLst>
            </p:cNvPr>
            <p:cNvSpPr/>
            <p:nvPr/>
          </p:nvSpPr>
          <p:spPr>
            <a:xfrm>
              <a:off x="201081" y="4135479"/>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17" name="TextBox 416">
              <a:extLst>
                <a:ext uri="{FF2B5EF4-FFF2-40B4-BE49-F238E27FC236}">
                  <a16:creationId xmlns:a16="http://schemas.microsoft.com/office/drawing/2014/main" id="{F3A9FFA8-4525-3F43-82E4-54F32F2DF76C}"/>
                </a:ext>
              </a:extLst>
            </p:cNvPr>
            <p:cNvSpPr txBox="1"/>
            <p:nvPr/>
          </p:nvSpPr>
          <p:spPr>
            <a:xfrm>
              <a:off x="158018" y="4147263"/>
              <a:ext cx="338415" cy="230832"/>
            </a:xfrm>
            <a:prstGeom prst="rect">
              <a:avLst/>
            </a:prstGeom>
            <a:noFill/>
          </p:spPr>
          <p:txBody>
            <a:bodyPr wrap="square" rtlCol="0">
              <a:spAutoFit/>
            </a:bodyPr>
            <a:lstStyle/>
            <a:p>
              <a:pPr algn="ctr"/>
              <a:r>
                <a:rPr lang="en-GB" sz="900" b="1">
                  <a:solidFill>
                    <a:schemeClr val="bg1"/>
                  </a:solidFill>
                </a:rPr>
                <a:t>H</a:t>
              </a:r>
            </a:p>
          </p:txBody>
        </p:sp>
      </p:grpSp>
      <p:grpSp>
        <p:nvGrpSpPr>
          <p:cNvPr id="418" name="Group 417">
            <a:extLst>
              <a:ext uri="{FF2B5EF4-FFF2-40B4-BE49-F238E27FC236}">
                <a16:creationId xmlns:a16="http://schemas.microsoft.com/office/drawing/2014/main" id="{2A9E4464-F936-534E-AD48-847CC0191975}"/>
              </a:ext>
            </a:extLst>
          </p:cNvPr>
          <p:cNvGrpSpPr/>
          <p:nvPr/>
        </p:nvGrpSpPr>
        <p:grpSpPr>
          <a:xfrm>
            <a:off x="4020313" y="2253372"/>
            <a:ext cx="338415" cy="254400"/>
            <a:chOff x="-1176915" y="3508496"/>
            <a:chExt cx="338415" cy="254400"/>
          </a:xfrm>
        </p:grpSpPr>
        <p:sp>
          <p:nvSpPr>
            <p:cNvPr id="419" name="Oval 418">
              <a:extLst>
                <a:ext uri="{FF2B5EF4-FFF2-40B4-BE49-F238E27FC236}">
                  <a16:creationId xmlns:a16="http://schemas.microsoft.com/office/drawing/2014/main" id="{E5A9E06F-7DF8-1E4D-8882-ED043387506C}"/>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20" name="TextBox 419">
              <a:extLst>
                <a:ext uri="{FF2B5EF4-FFF2-40B4-BE49-F238E27FC236}">
                  <a16:creationId xmlns:a16="http://schemas.microsoft.com/office/drawing/2014/main" id="{560FE39E-07C5-8C4B-A498-4D350A2F7132}"/>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A7</a:t>
              </a:r>
            </a:p>
          </p:txBody>
        </p:sp>
      </p:grpSp>
      <p:grpSp>
        <p:nvGrpSpPr>
          <p:cNvPr id="421" name="Group 420">
            <a:extLst>
              <a:ext uri="{FF2B5EF4-FFF2-40B4-BE49-F238E27FC236}">
                <a16:creationId xmlns:a16="http://schemas.microsoft.com/office/drawing/2014/main" id="{BA18D7D6-1C92-D64C-A4F9-C7844DED58D1}"/>
              </a:ext>
            </a:extLst>
          </p:cNvPr>
          <p:cNvGrpSpPr/>
          <p:nvPr/>
        </p:nvGrpSpPr>
        <p:grpSpPr>
          <a:xfrm>
            <a:off x="5312378" y="2228578"/>
            <a:ext cx="338415" cy="254400"/>
            <a:chOff x="-1176915" y="3508496"/>
            <a:chExt cx="338415" cy="254400"/>
          </a:xfrm>
        </p:grpSpPr>
        <p:sp>
          <p:nvSpPr>
            <p:cNvPr id="422" name="Oval 421">
              <a:extLst>
                <a:ext uri="{FF2B5EF4-FFF2-40B4-BE49-F238E27FC236}">
                  <a16:creationId xmlns:a16="http://schemas.microsoft.com/office/drawing/2014/main" id="{281577BD-C92D-6B45-8C54-DFC9CE0541BF}"/>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23" name="TextBox 422">
              <a:extLst>
                <a:ext uri="{FF2B5EF4-FFF2-40B4-BE49-F238E27FC236}">
                  <a16:creationId xmlns:a16="http://schemas.microsoft.com/office/drawing/2014/main" id="{16368C0B-A3D2-CB41-86A2-8F7A87F11C79}"/>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A9</a:t>
              </a:r>
            </a:p>
          </p:txBody>
        </p:sp>
      </p:grpSp>
      <p:grpSp>
        <p:nvGrpSpPr>
          <p:cNvPr id="424" name="Group 423">
            <a:extLst>
              <a:ext uri="{FF2B5EF4-FFF2-40B4-BE49-F238E27FC236}">
                <a16:creationId xmlns:a16="http://schemas.microsoft.com/office/drawing/2014/main" id="{DAF0C5FC-3606-924A-8DA5-B885F2DF0AEB}"/>
              </a:ext>
            </a:extLst>
          </p:cNvPr>
          <p:cNvGrpSpPr/>
          <p:nvPr/>
        </p:nvGrpSpPr>
        <p:grpSpPr>
          <a:xfrm>
            <a:off x="4851011" y="2257231"/>
            <a:ext cx="338415" cy="254400"/>
            <a:chOff x="-1176915" y="3508496"/>
            <a:chExt cx="338415" cy="254400"/>
          </a:xfrm>
        </p:grpSpPr>
        <p:sp>
          <p:nvSpPr>
            <p:cNvPr id="425" name="Oval 424">
              <a:extLst>
                <a:ext uri="{FF2B5EF4-FFF2-40B4-BE49-F238E27FC236}">
                  <a16:creationId xmlns:a16="http://schemas.microsoft.com/office/drawing/2014/main" id="{8ACC2DCB-C80D-A042-9599-88D2B390BA17}"/>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26" name="TextBox 425">
              <a:extLst>
                <a:ext uri="{FF2B5EF4-FFF2-40B4-BE49-F238E27FC236}">
                  <a16:creationId xmlns:a16="http://schemas.microsoft.com/office/drawing/2014/main" id="{9872CC27-B1CF-984F-B52A-3B798220C1D0}"/>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A8</a:t>
              </a:r>
            </a:p>
          </p:txBody>
        </p:sp>
      </p:grpSp>
      <p:grpSp>
        <p:nvGrpSpPr>
          <p:cNvPr id="427" name="Group 426">
            <a:extLst>
              <a:ext uri="{FF2B5EF4-FFF2-40B4-BE49-F238E27FC236}">
                <a16:creationId xmlns:a16="http://schemas.microsoft.com/office/drawing/2014/main" id="{E965A901-7F67-AE45-9D46-1363A562ED9C}"/>
              </a:ext>
            </a:extLst>
          </p:cNvPr>
          <p:cNvGrpSpPr/>
          <p:nvPr/>
        </p:nvGrpSpPr>
        <p:grpSpPr>
          <a:xfrm>
            <a:off x="2929609" y="3140450"/>
            <a:ext cx="341766" cy="288000"/>
            <a:chOff x="2817272" y="3236873"/>
            <a:chExt cx="341766" cy="288000"/>
          </a:xfrm>
        </p:grpSpPr>
        <p:sp>
          <p:nvSpPr>
            <p:cNvPr id="428" name="5-point Star 427">
              <a:extLst>
                <a:ext uri="{FF2B5EF4-FFF2-40B4-BE49-F238E27FC236}">
                  <a16:creationId xmlns:a16="http://schemas.microsoft.com/office/drawing/2014/main" id="{C71063BF-8FCB-9E4F-828F-29BEABCA4A9D}"/>
                </a:ext>
              </a:extLst>
            </p:cNvPr>
            <p:cNvSpPr/>
            <p:nvPr/>
          </p:nvSpPr>
          <p:spPr>
            <a:xfrm>
              <a:off x="2820623" y="3236873"/>
              <a:ext cx="338415" cy="288000"/>
            </a:xfrm>
            <a:prstGeom prst="star5">
              <a:avLst/>
            </a:prstGeom>
            <a:solidFill>
              <a:srgbClr val="FF0000"/>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29" name="TextBox 428">
              <a:extLst>
                <a:ext uri="{FF2B5EF4-FFF2-40B4-BE49-F238E27FC236}">
                  <a16:creationId xmlns:a16="http://schemas.microsoft.com/office/drawing/2014/main" id="{E436026E-3B26-AD4B-A271-904A925FAD58}"/>
                </a:ext>
              </a:extLst>
            </p:cNvPr>
            <p:cNvSpPr txBox="1"/>
            <p:nvPr/>
          </p:nvSpPr>
          <p:spPr>
            <a:xfrm>
              <a:off x="2817272" y="3282915"/>
              <a:ext cx="338415" cy="230832"/>
            </a:xfrm>
            <a:prstGeom prst="rect">
              <a:avLst/>
            </a:prstGeom>
            <a:noFill/>
          </p:spPr>
          <p:txBody>
            <a:bodyPr wrap="square" rtlCol="0">
              <a:spAutoFit/>
            </a:bodyPr>
            <a:lstStyle/>
            <a:p>
              <a:pPr algn="ctr"/>
              <a:r>
                <a:rPr lang="en-GB" sz="900" b="1">
                  <a:solidFill>
                    <a:schemeClr val="bg1"/>
                  </a:solidFill>
                </a:rPr>
                <a:t>B3</a:t>
              </a:r>
            </a:p>
          </p:txBody>
        </p:sp>
      </p:grpSp>
      <p:grpSp>
        <p:nvGrpSpPr>
          <p:cNvPr id="430" name="Group 429">
            <a:extLst>
              <a:ext uri="{FF2B5EF4-FFF2-40B4-BE49-F238E27FC236}">
                <a16:creationId xmlns:a16="http://schemas.microsoft.com/office/drawing/2014/main" id="{4D8DF5AB-C1C2-9E4E-B715-DC5F6F0CB6D1}"/>
              </a:ext>
            </a:extLst>
          </p:cNvPr>
          <p:cNvGrpSpPr/>
          <p:nvPr/>
        </p:nvGrpSpPr>
        <p:grpSpPr>
          <a:xfrm>
            <a:off x="10256162" y="2174034"/>
            <a:ext cx="494671" cy="254400"/>
            <a:chOff x="-1251134" y="3508496"/>
            <a:chExt cx="494671" cy="254400"/>
          </a:xfrm>
        </p:grpSpPr>
        <p:sp>
          <p:nvSpPr>
            <p:cNvPr id="431" name="Oval 430">
              <a:extLst>
                <a:ext uri="{FF2B5EF4-FFF2-40B4-BE49-F238E27FC236}">
                  <a16:creationId xmlns:a16="http://schemas.microsoft.com/office/drawing/2014/main" id="{5FB8AC01-4FA3-504C-B7E1-DB3A54B6BCCE}"/>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32" name="TextBox 431">
              <a:extLst>
                <a:ext uri="{FF2B5EF4-FFF2-40B4-BE49-F238E27FC236}">
                  <a16:creationId xmlns:a16="http://schemas.microsoft.com/office/drawing/2014/main" id="{4FB44D87-4104-BE4B-8C4C-4AFEBC99C627}"/>
                </a:ext>
              </a:extLst>
            </p:cNvPr>
            <p:cNvSpPr txBox="1"/>
            <p:nvPr/>
          </p:nvSpPr>
          <p:spPr>
            <a:xfrm>
              <a:off x="-1251134" y="3520280"/>
              <a:ext cx="494671" cy="230832"/>
            </a:xfrm>
            <a:prstGeom prst="rect">
              <a:avLst/>
            </a:prstGeom>
            <a:noFill/>
          </p:spPr>
          <p:txBody>
            <a:bodyPr wrap="square" rtlCol="0">
              <a:spAutoFit/>
            </a:bodyPr>
            <a:lstStyle/>
            <a:p>
              <a:pPr algn="ctr"/>
              <a:r>
                <a:rPr lang="en-GB" sz="900" b="1">
                  <a:solidFill>
                    <a:schemeClr val="bg1"/>
                  </a:solidFill>
                </a:rPr>
                <a:t>B10</a:t>
              </a:r>
            </a:p>
          </p:txBody>
        </p:sp>
      </p:grpSp>
      <p:grpSp>
        <p:nvGrpSpPr>
          <p:cNvPr id="433" name="Group 432">
            <a:extLst>
              <a:ext uri="{FF2B5EF4-FFF2-40B4-BE49-F238E27FC236}">
                <a16:creationId xmlns:a16="http://schemas.microsoft.com/office/drawing/2014/main" id="{79D18E9D-9AED-4544-8E47-2408725791A3}"/>
              </a:ext>
            </a:extLst>
          </p:cNvPr>
          <p:cNvGrpSpPr/>
          <p:nvPr/>
        </p:nvGrpSpPr>
        <p:grpSpPr>
          <a:xfrm>
            <a:off x="7916587" y="2405625"/>
            <a:ext cx="338415" cy="254400"/>
            <a:chOff x="-1176915" y="3508496"/>
            <a:chExt cx="338415" cy="254400"/>
          </a:xfrm>
        </p:grpSpPr>
        <p:sp>
          <p:nvSpPr>
            <p:cNvPr id="434" name="Oval 433">
              <a:extLst>
                <a:ext uri="{FF2B5EF4-FFF2-40B4-BE49-F238E27FC236}">
                  <a16:creationId xmlns:a16="http://schemas.microsoft.com/office/drawing/2014/main" id="{BF6BE628-70AA-D542-9A86-0539DA248941}"/>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35" name="TextBox 434">
              <a:extLst>
                <a:ext uri="{FF2B5EF4-FFF2-40B4-BE49-F238E27FC236}">
                  <a16:creationId xmlns:a16="http://schemas.microsoft.com/office/drawing/2014/main" id="{141234EA-864D-9440-A27A-76A893C3D663}"/>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B9</a:t>
              </a:r>
            </a:p>
          </p:txBody>
        </p:sp>
      </p:grpSp>
      <p:grpSp>
        <p:nvGrpSpPr>
          <p:cNvPr id="436" name="Group 435">
            <a:extLst>
              <a:ext uri="{FF2B5EF4-FFF2-40B4-BE49-F238E27FC236}">
                <a16:creationId xmlns:a16="http://schemas.microsoft.com/office/drawing/2014/main" id="{52B6E276-54E3-9644-BBB7-103440E30E2E}"/>
              </a:ext>
            </a:extLst>
          </p:cNvPr>
          <p:cNvGrpSpPr/>
          <p:nvPr/>
        </p:nvGrpSpPr>
        <p:grpSpPr>
          <a:xfrm>
            <a:off x="5725539" y="2715549"/>
            <a:ext cx="338415" cy="254400"/>
            <a:chOff x="-1176915" y="3508496"/>
            <a:chExt cx="338415" cy="254400"/>
          </a:xfrm>
        </p:grpSpPr>
        <p:sp>
          <p:nvSpPr>
            <p:cNvPr id="437" name="Oval 436">
              <a:extLst>
                <a:ext uri="{FF2B5EF4-FFF2-40B4-BE49-F238E27FC236}">
                  <a16:creationId xmlns:a16="http://schemas.microsoft.com/office/drawing/2014/main" id="{F1113B00-0586-DA4D-945B-628C3566DAE1}"/>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38" name="TextBox 437">
              <a:extLst>
                <a:ext uri="{FF2B5EF4-FFF2-40B4-BE49-F238E27FC236}">
                  <a16:creationId xmlns:a16="http://schemas.microsoft.com/office/drawing/2014/main" id="{F2F917EE-3AA2-5E44-A506-0E3A5A76CAA7}"/>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B8</a:t>
              </a:r>
            </a:p>
          </p:txBody>
        </p:sp>
      </p:grpSp>
      <p:grpSp>
        <p:nvGrpSpPr>
          <p:cNvPr id="439" name="Group 438">
            <a:extLst>
              <a:ext uri="{FF2B5EF4-FFF2-40B4-BE49-F238E27FC236}">
                <a16:creationId xmlns:a16="http://schemas.microsoft.com/office/drawing/2014/main" id="{0ABDED05-6126-794E-BD1E-8196E00CEC88}"/>
              </a:ext>
            </a:extLst>
          </p:cNvPr>
          <p:cNvGrpSpPr/>
          <p:nvPr/>
        </p:nvGrpSpPr>
        <p:grpSpPr>
          <a:xfrm>
            <a:off x="9532818" y="2216310"/>
            <a:ext cx="338415" cy="254400"/>
            <a:chOff x="-1176915" y="3508496"/>
            <a:chExt cx="338415" cy="254400"/>
          </a:xfrm>
        </p:grpSpPr>
        <p:sp>
          <p:nvSpPr>
            <p:cNvPr id="440" name="Oval 439">
              <a:extLst>
                <a:ext uri="{FF2B5EF4-FFF2-40B4-BE49-F238E27FC236}">
                  <a16:creationId xmlns:a16="http://schemas.microsoft.com/office/drawing/2014/main" id="{8141243F-7BDD-CE4E-8F71-1F280F0748BA}"/>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41" name="TextBox 440">
              <a:extLst>
                <a:ext uri="{FF2B5EF4-FFF2-40B4-BE49-F238E27FC236}">
                  <a16:creationId xmlns:a16="http://schemas.microsoft.com/office/drawing/2014/main" id="{5BFF5C9F-8E50-FF46-9006-E3124A3295DE}"/>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B7</a:t>
              </a:r>
            </a:p>
          </p:txBody>
        </p:sp>
      </p:grpSp>
      <p:grpSp>
        <p:nvGrpSpPr>
          <p:cNvPr id="442" name="Group 441">
            <a:extLst>
              <a:ext uri="{FF2B5EF4-FFF2-40B4-BE49-F238E27FC236}">
                <a16:creationId xmlns:a16="http://schemas.microsoft.com/office/drawing/2014/main" id="{68E490F2-89AA-A64C-8532-584867AA1ED5}"/>
              </a:ext>
            </a:extLst>
          </p:cNvPr>
          <p:cNvGrpSpPr/>
          <p:nvPr/>
        </p:nvGrpSpPr>
        <p:grpSpPr>
          <a:xfrm>
            <a:off x="4933464" y="2847763"/>
            <a:ext cx="338415" cy="254400"/>
            <a:chOff x="-1176915" y="3508496"/>
            <a:chExt cx="338415" cy="254400"/>
          </a:xfrm>
        </p:grpSpPr>
        <p:sp>
          <p:nvSpPr>
            <p:cNvPr id="443" name="Oval 442">
              <a:extLst>
                <a:ext uri="{FF2B5EF4-FFF2-40B4-BE49-F238E27FC236}">
                  <a16:creationId xmlns:a16="http://schemas.microsoft.com/office/drawing/2014/main" id="{723FD164-B61F-2540-9796-0B1756B92A8F}"/>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44" name="TextBox 443">
              <a:extLst>
                <a:ext uri="{FF2B5EF4-FFF2-40B4-BE49-F238E27FC236}">
                  <a16:creationId xmlns:a16="http://schemas.microsoft.com/office/drawing/2014/main" id="{E2C16AC6-D5FE-8E48-833C-A8DB0A0BE74A}"/>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B6</a:t>
              </a:r>
            </a:p>
          </p:txBody>
        </p:sp>
      </p:grpSp>
      <p:grpSp>
        <p:nvGrpSpPr>
          <p:cNvPr id="445" name="Group 444">
            <a:extLst>
              <a:ext uri="{FF2B5EF4-FFF2-40B4-BE49-F238E27FC236}">
                <a16:creationId xmlns:a16="http://schemas.microsoft.com/office/drawing/2014/main" id="{6DD91870-46AE-FB43-AE0B-34F9EDF26227}"/>
              </a:ext>
            </a:extLst>
          </p:cNvPr>
          <p:cNvGrpSpPr/>
          <p:nvPr/>
        </p:nvGrpSpPr>
        <p:grpSpPr>
          <a:xfrm>
            <a:off x="4522740" y="2935700"/>
            <a:ext cx="338415" cy="254400"/>
            <a:chOff x="-1176915" y="3508496"/>
            <a:chExt cx="338415" cy="254400"/>
          </a:xfrm>
        </p:grpSpPr>
        <p:sp>
          <p:nvSpPr>
            <p:cNvPr id="446" name="Oval 445">
              <a:extLst>
                <a:ext uri="{FF2B5EF4-FFF2-40B4-BE49-F238E27FC236}">
                  <a16:creationId xmlns:a16="http://schemas.microsoft.com/office/drawing/2014/main" id="{C0B6E21C-853C-1648-9321-24F24A9542F7}"/>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47" name="TextBox 446">
              <a:extLst>
                <a:ext uri="{FF2B5EF4-FFF2-40B4-BE49-F238E27FC236}">
                  <a16:creationId xmlns:a16="http://schemas.microsoft.com/office/drawing/2014/main" id="{30C3E35C-9209-3F44-91D8-FA2B5205D10A}"/>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B5</a:t>
              </a:r>
            </a:p>
          </p:txBody>
        </p:sp>
      </p:grpSp>
      <p:grpSp>
        <p:nvGrpSpPr>
          <p:cNvPr id="448" name="Group 447">
            <a:extLst>
              <a:ext uri="{FF2B5EF4-FFF2-40B4-BE49-F238E27FC236}">
                <a16:creationId xmlns:a16="http://schemas.microsoft.com/office/drawing/2014/main" id="{A426D459-2512-FD4E-ABDF-D365EC89724D}"/>
              </a:ext>
            </a:extLst>
          </p:cNvPr>
          <p:cNvGrpSpPr/>
          <p:nvPr/>
        </p:nvGrpSpPr>
        <p:grpSpPr>
          <a:xfrm>
            <a:off x="3782955" y="3076696"/>
            <a:ext cx="338415" cy="254400"/>
            <a:chOff x="-1176915" y="3508496"/>
            <a:chExt cx="338415" cy="254400"/>
          </a:xfrm>
        </p:grpSpPr>
        <p:sp>
          <p:nvSpPr>
            <p:cNvPr id="449" name="Oval 448">
              <a:extLst>
                <a:ext uri="{FF2B5EF4-FFF2-40B4-BE49-F238E27FC236}">
                  <a16:creationId xmlns:a16="http://schemas.microsoft.com/office/drawing/2014/main" id="{02007406-B9A5-F74A-95DE-9CC572997315}"/>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50" name="TextBox 449">
              <a:extLst>
                <a:ext uri="{FF2B5EF4-FFF2-40B4-BE49-F238E27FC236}">
                  <a16:creationId xmlns:a16="http://schemas.microsoft.com/office/drawing/2014/main" id="{CA0EB130-3C29-3A40-927F-5BD3085E674D}"/>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B4</a:t>
              </a:r>
            </a:p>
          </p:txBody>
        </p:sp>
      </p:grpSp>
      <p:grpSp>
        <p:nvGrpSpPr>
          <p:cNvPr id="451" name="Group 450">
            <a:extLst>
              <a:ext uri="{FF2B5EF4-FFF2-40B4-BE49-F238E27FC236}">
                <a16:creationId xmlns:a16="http://schemas.microsoft.com/office/drawing/2014/main" id="{BAC94CAE-93F1-F94F-8613-5E0F6FF87611}"/>
              </a:ext>
            </a:extLst>
          </p:cNvPr>
          <p:cNvGrpSpPr/>
          <p:nvPr/>
        </p:nvGrpSpPr>
        <p:grpSpPr>
          <a:xfrm>
            <a:off x="7076144" y="2490453"/>
            <a:ext cx="338415" cy="254400"/>
            <a:chOff x="-1176915" y="3508496"/>
            <a:chExt cx="338415" cy="254400"/>
          </a:xfrm>
        </p:grpSpPr>
        <p:sp>
          <p:nvSpPr>
            <p:cNvPr id="452" name="Oval 451">
              <a:extLst>
                <a:ext uri="{FF2B5EF4-FFF2-40B4-BE49-F238E27FC236}">
                  <a16:creationId xmlns:a16="http://schemas.microsoft.com/office/drawing/2014/main" id="{FE0F5C89-1DAE-0B47-AE4F-5CF1321A4ADB}"/>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53" name="TextBox 452">
              <a:extLst>
                <a:ext uri="{FF2B5EF4-FFF2-40B4-BE49-F238E27FC236}">
                  <a16:creationId xmlns:a16="http://schemas.microsoft.com/office/drawing/2014/main" id="{28FD2463-C205-CE4F-BE72-5D9EBFDBF1A4}"/>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B2</a:t>
              </a:r>
            </a:p>
          </p:txBody>
        </p:sp>
      </p:grpSp>
      <p:grpSp>
        <p:nvGrpSpPr>
          <p:cNvPr id="454" name="Group 453">
            <a:extLst>
              <a:ext uri="{FF2B5EF4-FFF2-40B4-BE49-F238E27FC236}">
                <a16:creationId xmlns:a16="http://schemas.microsoft.com/office/drawing/2014/main" id="{D99250FB-4479-4841-8FC3-FBBC0D1BB324}"/>
              </a:ext>
            </a:extLst>
          </p:cNvPr>
          <p:cNvGrpSpPr/>
          <p:nvPr/>
        </p:nvGrpSpPr>
        <p:grpSpPr>
          <a:xfrm>
            <a:off x="2529821" y="3242696"/>
            <a:ext cx="338415" cy="254400"/>
            <a:chOff x="-1176915" y="3508496"/>
            <a:chExt cx="338415" cy="254400"/>
          </a:xfrm>
        </p:grpSpPr>
        <p:sp>
          <p:nvSpPr>
            <p:cNvPr id="455" name="Oval 454">
              <a:extLst>
                <a:ext uri="{FF2B5EF4-FFF2-40B4-BE49-F238E27FC236}">
                  <a16:creationId xmlns:a16="http://schemas.microsoft.com/office/drawing/2014/main" id="{7F1A9ED0-FD65-AD47-AEB1-4FDFA6438C73}"/>
                </a:ext>
              </a:extLst>
            </p:cNvPr>
            <p:cNvSpPr/>
            <p:nvPr/>
          </p:nvSpPr>
          <p:spPr>
            <a:xfrm>
              <a:off x="-1133852" y="3508496"/>
              <a:ext cx="254400" cy="254400"/>
            </a:xfrm>
            <a:prstGeom prst="ellipse">
              <a:avLst/>
            </a:prstGeom>
            <a:solidFill>
              <a:srgbClr val="FF0000"/>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56" name="TextBox 455">
              <a:extLst>
                <a:ext uri="{FF2B5EF4-FFF2-40B4-BE49-F238E27FC236}">
                  <a16:creationId xmlns:a16="http://schemas.microsoft.com/office/drawing/2014/main" id="{6FFD876A-15E8-5848-80E9-65E10FE24C5D}"/>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B1</a:t>
              </a:r>
            </a:p>
          </p:txBody>
        </p:sp>
      </p:grpSp>
      <p:grpSp>
        <p:nvGrpSpPr>
          <p:cNvPr id="457" name="Group 456">
            <a:extLst>
              <a:ext uri="{FF2B5EF4-FFF2-40B4-BE49-F238E27FC236}">
                <a16:creationId xmlns:a16="http://schemas.microsoft.com/office/drawing/2014/main" id="{B4BC658A-5EFC-C745-B05C-BA621CA99FA2}"/>
              </a:ext>
            </a:extLst>
          </p:cNvPr>
          <p:cNvGrpSpPr/>
          <p:nvPr/>
        </p:nvGrpSpPr>
        <p:grpSpPr>
          <a:xfrm>
            <a:off x="6759130" y="3876262"/>
            <a:ext cx="338415" cy="254400"/>
            <a:chOff x="-1176915" y="3508496"/>
            <a:chExt cx="338415" cy="254400"/>
          </a:xfrm>
        </p:grpSpPr>
        <p:sp>
          <p:nvSpPr>
            <p:cNvPr id="458" name="Oval 457">
              <a:extLst>
                <a:ext uri="{FF2B5EF4-FFF2-40B4-BE49-F238E27FC236}">
                  <a16:creationId xmlns:a16="http://schemas.microsoft.com/office/drawing/2014/main" id="{EB604047-A6F4-7245-B9A8-33EF8D8EF06D}"/>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59" name="TextBox 458">
              <a:extLst>
                <a:ext uri="{FF2B5EF4-FFF2-40B4-BE49-F238E27FC236}">
                  <a16:creationId xmlns:a16="http://schemas.microsoft.com/office/drawing/2014/main" id="{657D8078-120E-CF46-B9E5-1CA28D13C647}"/>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D8</a:t>
              </a:r>
            </a:p>
          </p:txBody>
        </p:sp>
      </p:grpSp>
      <p:grpSp>
        <p:nvGrpSpPr>
          <p:cNvPr id="460" name="Group 459">
            <a:extLst>
              <a:ext uri="{FF2B5EF4-FFF2-40B4-BE49-F238E27FC236}">
                <a16:creationId xmlns:a16="http://schemas.microsoft.com/office/drawing/2014/main" id="{04E07A40-9AAC-0843-8E2D-B45C1BE67C27}"/>
              </a:ext>
            </a:extLst>
          </p:cNvPr>
          <p:cNvGrpSpPr/>
          <p:nvPr/>
        </p:nvGrpSpPr>
        <p:grpSpPr>
          <a:xfrm>
            <a:off x="5373624" y="3491282"/>
            <a:ext cx="338415" cy="254400"/>
            <a:chOff x="-1176915" y="3508496"/>
            <a:chExt cx="338415" cy="254400"/>
          </a:xfrm>
        </p:grpSpPr>
        <p:sp>
          <p:nvSpPr>
            <p:cNvPr id="461" name="Oval 460">
              <a:extLst>
                <a:ext uri="{FF2B5EF4-FFF2-40B4-BE49-F238E27FC236}">
                  <a16:creationId xmlns:a16="http://schemas.microsoft.com/office/drawing/2014/main" id="{70C07B90-1828-2B41-87EB-81E2502746F6}"/>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62" name="TextBox 461">
              <a:extLst>
                <a:ext uri="{FF2B5EF4-FFF2-40B4-BE49-F238E27FC236}">
                  <a16:creationId xmlns:a16="http://schemas.microsoft.com/office/drawing/2014/main" id="{8128175B-F212-6B46-ADDA-24BC451E76BA}"/>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C9</a:t>
              </a:r>
            </a:p>
          </p:txBody>
        </p:sp>
      </p:grpSp>
      <p:grpSp>
        <p:nvGrpSpPr>
          <p:cNvPr id="463" name="Group 462">
            <a:extLst>
              <a:ext uri="{FF2B5EF4-FFF2-40B4-BE49-F238E27FC236}">
                <a16:creationId xmlns:a16="http://schemas.microsoft.com/office/drawing/2014/main" id="{DBA5EB90-F1CF-8C46-9257-16C2C55AF88F}"/>
              </a:ext>
            </a:extLst>
          </p:cNvPr>
          <p:cNvGrpSpPr/>
          <p:nvPr/>
        </p:nvGrpSpPr>
        <p:grpSpPr>
          <a:xfrm>
            <a:off x="9977655" y="2289997"/>
            <a:ext cx="338415" cy="254400"/>
            <a:chOff x="-1176915" y="3508496"/>
            <a:chExt cx="338415" cy="254400"/>
          </a:xfrm>
        </p:grpSpPr>
        <p:sp>
          <p:nvSpPr>
            <p:cNvPr id="464" name="Oval 463">
              <a:extLst>
                <a:ext uri="{FF2B5EF4-FFF2-40B4-BE49-F238E27FC236}">
                  <a16:creationId xmlns:a16="http://schemas.microsoft.com/office/drawing/2014/main" id="{ABC876B7-E57D-6441-A56C-AEFB12DE72A9}"/>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65" name="TextBox 464">
              <a:extLst>
                <a:ext uri="{FF2B5EF4-FFF2-40B4-BE49-F238E27FC236}">
                  <a16:creationId xmlns:a16="http://schemas.microsoft.com/office/drawing/2014/main" id="{91E2879E-EAB4-584B-9FB9-CB801B839022}"/>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C8</a:t>
              </a:r>
            </a:p>
          </p:txBody>
        </p:sp>
      </p:grpSp>
      <p:grpSp>
        <p:nvGrpSpPr>
          <p:cNvPr id="466" name="Group 465">
            <a:extLst>
              <a:ext uri="{FF2B5EF4-FFF2-40B4-BE49-F238E27FC236}">
                <a16:creationId xmlns:a16="http://schemas.microsoft.com/office/drawing/2014/main" id="{82AFE6F4-3842-BD47-A2BD-5A0AD7A149B7}"/>
              </a:ext>
            </a:extLst>
          </p:cNvPr>
          <p:cNvGrpSpPr/>
          <p:nvPr/>
        </p:nvGrpSpPr>
        <p:grpSpPr>
          <a:xfrm>
            <a:off x="6845875" y="3168363"/>
            <a:ext cx="338415" cy="254400"/>
            <a:chOff x="-1176915" y="3508496"/>
            <a:chExt cx="338415" cy="254400"/>
          </a:xfrm>
        </p:grpSpPr>
        <p:sp>
          <p:nvSpPr>
            <p:cNvPr id="467" name="Oval 466">
              <a:extLst>
                <a:ext uri="{FF2B5EF4-FFF2-40B4-BE49-F238E27FC236}">
                  <a16:creationId xmlns:a16="http://schemas.microsoft.com/office/drawing/2014/main" id="{F7CC2C4D-5E06-BF47-97CA-D40CE99233F4}"/>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68" name="TextBox 467">
              <a:extLst>
                <a:ext uri="{FF2B5EF4-FFF2-40B4-BE49-F238E27FC236}">
                  <a16:creationId xmlns:a16="http://schemas.microsoft.com/office/drawing/2014/main" id="{B1E01E56-9B58-0E47-BABE-B4F86A626878}"/>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C7</a:t>
              </a:r>
            </a:p>
          </p:txBody>
        </p:sp>
      </p:grpSp>
      <p:grpSp>
        <p:nvGrpSpPr>
          <p:cNvPr id="469" name="Group 468">
            <a:extLst>
              <a:ext uri="{FF2B5EF4-FFF2-40B4-BE49-F238E27FC236}">
                <a16:creationId xmlns:a16="http://schemas.microsoft.com/office/drawing/2014/main" id="{554BAFC3-1AEA-D24F-B1E5-904FAB0E089F}"/>
              </a:ext>
            </a:extLst>
          </p:cNvPr>
          <p:cNvGrpSpPr/>
          <p:nvPr/>
        </p:nvGrpSpPr>
        <p:grpSpPr>
          <a:xfrm>
            <a:off x="6557464" y="3019367"/>
            <a:ext cx="338415" cy="254400"/>
            <a:chOff x="-1176915" y="3508496"/>
            <a:chExt cx="338415" cy="254400"/>
          </a:xfrm>
        </p:grpSpPr>
        <p:sp>
          <p:nvSpPr>
            <p:cNvPr id="470" name="Oval 469">
              <a:extLst>
                <a:ext uri="{FF2B5EF4-FFF2-40B4-BE49-F238E27FC236}">
                  <a16:creationId xmlns:a16="http://schemas.microsoft.com/office/drawing/2014/main" id="{B17BAA3B-15B1-294D-8472-60E5B5EF2F60}"/>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71" name="TextBox 470">
              <a:extLst>
                <a:ext uri="{FF2B5EF4-FFF2-40B4-BE49-F238E27FC236}">
                  <a16:creationId xmlns:a16="http://schemas.microsoft.com/office/drawing/2014/main" id="{4BCE47AE-6791-074B-B90C-D9837CA19120}"/>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C6</a:t>
              </a:r>
            </a:p>
          </p:txBody>
        </p:sp>
      </p:grpSp>
      <p:grpSp>
        <p:nvGrpSpPr>
          <p:cNvPr id="472" name="Group 471">
            <a:extLst>
              <a:ext uri="{FF2B5EF4-FFF2-40B4-BE49-F238E27FC236}">
                <a16:creationId xmlns:a16="http://schemas.microsoft.com/office/drawing/2014/main" id="{7D682BCF-D9A2-144D-A292-0C1089C742FC}"/>
              </a:ext>
            </a:extLst>
          </p:cNvPr>
          <p:cNvGrpSpPr/>
          <p:nvPr/>
        </p:nvGrpSpPr>
        <p:grpSpPr>
          <a:xfrm>
            <a:off x="4851011" y="3618221"/>
            <a:ext cx="338415" cy="254400"/>
            <a:chOff x="-1176915" y="3508496"/>
            <a:chExt cx="338415" cy="254400"/>
          </a:xfrm>
        </p:grpSpPr>
        <p:sp>
          <p:nvSpPr>
            <p:cNvPr id="473" name="Oval 472">
              <a:extLst>
                <a:ext uri="{FF2B5EF4-FFF2-40B4-BE49-F238E27FC236}">
                  <a16:creationId xmlns:a16="http://schemas.microsoft.com/office/drawing/2014/main" id="{73FF258E-6546-F848-875A-3BFD1189A2B5}"/>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74" name="TextBox 473">
              <a:extLst>
                <a:ext uri="{FF2B5EF4-FFF2-40B4-BE49-F238E27FC236}">
                  <a16:creationId xmlns:a16="http://schemas.microsoft.com/office/drawing/2014/main" id="{335DADDB-F26D-9646-B197-BDEE90C65F09}"/>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C5</a:t>
              </a:r>
            </a:p>
          </p:txBody>
        </p:sp>
      </p:grpSp>
      <p:grpSp>
        <p:nvGrpSpPr>
          <p:cNvPr id="475" name="Group 474">
            <a:extLst>
              <a:ext uri="{FF2B5EF4-FFF2-40B4-BE49-F238E27FC236}">
                <a16:creationId xmlns:a16="http://schemas.microsoft.com/office/drawing/2014/main" id="{533EBDDF-6ACE-584B-9FD4-94A70D3D3EA7}"/>
              </a:ext>
            </a:extLst>
          </p:cNvPr>
          <p:cNvGrpSpPr/>
          <p:nvPr/>
        </p:nvGrpSpPr>
        <p:grpSpPr>
          <a:xfrm>
            <a:off x="7286346" y="2903951"/>
            <a:ext cx="338415" cy="254400"/>
            <a:chOff x="-1176915" y="3508496"/>
            <a:chExt cx="338415" cy="254400"/>
          </a:xfrm>
        </p:grpSpPr>
        <p:sp>
          <p:nvSpPr>
            <p:cNvPr id="476" name="Oval 475">
              <a:extLst>
                <a:ext uri="{FF2B5EF4-FFF2-40B4-BE49-F238E27FC236}">
                  <a16:creationId xmlns:a16="http://schemas.microsoft.com/office/drawing/2014/main" id="{A780BD80-BC15-054E-A794-455F974798E7}"/>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78" name="TextBox 477">
              <a:extLst>
                <a:ext uri="{FF2B5EF4-FFF2-40B4-BE49-F238E27FC236}">
                  <a16:creationId xmlns:a16="http://schemas.microsoft.com/office/drawing/2014/main" id="{D265F3AF-7099-6349-A94C-DADB43F297F9}"/>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C4</a:t>
              </a:r>
            </a:p>
          </p:txBody>
        </p:sp>
      </p:grpSp>
      <p:grpSp>
        <p:nvGrpSpPr>
          <p:cNvPr id="479" name="Group 478">
            <a:extLst>
              <a:ext uri="{FF2B5EF4-FFF2-40B4-BE49-F238E27FC236}">
                <a16:creationId xmlns:a16="http://schemas.microsoft.com/office/drawing/2014/main" id="{8F9E9164-3A3E-3A4F-91D1-53B288257EA4}"/>
              </a:ext>
            </a:extLst>
          </p:cNvPr>
          <p:cNvGrpSpPr/>
          <p:nvPr/>
        </p:nvGrpSpPr>
        <p:grpSpPr>
          <a:xfrm>
            <a:off x="8709344" y="2594709"/>
            <a:ext cx="338415" cy="254400"/>
            <a:chOff x="-1176915" y="3508496"/>
            <a:chExt cx="338415" cy="254400"/>
          </a:xfrm>
        </p:grpSpPr>
        <p:sp>
          <p:nvSpPr>
            <p:cNvPr id="480" name="Oval 479">
              <a:extLst>
                <a:ext uri="{FF2B5EF4-FFF2-40B4-BE49-F238E27FC236}">
                  <a16:creationId xmlns:a16="http://schemas.microsoft.com/office/drawing/2014/main" id="{0F61EDFC-527A-DD4A-BC38-E97EF864191A}"/>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81" name="TextBox 480">
              <a:extLst>
                <a:ext uri="{FF2B5EF4-FFF2-40B4-BE49-F238E27FC236}">
                  <a16:creationId xmlns:a16="http://schemas.microsoft.com/office/drawing/2014/main" id="{1E2AC676-E653-D942-8773-A1EBFBDE7590}"/>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C3</a:t>
              </a:r>
            </a:p>
          </p:txBody>
        </p:sp>
      </p:grpSp>
      <p:grpSp>
        <p:nvGrpSpPr>
          <p:cNvPr id="482" name="Group 481">
            <a:extLst>
              <a:ext uri="{FF2B5EF4-FFF2-40B4-BE49-F238E27FC236}">
                <a16:creationId xmlns:a16="http://schemas.microsoft.com/office/drawing/2014/main" id="{6E49D17F-A588-F34B-82DB-8530FE8D70B3}"/>
              </a:ext>
            </a:extLst>
          </p:cNvPr>
          <p:cNvGrpSpPr/>
          <p:nvPr/>
        </p:nvGrpSpPr>
        <p:grpSpPr>
          <a:xfrm>
            <a:off x="4090369" y="3841983"/>
            <a:ext cx="338415" cy="254400"/>
            <a:chOff x="-1176915" y="3508496"/>
            <a:chExt cx="338415" cy="254400"/>
          </a:xfrm>
        </p:grpSpPr>
        <p:sp>
          <p:nvSpPr>
            <p:cNvPr id="483" name="Oval 482">
              <a:extLst>
                <a:ext uri="{FF2B5EF4-FFF2-40B4-BE49-F238E27FC236}">
                  <a16:creationId xmlns:a16="http://schemas.microsoft.com/office/drawing/2014/main" id="{6D511830-D30B-824F-921E-4B70B807534A}"/>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84" name="TextBox 483">
              <a:extLst>
                <a:ext uri="{FF2B5EF4-FFF2-40B4-BE49-F238E27FC236}">
                  <a16:creationId xmlns:a16="http://schemas.microsoft.com/office/drawing/2014/main" id="{27F15492-1115-A543-820D-C73550D4E74D}"/>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C2</a:t>
              </a:r>
            </a:p>
          </p:txBody>
        </p:sp>
      </p:grpSp>
      <p:grpSp>
        <p:nvGrpSpPr>
          <p:cNvPr id="485" name="Group 484">
            <a:extLst>
              <a:ext uri="{FF2B5EF4-FFF2-40B4-BE49-F238E27FC236}">
                <a16:creationId xmlns:a16="http://schemas.microsoft.com/office/drawing/2014/main" id="{C3034F70-E1A9-F34A-A83A-4718E282F1F5}"/>
              </a:ext>
            </a:extLst>
          </p:cNvPr>
          <p:cNvGrpSpPr/>
          <p:nvPr/>
        </p:nvGrpSpPr>
        <p:grpSpPr>
          <a:xfrm>
            <a:off x="3658356" y="3943870"/>
            <a:ext cx="338415" cy="254400"/>
            <a:chOff x="-1176915" y="3508496"/>
            <a:chExt cx="338415" cy="254400"/>
          </a:xfrm>
        </p:grpSpPr>
        <p:sp>
          <p:nvSpPr>
            <p:cNvPr id="486" name="Oval 485">
              <a:extLst>
                <a:ext uri="{FF2B5EF4-FFF2-40B4-BE49-F238E27FC236}">
                  <a16:creationId xmlns:a16="http://schemas.microsoft.com/office/drawing/2014/main" id="{D878BF4E-15C9-A642-9180-7F7A148DE73D}"/>
                </a:ext>
              </a:extLst>
            </p:cNvPr>
            <p:cNvSpPr/>
            <p:nvPr/>
          </p:nvSpPr>
          <p:spPr>
            <a:xfrm>
              <a:off x="-1133852" y="3508496"/>
              <a:ext cx="254400" cy="254400"/>
            </a:xfrm>
            <a:prstGeom prst="ellipse">
              <a:avLst/>
            </a:prstGeom>
            <a:solidFill>
              <a:srgbClr val="FF0000"/>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87" name="TextBox 486">
              <a:extLst>
                <a:ext uri="{FF2B5EF4-FFF2-40B4-BE49-F238E27FC236}">
                  <a16:creationId xmlns:a16="http://schemas.microsoft.com/office/drawing/2014/main" id="{591402A7-D6AE-644D-AF07-F42069E5D726}"/>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C1</a:t>
              </a:r>
            </a:p>
          </p:txBody>
        </p:sp>
      </p:grpSp>
      <p:grpSp>
        <p:nvGrpSpPr>
          <p:cNvPr id="488" name="Group 487">
            <a:extLst>
              <a:ext uri="{FF2B5EF4-FFF2-40B4-BE49-F238E27FC236}">
                <a16:creationId xmlns:a16="http://schemas.microsoft.com/office/drawing/2014/main" id="{B264A81F-6A62-904C-9E23-9A349FBAE063}"/>
              </a:ext>
            </a:extLst>
          </p:cNvPr>
          <p:cNvGrpSpPr/>
          <p:nvPr/>
        </p:nvGrpSpPr>
        <p:grpSpPr>
          <a:xfrm>
            <a:off x="6055739" y="3270164"/>
            <a:ext cx="494671" cy="254400"/>
            <a:chOff x="-1251134" y="3508496"/>
            <a:chExt cx="494671" cy="254400"/>
          </a:xfrm>
        </p:grpSpPr>
        <p:sp>
          <p:nvSpPr>
            <p:cNvPr id="489" name="Oval 488">
              <a:extLst>
                <a:ext uri="{FF2B5EF4-FFF2-40B4-BE49-F238E27FC236}">
                  <a16:creationId xmlns:a16="http://schemas.microsoft.com/office/drawing/2014/main" id="{93ECF4DE-3876-6C4D-A648-C20931BA1276}"/>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490" name="TextBox 489">
              <a:extLst>
                <a:ext uri="{FF2B5EF4-FFF2-40B4-BE49-F238E27FC236}">
                  <a16:creationId xmlns:a16="http://schemas.microsoft.com/office/drawing/2014/main" id="{EB9C82AF-8CC6-9B47-812A-65DF626715E1}"/>
                </a:ext>
              </a:extLst>
            </p:cNvPr>
            <p:cNvSpPr txBox="1"/>
            <p:nvPr/>
          </p:nvSpPr>
          <p:spPr>
            <a:xfrm>
              <a:off x="-1251134" y="3520280"/>
              <a:ext cx="494671" cy="230832"/>
            </a:xfrm>
            <a:prstGeom prst="rect">
              <a:avLst/>
            </a:prstGeom>
            <a:noFill/>
          </p:spPr>
          <p:txBody>
            <a:bodyPr wrap="square" rtlCol="0">
              <a:spAutoFit/>
            </a:bodyPr>
            <a:lstStyle/>
            <a:p>
              <a:pPr algn="ctr"/>
              <a:r>
                <a:rPr lang="en-GB" sz="900" b="1">
                  <a:solidFill>
                    <a:schemeClr val="bg1"/>
                  </a:solidFill>
                </a:rPr>
                <a:t>C10</a:t>
              </a:r>
            </a:p>
          </p:txBody>
        </p:sp>
      </p:grpSp>
      <p:grpSp>
        <p:nvGrpSpPr>
          <p:cNvPr id="491" name="Group 490">
            <a:extLst>
              <a:ext uri="{FF2B5EF4-FFF2-40B4-BE49-F238E27FC236}">
                <a16:creationId xmlns:a16="http://schemas.microsoft.com/office/drawing/2014/main" id="{D95712ED-ED47-2540-90FA-03AEA11D175E}"/>
              </a:ext>
            </a:extLst>
          </p:cNvPr>
          <p:cNvGrpSpPr/>
          <p:nvPr/>
        </p:nvGrpSpPr>
        <p:grpSpPr>
          <a:xfrm>
            <a:off x="5679638" y="4328653"/>
            <a:ext cx="338415" cy="254400"/>
            <a:chOff x="-1176915" y="3508496"/>
            <a:chExt cx="338415" cy="254400"/>
          </a:xfrm>
        </p:grpSpPr>
        <p:sp>
          <p:nvSpPr>
            <p:cNvPr id="496" name="Oval 495">
              <a:extLst>
                <a:ext uri="{FF2B5EF4-FFF2-40B4-BE49-F238E27FC236}">
                  <a16:creationId xmlns:a16="http://schemas.microsoft.com/office/drawing/2014/main" id="{7564A15F-9DE7-CF4F-A674-B762A96B7802}"/>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506" name="TextBox 505">
              <a:extLst>
                <a:ext uri="{FF2B5EF4-FFF2-40B4-BE49-F238E27FC236}">
                  <a16:creationId xmlns:a16="http://schemas.microsoft.com/office/drawing/2014/main" id="{77983D66-24C9-4A4D-9A60-EE7568272D6F}"/>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D7</a:t>
              </a:r>
            </a:p>
          </p:txBody>
        </p:sp>
      </p:grpSp>
      <p:grpSp>
        <p:nvGrpSpPr>
          <p:cNvPr id="507" name="Group 506">
            <a:extLst>
              <a:ext uri="{FF2B5EF4-FFF2-40B4-BE49-F238E27FC236}">
                <a16:creationId xmlns:a16="http://schemas.microsoft.com/office/drawing/2014/main" id="{4ED73CE4-ECC1-CC44-ADD1-B57ADE1E3D96}"/>
              </a:ext>
            </a:extLst>
          </p:cNvPr>
          <p:cNvGrpSpPr/>
          <p:nvPr/>
        </p:nvGrpSpPr>
        <p:grpSpPr>
          <a:xfrm>
            <a:off x="9639240" y="2544743"/>
            <a:ext cx="338415" cy="254400"/>
            <a:chOff x="-1176915" y="3508496"/>
            <a:chExt cx="338415" cy="254400"/>
          </a:xfrm>
        </p:grpSpPr>
        <p:sp>
          <p:nvSpPr>
            <p:cNvPr id="508" name="Oval 507">
              <a:extLst>
                <a:ext uri="{FF2B5EF4-FFF2-40B4-BE49-F238E27FC236}">
                  <a16:creationId xmlns:a16="http://schemas.microsoft.com/office/drawing/2014/main" id="{4DE47457-287B-D141-A06A-CB49A7AC2916}"/>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515" name="TextBox 514">
              <a:extLst>
                <a:ext uri="{FF2B5EF4-FFF2-40B4-BE49-F238E27FC236}">
                  <a16:creationId xmlns:a16="http://schemas.microsoft.com/office/drawing/2014/main" id="{223D5C4E-57D6-5249-9A2D-5A9DCFD4B807}"/>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D6</a:t>
              </a:r>
            </a:p>
          </p:txBody>
        </p:sp>
      </p:grpSp>
      <p:grpSp>
        <p:nvGrpSpPr>
          <p:cNvPr id="548" name="Group 547">
            <a:extLst>
              <a:ext uri="{FF2B5EF4-FFF2-40B4-BE49-F238E27FC236}">
                <a16:creationId xmlns:a16="http://schemas.microsoft.com/office/drawing/2014/main" id="{6238A959-E853-0540-B8D2-0D58621C52BB}"/>
              </a:ext>
            </a:extLst>
          </p:cNvPr>
          <p:cNvGrpSpPr/>
          <p:nvPr/>
        </p:nvGrpSpPr>
        <p:grpSpPr>
          <a:xfrm>
            <a:off x="7319775" y="3408285"/>
            <a:ext cx="338415" cy="254400"/>
            <a:chOff x="-1176915" y="3508496"/>
            <a:chExt cx="338415" cy="254400"/>
          </a:xfrm>
        </p:grpSpPr>
        <p:sp>
          <p:nvSpPr>
            <p:cNvPr id="558" name="Oval 557">
              <a:extLst>
                <a:ext uri="{FF2B5EF4-FFF2-40B4-BE49-F238E27FC236}">
                  <a16:creationId xmlns:a16="http://schemas.microsoft.com/office/drawing/2014/main" id="{96CE25B7-4297-0C48-8270-2E53CAC30957}"/>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588" name="TextBox 587">
              <a:extLst>
                <a:ext uri="{FF2B5EF4-FFF2-40B4-BE49-F238E27FC236}">
                  <a16:creationId xmlns:a16="http://schemas.microsoft.com/office/drawing/2014/main" id="{AACC9749-B7DF-4A42-996E-C21CA814CE95}"/>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D5</a:t>
              </a:r>
            </a:p>
          </p:txBody>
        </p:sp>
      </p:grpSp>
      <p:grpSp>
        <p:nvGrpSpPr>
          <p:cNvPr id="589" name="Group 588">
            <a:extLst>
              <a:ext uri="{FF2B5EF4-FFF2-40B4-BE49-F238E27FC236}">
                <a16:creationId xmlns:a16="http://schemas.microsoft.com/office/drawing/2014/main" id="{BFDFD931-3879-4F4F-AC8D-647D30CCE9CC}"/>
              </a:ext>
            </a:extLst>
          </p:cNvPr>
          <p:cNvGrpSpPr/>
          <p:nvPr/>
        </p:nvGrpSpPr>
        <p:grpSpPr>
          <a:xfrm>
            <a:off x="7738008" y="3586180"/>
            <a:ext cx="338415" cy="254400"/>
            <a:chOff x="-1176915" y="3508496"/>
            <a:chExt cx="338415" cy="254400"/>
          </a:xfrm>
        </p:grpSpPr>
        <p:sp>
          <p:nvSpPr>
            <p:cNvPr id="590" name="Oval 589">
              <a:extLst>
                <a:ext uri="{FF2B5EF4-FFF2-40B4-BE49-F238E27FC236}">
                  <a16:creationId xmlns:a16="http://schemas.microsoft.com/office/drawing/2014/main" id="{514EC991-C691-0841-82AE-31B36B528B7D}"/>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663" name="TextBox 662">
              <a:extLst>
                <a:ext uri="{FF2B5EF4-FFF2-40B4-BE49-F238E27FC236}">
                  <a16:creationId xmlns:a16="http://schemas.microsoft.com/office/drawing/2014/main" id="{0F4FC77F-EFD4-E943-85B7-F2D749EF68F9}"/>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D4</a:t>
              </a:r>
            </a:p>
          </p:txBody>
        </p:sp>
      </p:grpSp>
      <p:grpSp>
        <p:nvGrpSpPr>
          <p:cNvPr id="664" name="Group 663">
            <a:extLst>
              <a:ext uri="{FF2B5EF4-FFF2-40B4-BE49-F238E27FC236}">
                <a16:creationId xmlns:a16="http://schemas.microsoft.com/office/drawing/2014/main" id="{3998892E-2170-7A4B-B13D-E1813D103A0B}"/>
              </a:ext>
            </a:extLst>
          </p:cNvPr>
          <p:cNvGrpSpPr/>
          <p:nvPr/>
        </p:nvGrpSpPr>
        <p:grpSpPr>
          <a:xfrm>
            <a:off x="7720425" y="3253804"/>
            <a:ext cx="338415" cy="254400"/>
            <a:chOff x="-1176915" y="3508496"/>
            <a:chExt cx="338415" cy="254400"/>
          </a:xfrm>
        </p:grpSpPr>
        <p:sp>
          <p:nvSpPr>
            <p:cNvPr id="665" name="Oval 664">
              <a:extLst>
                <a:ext uri="{FF2B5EF4-FFF2-40B4-BE49-F238E27FC236}">
                  <a16:creationId xmlns:a16="http://schemas.microsoft.com/office/drawing/2014/main" id="{A6FDBB44-09F1-704D-B476-F4B85BD24603}"/>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699" name="TextBox 698">
              <a:extLst>
                <a:ext uri="{FF2B5EF4-FFF2-40B4-BE49-F238E27FC236}">
                  <a16:creationId xmlns:a16="http://schemas.microsoft.com/office/drawing/2014/main" id="{A3958256-D6A6-E74B-BEE1-9ECC43AB0B45}"/>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D3</a:t>
              </a:r>
            </a:p>
          </p:txBody>
        </p:sp>
      </p:grpSp>
      <p:grpSp>
        <p:nvGrpSpPr>
          <p:cNvPr id="700" name="Group 699">
            <a:extLst>
              <a:ext uri="{FF2B5EF4-FFF2-40B4-BE49-F238E27FC236}">
                <a16:creationId xmlns:a16="http://schemas.microsoft.com/office/drawing/2014/main" id="{67C6A092-6344-2D46-8346-13898F18A381}"/>
              </a:ext>
            </a:extLst>
          </p:cNvPr>
          <p:cNvGrpSpPr/>
          <p:nvPr/>
        </p:nvGrpSpPr>
        <p:grpSpPr>
          <a:xfrm>
            <a:off x="4512596" y="4885141"/>
            <a:ext cx="338415" cy="254400"/>
            <a:chOff x="-1176915" y="3508496"/>
            <a:chExt cx="338415" cy="254400"/>
          </a:xfrm>
        </p:grpSpPr>
        <p:sp>
          <p:nvSpPr>
            <p:cNvPr id="701" name="Oval 700">
              <a:extLst>
                <a:ext uri="{FF2B5EF4-FFF2-40B4-BE49-F238E27FC236}">
                  <a16:creationId xmlns:a16="http://schemas.microsoft.com/office/drawing/2014/main" id="{8C691B0A-C142-1B47-9927-408625EE2ED7}"/>
                </a:ext>
              </a:extLst>
            </p:cNvPr>
            <p:cNvSpPr/>
            <p:nvPr/>
          </p:nvSpPr>
          <p:spPr>
            <a:xfrm>
              <a:off x="-1133852" y="3508496"/>
              <a:ext cx="254400" cy="254400"/>
            </a:xfrm>
            <a:prstGeom prst="ellipse">
              <a:avLst/>
            </a:prstGeom>
            <a:solidFill>
              <a:srgbClr val="00B050"/>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705" name="TextBox 704">
              <a:extLst>
                <a:ext uri="{FF2B5EF4-FFF2-40B4-BE49-F238E27FC236}">
                  <a16:creationId xmlns:a16="http://schemas.microsoft.com/office/drawing/2014/main" id="{D9603E46-7266-0A4A-9D59-428ED27712C4}"/>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D2</a:t>
              </a:r>
            </a:p>
          </p:txBody>
        </p:sp>
      </p:grpSp>
      <p:grpSp>
        <p:nvGrpSpPr>
          <p:cNvPr id="706" name="Group 705">
            <a:extLst>
              <a:ext uri="{FF2B5EF4-FFF2-40B4-BE49-F238E27FC236}">
                <a16:creationId xmlns:a16="http://schemas.microsoft.com/office/drawing/2014/main" id="{A7507AC1-244B-1444-BADB-D9381CB6F8B4}"/>
              </a:ext>
            </a:extLst>
          </p:cNvPr>
          <p:cNvGrpSpPr/>
          <p:nvPr/>
        </p:nvGrpSpPr>
        <p:grpSpPr>
          <a:xfrm>
            <a:off x="5040536" y="4629546"/>
            <a:ext cx="338415" cy="254400"/>
            <a:chOff x="-1176915" y="3508496"/>
            <a:chExt cx="338415" cy="254400"/>
          </a:xfrm>
        </p:grpSpPr>
        <p:sp>
          <p:nvSpPr>
            <p:cNvPr id="707" name="Oval 706">
              <a:extLst>
                <a:ext uri="{FF2B5EF4-FFF2-40B4-BE49-F238E27FC236}">
                  <a16:creationId xmlns:a16="http://schemas.microsoft.com/office/drawing/2014/main" id="{136922B4-6747-8D44-9C5F-5822DE39137B}"/>
                </a:ext>
              </a:extLst>
            </p:cNvPr>
            <p:cNvSpPr/>
            <p:nvPr/>
          </p:nvSpPr>
          <p:spPr>
            <a:xfrm>
              <a:off x="-1133852" y="3508496"/>
              <a:ext cx="254400" cy="254400"/>
            </a:xfrm>
            <a:prstGeom prst="ellipse">
              <a:avLst/>
            </a:prstGeom>
            <a:solidFill>
              <a:srgbClr val="FF0000"/>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708" name="TextBox 707">
              <a:extLst>
                <a:ext uri="{FF2B5EF4-FFF2-40B4-BE49-F238E27FC236}">
                  <a16:creationId xmlns:a16="http://schemas.microsoft.com/office/drawing/2014/main" id="{1E442E99-6A0C-3B41-A210-9340A1DAB62C}"/>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D1</a:t>
              </a:r>
            </a:p>
          </p:txBody>
        </p:sp>
      </p:grpSp>
      <p:grpSp>
        <p:nvGrpSpPr>
          <p:cNvPr id="709" name="Group 708">
            <a:extLst>
              <a:ext uri="{FF2B5EF4-FFF2-40B4-BE49-F238E27FC236}">
                <a16:creationId xmlns:a16="http://schemas.microsoft.com/office/drawing/2014/main" id="{BDF30ADF-E5B1-D54F-89C9-297EF97B86EC}"/>
              </a:ext>
            </a:extLst>
          </p:cNvPr>
          <p:cNvGrpSpPr/>
          <p:nvPr/>
        </p:nvGrpSpPr>
        <p:grpSpPr>
          <a:xfrm>
            <a:off x="9466268" y="4084558"/>
            <a:ext cx="338415" cy="254400"/>
            <a:chOff x="-1176915" y="3508496"/>
            <a:chExt cx="338415" cy="254400"/>
          </a:xfrm>
        </p:grpSpPr>
        <p:sp>
          <p:nvSpPr>
            <p:cNvPr id="710" name="Oval 709">
              <a:extLst>
                <a:ext uri="{FF2B5EF4-FFF2-40B4-BE49-F238E27FC236}">
                  <a16:creationId xmlns:a16="http://schemas.microsoft.com/office/drawing/2014/main" id="{AFB2C786-5298-F249-8032-CE9E738D1C3A}"/>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711" name="TextBox 710">
              <a:extLst>
                <a:ext uri="{FF2B5EF4-FFF2-40B4-BE49-F238E27FC236}">
                  <a16:creationId xmlns:a16="http://schemas.microsoft.com/office/drawing/2014/main" id="{C5F2877A-D52E-3646-B6CE-5BA84909A296}"/>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G8</a:t>
              </a:r>
            </a:p>
          </p:txBody>
        </p:sp>
      </p:grpSp>
      <p:grpSp>
        <p:nvGrpSpPr>
          <p:cNvPr id="712" name="Group 711">
            <a:extLst>
              <a:ext uri="{FF2B5EF4-FFF2-40B4-BE49-F238E27FC236}">
                <a16:creationId xmlns:a16="http://schemas.microsoft.com/office/drawing/2014/main" id="{729AD864-A83B-7641-A286-B7B9B9543F05}"/>
              </a:ext>
            </a:extLst>
          </p:cNvPr>
          <p:cNvGrpSpPr/>
          <p:nvPr/>
        </p:nvGrpSpPr>
        <p:grpSpPr>
          <a:xfrm>
            <a:off x="7525927" y="4515445"/>
            <a:ext cx="338415" cy="254400"/>
            <a:chOff x="-1176915" y="3508496"/>
            <a:chExt cx="338415" cy="254400"/>
          </a:xfrm>
        </p:grpSpPr>
        <p:sp>
          <p:nvSpPr>
            <p:cNvPr id="713" name="Oval 712">
              <a:extLst>
                <a:ext uri="{FF2B5EF4-FFF2-40B4-BE49-F238E27FC236}">
                  <a16:creationId xmlns:a16="http://schemas.microsoft.com/office/drawing/2014/main" id="{42022412-4FAF-6D4B-A438-8125C143C4B6}"/>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714" name="TextBox 713">
              <a:extLst>
                <a:ext uri="{FF2B5EF4-FFF2-40B4-BE49-F238E27FC236}">
                  <a16:creationId xmlns:a16="http://schemas.microsoft.com/office/drawing/2014/main" id="{F2BC2818-1DE2-1C4D-97B9-F694DB3D193B}"/>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F8</a:t>
              </a:r>
            </a:p>
          </p:txBody>
        </p:sp>
      </p:grpSp>
      <p:grpSp>
        <p:nvGrpSpPr>
          <p:cNvPr id="715" name="Group 714">
            <a:extLst>
              <a:ext uri="{FF2B5EF4-FFF2-40B4-BE49-F238E27FC236}">
                <a16:creationId xmlns:a16="http://schemas.microsoft.com/office/drawing/2014/main" id="{73669932-6BCF-DB47-813E-6F3C33E061D6}"/>
              </a:ext>
            </a:extLst>
          </p:cNvPr>
          <p:cNvGrpSpPr/>
          <p:nvPr/>
        </p:nvGrpSpPr>
        <p:grpSpPr>
          <a:xfrm>
            <a:off x="8198802" y="4043096"/>
            <a:ext cx="338415" cy="254400"/>
            <a:chOff x="-1176915" y="3508496"/>
            <a:chExt cx="338415" cy="254400"/>
          </a:xfrm>
        </p:grpSpPr>
        <p:sp>
          <p:nvSpPr>
            <p:cNvPr id="716" name="Oval 715">
              <a:extLst>
                <a:ext uri="{FF2B5EF4-FFF2-40B4-BE49-F238E27FC236}">
                  <a16:creationId xmlns:a16="http://schemas.microsoft.com/office/drawing/2014/main" id="{27EA3D27-C392-7A44-BB2B-39EDAD3264FF}"/>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717" name="TextBox 716">
              <a:extLst>
                <a:ext uri="{FF2B5EF4-FFF2-40B4-BE49-F238E27FC236}">
                  <a16:creationId xmlns:a16="http://schemas.microsoft.com/office/drawing/2014/main" id="{C7B3D491-9050-3F40-97C9-987B048CC110}"/>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F7</a:t>
              </a:r>
            </a:p>
          </p:txBody>
        </p:sp>
      </p:grpSp>
      <p:grpSp>
        <p:nvGrpSpPr>
          <p:cNvPr id="718" name="Group 717">
            <a:extLst>
              <a:ext uri="{FF2B5EF4-FFF2-40B4-BE49-F238E27FC236}">
                <a16:creationId xmlns:a16="http://schemas.microsoft.com/office/drawing/2014/main" id="{C866EF26-56A5-C04D-A901-A2A94C468F26}"/>
              </a:ext>
            </a:extLst>
          </p:cNvPr>
          <p:cNvGrpSpPr/>
          <p:nvPr/>
        </p:nvGrpSpPr>
        <p:grpSpPr>
          <a:xfrm>
            <a:off x="10168476" y="2550735"/>
            <a:ext cx="338415" cy="254400"/>
            <a:chOff x="-1176915" y="3508496"/>
            <a:chExt cx="338415" cy="254400"/>
          </a:xfrm>
        </p:grpSpPr>
        <p:sp>
          <p:nvSpPr>
            <p:cNvPr id="719" name="Oval 718">
              <a:extLst>
                <a:ext uri="{FF2B5EF4-FFF2-40B4-BE49-F238E27FC236}">
                  <a16:creationId xmlns:a16="http://schemas.microsoft.com/office/drawing/2014/main" id="{B5F84300-C429-3047-B1CD-ED9C52C20068}"/>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720" name="TextBox 719">
              <a:extLst>
                <a:ext uri="{FF2B5EF4-FFF2-40B4-BE49-F238E27FC236}">
                  <a16:creationId xmlns:a16="http://schemas.microsoft.com/office/drawing/2014/main" id="{01691060-5A47-2C49-898E-91ABD543D372}"/>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F6</a:t>
              </a:r>
            </a:p>
          </p:txBody>
        </p:sp>
      </p:grpSp>
      <p:grpSp>
        <p:nvGrpSpPr>
          <p:cNvPr id="721" name="Group 720">
            <a:extLst>
              <a:ext uri="{FF2B5EF4-FFF2-40B4-BE49-F238E27FC236}">
                <a16:creationId xmlns:a16="http://schemas.microsoft.com/office/drawing/2014/main" id="{E37C1B8F-F036-DF4E-A7A3-3E27926D20CC}"/>
              </a:ext>
            </a:extLst>
          </p:cNvPr>
          <p:cNvGrpSpPr/>
          <p:nvPr/>
        </p:nvGrpSpPr>
        <p:grpSpPr>
          <a:xfrm>
            <a:off x="9323764" y="3060093"/>
            <a:ext cx="338415" cy="254400"/>
            <a:chOff x="-1176915" y="3508496"/>
            <a:chExt cx="338415" cy="254400"/>
          </a:xfrm>
        </p:grpSpPr>
        <p:sp>
          <p:nvSpPr>
            <p:cNvPr id="722" name="Oval 721">
              <a:extLst>
                <a:ext uri="{FF2B5EF4-FFF2-40B4-BE49-F238E27FC236}">
                  <a16:creationId xmlns:a16="http://schemas.microsoft.com/office/drawing/2014/main" id="{C16CBC7D-6529-7948-9848-F11F33060C83}"/>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723" name="TextBox 722">
              <a:extLst>
                <a:ext uri="{FF2B5EF4-FFF2-40B4-BE49-F238E27FC236}">
                  <a16:creationId xmlns:a16="http://schemas.microsoft.com/office/drawing/2014/main" id="{09E163AC-36A1-2244-8E44-FBF172827CF8}"/>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F4</a:t>
              </a:r>
            </a:p>
          </p:txBody>
        </p:sp>
      </p:grpSp>
      <p:grpSp>
        <p:nvGrpSpPr>
          <p:cNvPr id="724" name="Group 723">
            <a:extLst>
              <a:ext uri="{FF2B5EF4-FFF2-40B4-BE49-F238E27FC236}">
                <a16:creationId xmlns:a16="http://schemas.microsoft.com/office/drawing/2014/main" id="{697B0DF3-FF06-5349-B421-BC560001898E}"/>
              </a:ext>
            </a:extLst>
          </p:cNvPr>
          <p:cNvGrpSpPr/>
          <p:nvPr/>
        </p:nvGrpSpPr>
        <p:grpSpPr>
          <a:xfrm>
            <a:off x="8704495" y="3571538"/>
            <a:ext cx="338415" cy="254400"/>
            <a:chOff x="-1176915" y="3508496"/>
            <a:chExt cx="338415" cy="254400"/>
          </a:xfrm>
        </p:grpSpPr>
        <p:sp>
          <p:nvSpPr>
            <p:cNvPr id="725" name="Oval 724">
              <a:extLst>
                <a:ext uri="{FF2B5EF4-FFF2-40B4-BE49-F238E27FC236}">
                  <a16:creationId xmlns:a16="http://schemas.microsoft.com/office/drawing/2014/main" id="{18F6BA52-5533-5341-98AB-462BC293D37D}"/>
                </a:ext>
              </a:extLst>
            </p:cNvPr>
            <p:cNvSpPr/>
            <p:nvPr/>
          </p:nvSpPr>
          <p:spPr>
            <a:xfrm>
              <a:off x="-1133852" y="3508496"/>
              <a:ext cx="254400" cy="254400"/>
            </a:xfrm>
            <a:prstGeom prst="ellipse">
              <a:avLst/>
            </a:prstGeom>
            <a:solidFill>
              <a:srgbClr val="FF0000"/>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726" name="TextBox 725">
              <a:extLst>
                <a:ext uri="{FF2B5EF4-FFF2-40B4-BE49-F238E27FC236}">
                  <a16:creationId xmlns:a16="http://schemas.microsoft.com/office/drawing/2014/main" id="{12EE498C-1AE0-D242-A7A2-A5872E4EBF94}"/>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F3</a:t>
              </a:r>
            </a:p>
          </p:txBody>
        </p:sp>
      </p:grpSp>
      <p:grpSp>
        <p:nvGrpSpPr>
          <p:cNvPr id="727" name="Group 726">
            <a:extLst>
              <a:ext uri="{FF2B5EF4-FFF2-40B4-BE49-F238E27FC236}">
                <a16:creationId xmlns:a16="http://schemas.microsoft.com/office/drawing/2014/main" id="{D7C6F8BF-711E-2949-9B9C-94411280A2E2}"/>
              </a:ext>
            </a:extLst>
          </p:cNvPr>
          <p:cNvGrpSpPr/>
          <p:nvPr/>
        </p:nvGrpSpPr>
        <p:grpSpPr>
          <a:xfrm>
            <a:off x="6360573" y="5347207"/>
            <a:ext cx="338415" cy="254400"/>
            <a:chOff x="-1176915" y="3508496"/>
            <a:chExt cx="338415" cy="254400"/>
          </a:xfrm>
        </p:grpSpPr>
        <p:sp>
          <p:nvSpPr>
            <p:cNvPr id="728" name="Oval 727">
              <a:extLst>
                <a:ext uri="{FF2B5EF4-FFF2-40B4-BE49-F238E27FC236}">
                  <a16:creationId xmlns:a16="http://schemas.microsoft.com/office/drawing/2014/main" id="{2B062EB1-83C5-6249-ACBF-EAFA1E156952}"/>
                </a:ext>
              </a:extLst>
            </p:cNvPr>
            <p:cNvSpPr/>
            <p:nvPr/>
          </p:nvSpPr>
          <p:spPr>
            <a:xfrm>
              <a:off x="-1133852" y="3508496"/>
              <a:ext cx="254400" cy="254400"/>
            </a:xfrm>
            <a:prstGeom prst="ellipse">
              <a:avLst/>
            </a:prstGeom>
            <a:solidFill>
              <a:srgbClr val="00B050"/>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729" name="TextBox 728">
              <a:extLst>
                <a:ext uri="{FF2B5EF4-FFF2-40B4-BE49-F238E27FC236}">
                  <a16:creationId xmlns:a16="http://schemas.microsoft.com/office/drawing/2014/main" id="{24233269-07FC-564F-845B-69427B0DD9B6}"/>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F1</a:t>
              </a:r>
            </a:p>
          </p:txBody>
        </p:sp>
      </p:grpSp>
      <p:grpSp>
        <p:nvGrpSpPr>
          <p:cNvPr id="730" name="Group 729">
            <a:extLst>
              <a:ext uri="{FF2B5EF4-FFF2-40B4-BE49-F238E27FC236}">
                <a16:creationId xmlns:a16="http://schemas.microsoft.com/office/drawing/2014/main" id="{946F3465-7F3F-CD45-884C-6339D03176E4}"/>
              </a:ext>
            </a:extLst>
          </p:cNvPr>
          <p:cNvGrpSpPr/>
          <p:nvPr/>
        </p:nvGrpSpPr>
        <p:grpSpPr>
          <a:xfrm>
            <a:off x="9911443" y="3337944"/>
            <a:ext cx="338415" cy="254400"/>
            <a:chOff x="-1176915" y="3508496"/>
            <a:chExt cx="338415" cy="254400"/>
          </a:xfrm>
        </p:grpSpPr>
        <p:sp>
          <p:nvSpPr>
            <p:cNvPr id="731" name="Oval 730">
              <a:extLst>
                <a:ext uri="{FF2B5EF4-FFF2-40B4-BE49-F238E27FC236}">
                  <a16:creationId xmlns:a16="http://schemas.microsoft.com/office/drawing/2014/main" id="{8BB1F94F-9817-7A46-8D1D-B689F606CEE1}"/>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732" name="TextBox 731">
              <a:extLst>
                <a:ext uri="{FF2B5EF4-FFF2-40B4-BE49-F238E27FC236}">
                  <a16:creationId xmlns:a16="http://schemas.microsoft.com/office/drawing/2014/main" id="{11724C86-94D5-854D-9E5A-E937B349A854}"/>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G7</a:t>
              </a:r>
            </a:p>
          </p:txBody>
        </p:sp>
      </p:grpSp>
      <p:grpSp>
        <p:nvGrpSpPr>
          <p:cNvPr id="733" name="Group 732">
            <a:extLst>
              <a:ext uri="{FF2B5EF4-FFF2-40B4-BE49-F238E27FC236}">
                <a16:creationId xmlns:a16="http://schemas.microsoft.com/office/drawing/2014/main" id="{1DD03898-9674-7748-80DC-E87758C06CC6}"/>
              </a:ext>
            </a:extLst>
          </p:cNvPr>
          <p:cNvGrpSpPr/>
          <p:nvPr/>
        </p:nvGrpSpPr>
        <p:grpSpPr>
          <a:xfrm>
            <a:off x="10518998" y="2459572"/>
            <a:ext cx="338415" cy="254400"/>
            <a:chOff x="-1176915" y="3508496"/>
            <a:chExt cx="338415" cy="254400"/>
          </a:xfrm>
        </p:grpSpPr>
        <p:sp>
          <p:nvSpPr>
            <p:cNvPr id="734" name="Oval 733">
              <a:extLst>
                <a:ext uri="{FF2B5EF4-FFF2-40B4-BE49-F238E27FC236}">
                  <a16:creationId xmlns:a16="http://schemas.microsoft.com/office/drawing/2014/main" id="{15B7A68C-25C8-9E40-A3CC-E0AD8640C091}"/>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735" name="TextBox 734">
              <a:extLst>
                <a:ext uri="{FF2B5EF4-FFF2-40B4-BE49-F238E27FC236}">
                  <a16:creationId xmlns:a16="http://schemas.microsoft.com/office/drawing/2014/main" id="{5E960485-444D-684C-B335-96027C610818}"/>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G6</a:t>
              </a:r>
            </a:p>
          </p:txBody>
        </p:sp>
      </p:grpSp>
      <p:grpSp>
        <p:nvGrpSpPr>
          <p:cNvPr id="736" name="Group 735">
            <a:extLst>
              <a:ext uri="{FF2B5EF4-FFF2-40B4-BE49-F238E27FC236}">
                <a16:creationId xmlns:a16="http://schemas.microsoft.com/office/drawing/2014/main" id="{EC7247F1-972B-BB49-9328-549A8FB7FA23}"/>
              </a:ext>
            </a:extLst>
          </p:cNvPr>
          <p:cNvGrpSpPr/>
          <p:nvPr/>
        </p:nvGrpSpPr>
        <p:grpSpPr>
          <a:xfrm>
            <a:off x="9532088" y="3719015"/>
            <a:ext cx="338415" cy="254400"/>
            <a:chOff x="-1176915" y="3508496"/>
            <a:chExt cx="338415" cy="254400"/>
          </a:xfrm>
        </p:grpSpPr>
        <p:sp>
          <p:nvSpPr>
            <p:cNvPr id="737" name="Oval 736">
              <a:extLst>
                <a:ext uri="{FF2B5EF4-FFF2-40B4-BE49-F238E27FC236}">
                  <a16:creationId xmlns:a16="http://schemas.microsoft.com/office/drawing/2014/main" id="{23428374-EF2E-5A4E-9FFA-D688288E002F}"/>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738" name="TextBox 737">
              <a:extLst>
                <a:ext uri="{FF2B5EF4-FFF2-40B4-BE49-F238E27FC236}">
                  <a16:creationId xmlns:a16="http://schemas.microsoft.com/office/drawing/2014/main" id="{541C6FC2-FAE6-D645-80B1-A7D2F40C0E7D}"/>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G5</a:t>
              </a:r>
            </a:p>
          </p:txBody>
        </p:sp>
      </p:grpSp>
      <p:grpSp>
        <p:nvGrpSpPr>
          <p:cNvPr id="739" name="Group 738">
            <a:extLst>
              <a:ext uri="{FF2B5EF4-FFF2-40B4-BE49-F238E27FC236}">
                <a16:creationId xmlns:a16="http://schemas.microsoft.com/office/drawing/2014/main" id="{1C584286-98C8-C84A-87A6-8FD0E525E903}"/>
              </a:ext>
            </a:extLst>
          </p:cNvPr>
          <p:cNvGrpSpPr/>
          <p:nvPr/>
        </p:nvGrpSpPr>
        <p:grpSpPr>
          <a:xfrm>
            <a:off x="9194671" y="4272050"/>
            <a:ext cx="338415" cy="254400"/>
            <a:chOff x="-1176915" y="3508496"/>
            <a:chExt cx="338415" cy="254400"/>
          </a:xfrm>
        </p:grpSpPr>
        <p:sp>
          <p:nvSpPr>
            <p:cNvPr id="740" name="Oval 739">
              <a:extLst>
                <a:ext uri="{FF2B5EF4-FFF2-40B4-BE49-F238E27FC236}">
                  <a16:creationId xmlns:a16="http://schemas.microsoft.com/office/drawing/2014/main" id="{28F660E0-4EAF-0B48-B442-216C895ED95D}"/>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741" name="TextBox 740">
              <a:extLst>
                <a:ext uri="{FF2B5EF4-FFF2-40B4-BE49-F238E27FC236}">
                  <a16:creationId xmlns:a16="http://schemas.microsoft.com/office/drawing/2014/main" id="{D6D74961-55D9-2E4F-B413-F2E084AEE7E2}"/>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G4</a:t>
              </a:r>
            </a:p>
          </p:txBody>
        </p:sp>
      </p:grpSp>
      <p:grpSp>
        <p:nvGrpSpPr>
          <p:cNvPr id="742" name="Group 741">
            <a:extLst>
              <a:ext uri="{FF2B5EF4-FFF2-40B4-BE49-F238E27FC236}">
                <a16:creationId xmlns:a16="http://schemas.microsoft.com/office/drawing/2014/main" id="{C5E421CA-3CC2-D44A-8257-D49F86DF2B5D}"/>
              </a:ext>
            </a:extLst>
          </p:cNvPr>
          <p:cNvGrpSpPr/>
          <p:nvPr/>
        </p:nvGrpSpPr>
        <p:grpSpPr>
          <a:xfrm>
            <a:off x="8985349" y="4555645"/>
            <a:ext cx="338415" cy="254400"/>
            <a:chOff x="-1176915" y="3508496"/>
            <a:chExt cx="338415" cy="254400"/>
          </a:xfrm>
        </p:grpSpPr>
        <p:sp>
          <p:nvSpPr>
            <p:cNvPr id="743" name="Oval 742">
              <a:extLst>
                <a:ext uri="{FF2B5EF4-FFF2-40B4-BE49-F238E27FC236}">
                  <a16:creationId xmlns:a16="http://schemas.microsoft.com/office/drawing/2014/main" id="{622886B6-C0FB-0844-B940-DBF2D8CB34E1}"/>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756" name="TextBox 755">
              <a:extLst>
                <a:ext uri="{FF2B5EF4-FFF2-40B4-BE49-F238E27FC236}">
                  <a16:creationId xmlns:a16="http://schemas.microsoft.com/office/drawing/2014/main" id="{EEC7765B-F812-C64D-9A3D-E50D8F3E8E4F}"/>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G3</a:t>
              </a:r>
            </a:p>
          </p:txBody>
        </p:sp>
      </p:grpSp>
      <p:grpSp>
        <p:nvGrpSpPr>
          <p:cNvPr id="757" name="Group 756">
            <a:extLst>
              <a:ext uri="{FF2B5EF4-FFF2-40B4-BE49-F238E27FC236}">
                <a16:creationId xmlns:a16="http://schemas.microsoft.com/office/drawing/2014/main" id="{FB983456-4462-994F-B90A-C823F7EC8E29}"/>
              </a:ext>
            </a:extLst>
          </p:cNvPr>
          <p:cNvGrpSpPr/>
          <p:nvPr/>
        </p:nvGrpSpPr>
        <p:grpSpPr>
          <a:xfrm>
            <a:off x="8550389" y="5070650"/>
            <a:ext cx="338415" cy="254400"/>
            <a:chOff x="-1176915" y="3508496"/>
            <a:chExt cx="338415" cy="254400"/>
          </a:xfrm>
        </p:grpSpPr>
        <p:sp>
          <p:nvSpPr>
            <p:cNvPr id="758" name="Oval 757">
              <a:extLst>
                <a:ext uri="{FF2B5EF4-FFF2-40B4-BE49-F238E27FC236}">
                  <a16:creationId xmlns:a16="http://schemas.microsoft.com/office/drawing/2014/main" id="{7651688E-8169-694F-A849-B4638F9CEEDA}"/>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762" name="TextBox 761">
              <a:extLst>
                <a:ext uri="{FF2B5EF4-FFF2-40B4-BE49-F238E27FC236}">
                  <a16:creationId xmlns:a16="http://schemas.microsoft.com/office/drawing/2014/main" id="{62D27B21-08FA-1B4E-BD08-5998B2466D41}"/>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G2</a:t>
              </a:r>
            </a:p>
          </p:txBody>
        </p:sp>
      </p:grpSp>
      <p:grpSp>
        <p:nvGrpSpPr>
          <p:cNvPr id="763" name="Group 762">
            <a:extLst>
              <a:ext uri="{FF2B5EF4-FFF2-40B4-BE49-F238E27FC236}">
                <a16:creationId xmlns:a16="http://schemas.microsoft.com/office/drawing/2014/main" id="{A063507C-A567-D54C-A63A-A9DFDF87A1BC}"/>
              </a:ext>
            </a:extLst>
          </p:cNvPr>
          <p:cNvGrpSpPr/>
          <p:nvPr/>
        </p:nvGrpSpPr>
        <p:grpSpPr>
          <a:xfrm>
            <a:off x="8351429" y="5339178"/>
            <a:ext cx="338415" cy="254400"/>
            <a:chOff x="-1176915" y="3508496"/>
            <a:chExt cx="338415" cy="254400"/>
          </a:xfrm>
        </p:grpSpPr>
        <p:sp>
          <p:nvSpPr>
            <p:cNvPr id="764" name="Oval 763">
              <a:extLst>
                <a:ext uri="{FF2B5EF4-FFF2-40B4-BE49-F238E27FC236}">
                  <a16:creationId xmlns:a16="http://schemas.microsoft.com/office/drawing/2014/main" id="{A83967B9-EAE8-DE43-8F88-1D529ADC0A0A}"/>
                </a:ext>
              </a:extLst>
            </p:cNvPr>
            <p:cNvSpPr/>
            <p:nvPr/>
          </p:nvSpPr>
          <p:spPr>
            <a:xfrm>
              <a:off x="-1133852" y="3508496"/>
              <a:ext cx="254400" cy="254400"/>
            </a:xfrm>
            <a:prstGeom prst="ellipse">
              <a:avLst/>
            </a:prstGeom>
            <a:solidFill>
              <a:srgbClr val="FF0000"/>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765" name="TextBox 764">
              <a:extLst>
                <a:ext uri="{FF2B5EF4-FFF2-40B4-BE49-F238E27FC236}">
                  <a16:creationId xmlns:a16="http://schemas.microsoft.com/office/drawing/2014/main" id="{A8BC9F2D-06EB-8C4B-B732-1F47F2D2A15A}"/>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G1</a:t>
              </a:r>
            </a:p>
          </p:txBody>
        </p:sp>
      </p:grpSp>
      <p:grpSp>
        <p:nvGrpSpPr>
          <p:cNvPr id="766" name="Group 765">
            <a:extLst>
              <a:ext uri="{FF2B5EF4-FFF2-40B4-BE49-F238E27FC236}">
                <a16:creationId xmlns:a16="http://schemas.microsoft.com/office/drawing/2014/main" id="{592362AA-2A01-8645-930E-3444E26BA43A}"/>
              </a:ext>
            </a:extLst>
          </p:cNvPr>
          <p:cNvGrpSpPr/>
          <p:nvPr/>
        </p:nvGrpSpPr>
        <p:grpSpPr>
          <a:xfrm>
            <a:off x="10948311" y="2374751"/>
            <a:ext cx="338415" cy="254400"/>
            <a:chOff x="-1176915" y="3508496"/>
            <a:chExt cx="338415" cy="254400"/>
          </a:xfrm>
        </p:grpSpPr>
        <p:sp>
          <p:nvSpPr>
            <p:cNvPr id="767" name="Oval 766">
              <a:extLst>
                <a:ext uri="{FF2B5EF4-FFF2-40B4-BE49-F238E27FC236}">
                  <a16:creationId xmlns:a16="http://schemas.microsoft.com/office/drawing/2014/main" id="{D88C59B9-0C75-C74D-8F29-65585717037D}"/>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783" name="TextBox 782">
              <a:extLst>
                <a:ext uri="{FF2B5EF4-FFF2-40B4-BE49-F238E27FC236}">
                  <a16:creationId xmlns:a16="http://schemas.microsoft.com/office/drawing/2014/main" id="{80EE39C3-0FEA-CE40-9776-A73431171066}"/>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H5</a:t>
              </a:r>
            </a:p>
          </p:txBody>
        </p:sp>
      </p:grpSp>
      <p:grpSp>
        <p:nvGrpSpPr>
          <p:cNvPr id="784" name="Group 783">
            <a:extLst>
              <a:ext uri="{FF2B5EF4-FFF2-40B4-BE49-F238E27FC236}">
                <a16:creationId xmlns:a16="http://schemas.microsoft.com/office/drawing/2014/main" id="{1CB40C26-90C3-9045-9169-8AB22B6FEA45}"/>
              </a:ext>
            </a:extLst>
          </p:cNvPr>
          <p:cNvGrpSpPr/>
          <p:nvPr/>
        </p:nvGrpSpPr>
        <p:grpSpPr>
          <a:xfrm>
            <a:off x="10813126" y="2817120"/>
            <a:ext cx="338415" cy="254400"/>
            <a:chOff x="-1176915" y="3508496"/>
            <a:chExt cx="338415" cy="254400"/>
          </a:xfrm>
        </p:grpSpPr>
        <p:sp>
          <p:nvSpPr>
            <p:cNvPr id="785" name="Oval 784">
              <a:extLst>
                <a:ext uri="{FF2B5EF4-FFF2-40B4-BE49-F238E27FC236}">
                  <a16:creationId xmlns:a16="http://schemas.microsoft.com/office/drawing/2014/main" id="{505613C0-6186-384F-BF33-CC85B6021BAD}"/>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798" name="TextBox 797">
              <a:extLst>
                <a:ext uri="{FF2B5EF4-FFF2-40B4-BE49-F238E27FC236}">
                  <a16:creationId xmlns:a16="http://schemas.microsoft.com/office/drawing/2014/main" id="{3CE32779-D904-1B43-B917-AD11AE76154F}"/>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H4</a:t>
              </a:r>
            </a:p>
          </p:txBody>
        </p:sp>
      </p:grpSp>
      <p:grpSp>
        <p:nvGrpSpPr>
          <p:cNvPr id="799" name="Group 798">
            <a:extLst>
              <a:ext uri="{FF2B5EF4-FFF2-40B4-BE49-F238E27FC236}">
                <a16:creationId xmlns:a16="http://schemas.microsoft.com/office/drawing/2014/main" id="{4B58906A-6379-1545-81C5-F4E9F86378DE}"/>
              </a:ext>
            </a:extLst>
          </p:cNvPr>
          <p:cNvGrpSpPr/>
          <p:nvPr/>
        </p:nvGrpSpPr>
        <p:grpSpPr>
          <a:xfrm>
            <a:off x="10615441" y="3872621"/>
            <a:ext cx="338415" cy="254400"/>
            <a:chOff x="-1176915" y="3508496"/>
            <a:chExt cx="338415" cy="254400"/>
          </a:xfrm>
        </p:grpSpPr>
        <p:sp>
          <p:nvSpPr>
            <p:cNvPr id="800" name="Oval 799">
              <a:extLst>
                <a:ext uri="{FF2B5EF4-FFF2-40B4-BE49-F238E27FC236}">
                  <a16:creationId xmlns:a16="http://schemas.microsoft.com/office/drawing/2014/main" id="{54862828-FA49-EB41-A5F8-859012E66989}"/>
                </a:ext>
              </a:extLst>
            </p:cNvPr>
            <p:cNvSpPr/>
            <p:nvPr/>
          </p:nvSpPr>
          <p:spPr>
            <a:xfrm>
              <a:off x="-1133852" y="3508496"/>
              <a:ext cx="254400" cy="254400"/>
            </a:xfrm>
            <a:prstGeom prst="ellipse">
              <a:avLst/>
            </a:prstGeom>
            <a:solidFill>
              <a:srgbClr val="50235A"/>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801" name="TextBox 800">
              <a:extLst>
                <a:ext uri="{FF2B5EF4-FFF2-40B4-BE49-F238E27FC236}">
                  <a16:creationId xmlns:a16="http://schemas.microsoft.com/office/drawing/2014/main" id="{D77D7A82-A246-7D4E-9172-272565AFD3D0}"/>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H3</a:t>
              </a:r>
            </a:p>
          </p:txBody>
        </p:sp>
      </p:grpSp>
      <p:grpSp>
        <p:nvGrpSpPr>
          <p:cNvPr id="802" name="Group 801">
            <a:extLst>
              <a:ext uri="{FF2B5EF4-FFF2-40B4-BE49-F238E27FC236}">
                <a16:creationId xmlns:a16="http://schemas.microsoft.com/office/drawing/2014/main" id="{17A7CE8C-D3B5-D840-8CBE-5E1C2D72CF62}"/>
              </a:ext>
            </a:extLst>
          </p:cNvPr>
          <p:cNvGrpSpPr/>
          <p:nvPr/>
        </p:nvGrpSpPr>
        <p:grpSpPr>
          <a:xfrm>
            <a:off x="10330476" y="5862627"/>
            <a:ext cx="338415" cy="254400"/>
            <a:chOff x="-1176915" y="3508496"/>
            <a:chExt cx="338415" cy="254400"/>
          </a:xfrm>
        </p:grpSpPr>
        <p:sp>
          <p:nvSpPr>
            <p:cNvPr id="803" name="Oval 802">
              <a:extLst>
                <a:ext uri="{FF2B5EF4-FFF2-40B4-BE49-F238E27FC236}">
                  <a16:creationId xmlns:a16="http://schemas.microsoft.com/office/drawing/2014/main" id="{05332920-B554-0F4F-9F8A-06228F908F7A}"/>
                </a:ext>
              </a:extLst>
            </p:cNvPr>
            <p:cNvSpPr/>
            <p:nvPr/>
          </p:nvSpPr>
          <p:spPr>
            <a:xfrm>
              <a:off x="-1133852" y="3508496"/>
              <a:ext cx="254400" cy="254400"/>
            </a:xfrm>
            <a:prstGeom prst="ellipse">
              <a:avLst/>
            </a:prstGeom>
            <a:solidFill>
              <a:srgbClr val="00B050"/>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804" name="TextBox 803">
              <a:extLst>
                <a:ext uri="{FF2B5EF4-FFF2-40B4-BE49-F238E27FC236}">
                  <a16:creationId xmlns:a16="http://schemas.microsoft.com/office/drawing/2014/main" id="{7D8C39D9-4DC2-0648-9D25-A5F2495942ED}"/>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H1</a:t>
              </a:r>
            </a:p>
          </p:txBody>
        </p:sp>
      </p:grpSp>
      <p:grpSp>
        <p:nvGrpSpPr>
          <p:cNvPr id="805" name="Group 804">
            <a:extLst>
              <a:ext uri="{FF2B5EF4-FFF2-40B4-BE49-F238E27FC236}">
                <a16:creationId xmlns:a16="http://schemas.microsoft.com/office/drawing/2014/main" id="{E5D4B8A7-360E-1349-9886-0A23E8B2F780}"/>
              </a:ext>
            </a:extLst>
          </p:cNvPr>
          <p:cNvGrpSpPr/>
          <p:nvPr/>
        </p:nvGrpSpPr>
        <p:grpSpPr>
          <a:xfrm>
            <a:off x="9911443" y="3719015"/>
            <a:ext cx="338415" cy="254400"/>
            <a:chOff x="-1176915" y="3508496"/>
            <a:chExt cx="338415" cy="254400"/>
          </a:xfrm>
        </p:grpSpPr>
        <p:sp>
          <p:nvSpPr>
            <p:cNvPr id="806" name="Oval 805">
              <a:extLst>
                <a:ext uri="{FF2B5EF4-FFF2-40B4-BE49-F238E27FC236}">
                  <a16:creationId xmlns:a16="http://schemas.microsoft.com/office/drawing/2014/main" id="{83A14326-2BA2-CF49-AF3B-1400EAC0E694}"/>
                </a:ext>
              </a:extLst>
            </p:cNvPr>
            <p:cNvSpPr/>
            <p:nvPr/>
          </p:nvSpPr>
          <p:spPr>
            <a:xfrm>
              <a:off x="-1133852" y="3508496"/>
              <a:ext cx="254400" cy="254400"/>
            </a:xfrm>
            <a:prstGeom prst="ellipse">
              <a:avLst/>
            </a:prstGeom>
            <a:solidFill>
              <a:srgbClr val="AC9AB1"/>
            </a:solidFill>
            <a:ln>
              <a:solidFill>
                <a:srgbClr val="5023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807" name="TextBox 806">
              <a:extLst>
                <a:ext uri="{FF2B5EF4-FFF2-40B4-BE49-F238E27FC236}">
                  <a16:creationId xmlns:a16="http://schemas.microsoft.com/office/drawing/2014/main" id="{771D9363-275A-884C-B90C-9F94514FFD7B}"/>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E7</a:t>
              </a:r>
            </a:p>
          </p:txBody>
        </p:sp>
      </p:grpSp>
      <p:grpSp>
        <p:nvGrpSpPr>
          <p:cNvPr id="808" name="Group 807">
            <a:extLst>
              <a:ext uri="{FF2B5EF4-FFF2-40B4-BE49-F238E27FC236}">
                <a16:creationId xmlns:a16="http://schemas.microsoft.com/office/drawing/2014/main" id="{6C6CE17F-E2C7-984A-9B3C-6FBE6B6E6BD7}"/>
              </a:ext>
            </a:extLst>
          </p:cNvPr>
          <p:cNvGrpSpPr/>
          <p:nvPr/>
        </p:nvGrpSpPr>
        <p:grpSpPr>
          <a:xfrm>
            <a:off x="8169723" y="3167635"/>
            <a:ext cx="338415" cy="254400"/>
            <a:chOff x="-1176915" y="3508496"/>
            <a:chExt cx="338415" cy="254400"/>
          </a:xfrm>
        </p:grpSpPr>
        <p:sp>
          <p:nvSpPr>
            <p:cNvPr id="809" name="Oval 808">
              <a:extLst>
                <a:ext uri="{FF2B5EF4-FFF2-40B4-BE49-F238E27FC236}">
                  <a16:creationId xmlns:a16="http://schemas.microsoft.com/office/drawing/2014/main" id="{0AC62C45-ECF0-4D46-83E1-CACFBCF21849}"/>
                </a:ext>
              </a:extLst>
            </p:cNvPr>
            <p:cNvSpPr/>
            <p:nvPr/>
          </p:nvSpPr>
          <p:spPr>
            <a:xfrm>
              <a:off x="-1133852" y="3508496"/>
              <a:ext cx="254400" cy="254400"/>
            </a:xfrm>
            <a:prstGeom prst="ellipse">
              <a:avLst/>
            </a:prstGeom>
            <a:solidFill>
              <a:srgbClr val="AC9AB1"/>
            </a:solidFill>
            <a:ln>
              <a:solidFill>
                <a:srgbClr val="5023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810" name="TextBox 809">
              <a:extLst>
                <a:ext uri="{FF2B5EF4-FFF2-40B4-BE49-F238E27FC236}">
                  <a16:creationId xmlns:a16="http://schemas.microsoft.com/office/drawing/2014/main" id="{2AF935D0-F067-7642-865D-488692F75C1A}"/>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E6</a:t>
              </a:r>
            </a:p>
          </p:txBody>
        </p:sp>
      </p:grpSp>
      <p:grpSp>
        <p:nvGrpSpPr>
          <p:cNvPr id="811" name="Group 810">
            <a:extLst>
              <a:ext uri="{FF2B5EF4-FFF2-40B4-BE49-F238E27FC236}">
                <a16:creationId xmlns:a16="http://schemas.microsoft.com/office/drawing/2014/main" id="{8F260080-C318-DC4A-821B-A775B94577CD}"/>
              </a:ext>
            </a:extLst>
          </p:cNvPr>
          <p:cNvGrpSpPr/>
          <p:nvPr/>
        </p:nvGrpSpPr>
        <p:grpSpPr>
          <a:xfrm>
            <a:off x="4121370" y="2988800"/>
            <a:ext cx="338415" cy="254400"/>
            <a:chOff x="-1176915" y="3508496"/>
            <a:chExt cx="338415" cy="254400"/>
          </a:xfrm>
        </p:grpSpPr>
        <p:sp>
          <p:nvSpPr>
            <p:cNvPr id="812" name="Oval 811">
              <a:extLst>
                <a:ext uri="{FF2B5EF4-FFF2-40B4-BE49-F238E27FC236}">
                  <a16:creationId xmlns:a16="http://schemas.microsoft.com/office/drawing/2014/main" id="{85D2A75D-DD03-5C4C-B2A7-615FF69D2C33}"/>
                </a:ext>
              </a:extLst>
            </p:cNvPr>
            <p:cNvSpPr/>
            <p:nvPr/>
          </p:nvSpPr>
          <p:spPr>
            <a:xfrm>
              <a:off x="-1133852" y="3508496"/>
              <a:ext cx="254400" cy="254400"/>
            </a:xfrm>
            <a:prstGeom prst="ellipse">
              <a:avLst/>
            </a:prstGeom>
            <a:solidFill>
              <a:srgbClr val="FF0000"/>
            </a:solidFill>
            <a:ln>
              <a:solidFill>
                <a:srgbClr val="5023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813" name="TextBox 812">
              <a:extLst>
                <a:ext uri="{FF2B5EF4-FFF2-40B4-BE49-F238E27FC236}">
                  <a16:creationId xmlns:a16="http://schemas.microsoft.com/office/drawing/2014/main" id="{2C7DD79F-50B3-4A48-B45A-57E6C44B022C}"/>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E4</a:t>
              </a:r>
            </a:p>
          </p:txBody>
        </p:sp>
      </p:grpSp>
      <p:grpSp>
        <p:nvGrpSpPr>
          <p:cNvPr id="814" name="Group 813">
            <a:extLst>
              <a:ext uri="{FF2B5EF4-FFF2-40B4-BE49-F238E27FC236}">
                <a16:creationId xmlns:a16="http://schemas.microsoft.com/office/drawing/2014/main" id="{4F54EFB0-9FA8-054D-A82A-58C4F91C30F1}"/>
              </a:ext>
            </a:extLst>
          </p:cNvPr>
          <p:cNvGrpSpPr/>
          <p:nvPr/>
        </p:nvGrpSpPr>
        <p:grpSpPr>
          <a:xfrm>
            <a:off x="3361640" y="3140944"/>
            <a:ext cx="338415" cy="254400"/>
            <a:chOff x="-1176915" y="3508496"/>
            <a:chExt cx="338415" cy="254400"/>
          </a:xfrm>
        </p:grpSpPr>
        <p:sp>
          <p:nvSpPr>
            <p:cNvPr id="815" name="Oval 814">
              <a:extLst>
                <a:ext uri="{FF2B5EF4-FFF2-40B4-BE49-F238E27FC236}">
                  <a16:creationId xmlns:a16="http://schemas.microsoft.com/office/drawing/2014/main" id="{265C9B42-898B-824B-AB25-94D96DA0B3D8}"/>
                </a:ext>
              </a:extLst>
            </p:cNvPr>
            <p:cNvSpPr/>
            <p:nvPr/>
          </p:nvSpPr>
          <p:spPr>
            <a:xfrm>
              <a:off x="-1133852" y="3508496"/>
              <a:ext cx="254400" cy="254400"/>
            </a:xfrm>
            <a:prstGeom prst="ellipse">
              <a:avLst/>
            </a:prstGeom>
            <a:solidFill>
              <a:srgbClr val="FF0000"/>
            </a:solidFill>
            <a:ln>
              <a:solidFill>
                <a:srgbClr val="5023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816" name="TextBox 815">
              <a:extLst>
                <a:ext uri="{FF2B5EF4-FFF2-40B4-BE49-F238E27FC236}">
                  <a16:creationId xmlns:a16="http://schemas.microsoft.com/office/drawing/2014/main" id="{00DC0290-2D28-7849-8EF4-0AF195F3E58E}"/>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E3</a:t>
              </a:r>
            </a:p>
          </p:txBody>
        </p:sp>
      </p:grpSp>
      <p:grpSp>
        <p:nvGrpSpPr>
          <p:cNvPr id="817" name="Group 816">
            <a:extLst>
              <a:ext uri="{FF2B5EF4-FFF2-40B4-BE49-F238E27FC236}">
                <a16:creationId xmlns:a16="http://schemas.microsoft.com/office/drawing/2014/main" id="{9F6923FC-E808-114C-92F9-EA3BBDD1DB39}"/>
              </a:ext>
            </a:extLst>
          </p:cNvPr>
          <p:cNvGrpSpPr/>
          <p:nvPr/>
        </p:nvGrpSpPr>
        <p:grpSpPr>
          <a:xfrm>
            <a:off x="6915949" y="2842749"/>
            <a:ext cx="338415" cy="254400"/>
            <a:chOff x="-1176915" y="3508496"/>
            <a:chExt cx="338415" cy="254400"/>
          </a:xfrm>
        </p:grpSpPr>
        <p:sp>
          <p:nvSpPr>
            <p:cNvPr id="818" name="Oval 817">
              <a:extLst>
                <a:ext uri="{FF2B5EF4-FFF2-40B4-BE49-F238E27FC236}">
                  <a16:creationId xmlns:a16="http://schemas.microsoft.com/office/drawing/2014/main" id="{124D85C9-A995-DA42-9FA8-E4CA0443A704}"/>
                </a:ext>
              </a:extLst>
            </p:cNvPr>
            <p:cNvSpPr/>
            <p:nvPr/>
          </p:nvSpPr>
          <p:spPr>
            <a:xfrm>
              <a:off x="-1133852" y="3508496"/>
              <a:ext cx="254400" cy="254400"/>
            </a:xfrm>
            <a:prstGeom prst="ellipse">
              <a:avLst/>
            </a:prstGeom>
            <a:solidFill>
              <a:srgbClr val="AC9AB1"/>
            </a:solidFill>
            <a:ln>
              <a:solidFill>
                <a:srgbClr val="5023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819" name="TextBox 818">
              <a:extLst>
                <a:ext uri="{FF2B5EF4-FFF2-40B4-BE49-F238E27FC236}">
                  <a16:creationId xmlns:a16="http://schemas.microsoft.com/office/drawing/2014/main" id="{CD6CEB44-6094-6044-B48E-9CA6C036FC00}"/>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E1</a:t>
              </a:r>
            </a:p>
          </p:txBody>
        </p:sp>
      </p:grpSp>
      <p:grpSp>
        <p:nvGrpSpPr>
          <p:cNvPr id="820" name="Group 819">
            <a:extLst>
              <a:ext uri="{FF2B5EF4-FFF2-40B4-BE49-F238E27FC236}">
                <a16:creationId xmlns:a16="http://schemas.microsoft.com/office/drawing/2014/main" id="{FE4C0525-CF0C-BA4B-87E1-0E10C4435800}"/>
              </a:ext>
            </a:extLst>
          </p:cNvPr>
          <p:cNvGrpSpPr/>
          <p:nvPr/>
        </p:nvGrpSpPr>
        <p:grpSpPr>
          <a:xfrm>
            <a:off x="6928338" y="3600521"/>
            <a:ext cx="467352" cy="254400"/>
            <a:chOff x="-1243175" y="3508496"/>
            <a:chExt cx="467352" cy="254400"/>
          </a:xfrm>
        </p:grpSpPr>
        <p:sp>
          <p:nvSpPr>
            <p:cNvPr id="821" name="Oval 820">
              <a:extLst>
                <a:ext uri="{FF2B5EF4-FFF2-40B4-BE49-F238E27FC236}">
                  <a16:creationId xmlns:a16="http://schemas.microsoft.com/office/drawing/2014/main" id="{816B41D5-8623-614A-BFF2-6FCBFAC96088}"/>
                </a:ext>
              </a:extLst>
            </p:cNvPr>
            <p:cNvSpPr/>
            <p:nvPr/>
          </p:nvSpPr>
          <p:spPr>
            <a:xfrm>
              <a:off x="-1133852" y="3508496"/>
              <a:ext cx="254400" cy="254400"/>
            </a:xfrm>
            <a:prstGeom prst="ellipse">
              <a:avLst/>
            </a:prstGeom>
            <a:solidFill>
              <a:srgbClr val="AC9AB1"/>
            </a:solidFill>
            <a:ln>
              <a:solidFill>
                <a:srgbClr val="5023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822" name="TextBox 821">
              <a:extLst>
                <a:ext uri="{FF2B5EF4-FFF2-40B4-BE49-F238E27FC236}">
                  <a16:creationId xmlns:a16="http://schemas.microsoft.com/office/drawing/2014/main" id="{495093EF-1C63-5A42-82E1-9D88DE671E52}"/>
                </a:ext>
              </a:extLst>
            </p:cNvPr>
            <p:cNvSpPr txBox="1"/>
            <p:nvPr/>
          </p:nvSpPr>
          <p:spPr>
            <a:xfrm>
              <a:off x="-1243175" y="3520280"/>
              <a:ext cx="467352" cy="230832"/>
            </a:xfrm>
            <a:prstGeom prst="rect">
              <a:avLst/>
            </a:prstGeom>
            <a:noFill/>
          </p:spPr>
          <p:txBody>
            <a:bodyPr wrap="square" rtlCol="0">
              <a:spAutoFit/>
            </a:bodyPr>
            <a:lstStyle/>
            <a:p>
              <a:pPr algn="ctr"/>
              <a:r>
                <a:rPr lang="en-GB" sz="900" b="1">
                  <a:solidFill>
                    <a:schemeClr val="bg1"/>
                  </a:solidFill>
                </a:rPr>
                <a:t>E11</a:t>
              </a:r>
            </a:p>
          </p:txBody>
        </p:sp>
      </p:grpSp>
      <p:grpSp>
        <p:nvGrpSpPr>
          <p:cNvPr id="823" name="Group 822">
            <a:extLst>
              <a:ext uri="{FF2B5EF4-FFF2-40B4-BE49-F238E27FC236}">
                <a16:creationId xmlns:a16="http://schemas.microsoft.com/office/drawing/2014/main" id="{2FD60A56-4097-3242-8AAF-0988A5075876}"/>
              </a:ext>
            </a:extLst>
          </p:cNvPr>
          <p:cNvGrpSpPr/>
          <p:nvPr/>
        </p:nvGrpSpPr>
        <p:grpSpPr>
          <a:xfrm>
            <a:off x="6577534" y="2530921"/>
            <a:ext cx="338415" cy="254400"/>
            <a:chOff x="-1176915" y="3508496"/>
            <a:chExt cx="338415" cy="254400"/>
          </a:xfrm>
        </p:grpSpPr>
        <p:sp>
          <p:nvSpPr>
            <p:cNvPr id="824" name="Oval 823">
              <a:extLst>
                <a:ext uri="{FF2B5EF4-FFF2-40B4-BE49-F238E27FC236}">
                  <a16:creationId xmlns:a16="http://schemas.microsoft.com/office/drawing/2014/main" id="{43D18AD6-A14B-914B-AAA7-216508D26C1D}"/>
                </a:ext>
              </a:extLst>
            </p:cNvPr>
            <p:cNvSpPr/>
            <p:nvPr/>
          </p:nvSpPr>
          <p:spPr>
            <a:xfrm>
              <a:off x="-1133852" y="3508496"/>
              <a:ext cx="254400" cy="254400"/>
            </a:xfrm>
            <a:prstGeom prst="ellipse">
              <a:avLst/>
            </a:prstGeom>
            <a:solidFill>
              <a:srgbClr val="AC9AB1"/>
            </a:solidFill>
            <a:ln>
              <a:solidFill>
                <a:srgbClr val="5023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825" name="TextBox 824">
              <a:extLst>
                <a:ext uri="{FF2B5EF4-FFF2-40B4-BE49-F238E27FC236}">
                  <a16:creationId xmlns:a16="http://schemas.microsoft.com/office/drawing/2014/main" id="{DB48260C-5F4C-C341-BFD6-2786A0062871}"/>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E9</a:t>
              </a:r>
            </a:p>
          </p:txBody>
        </p:sp>
      </p:grpSp>
      <p:grpSp>
        <p:nvGrpSpPr>
          <p:cNvPr id="826" name="Group 825">
            <a:extLst>
              <a:ext uri="{FF2B5EF4-FFF2-40B4-BE49-F238E27FC236}">
                <a16:creationId xmlns:a16="http://schemas.microsoft.com/office/drawing/2014/main" id="{833C4523-A249-FF46-9AD0-794DD2EAAAC3}"/>
              </a:ext>
            </a:extLst>
          </p:cNvPr>
          <p:cNvGrpSpPr/>
          <p:nvPr/>
        </p:nvGrpSpPr>
        <p:grpSpPr>
          <a:xfrm>
            <a:off x="5350187" y="2805693"/>
            <a:ext cx="338415" cy="254400"/>
            <a:chOff x="-1176915" y="3508496"/>
            <a:chExt cx="338415" cy="254400"/>
          </a:xfrm>
        </p:grpSpPr>
        <p:sp>
          <p:nvSpPr>
            <p:cNvPr id="827" name="Oval 826">
              <a:extLst>
                <a:ext uri="{FF2B5EF4-FFF2-40B4-BE49-F238E27FC236}">
                  <a16:creationId xmlns:a16="http://schemas.microsoft.com/office/drawing/2014/main" id="{3022032D-6916-054E-8331-BDEBEB809E6F}"/>
                </a:ext>
              </a:extLst>
            </p:cNvPr>
            <p:cNvSpPr/>
            <p:nvPr/>
          </p:nvSpPr>
          <p:spPr>
            <a:xfrm>
              <a:off x="-1133852" y="3508496"/>
              <a:ext cx="254400" cy="254400"/>
            </a:xfrm>
            <a:prstGeom prst="ellipse">
              <a:avLst/>
            </a:prstGeom>
            <a:solidFill>
              <a:srgbClr val="AC9AB1"/>
            </a:solidFill>
            <a:ln>
              <a:solidFill>
                <a:srgbClr val="5023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828" name="TextBox 827">
              <a:extLst>
                <a:ext uri="{FF2B5EF4-FFF2-40B4-BE49-F238E27FC236}">
                  <a16:creationId xmlns:a16="http://schemas.microsoft.com/office/drawing/2014/main" id="{D1C21E7C-9F81-6446-9571-E1A7F0C80934}"/>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E8</a:t>
              </a:r>
            </a:p>
          </p:txBody>
        </p:sp>
      </p:grpSp>
      <p:grpSp>
        <p:nvGrpSpPr>
          <p:cNvPr id="829" name="Group 828">
            <a:extLst>
              <a:ext uri="{FF2B5EF4-FFF2-40B4-BE49-F238E27FC236}">
                <a16:creationId xmlns:a16="http://schemas.microsoft.com/office/drawing/2014/main" id="{DB9632E2-92E0-5B43-BC02-51075CE2C8A2}"/>
              </a:ext>
            </a:extLst>
          </p:cNvPr>
          <p:cNvGrpSpPr/>
          <p:nvPr/>
        </p:nvGrpSpPr>
        <p:grpSpPr>
          <a:xfrm>
            <a:off x="4414264" y="2257231"/>
            <a:ext cx="338415" cy="254400"/>
            <a:chOff x="-1176915" y="3508496"/>
            <a:chExt cx="338415" cy="254400"/>
          </a:xfrm>
        </p:grpSpPr>
        <p:sp>
          <p:nvSpPr>
            <p:cNvPr id="830" name="Oval 829">
              <a:extLst>
                <a:ext uri="{FF2B5EF4-FFF2-40B4-BE49-F238E27FC236}">
                  <a16:creationId xmlns:a16="http://schemas.microsoft.com/office/drawing/2014/main" id="{3987FF21-C239-B04B-A6E5-BD110218536F}"/>
                </a:ext>
              </a:extLst>
            </p:cNvPr>
            <p:cNvSpPr/>
            <p:nvPr/>
          </p:nvSpPr>
          <p:spPr>
            <a:xfrm>
              <a:off x="-1133852" y="3508496"/>
              <a:ext cx="254400" cy="254400"/>
            </a:xfrm>
            <a:prstGeom prst="ellipse">
              <a:avLst/>
            </a:prstGeom>
            <a:solidFill>
              <a:srgbClr val="AC9AB1"/>
            </a:solidFill>
            <a:ln>
              <a:solidFill>
                <a:srgbClr val="5023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831" name="TextBox 830">
              <a:extLst>
                <a:ext uri="{FF2B5EF4-FFF2-40B4-BE49-F238E27FC236}">
                  <a16:creationId xmlns:a16="http://schemas.microsoft.com/office/drawing/2014/main" id="{41E07F61-8254-F345-AF25-2ABC319BF7D1}"/>
                </a:ext>
              </a:extLst>
            </p:cNvPr>
            <p:cNvSpPr txBox="1"/>
            <p:nvPr/>
          </p:nvSpPr>
          <p:spPr>
            <a:xfrm>
              <a:off x="-1176915" y="3520280"/>
              <a:ext cx="338415" cy="230832"/>
            </a:xfrm>
            <a:prstGeom prst="rect">
              <a:avLst/>
            </a:prstGeom>
            <a:noFill/>
          </p:spPr>
          <p:txBody>
            <a:bodyPr wrap="square" rtlCol="0">
              <a:spAutoFit/>
            </a:bodyPr>
            <a:lstStyle/>
            <a:p>
              <a:pPr algn="ctr"/>
              <a:r>
                <a:rPr lang="en-GB" sz="900" b="1">
                  <a:solidFill>
                    <a:schemeClr val="bg1"/>
                  </a:solidFill>
                </a:rPr>
                <a:t>E5</a:t>
              </a:r>
            </a:p>
          </p:txBody>
        </p:sp>
      </p:grpSp>
      <p:grpSp>
        <p:nvGrpSpPr>
          <p:cNvPr id="832" name="Group 831">
            <a:extLst>
              <a:ext uri="{FF2B5EF4-FFF2-40B4-BE49-F238E27FC236}">
                <a16:creationId xmlns:a16="http://schemas.microsoft.com/office/drawing/2014/main" id="{3A1D0BC7-3FF3-214F-AD87-5CC949F0F28A}"/>
              </a:ext>
            </a:extLst>
          </p:cNvPr>
          <p:cNvGrpSpPr/>
          <p:nvPr/>
        </p:nvGrpSpPr>
        <p:grpSpPr>
          <a:xfrm>
            <a:off x="10249268" y="4689114"/>
            <a:ext cx="467352" cy="254400"/>
            <a:chOff x="-1243175" y="3508496"/>
            <a:chExt cx="467352" cy="254400"/>
          </a:xfrm>
        </p:grpSpPr>
        <p:sp>
          <p:nvSpPr>
            <p:cNvPr id="833" name="Oval 832">
              <a:extLst>
                <a:ext uri="{FF2B5EF4-FFF2-40B4-BE49-F238E27FC236}">
                  <a16:creationId xmlns:a16="http://schemas.microsoft.com/office/drawing/2014/main" id="{0F136DE3-4152-6E4E-8D2E-EA4C68272224}"/>
                </a:ext>
              </a:extLst>
            </p:cNvPr>
            <p:cNvSpPr/>
            <p:nvPr/>
          </p:nvSpPr>
          <p:spPr>
            <a:xfrm>
              <a:off x="-1133852" y="3508496"/>
              <a:ext cx="254400" cy="254400"/>
            </a:xfrm>
            <a:prstGeom prst="ellipse">
              <a:avLst/>
            </a:prstGeom>
            <a:solidFill>
              <a:srgbClr val="AC9AB1"/>
            </a:solidFill>
            <a:ln>
              <a:solidFill>
                <a:srgbClr val="5023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834" name="TextBox 833">
              <a:extLst>
                <a:ext uri="{FF2B5EF4-FFF2-40B4-BE49-F238E27FC236}">
                  <a16:creationId xmlns:a16="http://schemas.microsoft.com/office/drawing/2014/main" id="{2CDD1FB6-388B-EC40-9B80-A45782E586DB}"/>
                </a:ext>
              </a:extLst>
            </p:cNvPr>
            <p:cNvSpPr txBox="1"/>
            <p:nvPr/>
          </p:nvSpPr>
          <p:spPr>
            <a:xfrm>
              <a:off x="-1243175" y="3520280"/>
              <a:ext cx="467352" cy="230832"/>
            </a:xfrm>
            <a:prstGeom prst="rect">
              <a:avLst/>
            </a:prstGeom>
            <a:noFill/>
          </p:spPr>
          <p:txBody>
            <a:bodyPr wrap="square" rtlCol="0">
              <a:spAutoFit/>
            </a:bodyPr>
            <a:lstStyle/>
            <a:p>
              <a:pPr algn="ctr"/>
              <a:r>
                <a:rPr lang="en-GB" sz="900" b="1">
                  <a:solidFill>
                    <a:schemeClr val="bg1"/>
                  </a:solidFill>
                </a:rPr>
                <a:t>E10</a:t>
              </a:r>
            </a:p>
          </p:txBody>
        </p:sp>
      </p:grpSp>
      <p:grpSp>
        <p:nvGrpSpPr>
          <p:cNvPr id="835" name="Group 834">
            <a:extLst>
              <a:ext uri="{FF2B5EF4-FFF2-40B4-BE49-F238E27FC236}">
                <a16:creationId xmlns:a16="http://schemas.microsoft.com/office/drawing/2014/main" id="{7917DDE8-CFD6-C240-B234-A376EA27AAD2}"/>
              </a:ext>
            </a:extLst>
          </p:cNvPr>
          <p:cNvGrpSpPr/>
          <p:nvPr/>
        </p:nvGrpSpPr>
        <p:grpSpPr>
          <a:xfrm>
            <a:off x="5364180" y="4452607"/>
            <a:ext cx="341766" cy="288000"/>
            <a:chOff x="2969672" y="3089017"/>
            <a:chExt cx="341766" cy="288000"/>
          </a:xfrm>
        </p:grpSpPr>
        <p:sp>
          <p:nvSpPr>
            <p:cNvPr id="836" name="5-point Star 835">
              <a:extLst>
                <a:ext uri="{FF2B5EF4-FFF2-40B4-BE49-F238E27FC236}">
                  <a16:creationId xmlns:a16="http://schemas.microsoft.com/office/drawing/2014/main" id="{8BEA1850-F248-434F-B62B-4DE2FCFC97EA}"/>
                </a:ext>
              </a:extLst>
            </p:cNvPr>
            <p:cNvSpPr/>
            <p:nvPr/>
          </p:nvSpPr>
          <p:spPr>
            <a:xfrm>
              <a:off x="2973023" y="3089017"/>
              <a:ext cx="338415" cy="288000"/>
            </a:xfrm>
            <a:prstGeom prst="star5">
              <a:avLst/>
            </a:prstGeom>
            <a:solidFill>
              <a:srgbClr val="FF0000"/>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837" name="TextBox 836">
              <a:extLst>
                <a:ext uri="{FF2B5EF4-FFF2-40B4-BE49-F238E27FC236}">
                  <a16:creationId xmlns:a16="http://schemas.microsoft.com/office/drawing/2014/main" id="{A2846DBE-206F-7543-B418-D5FE5041D0A3}"/>
                </a:ext>
              </a:extLst>
            </p:cNvPr>
            <p:cNvSpPr txBox="1"/>
            <p:nvPr/>
          </p:nvSpPr>
          <p:spPr>
            <a:xfrm>
              <a:off x="2969672" y="3135059"/>
              <a:ext cx="338415" cy="230832"/>
            </a:xfrm>
            <a:prstGeom prst="rect">
              <a:avLst/>
            </a:prstGeom>
            <a:noFill/>
          </p:spPr>
          <p:txBody>
            <a:bodyPr wrap="square" rtlCol="0">
              <a:spAutoFit/>
            </a:bodyPr>
            <a:lstStyle/>
            <a:p>
              <a:pPr algn="ctr"/>
              <a:r>
                <a:rPr lang="en-GB" sz="900" b="1">
                  <a:solidFill>
                    <a:schemeClr val="bg1"/>
                  </a:solidFill>
                </a:rPr>
                <a:t>E2</a:t>
              </a:r>
            </a:p>
          </p:txBody>
        </p:sp>
      </p:grpSp>
      <p:grpSp>
        <p:nvGrpSpPr>
          <p:cNvPr id="838" name="Group 837">
            <a:extLst>
              <a:ext uri="{FF2B5EF4-FFF2-40B4-BE49-F238E27FC236}">
                <a16:creationId xmlns:a16="http://schemas.microsoft.com/office/drawing/2014/main" id="{3F196023-5C90-7944-A6DB-13CCDCB70920}"/>
              </a:ext>
            </a:extLst>
          </p:cNvPr>
          <p:cNvGrpSpPr/>
          <p:nvPr/>
        </p:nvGrpSpPr>
        <p:grpSpPr>
          <a:xfrm>
            <a:off x="6936458" y="4932933"/>
            <a:ext cx="341766" cy="288000"/>
            <a:chOff x="2969672" y="3089017"/>
            <a:chExt cx="341766" cy="288000"/>
          </a:xfrm>
        </p:grpSpPr>
        <p:sp>
          <p:nvSpPr>
            <p:cNvPr id="839" name="5-point Star 838">
              <a:extLst>
                <a:ext uri="{FF2B5EF4-FFF2-40B4-BE49-F238E27FC236}">
                  <a16:creationId xmlns:a16="http://schemas.microsoft.com/office/drawing/2014/main" id="{B08BFC52-A10C-8343-B6E8-2EEF3A2904F6}"/>
                </a:ext>
              </a:extLst>
            </p:cNvPr>
            <p:cNvSpPr/>
            <p:nvPr/>
          </p:nvSpPr>
          <p:spPr>
            <a:xfrm>
              <a:off x="2973023" y="3089017"/>
              <a:ext cx="338415" cy="288000"/>
            </a:xfrm>
            <a:prstGeom prst="star5">
              <a:avLst/>
            </a:prstGeom>
            <a:solidFill>
              <a:srgbClr val="FF0000"/>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840" name="TextBox 839">
              <a:extLst>
                <a:ext uri="{FF2B5EF4-FFF2-40B4-BE49-F238E27FC236}">
                  <a16:creationId xmlns:a16="http://schemas.microsoft.com/office/drawing/2014/main" id="{AA8792C2-2EF5-6849-B8F8-F4BBF84DC85D}"/>
                </a:ext>
              </a:extLst>
            </p:cNvPr>
            <p:cNvSpPr txBox="1"/>
            <p:nvPr/>
          </p:nvSpPr>
          <p:spPr>
            <a:xfrm>
              <a:off x="2969672" y="3135059"/>
              <a:ext cx="338415" cy="230832"/>
            </a:xfrm>
            <a:prstGeom prst="rect">
              <a:avLst/>
            </a:prstGeom>
            <a:noFill/>
          </p:spPr>
          <p:txBody>
            <a:bodyPr wrap="square" rtlCol="0">
              <a:spAutoFit/>
            </a:bodyPr>
            <a:lstStyle/>
            <a:p>
              <a:pPr algn="ctr"/>
              <a:r>
                <a:rPr lang="en-GB" sz="900" b="1">
                  <a:solidFill>
                    <a:schemeClr val="bg1"/>
                  </a:solidFill>
                </a:rPr>
                <a:t>F2</a:t>
              </a:r>
            </a:p>
          </p:txBody>
        </p:sp>
      </p:grpSp>
      <p:grpSp>
        <p:nvGrpSpPr>
          <p:cNvPr id="841" name="Group 840">
            <a:extLst>
              <a:ext uri="{FF2B5EF4-FFF2-40B4-BE49-F238E27FC236}">
                <a16:creationId xmlns:a16="http://schemas.microsoft.com/office/drawing/2014/main" id="{3A91D2A8-7321-B84E-BA28-4E022E729AAA}"/>
              </a:ext>
            </a:extLst>
          </p:cNvPr>
          <p:cNvGrpSpPr/>
          <p:nvPr/>
        </p:nvGrpSpPr>
        <p:grpSpPr>
          <a:xfrm>
            <a:off x="10168476" y="5288778"/>
            <a:ext cx="341766" cy="288000"/>
            <a:chOff x="2969672" y="3089017"/>
            <a:chExt cx="341766" cy="288000"/>
          </a:xfrm>
        </p:grpSpPr>
        <p:sp>
          <p:nvSpPr>
            <p:cNvPr id="842" name="5-point Star 841">
              <a:extLst>
                <a:ext uri="{FF2B5EF4-FFF2-40B4-BE49-F238E27FC236}">
                  <a16:creationId xmlns:a16="http://schemas.microsoft.com/office/drawing/2014/main" id="{E6AF657E-26A6-D54A-91DF-EF9D751DA4D1}"/>
                </a:ext>
              </a:extLst>
            </p:cNvPr>
            <p:cNvSpPr/>
            <p:nvPr/>
          </p:nvSpPr>
          <p:spPr>
            <a:xfrm>
              <a:off x="2973023" y="3089017"/>
              <a:ext cx="338415" cy="288000"/>
            </a:xfrm>
            <a:prstGeom prst="star5">
              <a:avLst/>
            </a:prstGeom>
            <a:solidFill>
              <a:srgbClr val="FF0000"/>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843" name="TextBox 842">
              <a:extLst>
                <a:ext uri="{FF2B5EF4-FFF2-40B4-BE49-F238E27FC236}">
                  <a16:creationId xmlns:a16="http://schemas.microsoft.com/office/drawing/2014/main" id="{9338ACA8-7FDC-9C41-ABE9-3A760393260E}"/>
                </a:ext>
              </a:extLst>
            </p:cNvPr>
            <p:cNvSpPr txBox="1"/>
            <p:nvPr/>
          </p:nvSpPr>
          <p:spPr>
            <a:xfrm>
              <a:off x="2969672" y="3135059"/>
              <a:ext cx="338415" cy="230832"/>
            </a:xfrm>
            <a:prstGeom prst="rect">
              <a:avLst/>
            </a:prstGeom>
            <a:noFill/>
          </p:spPr>
          <p:txBody>
            <a:bodyPr wrap="square" rtlCol="0">
              <a:spAutoFit/>
            </a:bodyPr>
            <a:lstStyle/>
            <a:p>
              <a:pPr algn="ctr"/>
              <a:r>
                <a:rPr lang="en-GB" sz="900" b="1">
                  <a:solidFill>
                    <a:schemeClr val="bg1"/>
                  </a:solidFill>
                </a:rPr>
                <a:t>H2</a:t>
              </a:r>
            </a:p>
          </p:txBody>
        </p:sp>
      </p:grpSp>
      <p:grpSp>
        <p:nvGrpSpPr>
          <p:cNvPr id="844" name="Group 843">
            <a:extLst>
              <a:ext uri="{FF2B5EF4-FFF2-40B4-BE49-F238E27FC236}">
                <a16:creationId xmlns:a16="http://schemas.microsoft.com/office/drawing/2014/main" id="{6D9774A5-7DE0-994B-82D1-AB2E9E9F1693}"/>
              </a:ext>
            </a:extLst>
          </p:cNvPr>
          <p:cNvGrpSpPr/>
          <p:nvPr/>
        </p:nvGrpSpPr>
        <p:grpSpPr>
          <a:xfrm>
            <a:off x="158192" y="4544835"/>
            <a:ext cx="1773597" cy="1018743"/>
            <a:chOff x="1896793" y="5481181"/>
            <a:chExt cx="1773597" cy="1018743"/>
          </a:xfrm>
        </p:grpSpPr>
        <p:sp>
          <p:nvSpPr>
            <p:cNvPr id="845" name="Rounded Rectangle 844">
              <a:extLst>
                <a:ext uri="{FF2B5EF4-FFF2-40B4-BE49-F238E27FC236}">
                  <a16:creationId xmlns:a16="http://schemas.microsoft.com/office/drawing/2014/main" id="{E919D036-3D74-CB4A-B103-B794A56DC455}"/>
                </a:ext>
              </a:extLst>
            </p:cNvPr>
            <p:cNvSpPr/>
            <p:nvPr/>
          </p:nvSpPr>
          <p:spPr>
            <a:xfrm>
              <a:off x="1914468" y="5481181"/>
              <a:ext cx="1324390" cy="1018743"/>
            </a:xfrm>
            <a:prstGeom prst="roundRect">
              <a:avLst>
                <a:gd name="adj" fmla="val 721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1867" kern="0">
                <a:solidFill>
                  <a:srgbClr val="FFFFFF"/>
                </a:solidFill>
                <a:latin typeface="Arial"/>
                <a:sym typeface="Arial"/>
              </a:endParaRPr>
            </a:p>
          </p:txBody>
        </p:sp>
        <p:grpSp>
          <p:nvGrpSpPr>
            <p:cNvPr id="846" name="Group 845">
              <a:extLst>
                <a:ext uri="{FF2B5EF4-FFF2-40B4-BE49-F238E27FC236}">
                  <a16:creationId xmlns:a16="http://schemas.microsoft.com/office/drawing/2014/main" id="{C5B1F691-1AA5-6443-AD05-5F0329B6376B}"/>
                </a:ext>
              </a:extLst>
            </p:cNvPr>
            <p:cNvGrpSpPr/>
            <p:nvPr/>
          </p:nvGrpSpPr>
          <p:grpSpPr>
            <a:xfrm>
              <a:off x="1899932" y="5890896"/>
              <a:ext cx="338415" cy="254400"/>
              <a:chOff x="158018" y="4135479"/>
              <a:chExt cx="338415" cy="254400"/>
            </a:xfrm>
          </p:grpSpPr>
          <p:sp>
            <p:nvSpPr>
              <p:cNvPr id="856" name="Oval 855">
                <a:extLst>
                  <a:ext uri="{FF2B5EF4-FFF2-40B4-BE49-F238E27FC236}">
                    <a16:creationId xmlns:a16="http://schemas.microsoft.com/office/drawing/2014/main" id="{8877D8C3-E9B9-0A4F-B713-0DBC30659008}"/>
                  </a:ext>
                </a:extLst>
              </p:cNvPr>
              <p:cNvSpPr/>
              <p:nvPr/>
            </p:nvSpPr>
            <p:spPr>
              <a:xfrm>
                <a:off x="201081" y="4135479"/>
                <a:ext cx="254400" cy="254400"/>
              </a:xfrm>
              <a:prstGeom prst="ellipse">
                <a:avLst/>
              </a:prstGeom>
              <a:solidFill>
                <a:srgbClr val="FF0000"/>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857" name="TextBox 856">
                <a:extLst>
                  <a:ext uri="{FF2B5EF4-FFF2-40B4-BE49-F238E27FC236}">
                    <a16:creationId xmlns:a16="http://schemas.microsoft.com/office/drawing/2014/main" id="{2990BC01-F7CC-2746-B769-D9FDCACEC21B}"/>
                  </a:ext>
                </a:extLst>
              </p:cNvPr>
              <p:cNvSpPr txBox="1"/>
              <p:nvPr/>
            </p:nvSpPr>
            <p:spPr>
              <a:xfrm>
                <a:off x="158018" y="4147263"/>
                <a:ext cx="338415" cy="230832"/>
              </a:xfrm>
              <a:prstGeom prst="rect">
                <a:avLst/>
              </a:prstGeom>
              <a:noFill/>
            </p:spPr>
            <p:txBody>
              <a:bodyPr wrap="square" rtlCol="0">
                <a:spAutoFit/>
              </a:bodyPr>
              <a:lstStyle/>
              <a:p>
                <a:pPr algn="ctr"/>
                <a:r>
                  <a:rPr lang="en-GB" sz="900" b="1">
                    <a:solidFill>
                      <a:schemeClr val="bg1"/>
                    </a:solidFill>
                  </a:rPr>
                  <a:t>Z</a:t>
                </a:r>
              </a:p>
            </p:txBody>
          </p:sp>
        </p:grpSp>
        <p:sp>
          <p:nvSpPr>
            <p:cNvPr id="847" name="Rectangle 846">
              <a:extLst>
                <a:ext uri="{FF2B5EF4-FFF2-40B4-BE49-F238E27FC236}">
                  <a16:creationId xmlns:a16="http://schemas.microsoft.com/office/drawing/2014/main" id="{7DA65B69-DA43-D040-A071-6B1C183A3B23}"/>
                </a:ext>
              </a:extLst>
            </p:cNvPr>
            <p:cNvSpPr/>
            <p:nvPr/>
          </p:nvSpPr>
          <p:spPr>
            <a:xfrm>
              <a:off x="2264538" y="5835524"/>
              <a:ext cx="1288995" cy="3322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defTabSz="914377">
                <a:defRPr/>
              </a:pPr>
              <a:r>
                <a:rPr lang="en-GB" sz="800" kern="0">
                  <a:solidFill>
                    <a:srgbClr val="595959"/>
                  </a:solidFill>
                  <a:latin typeface="Calibri" panose="020F0502020204030204" pitchFamily="34" charset="0"/>
                  <a:cs typeface="Calibri" panose="020F0502020204030204" pitchFamily="34" charset="0"/>
                  <a:sym typeface="Arial"/>
                </a:rPr>
                <a:t>Top priority recommendation</a:t>
              </a:r>
            </a:p>
          </p:txBody>
        </p:sp>
        <p:grpSp>
          <p:nvGrpSpPr>
            <p:cNvPr id="848" name="Group 847">
              <a:extLst>
                <a:ext uri="{FF2B5EF4-FFF2-40B4-BE49-F238E27FC236}">
                  <a16:creationId xmlns:a16="http://schemas.microsoft.com/office/drawing/2014/main" id="{EF18DEFE-6B84-6947-9D09-EF4A3CA5059C}"/>
                </a:ext>
              </a:extLst>
            </p:cNvPr>
            <p:cNvGrpSpPr/>
            <p:nvPr/>
          </p:nvGrpSpPr>
          <p:grpSpPr>
            <a:xfrm>
              <a:off x="1896793" y="6217656"/>
              <a:ext cx="338415" cy="254400"/>
              <a:chOff x="158018" y="4135479"/>
              <a:chExt cx="338415" cy="254400"/>
            </a:xfrm>
          </p:grpSpPr>
          <p:sp>
            <p:nvSpPr>
              <p:cNvPr id="854" name="Oval 853">
                <a:extLst>
                  <a:ext uri="{FF2B5EF4-FFF2-40B4-BE49-F238E27FC236}">
                    <a16:creationId xmlns:a16="http://schemas.microsoft.com/office/drawing/2014/main" id="{298DE244-E9FA-DB46-9274-6E598A45B374}"/>
                  </a:ext>
                </a:extLst>
              </p:cNvPr>
              <p:cNvSpPr/>
              <p:nvPr/>
            </p:nvSpPr>
            <p:spPr>
              <a:xfrm>
                <a:off x="201081" y="4135479"/>
                <a:ext cx="254400" cy="254400"/>
              </a:xfrm>
              <a:prstGeom prst="ellipse">
                <a:avLst/>
              </a:prstGeom>
              <a:solidFill>
                <a:srgbClr val="00B050"/>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855" name="TextBox 854">
                <a:extLst>
                  <a:ext uri="{FF2B5EF4-FFF2-40B4-BE49-F238E27FC236}">
                    <a16:creationId xmlns:a16="http://schemas.microsoft.com/office/drawing/2014/main" id="{363CC35A-3573-0640-9BBB-BB3BFF73CDDD}"/>
                  </a:ext>
                </a:extLst>
              </p:cNvPr>
              <p:cNvSpPr txBox="1"/>
              <p:nvPr/>
            </p:nvSpPr>
            <p:spPr>
              <a:xfrm>
                <a:off x="158018" y="4147263"/>
                <a:ext cx="338415" cy="230832"/>
              </a:xfrm>
              <a:prstGeom prst="rect">
                <a:avLst/>
              </a:prstGeom>
              <a:noFill/>
            </p:spPr>
            <p:txBody>
              <a:bodyPr wrap="square" rtlCol="0">
                <a:spAutoFit/>
              </a:bodyPr>
              <a:lstStyle/>
              <a:p>
                <a:pPr algn="ctr"/>
                <a:r>
                  <a:rPr lang="en-GB" sz="900" b="1">
                    <a:solidFill>
                      <a:schemeClr val="bg1"/>
                    </a:solidFill>
                  </a:rPr>
                  <a:t>Z</a:t>
                </a:r>
              </a:p>
            </p:txBody>
          </p:sp>
        </p:grpSp>
        <p:sp>
          <p:nvSpPr>
            <p:cNvPr id="849" name="Rectangle 848">
              <a:extLst>
                <a:ext uri="{FF2B5EF4-FFF2-40B4-BE49-F238E27FC236}">
                  <a16:creationId xmlns:a16="http://schemas.microsoft.com/office/drawing/2014/main" id="{BB2A11A0-E6C4-7D42-A9CC-1727BEB52A04}"/>
                </a:ext>
              </a:extLst>
            </p:cNvPr>
            <p:cNvSpPr/>
            <p:nvPr/>
          </p:nvSpPr>
          <p:spPr>
            <a:xfrm>
              <a:off x="2261399" y="6162284"/>
              <a:ext cx="1408991" cy="3322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defTabSz="914377">
                <a:defRPr/>
              </a:pPr>
              <a:r>
                <a:rPr lang="en-GB" sz="800" kern="0">
                  <a:solidFill>
                    <a:srgbClr val="595959"/>
                  </a:solidFill>
                  <a:latin typeface="Calibri" panose="020F0502020204030204" pitchFamily="34" charset="0"/>
                  <a:cs typeface="Calibri" panose="020F0502020204030204" pitchFamily="34" charset="0"/>
                  <a:sym typeface="Arial"/>
                </a:rPr>
                <a:t>Quick win</a:t>
              </a:r>
            </a:p>
          </p:txBody>
        </p:sp>
        <p:grpSp>
          <p:nvGrpSpPr>
            <p:cNvPr id="850" name="Group 849">
              <a:extLst>
                <a:ext uri="{FF2B5EF4-FFF2-40B4-BE49-F238E27FC236}">
                  <a16:creationId xmlns:a16="http://schemas.microsoft.com/office/drawing/2014/main" id="{8199AB50-5A86-EF4B-A976-21B94D3F77F7}"/>
                </a:ext>
              </a:extLst>
            </p:cNvPr>
            <p:cNvGrpSpPr/>
            <p:nvPr/>
          </p:nvGrpSpPr>
          <p:grpSpPr>
            <a:xfrm>
              <a:off x="1919633" y="5533259"/>
              <a:ext cx="341766" cy="288000"/>
              <a:chOff x="2969672" y="3089017"/>
              <a:chExt cx="341766" cy="288000"/>
            </a:xfrm>
          </p:grpSpPr>
          <p:sp>
            <p:nvSpPr>
              <p:cNvPr id="852" name="5-point Star 851">
                <a:extLst>
                  <a:ext uri="{FF2B5EF4-FFF2-40B4-BE49-F238E27FC236}">
                    <a16:creationId xmlns:a16="http://schemas.microsoft.com/office/drawing/2014/main" id="{3E38EB86-2DBE-434D-9E4B-CA0684B1CF03}"/>
                  </a:ext>
                </a:extLst>
              </p:cNvPr>
              <p:cNvSpPr/>
              <p:nvPr/>
            </p:nvSpPr>
            <p:spPr>
              <a:xfrm>
                <a:off x="2973023" y="3089017"/>
                <a:ext cx="338415" cy="288000"/>
              </a:xfrm>
              <a:prstGeom prst="star5">
                <a:avLst/>
              </a:prstGeom>
              <a:solidFill>
                <a:srgbClr val="FF0000"/>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GB" sz="800" b="1" kern="0">
                  <a:solidFill>
                    <a:srgbClr val="FFFFFF"/>
                  </a:solidFill>
                  <a:latin typeface="Arial"/>
                  <a:sym typeface="Arial"/>
                </a:endParaRPr>
              </a:p>
            </p:txBody>
          </p:sp>
          <p:sp>
            <p:nvSpPr>
              <p:cNvPr id="853" name="TextBox 852">
                <a:extLst>
                  <a:ext uri="{FF2B5EF4-FFF2-40B4-BE49-F238E27FC236}">
                    <a16:creationId xmlns:a16="http://schemas.microsoft.com/office/drawing/2014/main" id="{AF380EBF-4B39-324F-96C8-DC61EC6F64A3}"/>
                  </a:ext>
                </a:extLst>
              </p:cNvPr>
              <p:cNvSpPr txBox="1"/>
              <p:nvPr/>
            </p:nvSpPr>
            <p:spPr>
              <a:xfrm>
                <a:off x="2969672" y="3135059"/>
                <a:ext cx="338415" cy="230832"/>
              </a:xfrm>
              <a:prstGeom prst="rect">
                <a:avLst/>
              </a:prstGeom>
              <a:noFill/>
            </p:spPr>
            <p:txBody>
              <a:bodyPr wrap="square" rtlCol="0">
                <a:spAutoFit/>
              </a:bodyPr>
              <a:lstStyle/>
              <a:p>
                <a:pPr algn="ctr"/>
                <a:r>
                  <a:rPr lang="en-GB" sz="900" b="1">
                    <a:solidFill>
                      <a:schemeClr val="bg1"/>
                    </a:solidFill>
                  </a:rPr>
                  <a:t>Z</a:t>
                </a:r>
              </a:p>
            </p:txBody>
          </p:sp>
        </p:grpSp>
        <p:sp>
          <p:nvSpPr>
            <p:cNvPr id="851" name="Rectangle 850">
              <a:extLst>
                <a:ext uri="{FF2B5EF4-FFF2-40B4-BE49-F238E27FC236}">
                  <a16:creationId xmlns:a16="http://schemas.microsoft.com/office/drawing/2014/main" id="{F669AD07-A7AD-0C41-97C0-B23E69B5F219}"/>
                </a:ext>
              </a:extLst>
            </p:cNvPr>
            <p:cNvSpPr/>
            <p:nvPr/>
          </p:nvSpPr>
          <p:spPr>
            <a:xfrm>
              <a:off x="2254394" y="5535527"/>
              <a:ext cx="1299139" cy="3322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defTabSz="914377">
                <a:defRPr/>
              </a:pPr>
              <a:r>
                <a:rPr lang="en-GB" sz="800" kern="0">
                  <a:solidFill>
                    <a:srgbClr val="595959"/>
                  </a:solidFill>
                  <a:latin typeface="Calibri" panose="020F0502020204030204" pitchFamily="34" charset="0"/>
                  <a:cs typeface="Calibri" panose="020F0502020204030204" pitchFamily="34" charset="0"/>
                  <a:sym typeface="Arial"/>
                </a:rPr>
                <a:t>Cross-cutting recommendation</a:t>
              </a:r>
            </a:p>
          </p:txBody>
        </p:sp>
      </p:grpSp>
      <p:sp>
        <p:nvSpPr>
          <p:cNvPr id="858" name="Rectangle 857">
            <a:extLst>
              <a:ext uri="{FF2B5EF4-FFF2-40B4-BE49-F238E27FC236}">
                <a16:creationId xmlns:a16="http://schemas.microsoft.com/office/drawing/2014/main" id="{E7159715-D69F-944C-91C3-D7F3E6830A85}"/>
              </a:ext>
            </a:extLst>
          </p:cNvPr>
          <p:cNvSpPr/>
          <p:nvPr/>
        </p:nvSpPr>
        <p:spPr>
          <a:xfrm>
            <a:off x="527342" y="830057"/>
            <a:ext cx="10923519" cy="8681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200" b="1">
                <a:solidFill>
                  <a:srgbClr val="50235C"/>
                </a:solidFill>
                <a:latin typeface="Arial" panose="020B0604020202020204" pitchFamily="34" charset="0"/>
                <a:cs typeface="Arial" panose="020B0604020202020204" pitchFamily="34" charset="0"/>
              </a:rPr>
              <a:t>Based on observations, interviews and stakeholder input, a total of 81 recommendations have been identified. Each is prioritised based on impact, ease, resource required. Each numbered letter refers to a specific recommendation within each strategic priority (e.g. B1 can be found within the proactive prevention overview). Recommendations relating to supporting the health inequality agenda are weaved throughout in recognition that this is essential to the delivery of an equitable health and care system. </a:t>
            </a:r>
          </a:p>
          <a:p>
            <a:endParaRPr lang="en-GB" sz="1200" b="1">
              <a:solidFill>
                <a:srgbClr val="50235C"/>
              </a:solidFill>
              <a:latin typeface="Arial" panose="020B0604020202020204" pitchFamily="34" charset="0"/>
              <a:cs typeface="Arial" panose="020B0604020202020204" pitchFamily="34" charset="0"/>
            </a:endParaRPr>
          </a:p>
        </p:txBody>
      </p:sp>
      <p:pic>
        <p:nvPicPr>
          <p:cNvPr id="859" name="Graphic 858" descr="Open hand with plant with solid fill">
            <a:extLst>
              <a:ext uri="{FF2B5EF4-FFF2-40B4-BE49-F238E27FC236}">
                <a16:creationId xmlns:a16="http://schemas.microsoft.com/office/drawing/2014/main" id="{93BA6DFD-D4EA-1745-9AF8-BFCA57635DB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06899" y="3458523"/>
            <a:ext cx="324000" cy="324000"/>
          </a:xfrm>
          <a:prstGeom prst="rect">
            <a:avLst/>
          </a:prstGeom>
        </p:spPr>
      </p:pic>
      <p:pic>
        <p:nvPicPr>
          <p:cNvPr id="860" name="Graphic 859" descr="Marketing with solid fill">
            <a:extLst>
              <a:ext uri="{FF2B5EF4-FFF2-40B4-BE49-F238E27FC236}">
                <a16:creationId xmlns:a16="http://schemas.microsoft.com/office/drawing/2014/main" id="{AD605793-ED83-134D-81F9-1F67509F75A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79139" y="2440190"/>
            <a:ext cx="324000" cy="324000"/>
          </a:xfrm>
          <a:prstGeom prst="rect">
            <a:avLst/>
          </a:prstGeom>
        </p:spPr>
      </p:pic>
      <p:pic>
        <p:nvPicPr>
          <p:cNvPr id="861" name="Graphic 860" descr="Door Open with solid fill">
            <a:extLst>
              <a:ext uri="{FF2B5EF4-FFF2-40B4-BE49-F238E27FC236}">
                <a16:creationId xmlns:a16="http://schemas.microsoft.com/office/drawing/2014/main" id="{CB508E56-D882-4142-B0F3-ECC2F8123C7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218588" y="4358845"/>
            <a:ext cx="324000" cy="324000"/>
          </a:xfrm>
          <a:prstGeom prst="rect">
            <a:avLst/>
          </a:prstGeom>
        </p:spPr>
      </p:pic>
      <p:pic>
        <p:nvPicPr>
          <p:cNvPr id="862" name="Graphic 861" descr="Cheers with solid fill">
            <a:extLst>
              <a:ext uri="{FF2B5EF4-FFF2-40B4-BE49-F238E27FC236}">
                <a16:creationId xmlns:a16="http://schemas.microsoft.com/office/drawing/2014/main" id="{22A2E8DA-9C85-D24B-B5C1-1B9A6D8F689E}"/>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888725" y="5154409"/>
            <a:ext cx="324000" cy="324000"/>
          </a:xfrm>
          <a:prstGeom prst="rect">
            <a:avLst/>
          </a:prstGeom>
        </p:spPr>
      </p:pic>
      <p:pic>
        <p:nvPicPr>
          <p:cNvPr id="863" name="Graphic 862" descr="Viral with solid fill">
            <a:extLst>
              <a:ext uri="{FF2B5EF4-FFF2-40B4-BE49-F238E27FC236}">
                <a16:creationId xmlns:a16="http://schemas.microsoft.com/office/drawing/2014/main" id="{66651A4F-D2DF-8A40-BE23-ABF997450BFB}"/>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874663" y="5736660"/>
            <a:ext cx="324000" cy="324000"/>
          </a:xfrm>
          <a:prstGeom prst="rect">
            <a:avLst/>
          </a:prstGeom>
        </p:spPr>
      </p:pic>
      <p:pic>
        <p:nvPicPr>
          <p:cNvPr id="864" name="Graphic 863" descr="Group of people with solid fill">
            <a:extLst>
              <a:ext uri="{FF2B5EF4-FFF2-40B4-BE49-F238E27FC236}">
                <a16:creationId xmlns:a16="http://schemas.microsoft.com/office/drawing/2014/main" id="{EFC558D3-C8CF-454E-8D17-F45FE6915CEE}"/>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864342" y="6026401"/>
            <a:ext cx="324000" cy="324000"/>
          </a:xfrm>
          <a:prstGeom prst="rect">
            <a:avLst/>
          </a:prstGeom>
        </p:spPr>
      </p:pic>
      <p:pic>
        <p:nvPicPr>
          <p:cNvPr id="865" name="Graphic 864" descr="Handshake with solid fill">
            <a:extLst>
              <a:ext uri="{FF2B5EF4-FFF2-40B4-BE49-F238E27FC236}">
                <a16:creationId xmlns:a16="http://schemas.microsoft.com/office/drawing/2014/main" id="{B8353766-5D2F-2B4E-978E-E21ABEE3D553}"/>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0168476" y="6150432"/>
            <a:ext cx="324000" cy="324000"/>
          </a:xfrm>
          <a:prstGeom prst="rect">
            <a:avLst/>
          </a:prstGeom>
        </p:spPr>
      </p:pic>
      <p:sp>
        <p:nvSpPr>
          <p:cNvPr id="866" name="Rectangle 865">
            <a:extLst>
              <a:ext uri="{FF2B5EF4-FFF2-40B4-BE49-F238E27FC236}">
                <a16:creationId xmlns:a16="http://schemas.microsoft.com/office/drawing/2014/main" id="{48421E27-D1FF-D041-B95F-D2467E664603}"/>
              </a:ext>
            </a:extLst>
          </p:cNvPr>
          <p:cNvSpPr/>
          <p:nvPr/>
        </p:nvSpPr>
        <p:spPr>
          <a:xfrm>
            <a:off x="3507777" y="6232323"/>
            <a:ext cx="1299296" cy="3322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defTabSz="914377">
              <a:defRPr/>
            </a:pPr>
            <a:r>
              <a:rPr lang="en-GB" sz="800" kern="0">
                <a:solidFill>
                  <a:srgbClr val="595959"/>
                </a:solidFill>
                <a:latin typeface="Calibri" panose="020F0502020204030204" pitchFamily="34" charset="0"/>
                <a:cs typeface="Calibri" panose="020F0502020204030204" pitchFamily="34" charset="0"/>
                <a:sym typeface="Arial"/>
              </a:rPr>
              <a:t>Journey mapping recommendations</a:t>
            </a:r>
          </a:p>
        </p:txBody>
      </p:sp>
      <p:grpSp>
        <p:nvGrpSpPr>
          <p:cNvPr id="867" name="Group 866">
            <a:extLst>
              <a:ext uri="{FF2B5EF4-FFF2-40B4-BE49-F238E27FC236}">
                <a16:creationId xmlns:a16="http://schemas.microsoft.com/office/drawing/2014/main" id="{2ADDF1A3-CF36-6B47-AD15-55D0C87323E1}"/>
              </a:ext>
            </a:extLst>
          </p:cNvPr>
          <p:cNvGrpSpPr/>
          <p:nvPr/>
        </p:nvGrpSpPr>
        <p:grpSpPr>
          <a:xfrm>
            <a:off x="3170069" y="6280900"/>
            <a:ext cx="338415" cy="230832"/>
            <a:chOff x="3157369" y="6280900"/>
            <a:chExt cx="338415" cy="230832"/>
          </a:xfrm>
        </p:grpSpPr>
        <p:sp>
          <p:nvSpPr>
            <p:cNvPr id="868" name="Rectangle 867">
              <a:extLst>
                <a:ext uri="{FF2B5EF4-FFF2-40B4-BE49-F238E27FC236}">
                  <a16:creationId xmlns:a16="http://schemas.microsoft.com/office/drawing/2014/main" id="{F59515EA-8267-374B-A59E-70476F49B46A}"/>
                </a:ext>
              </a:extLst>
            </p:cNvPr>
            <p:cNvSpPr/>
            <p:nvPr/>
          </p:nvSpPr>
          <p:spPr>
            <a:xfrm>
              <a:off x="3218577" y="6288316"/>
              <a:ext cx="216000" cy="216000"/>
            </a:xfrm>
            <a:prstGeom prst="rect">
              <a:avLst/>
            </a:prstGeom>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69" name="TextBox 868">
              <a:extLst>
                <a:ext uri="{FF2B5EF4-FFF2-40B4-BE49-F238E27FC236}">
                  <a16:creationId xmlns:a16="http://schemas.microsoft.com/office/drawing/2014/main" id="{9D719E01-B0C3-5C4D-9D12-67C06424883B}"/>
                </a:ext>
              </a:extLst>
            </p:cNvPr>
            <p:cNvSpPr txBox="1"/>
            <p:nvPr/>
          </p:nvSpPr>
          <p:spPr>
            <a:xfrm>
              <a:off x="3157369" y="6280900"/>
              <a:ext cx="338415" cy="230832"/>
            </a:xfrm>
            <a:prstGeom prst="rect">
              <a:avLst/>
            </a:prstGeom>
            <a:noFill/>
          </p:spPr>
          <p:txBody>
            <a:bodyPr wrap="square" rtlCol="0">
              <a:spAutoFit/>
            </a:bodyPr>
            <a:lstStyle/>
            <a:p>
              <a:pPr algn="ctr"/>
              <a:r>
                <a:rPr lang="en-GB" sz="900" b="1">
                  <a:solidFill>
                    <a:schemeClr val="bg1"/>
                  </a:solidFill>
                </a:rPr>
                <a:t>J</a:t>
              </a:r>
            </a:p>
          </p:txBody>
        </p:sp>
      </p:grpSp>
      <p:grpSp>
        <p:nvGrpSpPr>
          <p:cNvPr id="870" name="Group 869">
            <a:extLst>
              <a:ext uri="{FF2B5EF4-FFF2-40B4-BE49-F238E27FC236}">
                <a16:creationId xmlns:a16="http://schemas.microsoft.com/office/drawing/2014/main" id="{DFFE5C75-2E45-8B4E-9AAE-84171AF6C927}"/>
              </a:ext>
            </a:extLst>
          </p:cNvPr>
          <p:cNvGrpSpPr/>
          <p:nvPr/>
        </p:nvGrpSpPr>
        <p:grpSpPr>
          <a:xfrm>
            <a:off x="4485770" y="3757205"/>
            <a:ext cx="338415" cy="230832"/>
            <a:chOff x="3157369" y="6280900"/>
            <a:chExt cx="338415" cy="230832"/>
          </a:xfrm>
        </p:grpSpPr>
        <p:sp>
          <p:nvSpPr>
            <p:cNvPr id="871" name="Rectangle 870">
              <a:extLst>
                <a:ext uri="{FF2B5EF4-FFF2-40B4-BE49-F238E27FC236}">
                  <a16:creationId xmlns:a16="http://schemas.microsoft.com/office/drawing/2014/main" id="{5F06CBB9-B4CA-6446-AC28-3FA07CCF5238}"/>
                </a:ext>
              </a:extLst>
            </p:cNvPr>
            <p:cNvSpPr/>
            <p:nvPr/>
          </p:nvSpPr>
          <p:spPr>
            <a:xfrm>
              <a:off x="3218577" y="6288316"/>
              <a:ext cx="216000" cy="216000"/>
            </a:xfrm>
            <a:prstGeom prst="rect">
              <a:avLst/>
            </a:prstGeom>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72" name="TextBox 871">
              <a:extLst>
                <a:ext uri="{FF2B5EF4-FFF2-40B4-BE49-F238E27FC236}">
                  <a16:creationId xmlns:a16="http://schemas.microsoft.com/office/drawing/2014/main" id="{25683DAC-4675-6144-A873-D50AEFC0F13B}"/>
                </a:ext>
              </a:extLst>
            </p:cNvPr>
            <p:cNvSpPr txBox="1"/>
            <p:nvPr/>
          </p:nvSpPr>
          <p:spPr>
            <a:xfrm>
              <a:off x="3157369" y="6280900"/>
              <a:ext cx="338415" cy="230832"/>
            </a:xfrm>
            <a:prstGeom prst="rect">
              <a:avLst/>
            </a:prstGeom>
            <a:noFill/>
          </p:spPr>
          <p:txBody>
            <a:bodyPr wrap="square" rtlCol="0">
              <a:spAutoFit/>
            </a:bodyPr>
            <a:lstStyle/>
            <a:p>
              <a:pPr algn="ctr"/>
              <a:r>
                <a:rPr lang="en-GB" sz="900" b="1">
                  <a:solidFill>
                    <a:schemeClr val="bg1"/>
                  </a:solidFill>
                </a:rPr>
                <a:t>J4</a:t>
              </a:r>
            </a:p>
          </p:txBody>
        </p:sp>
      </p:grpSp>
      <p:grpSp>
        <p:nvGrpSpPr>
          <p:cNvPr id="873" name="Group 872">
            <a:extLst>
              <a:ext uri="{FF2B5EF4-FFF2-40B4-BE49-F238E27FC236}">
                <a16:creationId xmlns:a16="http://schemas.microsoft.com/office/drawing/2014/main" id="{906AE317-8175-8247-92EC-968300878264}"/>
              </a:ext>
            </a:extLst>
          </p:cNvPr>
          <p:cNvGrpSpPr/>
          <p:nvPr/>
        </p:nvGrpSpPr>
        <p:grpSpPr>
          <a:xfrm>
            <a:off x="8773131" y="4828010"/>
            <a:ext cx="338415" cy="230832"/>
            <a:chOff x="3157369" y="6280900"/>
            <a:chExt cx="338415" cy="230832"/>
          </a:xfrm>
        </p:grpSpPr>
        <p:sp>
          <p:nvSpPr>
            <p:cNvPr id="874" name="Rectangle 873">
              <a:extLst>
                <a:ext uri="{FF2B5EF4-FFF2-40B4-BE49-F238E27FC236}">
                  <a16:creationId xmlns:a16="http://schemas.microsoft.com/office/drawing/2014/main" id="{E4FA98D8-6FB9-4C43-9903-CF9F00475679}"/>
                </a:ext>
              </a:extLst>
            </p:cNvPr>
            <p:cNvSpPr/>
            <p:nvPr/>
          </p:nvSpPr>
          <p:spPr>
            <a:xfrm>
              <a:off x="3218577" y="6288316"/>
              <a:ext cx="216000" cy="216000"/>
            </a:xfrm>
            <a:prstGeom prst="rect">
              <a:avLst/>
            </a:prstGeom>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75" name="TextBox 874">
              <a:extLst>
                <a:ext uri="{FF2B5EF4-FFF2-40B4-BE49-F238E27FC236}">
                  <a16:creationId xmlns:a16="http://schemas.microsoft.com/office/drawing/2014/main" id="{D22FB066-5F4F-9B4C-B501-993FFA76DFF7}"/>
                </a:ext>
              </a:extLst>
            </p:cNvPr>
            <p:cNvSpPr txBox="1"/>
            <p:nvPr/>
          </p:nvSpPr>
          <p:spPr>
            <a:xfrm>
              <a:off x="3157369" y="6280900"/>
              <a:ext cx="338415" cy="230832"/>
            </a:xfrm>
            <a:prstGeom prst="rect">
              <a:avLst/>
            </a:prstGeom>
            <a:noFill/>
          </p:spPr>
          <p:txBody>
            <a:bodyPr wrap="square" rtlCol="0">
              <a:spAutoFit/>
            </a:bodyPr>
            <a:lstStyle/>
            <a:p>
              <a:pPr algn="ctr"/>
              <a:r>
                <a:rPr lang="en-GB" sz="900" b="1">
                  <a:solidFill>
                    <a:schemeClr val="bg1"/>
                  </a:solidFill>
                </a:rPr>
                <a:t>J3</a:t>
              </a:r>
            </a:p>
          </p:txBody>
        </p:sp>
      </p:grpSp>
      <p:grpSp>
        <p:nvGrpSpPr>
          <p:cNvPr id="876" name="Group 875">
            <a:extLst>
              <a:ext uri="{FF2B5EF4-FFF2-40B4-BE49-F238E27FC236}">
                <a16:creationId xmlns:a16="http://schemas.microsoft.com/office/drawing/2014/main" id="{4ABF1B10-8ED2-784F-8B49-E00C4FC154D6}"/>
              </a:ext>
            </a:extLst>
          </p:cNvPr>
          <p:cNvGrpSpPr/>
          <p:nvPr/>
        </p:nvGrpSpPr>
        <p:grpSpPr>
          <a:xfrm>
            <a:off x="6037268" y="4179067"/>
            <a:ext cx="338415" cy="230832"/>
            <a:chOff x="3157369" y="6280900"/>
            <a:chExt cx="338415" cy="230832"/>
          </a:xfrm>
        </p:grpSpPr>
        <p:sp>
          <p:nvSpPr>
            <p:cNvPr id="877" name="Rectangle 876">
              <a:extLst>
                <a:ext uri="{FF2B5EF4-FFF2-40B4-BE49-F238E27FC236}">
                  <a16:creationId xmlns:a16="http://schemas.microsoft.com/office/drawing/2014/main" id="{3603DC4D-21FD-E74C-AB13-3FEE5EE0AD3D}"/>
                </a:ext>
              </a:extLst>
            </p:cNvPr>
            <p:cNvSpPr/>
            <p:nvPr/>
          </p:nvSpPr>
          <p:spPr>
            <a:xfrm>
              <a:off x="3218577" y="6288316"/>
              <a:ext cx="216000" cy="216000"/>
            </a:xfrm>
            <a:prstGeom prst="rect">
              <a:avLst/>
            </a:prstGeom>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78" name="TextBox 877">
              <a:extLst>
                <a:ext uri="{FF2B5EF4-FFF2-40B4-BE49-F238E27FC236}">
                  <a16:creationId xmlns:a16="http://schemas.microsoft.com/office/drawing/2014/main" id="{177C339A-5555-294A-9A49-5626FA620768}"/>
                </a:ext>
              </a:extLst>
            </p:cNvPr>
            <p:cNvSpPr txBox="1"/>
            <p:nvPr/>
          </p:nvSpPr>
          <p:spPr>
            <a:xfrm>
              <a:off x="3157369" y="6280900"/>
              <a:ext cx="338415" cy="230832"/>
            </a:xfrm>
            <a:prstGeom prst="rect">
              <a:avLst/>
            </a:prstGeom>
            <a:noFill/>
          </p:spPr>
          <p:txBody>
            <a:bodyPr wrap="square" rtlCol="0">
              <a:spAutoFit/>
            </a:bodyPr>
            <a:lstStyle/>
            <a:p>
              <a:pPr algn="ctr"/>
              <a:r>
                <a:rPr lang="en-GB" sz="900" b="1">
                  <a:solidFill>
                    <a:schemeClr val="bg1"/>
                  </a:solidFill>
                </a:rPr>
                <a:t>J5</a:t>
              </a:r>
            </a:p>
          </p:txBody>
        </p:sp>
      </p:grpSp>
      <p:grpSp>
        <p:nvGrpSpPr>
          <p:cNvPr id="879" name="Group 878">
            <a:extLst>
              <a:ext uri="{FF2B5EF4-FFF2-40B4-BE49-F238E27FC236}">
                <a16:creationId xmlns:a16="http://schemas.microsoft.com/office/drawing/2014/main" id="{475237CD-C2D7-0E49-816D-AD7E919983A3}"/>
              </a:ext>
            </a:extLst>
          </p:cNvPr>
          <p:cNvGrpSpPr/>
          <p:nvPr/>
        </p:nvGrpSpPr>
        <p:grpSpPr>
          <a:xfrm>
            <a:off x="2688884" y="2324774"/>
            <a:ext cx="338415" cy="230832"/>
            <a:chOff x="3157369" y="6280900"/>
            <a:chExt cx="338415" cy="230832"/>
          </a:xfrm>
        </p:grpSpPr>
        <p:sp>
          <p:nvSpPr>
            <p:cNvPr id="880" name="Rectangle 879">
              <a:extLst>
                <a:ext uri="{FF2B5EF4-FFF2-40B4-BE49-F238E27FC236}">
                  <a16:creationId xmlns:a16="http://schemas.microsoft.com/office/drawing/2014/main" id="{9F6E88D0-D4E1-EE4D-B67F-0E82EEDC3B2D}"/>
                </a:ext>
              </a:extLst>
            </p:cNvPr>
            <p:cNvSpPr/>
            <p:nvPr/>
          </p:nvSpPr>
          <p:spPr>
            <a:xfrm>
              <a:off x="3218577" y="6288316"/>
              <a:ext cx="216000" cy="216000"/>
            </a:xfrm>
            <a:prstGeom prst="rect">
              <a:avLst/>
            </a:prstGeom>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81" name="TextBox 880">
              <a:extLst>
                <a:ext uri="{FF2B5EF4-FFF2-40B4-BE49-F238E27FC236}">
                  <a16:creationId xmlns:a16="http://schemas.microsoft.com/office/drawing/2014/main" id="{A37A3ABC-4087-E041-A3C0-CD161A360F78}"/>
                </a:ext>
              </a:extLst>
            </p:cNvPr>
            <p:cNvSpPr txBox="1"/>
            <p:nvPr/>
          </p:nvSpPr>
          <p:spPr>
            <a:xfrm>
              <a:off x="3157369" y="6280900"/>
              <a:ext cx="338415" cy="230832"/>
            </a:xfrm>
            <a:prstGeom prst="rect">
              <a:avLst/>
            </a:prstGeom>
            <a:noFill/>
          </p:spPr>
          <p:txBody>
            <a:bodyPr wrap="square" rtlCol="0">
              <a:spAutoFit/>
            </a:bodyPr>
            <a:lstStyle/>
            <a:p>
              <a:pPr algn="ctr"/>
              <a:r>
                <a:rPr lang="en-GB" sz="900" b="1">
                  <a:solidFill>
                    <a:schemeClr val="bg1"/>
                  </a:solidFill>
                </a:rPr>
                <a:t>J6</a:t>
              </a:r>
            </a:p>
          </p:txBody>
        </p:sp>
      </p:grpSp>
      <p:grpSp>
        <p:nvGrpSpPr>
          <p:cNvPr id="882" name="Group 881">
            <a:extLst>
              <a:ext uri="{FF2B5EF4-FFF2-40B4-BE49-F238E27FC236}">
                <a16:creationId xmlns:a16="http://schemas.microsoft.com/office/drawing/2014/main" id="{E8A9B25A-ACC9-2349-9708-D3FCF37032FB}"/>
              </a:ext>
            </a:extLst>
          </p:cNvPr>
          <p:cNvGrpSpPr/>
          <p:nvPr/>
        </p:nvGrpSpPr>
        <p:grpSpPr>
          <a:xfrm>
            <a:off x="6378351" y="4040201"/>
            <a:ext cx="338415" cy="230832"/>
            <a:chOff x="3157369" y="6280900"/>
            <a:chExt cx="338415" cy="230832"/>
          </a:xfrm>
        </p:grpSpPr>
        <p:sp>
          <p:nvSpPr>
            <p:cNvPr id="883" name="Rectangle 882">
              <a:extLst>
                <a:ext uri="{FF2B5EF4-FFF2-40B4-BE49-F238E27FC236}">
                  <a16:creationId xmlns:a16="http://schemas.microsoft.com/office/drawing/2014/main" id="{16607E54-7178-6943-8F64-835087E60F2F}"/>
                </a:ext>
              </a:extLst>
            </p:cNvPr>
            <p:cNvSpPr/>
            <p:nvPr/>
          </p:nvSpPr>
          <p:spPr>
            <a:xfrm>
              <a:off x="3218577" y="6288316"/>
              <a:ext cx="216000" cy="216000"/>
            </a:xfrm>
            <a:prstGeom prst="rect">
              <a:avLst/>
            </a:prstGeom>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84" name="TextBox 883">
              <a:extLst>
                <a:ext uri="{FF2B5EF4-FFF2-40B4-BE49-F238E27FC236}">
                  <a16:creationId xmlns:a16="http://schemas.microsoft.com/office/drawing/2014/main" id="{56CF6EE2-68DD-8446-853C-23E1D2A09B4E}"/>
                </a:ext>
              </a:extLst>
            </p:cNvPr>
            <p:cNvSpPr txBox="1"/>
            <p:nvPr/>
          </p:nvSpPr>
          <p:spPr>
            <a:xfrm>
              <a:off x="3157369" y="6280900"/>
              <a:ext cx="338415" cy="230832"/>
            </a:xfrm>
            <a:prstGeom prst="rect">
              <a:avLst/>
            </a:prstGeom>
            <a:noFill/>
          </p:spPr>
          <p:txBody>
            <a:bodyPr wrap="square" rtlCol="0">
              <a:spAutoFit/>
            </a:bodyPr>
            <a:lstStyle/>
            <a:p>
              <a:pPr algn="ctr"/>
              <a:r>
                <a:rPr lang="en-GB" sz="900" b="1">
                  <a:solidFill>
                    <a:schemeClr val="bg1"/>
                  </a:solidFill>
                </a:rPr>
                <a:t>J8</a:t>
              </a:r>
            </a:p>
          </p:txBody>
        </p:sp>
      </p:grpSp>
      <p:grpSp>
        <p:nvGrpSpPr>
          <p:cNvPr id="885" name="Group 884">
            <a:extLst>
              <a:ext uri="{FF2B5EF4-FFF2-40B4-BE49-F238E27FC236}">
                <a16:creationId xmlns:a16="http://schemas.microsoft.com/office/drawing/2014/main" id="{D6967115-8461-6040-ABCB-F84470A6306E}"/>
              </a:ext>
            </a:extLst>
          </p:cNvPr>
          <p:cNvGrpSpPr/>
          <p:nvPr/>
        </p:nvGrpSpPr>
        <p:grpSpPr>
          <a:xfrm>
            <a:off x="2917243" y="4179801"/>
            <a:ext cx="326902" cy="230832"/>
            <a:chOff x="3169244" y="6280900"/>
            <a:chExt cx="326902" cy="230832"/>
          </a:xfrm>
        </p:grpSpPr>
        <p:sp>
          <p:nvSpPr>
            <p:cNvPr id="886" name="Rectangle 885">
              <a:extLst>
                <a:ext uri="{FF2B5EF4-FFF2-40B4-BE49-F238E27FC236}">
                  <a16:creationId xmlns:a16="http://schemas.microsoft.com/office/drawing/2014/main" id="{2F622BF6-BF33-9F4B-A87B-F42E04098DBA}"/>
                </a:ext>
              </a:extLst>
            </p:cNvPr>
            <p:cNvSpPr/>
            <p:nvPr/>
          </p:nvSpPr>
          <p:spPr>
            <a:xfrm>
              <a:off x="3218577" y="6288316"/>
              <a:ext cx="216000" cy="216000"/>
            </a:xfrm>
            <a:prstGeom prst="rect">
              <a:avLst/>
            </a:prstGeom>
            <a:solidFill>
              <a:srgbClr val="00B050"/>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87" name="TextBox 886">
              <a:extLst>
                <a:ext uri="{FF2B5EF4-FFF2-40B4-BE49-F238E27FC236}">
                  <a16:creationId xmlns:a16="http://schemas.microsoft.com/office/drawing/2014/main" id="{6DDD5FAD-7236-6F4D-ABA2-ADE9E8A3C097}"/>
                </a:ext>
              </a:extLst>
            </p:cNvPr>
            <p:cNvSpPr txBox="1"/>
            <p:nvPr/>
          </p:nvSpPr>
          <p:spPr>
            <a:xfrm>
              <a:off x="3169244" y="6280900"/>
              <a:ext cx="326902" cy="230832"/>
            </a:xfrm>
            <a:prstGeom prst="rect">
              <a:avLst/>
            </a:prstGeom>
            <a:noFill/>
          </p:spPr>
          <p:txBody>
            <a:bodyPr wrap="square" rtlCol="0">
              <a:spAutoFit/>
            </a:bodyPr>
            <a:lstStyle/>
            <a:p>
              <a:pPr algn="ctr"/>
              <a:r>
                <a:rPr lang="en-GB" sz="900" b="1">
                  <a:solidFill>
                    <a:schemeClr val="bg1"/>
                  </a:solidFill>
                </a:rPr>
                <a:t>J1</a:t>
              </a:r>
            </a:p>
          </p:txBody>
        </p:sp>
      </p:grpSp>
      <p:grpSp>
        <p:nvGrpSpPr>
          <p:cNvPr id="888" name="Group 887">
            <a:extLst>
              <a:ext uri="{FF2B5EF4-FFF2-40B4-BE49-F238E27FC236}">
                <a16:creationId xmlns:a16="http://schemas.microsoft.com/office/drawing/2014/main" id="{68E3DB02-CD0A-3B4F-9010-32C594528256}"/>
              </a:ext>
            </a:extLst>
          </p:cNvPr>
          <p:cNvGrpSpPr/>
          <p:nvPr/>
        </p:nvGrpSpPr>
        <p:grpSpPr>
          <a:xfrm>
            <a:off x="8156008" y="5711094"/>
            <a:ext cx="326902" cy="230832"/>
            <a:chOff x="3169244" y="6280900"/>
            <a:chExt cx="326902" cy="230832"/>
          </a:xfrm>
        </p:grpSpPr>
        <p:sp>
          <p:nvSpPr>
            <p:cNvPr id="889" name="Rectangle 888">
              <a:extLst>
                <a:ext uri="{FF2B5EF4-FFF2-40B4-BE49-F238E27FC236}">
                  <a16:creationId xmlns:a16="http://schemas.microsoft.com/office/drawing/2014/main" id="{5F22F15F-2DF3-5046-AF4F-0B43189A4A4E}"/>
                </a:ext>
              </a:extLst>
            </p:cNvPr>
            <p:cNvSpPr/>
            <p:nvPr/>
          </p:nvSpPr>
          <p:spPr>
            <a:xfrm>
              <a:off x="3218577" y="6288316"/>
              <a:ext cx="216000" cy="216000"/>
            </a:xfrm>
            <a:prstGeom prst="rect">
              <a:avLst/>
            </a:prstGeom>
            <a:solidFill>
              <a:srgbClr val="00B050"/>
            </a:solidFill>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90" name="TextBox 889">
              <a:extLst>
                <a:ext uri="{FF2B5EF4-FFF2-40B4-BE49-F238E27FC236}">
                  <a16:creationId xmlns:a16="http://schemas.microsoft.com/office/drawing/2014/main" id="{3D53C434-1FD8-0446-8B7F-4995D6A6504B}"/>
                </a:ext>
              </a:extLst>
            </p:cNvPr>
            <p:cNvSpPr txBox="1"/>
            <p:nvPr/>
          </p:nvSpPr>
          <p:spPr>
            <a:xfrm>
              <a:off x="3169244" y="6280900"/>
              <a:ext cx="326902" cy="230832"/>
            </a:xfrm>
            <a:prstGeom prst="rect">
              <a:avLst/>
            </a:prstGeom>
            <a:noFill/>
          </p:spPr>
          <p:txBody>
            <a:bodyPr wrap="square" rtlCol="0">
              <a:spAutoFit/>
            </a:bodyPr>
            <a:lstStyle/>
            <a:p>
              <a:pPr algn="ctr"/>
              <a:r>
                <a:rPr lang="en-GB" sz="900" b="1">
                  <a:solidFill>
                    <a:schemeClr val="bg1"/>
                  </a:solidFill>
                </a:rPr>
                <a:t>J2</a:t>
              </a:r>
            </a:p>
          </p:txBody>
        </p:sp>
      </p:grpSp>
      <p:grpSp>
        <p:nvGrpSpPr>
          <p:cNvPr id="891" name="Group 890">
            <a:extLst>
              <a:ext uri="{FF2B5EF4-FFF2-40B4-BE49-F238E27FC236}">
                <a16:creationId xmlns:a16="http://schemas.microsoft.com/office/drawing/2014/main" id="{AB95D8D6-434B-9F49-B507-B5800851B8ED}"/>
              </a:ext>
            </a:extLst>
          </p:cNvPr>
          <p:cNvGrpSpPr/>
          <p:nvPr/>
        </p:nvGrpSpPr>
        <p:grpSpPr>
          <a:xfrm>
            <a:off x="10154061" y="3115038"/>
            <a:ext cx="338415" cy="230832"/>
            <a:chOff x="3157369" y="6280900"/>
            <a:chExt cx="338415" cy="230832"/>
          </a:xfrm>
        </p:grpSpPr>
        <p:sp>
          <p:nvSpPr>
            <p:cNvPr id="892" name="Rectangle 891">
              <a:extLst>
                <a:ext uri="{FF2B5EF4-FFF2-40B4-BE49-F238E27FC236}">
                  <a16:creationId xmlns:a16="http://schemas.microsoft.com/office/drawing/2014/main" id="{4D560FAB-D887-5941-855E-A09C4EEED1FD}"/>
                </a:ext>
              </a:extLst>
            </p:cNvPr>
            <p:cNvSpPr/>
            <p:nvPr/>
          </p:nvSpPr>
          <p:spPr>
            <a:xfrm>
              <a:off x="3218577" y="6288316"/>
              <a:ext cx="216000" cy="216000"/>
            </a:xfrm>
            <a:prstGeom prst="rect">
              <a:avLst/>
            </a:prstGeom>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93" name="TextBox 892">
              <a:extLst>
                <a:ext uri="{FF2B5EF4-FFF2-40B4-BE49-F238E27FC236}">
                  <a16:creationId xmlns:a16="http://schemas.microsoft.com/office/drawing/2014/main" id="{16505C45-76DA-5446-86A6-8A8436EBD82B}"/>
                </a:ext>
              </a:extLst>
            </p:cNvPr>
            <p:cNvSpPr txBox="1"/>
            <p:nvPr/>
          </p:nvSpPr>
          <p:spPr>
            <a:xfrm>
              <a:off x="3157369" y="6280900"/>
              <a:ext cx="338415" cy="230832"/>
            </a:xfrm>
            <a:prstGeom prst="rect">
              <a:avLst/>
            </a:prstGeom>
            <a:noFill/>
          </p:spPr>
          <p:txBody>
            <a:bodyPr wrap="square" rtlCol="0">
              <a:spAutoFit/>
            </a:bodyPr>
            <a:lstStyle/>
            <a:p>
              <a:pPr algn="ctr"/>
              <a:r>
                <a:rPr lang="en-GB" sz="900" b="1">
                  <a:solidFill>
                    <a:schemeClr val="bg1"/>
                  </a:solidFill>
                </a:rPr>
                <a:t>J9</a:t>
              </a:r>
            </a:p>
          </p:txBody>
        </p:sp>
      </p:grpSp>
      <p:grpSp>
        <p:nvGrpSpPr>
          <p:cNvPr id="894" name="Group 893">
            <a:extLst>
              <a:ext uri="{FF2B5EF4-FFF2-40B4-BE49-F238E27FC236}">
                <a16:creationId xmlns:a16="http://schemas.microsoft.com/office/drawing/2014/main" id="{D5528086-CA91-2644-B6C3-E859E4140CFD}"/>
              </a:ext>
            </a:extLst>
          </p:cNvPr>
          <p:cNvGrpSpPr/>
          <p:nvPr/>
        </p:nvGrpSpPr>
        <p:grpSpPr>
          <a:xfrm>
            <a:off x="10376776" y="2783694"/>
            <a:ext cx="397752" cy="230832"/>
            <a:chOff x="3137705" y="6280900"/>
            <a:chExt cx="397752" cy="230832"/>
          </a:xfrm>
        </p:grpSpPr>
        <p:sp>
          <p:nvSpPr>
            <p:cNvPr id="895" name="Rectangle 894">
              <a:extLst>
                <a:ext uri="{FF2B5EF4-FFF2-40B4-BE49-F238E27FC236}">
                  <a16:creationId xmlns:a16="http://schemas.microsoft.com/office/drawing/2014/main" id="{EE1A7357-CC56-794F-AFBC-E0DBBF5CDC0E}"/>
                </a:ext>
              </a:extLst>
            </p:cNvPr>
            <p:cNvSpPr/>
            <p:nvPr/>
          </p:nvSpPr>
          <p:spPr>
            <a:xfrm>
              <a:off x="3218577" y="6288316"/>
              <a:ext cx="216000" cy="216000"/>
            </a:xfrm>
            <a:prstGeom prst="rect">
              <a:avLst/>
            </a:prstGeom>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96" name="TextBox 895">
              <a:extLst>
                <a:ext uri="{FF2B5EF4-FFF2-40B4-BE49-F238E27FC236}">
                  <a16:creationId xmlns:a16="http://schemas.microsoft.com/office/drawing/2014/main" id="{F4799514-401E-024D-9C98-BBA5525E951C}"/>
                </a:ext>
              </a:extLst>
            </p:cNvPr>
            <p:cNvSpPr txBox="1"/>
            <p:nvPr/>
          </p:nvSpPr>
          <p:spPr>
            <a:xfrm>
              <a:off x="3137705" y="6280900"/>
              <a:ext cx="397752" cy="230832"/>
            </a:xfrm>
            <a:prstGeom prst="rect">
              <a:avLst/>
            </a:prstGeom>
            <a:noFill/>
          </p:spPr>
          <p:txBody>
            <a:bodyPr wrap="square" rtlCol="0">
              <a:spAutoFit/>
            </a:bodyPr>
            <a:lstStyle/>
            <a:p>
              <a:pPr algn="ctr"/>
              <a:r>
                <a:rPr lang="en-GB" sz="900" b="1">
                  <a:solidFill>
                    <a:schemeClr val="bg1"/>
                  </a:solidFill>
                </a:rPr>
                <a:t>J14</a:t>
              </a:r>
            </a:p>
          </p:txBody>
        </p:sp>
      </p:grpSp>
      <p:grpSp>
        <p:nvGrpSpPr>
          <p:cNvPr id="897" name="Group 896">
            <a:extLst>
              <a:ext uri="{FF2B5EF4-FFF2-40B4-BE49-F238E27FC236}">
                <a16:creationId xmlns:a16="http://schemas.microsoft.com/office/drawing/2014/main" id="{F49BFD1F-9627-5F46-963D-3FBF69546F95}"/>
              </a:ext>
            </a:extLst>
          </p:cNvPr>
          <p:cNvGrpSpPr/>
          <p:nvPr/>
        </p:nvGrpSpPr>
        <p:grpSpPr>
          <a:xfrm>
            <a:off x="9025463" y="3343107"/>
            <a:ext cx="338415" cy="230832"/>
            <a:chOff x="3157369" y="6280900"/>
            <a:chExt cx="338415" cy="230832"/>
          </a:xfrm>
        </p:grpSpPr>
        <p:sp>
          <p:nvSpPr>
            <p:cNvPr id="898" name="Rectangle 897">
              <a:extLst>
                <a:ext uri="{FF2B5EF4-FFF2-40B4-BE49-F238E27FC236}">
                  <a16:creationId xmlns:a16="http://schemas.microsoft.com/office/drawing/2014/main" id="{C6DFCDF6-159F-D44C-B82A-6141CA1C909B}"/>
                </a:ext>
              </a:extLst>
            </p:cNvPr>
            <p:cNvSpPr/>
            <p:nvPr/>
          </p:nvSpPr>
          <p:spPr>
            <a:xfrm>
              <a:off x="3218577" y="6288316"/>
              <a:ext cx="216000" cy="216000"/>
            </a:xfrm>
            <a:prstGeom prst="rect">
              <a:avLst/>
            </a:prstGeom>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99" name="TextBox 898">
              <a:extLst>
                <a:ext uri="{FF2B5EF4-FFF2-40B4-BE49-F238E27FC236}">
                  <a16:creationId xmlns:a16="http://schemas.microsoft.com/office/drawing/2014/main" id="{46382266-EC32-D245-9CD0-D29ECC7ED8D1}"/>
                </a:ext>
              </a:extLst>
            </p:cNvPr>
            <p:cNvSpPr txBox="1"/>
            <p:nvPr/>
          </p:nvSpPr>
          <p:spPr>
            <a:xfrm>
              <a:off x="3157369" y="6280900"/>
              <a:ext cx="338415" cy="230832"/>
            </a:xfrm>
            <a:prstGeom prst="rect">
              <a:avLst/>
            </a:prstGeom>
            <a:noFill/>
          </p:spPr>
          <p:txBody>
            <a:bodyPr wrap="square" rtlCol="0">
              <a:spAutoFit/>
            </a:bodyPr>
            <a:lstStyle/>
            <a:p>
              <a:pPr algn="ctr"/>
              <a:r>
                <a:rPr lang="en-GB" sz="900" b="1">
                  <a:solidFill>
                    <a:schemeClr val="bg1"/>
                  </a:solidFill>
                </a:rPr>
                <a:t>J7</a:t>
              </a:r>
            </a:p>
          </p:txBody>
        </p:sp>
      </p:grpSp>
      <p:grpSp>
        <p:nvGrpSpPr>
          <p:cNvPr id="900" name="Group 899">
            <a:extLst>
              <a:ext uri="{FF2B5EF4-FFF2-40B4-BE49-F238E27FC236}">
                <a16:creationId xmlns:a16="http://schemas.microsoft.com/office/drawing/2014/main" id="{82A1A124-A4B4-7E4F-BDC3-0C0F37A07141}"/>
              </a:ext>
            </a:extLst>
          </p:cNvPr>
          <p:cNvGrpSpPr/>
          <p:nvPr/>
        </p:nvGrpSpPr>
        <p:grpSpPr>
          <a:xfrm>
            <a:off x="7250801" y="3782523"/>
            <a:ext cx="397752" cy="230832"/>
            <a:chOff x="3137705" y="6280900"/>
            <a:chExt cx="397752" cy="230832"/>
          </a:xfrm>
        </p:grpSpPr>
        <p:sp>
          <p:nvSpPr>
            <p:cNvPr id="901" name="Rectangle 900">
              <a:extLst>
                <a:ext uri="{FF2B5EF4-FFF2-40B4-BE49-F238E27FC236}">
                  <a16:creationId xmlns:a16="http://schemas.microsoft.com/office/drawing/2014/main" id="{5DE7C02A-C9AF-1F43-B7CD-002E90D18A49}"/>
                </a:ext>
              </a:extLst>
            </p:cNvPr>
            <p:cNvSpPr/>
            <p:nvPr/>
          </p:nvSpPr>
          <p:spPr>
            <a:xfrm>
              <a:off x="3218577" y="6288316"/>
              <a:ext cx="216000" cy="216000"/>
            </a:xfrm>
            <a:prstGeom prst="rect">
              <a:avLst/>
            </a:prstGeom>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02" name="TextBox 901">
              <a:extLst>
                <a:ext uri="{FF2B5EF4-FFF2-40B4-BE49-F238E27FC236}">
                  <a16:creationId xmlns:a16="http://schemas.microsoft.com/office/drawing/2014/main" id="{D157F64D-EA46-254C-A71E-A5BF5F437844}"/>
                </a:ext>
              </a:extLst>
            </p:cNvPr>
            <p:cNvSpPr txBox="1"/>
            <p:nvPr/>
          </p:nvSpPr>
          <p:spPr>
            <a:xfrm>
              <a:off x="3137705" y="6280900"/>
              <a:ext cx="397752" cy="230832"/>
            </a:xfrm>
            <a:prstGeom prst="rect">
              <a:avLst/>
            </a:prstGeom>
            <a:noFill/>
          </p:spPr>
          <p:txBody>
            <a:bodyPr wrap="square" rtlCol="0">
              <a:spAutoFit/>
            </a:bodyPr>
            <a:lstStyle/>
            <a:p>
              <a:pPr algn="ctr"/>
              <a:r>
                <a:rPr lang="en-GB" sz="900" b="1">
                  <a:solidFill>
                    <a:schemeClr val="bg1"/>
                  </a:solidFill>
                </a:rPr>
                <a:t>J10</a:t>
              </a:r>
            </a:p>
          </p:txBody>
        </p:sp>
      </p:grpSp>
      <p:grpSp>
        <p:nvGrpSpPr>
          <p:cNvPr id="903" name="Group 902">
            <a:extLst>
              <a:ext uri="{FF2B5EF4-FFF2-40B4-BE49-F238E27FC236}">
                <a16:creationId xmlns:a16="http://schemas.microsoft.com/office/drawing/2014/main" id="{AEF876F9-E62F-9F4E-B8DB-84625A55FDF2}"/>
              </a:ext>
            </a:extLst>
          </p:cNvPr>
          <p:cNvGrpSpPr/>
          <p:nvPr/>
        </p:nvGrpSpPr>
        <p:grpSpPr>
          <a:xfrm>
            <a:off x="8687216" y="2265657"/>
            <a:ext cx="397752" cy="230832"/>
            <a:chOff x="3137705" y="6280900"/>
            <a:chExt cx="397752" cy="230832"/>
          </a:xfrm>
        </p:grpSpPr>
        <p:sp>
          <p:nvSpPr>
            <p:cNvPr id="904" name="Rectangle 903">
              <a:extLst>
                <a:ext uri="{FF2B5EF4-FFF2-40B4-BE49-F238E27FC236}">
                  <a16:creationId xmlns:a16="http://schemas.microsoft.com/office/drawing/2014/main" id="{0EBC7B2E-3807-9B4F-887A-35D2ACBD67DA}"/>
                </a:ext>
              </a:extLst>
            </p:cNvPr>
            <p:cNvSpPr/>
            <p:nvPr/>
          </p:nvSpPr>
          <p:spPr>
            <a:xfrm>
              <a:off x="3218577" y="6288316"/>
              <a:ext cx="216000" cy="216000"/>
            </a:xfrm>
            <a:prstGeom prst="rect">
              <a:avLst/>
            </a:prstGeom>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05" name="TextBox 904">
              <a:extLst>
                <a:ext uri="{FF2B5EF4-FFF2-40B4-BE49-F238E27FC236}">
                  <a16:creationId xmlns:a16="http://schemas.microsoft.com/office/drawing/2014/main" id="{F6174B87-6B0A-914E-8DE6-910C62D7D539}"/>
                </a:ext>
              </a:extLst>
            </p:cNvPr>
            <p:cNvSpPr txBox="1"/>
            <p:nvPr/>
          </p:nvSpPr>
          <p:spPr>
            <a:xfrm>
              <a:off x="3137705" y="6280900"/>
              <a:ext cx="397752" cy="230832"/>
            </a:xfrm>
            <a:prstGeom prst="rect">
              <a:avLst/>
            </a:prstGeom>
            <a:noFill/>
          </p:spPr>
          <p:txBody>
            <a:bodyPr wrap="square" rtlCol="0">
              <a:spAutoFit/>
            </a:bodyPr>
            <a:lstStyle/>
            <a:p>
              <a:pPr algn="ctr"/>
              <a:r>
                <a:rPr lang="en-GB" sz="900" b="1">
                  <a:solidFill>
                    <a:schemeClr val="bg1"/>
                  </a:solidFill>
                </a:rPr>
                <a:t>J13</a:t>
              </a:r>
            </a:p>
          </p:txBody>
        </p:sp>
      </p:grpSp>
      <p:grpSp>
        <p:nvGrpSpPr>
          <p:cNvPr id="906" name="Group 905">
            <a:extLst>
              <a:ext uri="{FF2B5EF4-FFF2-40B4-BE49-F238E27FC236}">
                <a16:creationId xmlns:a16="http://schemas.microsoft.com/office/drawing/2014/main" id="{E0B54E39-732E-1346-BFBC-5DA77D35DDFA}"/>
              </a:ext>
            </a:extLst>
          </p:cNvPr>
          <p:cNvGrpSpPr/>
          <p:nvPr/>
        </p:nvGrpSpPr>
        <p:grpSpPr>
          <a:xfrm>
            <a:off x="9513691" y="2871566"/>
            <a:ext cx="397752" cy="230832"/>
            <a:chOff x="3137705" y="6280900"/>
            <a:chExt cx="397752" cy="230832"/>
          </a:xfrm>
        </p:grpSpPr>
        <p:sp>
          <p:nvSpPr>
            <p:cNvPr id="907" name="Rectangle 906">
              <a:extLst>
                <a:ext uri="{FF2B5EF4-FFF2-40B4-BE49-F238E27FC236}">
                  <a16:creationId xmlns:a16="http://schemas.microsoft.com/office/drawing/2014/main" id="{55C95CD2-ADA0-4D4B-A041-48B1FD4EC05E}"/>
                </a:ext>
              </a:extLst>
            </p:cNvPr>
            <p:cNvSpPr/>
            <p:nvPr/>
          </p:nvSpPr>
          <p:spPr>
            <a:xfrm>
              <a:off x="3218577" y="6288316"/>
              <a:ext cx="216000" cy="216000"/>
            </a:xfrm>
            <a:prstGeom prst="rect">
              <a:avLst/>
            </a:prstGeom>
            <a:ln>
              <a:solidFill>
                <a:srgbClr val="AC9A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08" name="TextBox 907">
              <a:extLst>
                <a:ext uri="{FF2B5EF4-FFF2-40B4-BE49-F238E27FC236}">
                  <a16:creationId xmlns:a16="http://schemas.microsoft.com/office/drawing/2014/main" id="{7AED3AF2-2941-7544-9AFB-2F81C9F44C0A}"/>
                </a:ext>
              </a:extLst>
            </p:cNvPr>
            <p:cNvSpPr txBox="1"/>
            <p:nvPr/>
          </p:nvSpPr>
          <p:spPr>
            <a:xfrm>
              <a:off x="3137705" y="6280900"/>
              <a:ext cx="397752" cy="230832"/>
            </a:xfrm>
            <a:prstGeom prst="rect">
              <a:avLst/>
            </a:prstGeom>
            <a:noFill/>
          </p:spPr>
          <p:txBody>
            <a:bodyPr wrap="square" rtlCol="0">
              <a:spAutoFit/>
            </a:bodyPr>
            <a:lstStyle/>
            <a:p>
              <a:pPr algn="ctr"/>
              <a:r>
                <a:rPr lang="en-GB" sz="900" b="1">
                  <a:solidFill>
                    <a:schemeClr val="bg1"/>
                  </a:solidFill>
                </a:rPr>
                <a:t>J12</a:t>
              </a:r>
            </a:p>
          </p:txBody>
        </p:sp>
      </p:grpSp>
      <p:grpSp>
        <p:nvGrpSpPr>
          <p:cNvPr id="909" name="Group 908">
            <a:extLst>
              <a:ext uri="{FF2B5EF4-FFF2-40B4-BE49-F238E27FC236}">
                <a16:creationId xmlns:a16="http://schemas.microsoft.com/office/drawing/2014/main" id="{01977534-0030-2B45-B13D-43E9D3F31BA6}"/>
              </a:ext>
            </a:extLst>
          </p:cNvPr>
          <p:cNvGrpSpPr/>
          <p:nvPr/>
        </p:nvGrpSpPr>
        <p:grpSpPr>
          <a:xfrm>
            <a:off x="5730573" y="3403337"/>
            <a:ext cx="397752" cy="230832"/>
            <a:chOff x="3137705" y="6274661"/>
            <a:chExt cx="397752" cy="230832"/>
          </a:xfrm>
        </p:grpSpPr>
        <p:sp>
          <p:nvSpPr>
            <p:cNvPr id="910" name="Rectangle 909">
              <a:extLst>
                <a:ext uri="{FF2B5EF4-FFF2-40B4-BE49-F238E27FC236}">
                  <a16:creationId xmlns:a16="http://schemas.microsoft.com/office/drawing/2014/main" id="{B3EC0184-0516-D54C-B153-76A94D47239C}"/>
                </a:ext>
              </a:extLst>
            </p:cNvPr>
            <p:cNvSpPr/>
            <p:nvPr/>
          </p:nvSpPr>
          <p:spPr>
            <a:xfrm>
              <a:off x="3218577" y="6288316"/>
              <a:ext cx="216000" cy="216000"/>
            </a:xfrm>
            <a:prstGeom prst="rect">
              <a:avLst/>
            </a:prstGeom>
            <a:solidFill>
              <a:srgbClr val="AC9AB1"/>
            </a:solidFill>
            <a:ln>
              <a:solidFill>
                <a:srgbClr val="5023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11" name="TextBox 910">
              <a:extLst>
                <a:ext uri="{FF2B5EF4-FFF2-40B4-BE49-F238E27FC236}">
                  <a16:creationId xmlns:a16="http://schemas.microsoft.com/office/drawing/2014/main" id="{1670617E-1DD9-AD45-B6CD-C868E8F50AD8}"/>
                </a:ext>
              </a:extLst>
            </p:cNvPr>
            <p:cNvSpPr txBox="1"/>
            <p:nvPr/>
          </p:nvSpPr>
          <p:spPr>
            <a:xfrm>
              <a:off x="3137705" y="6274661"/>
              <a:ext cx="397752" cy="230832"/>
            </a:xfrm>
            <a:prstGeom prst="rect">
              <a:avLst/>
            </a:prstGeom>
            <a:noFill/>
          </p:spPr>
          <p:txBody>
            <a:bodyPr wrap="square" rtlCol="0">
              <a:spAutoFit/>
            </a:bodyPr>
            <a:lstStyle/>
            <a:p>
              <a:pPr algn="ctr"/>
              <a:r>
                <a:rPr lang="en-GB" sz="900" b="1">
                  <a:solidFill>
                    <a:schemeClr val="bg1"/>
                  </a:solidFill>
                </a:rPr>
                <a:t>J11</a:t>
              </a:r>
            </a:p>
          </p:txBody>
        </p:sp>
      </p:grpSp>
      <p:sp>
        <p:nvSpPr>
          <p:cNvPr id="912" name="TextBox 911">
            <a:extLst>
              <a:ext uri="{FF2B5EF4-FFF2-40B4-BE49-F238E27FC236}">
                <a16:creationId xmlns:a16="http://schemas.microsoft.com/office/drawing/2014/main" id="{31BED0B1-065B-5848-83C7-D1A0138AFE32}"/>
              </a:ext>
            </a:extLst>
          </p:cNvPr>
          <p:cNvSpPr txBox="1"/>
          <p:nvPr/>
        </p:nvSpPr>
        <p:spPr>
          <a:xfrm>
            <a:off x="316334" y="2689008"/>
            <a:ext cx="849339" cy="369332"/>
          </a:xfrm>
          <a:prstGeom prst="rect">
            <a:avLst/>
          </a:prstGeom>
          <a:noFill/>
        </p:spPr>
        <p:txBody>
          <a:bodyPr wrap="square">
            <a:spAutoFit/>
          </a:bodyPr>
          <a:lstStyle/>
          <a:p>
            <a:r>
              <a:rPr lang="en-US" sz="600">
                <a:solidFill>
                  <a:srgbClr val="50235C"/>
                </a:solidFill>
              </a:rPr>
              <a:t>Raise the profile and awareness of Mental Health</a:t>
            </a:r>
          </a:p>
        </p:txBody>
      </p:sp>
      <p:sp>
        <p:nvSpPr>
          <p:cNvPr id="913" name="TextBox 912">
            <a:extLst>
              <a:ext uri="{FF2B5EF4-FFF2-40B4-BE49-F238E27FC236}">
                <a16:creationId xmlns:a16="http://schemas.microsoft.com/office/drawing/2014/main" id="{84071053-F505-7B41-818B-E22EAB6337D8}"/>
              </a:ext>
            </a:extLst>
          </p:cNvPr>
          <p:cNvSpPr txBox="1"/>
          <p:nvPr/>
        </p:nvSpPr>
        <p:spPr>
          <a:xfrm>
            <a:off x="785359" y="3711658"/>
            <a:ext cx="985727" cy="184666"/>
          </a:xfrm>
          <a:prstGeom prst="rect">
            <a:avLst/>
          </a:prstGeom>
          <a:noFill/>
        </p:spPr>
        <p:txBody>
          <a:bodyPr wrap="square">
            <a:spAutoFit/>
          </a:bodyPr>
          <a:lstStyle/>
          <a:p>
            <a:r>
              <a:rPr lang="en-US" sz="600">
                <a:solidFill>
                  <a:srgbClr val="50235C"/>
                </a:solidFill>
              </a:rPr>
              <a:t>Proactive prevention</a:t>
            </a:r>
          </a:p>
        </p:txBody>
      </p:sp>
      <p:sp>
        <p:nvSpPr>
          <p:cNvPr id="914" name="TextBox 913">
            <a:extLst>
              <a:ext uri="{FF2B5EF4-FFF2-40B4-BE49-F238E27FC236}">
                <a16:creationId xmlns:a16="http://schemas.microsoft.com/office/drawing/2014/main" id="{725686B0-C42E-F249-9783-01AB588A6AA5}"/>
              </a:ext>
            </a:extLst>
          </p:cNvPr>
          <p:cNvSpPr txBox="1"/>
          <p:nvPr/>
        </p:nvSpPr>
        <p:spPr>
          <a:xfrm>
            <a:off x="1893013" y="4724859"/>
            <a:ext cx="985727" cy="276999"/>
          </a:xfrm>
          <a:prstGeom prst="rect">
            <a:avLst/>
          </a:prstGeom>
          <a:noFill/>
        </p:spPr>
        <p:txBody>
          <a:bodyPr wrap="square">
            <a:spAutoFit/>
          </a:bodyPr>
          <a:lstStyle/>
          <a:p>
            <a:r>
              <a:rPr lang="en-US" sz="600">
                <a:solidFill>
                  <a:srgbClr val="50235C"/>
                </a:solidFill>
              </a:rPr>
              <a:t>Easy and timely access to support and services</a:t>
            </a:r>
          </a:p>
        </p:txBody>
      </p:sp>
      <p:sp>
        <p:nvSpPr>
          <p:cNvPr id="915" name="TextBox 914">
            <a:extLst>
              <a:ext uri="{FF2B5EF4-FFF2-40B4-BE49-F238E27FC236}">
                <a16:creationId xmlns:a16="http://schemas.microsoft.com/office/drawing/2014/main" id="{4EB95CD8-7FD5-FF42-B753-8EC3A09B5B1B}"/>
              </a:ext>
            </a:extLst>
          </p:cNvPr>
          <p:cNvSpPr txBox="1"/>
          <p:nvPr/>
        </p:nvSpPr>
        <p:spPr>
          <a:xfrm>
            <a:off x="3478415" y="5432168"/>
            <a:ext cx="1294893" cy="184666"/>
          </a:xfrm>
          <a:prstGeom prst="rect">
            <a:avLst/>
          </a:prstGeom>
          <a:noFill/>
        </p:spPr>
        <p:txBody>
          <a:bodyPr wrap="square">
            <a:spAutoFit/>
          </a:bodyPr>
          <a:lstStyle/>
          <a:p>
            <a:r>
              <a:rPr lang="en-US" sz="600">
                <a:solidFill>
                  <a:srgbClr val="50235C"/>
                </a:solidFill>
              </a:rPr>
              <a:t>Act as one integrated system </a:t>
            </a:r>
          </a:p>
        </p:txBody>
      </p:sp>
      <p:sp>
        <p:nvSpPr>
          <p:cNvPr id="916" name="TextBox 915">
            <a:extLst>
              <a:ext uri="{FF2B5EF4-FFF2-40B4-BE49-F238E27FC236}">
                <a16:creationId xmlns:a16="http://schemas.microsoft.com/office/drawing/2014/main" id="{A0CA02B5-CC75-0A42-BCB1-736035C4C607}"/>
              </a:ext>
            </a:extLst>
          </p:cNvPr>
          <p:cNvSpPr txBox="1"/>
          <p:nvPr/>
        </p:nvSpPr>
        <p:spPr>
          <a:xfrm>
            <a:off x="5448553" y="6032167"/>
            <a:ext cx="1294893" cy="184666"/>
          </a:xfrm>
          <a:prstGeom prst="rect">
            <a:avLst/>
          </a:prstGeom>
          <a:noFill/>
        </p:spPr>
        <p:txBody>
          <a:bodyPr wrap="square">
            <a:spAutoFit/>
          </a:bodyPr>
          <a:lstStyle/>
          <a:p>
            <a:r>
              <a:rPr lang="en-US" sz="600">
                <a:solidFill>
                  <a:srgbClr val="50235C"/>
                </a:solidFill>
              </a:rPr>
              <a:t>Focus on health inequalities </a:t>
            </a:r>
          </a:p>
        </p:txBody>
      </p:sp>
      <p:sp>
        <p:nvSpPr>
          <p:cNvPr id="917" name="TextBox 916">
            <a:extLst>
              <a:ext uri="{FF2B5EF4-FFF2-40B4-BE49-F238E27FC236}">
                <a16:creationId xmlns:a16="http://schemas.microsoft.com/office/drawing/2014/main" id="{C921AE86-DACE-044E-B0FD-E393E20AA062}"/>
              </a:ext>
            </a:extLst>
          </p:cNvPr>
          <p:cNvSpPr txBox="1"/>
          <p:nvPr/>
        </p:nvSpPr>
        <p:spPr>
          <a:xfrm>
            <a:off x="7471824" y="6329367"/>
            <a:ext cx="1294893" cy="184666"/>
          </a:xfrm>
          <a:prstGeom prst="rect">
            <a:avLst/>
          </a:prstGeom>
          <a:noFill/>
        </p:spPr>
        <p:txBody>
          <a:bodyPr wrap="square">
            <a:spAutoFit/>
          </a:bodyPr>
          <a:lstStyle/>
          <a:p>
            <a:r>
              <a:rPr lang="en-US" sz="600">
                <a:solidFill>
                  <a:srgbClr val="50235C"/>
                </a:solidFill>
              </a:rPr>
              <a:t>Build community resources</a:t>
            </a:r>
          </a:p>
        </p:txBody>
      </p:sp>
      <p:sp>
        <p:nvSpPr>
          <p:cNvPr id="918" name="TextBox 917">
            <a:extLst>
              <a:ext uri="{FF2B5EF4-FFF2-40B4-BE49-F238E27FC236}">
                <a16:creationId xmlns:a16="http://schemas.microsoft.com/office/drawing/2014/main" id="{41FED709-6A4B-3D49-8351-52420D3C9408}"/>
              </a:ext>
            </a:extLst>
          </p:cNvPr>
          <p:cNvSpPr txBox="1"/>
          <p:nvPr/>
        </p:nvSpPr>
        <p:spPr>
          <a:xfrm>
            <a:off x="9684488" y="6373511"/>
            <a:ext cx="1615976" cy="184666"/>
          </a:xfrm>
          <a:prstGeom prst="rect">
            <a:avLst/>
          </a:prstGeom>
          <a:noFill/>
        </p:spPr>
        <p:txBody>
          <a:bodyPr wrap="square">
            <a:spAutoFit/>
          </a:bodyPr>
          <a:lstStyle/>
          <a:p>
            <a:r>
              <a:rPr lang="en-US" sz="600">
                <a:solidFill>
                  <a:srgbClr val="50235C"/>
                </a:solidFill>
              </a:rPr>
              <a:t>Supported transition from services </a:t>
            </a:r>
          </a:p>
        </p:txBody>
      </p:sp>
      <p:graphicFrame>
        <p:nvGraphicFramePr>
          <p:cNvPr id="336" name="Table 335">
            <a:extLst>
              <a:ext uri="{FF2B5EF4-FFF2-40B4-BE49-F238E27FC236}">
                <a16:creationId xmlns:a16="http://schemas.microsoft.com/office/drawing/2014/main" id="{CEDFC79A-A5E5-3143-A9C1-641FA4746255}"/>
              </a:ext>
            </a:extLst>
          </p:cNvPr>
          <p:cNvGraphicFramePr>
            <a:graphicFrameLocks noGrp="1"/>
          </p:cNvGraphicFramePr>
          <p:nvPr>
            <p:extLst>
              <p:ext uri="{D42A27DB-BD31-4B8C-83A1-F6EECF244321}">
                <p14:modId xmlns:p14="http://schemas.microsoft.com/office/powerpoint/2010/main" val="1105787063"/>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Tree>
    <p:extLst>
      <p:ext uri="{BB962C8B-B14F-4D97-AF65-F5344CB8AC3E}">
        <p14:creationId xmlns:p14="http://schemas.microsoft.com/office/powerpoint/2010/main" val="220344916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2929"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en-IN" sz="2800">
              <a:solidFill>
                <a:srgbClr val="FFFFFF"/>
              </a:solidFill>
              <a:sym typeface="Arial" panose="020B0604020202020204" pitchFamily="34" charset="0"/>
            </a:endParaRPr>
          </a:p>
        </p:txBody>
      </p:sp>
      <p:sp>
        <p:nvSpPr>
          <p:cNvPr id="2" name="Title 1"/>
          <p:cNvSpPr>
            <a:spLocks noGrp="1"/>
          </p:cNvSpPr>
          <p:nvPr>
            <p:ph type="title"/>
          </p:nvPr>
        </p:nvSpPr>
        <p:spPr>
          <a:xfrm>
            <a:off x="510638" y="297277"/>
            <a:ext cx="7827117" cy="434010"/>
          </a:xfrm>
          <a:prstGeom prst="rect">
            <a:avLst/>
          </a:prstGeom>
        </p:spPr>
        <p:txBody>
          <a:bodyPr/>
          <a:lstStyle/>
          <a:p>
            <a:r>
              <a:rPr lang="en-US"/>
              <a:t>Top 10 recommendations </a:t>
            </a:r>
            <a:endParaRPr lang="en-IN"/>
          </a:p>
        </p:txBody>
      </p:sp>
      <p:sp>
        <p:nvSpPr>
          <p:cNvPr id="21" name="Rectangle 20">
            <a:extLst>
              <a:ext uri="{FF2B5EF4-FFF2-40B4-BE49-F238E27FC236}">
                <a16:creationId xmlns:a16="http://schemas.microsoft.com/office/drawing/2014/main" id="{FE740462-AEED-0B41-92DC-3A54DEB718C8}"/>
              </a:ext>
            </a:extLst>
          </p:cNvPr>
          <p:cNvSpPr/>
          <p:nvPr/>
        </p:nvSpPr>
        <p:spPr>
          <a:xfrm>
            <a:off x="647407" y="1095781"/>
            <a:ext cx="2355654" cy="434010"/>
          </a:xfrm>
          <a:prstGeom prst="rect">
            <a:avLst/>
          </a:prstGeom>
          <a:noFill/>
          <a:ln w="12700" cap="flat" cmpd="sng" algn="ctr">
            <a:noFill/>
            <a:prstDash val="solid"/>
            <a:miter lim="800000"/>
          </a:ln>
          <a:effectLst/>
        </p:spPr>
        <p:txBody>
          <a:bodyPr rtlCol="0" anchor="ctr"/>
          <a:lstStyle/>
          <a:p>
            <a:pPr lvl="0" algn="ctr" defTabSz="685800">
              <a:defRPr/>
            </a:pPr>
            <a:endParaRPr lang="en-GB" sz="1050" b="1">
              <a:solidFill>
                <a:srgbClr val="50235B"/>
              </a:solidFill>
              <a:latin typeface="Arial" panose="020B0604020202020204" pitchFamily="34" charset="0"/>
              <a:cs typeface="Arial" panose="020B0604020202020204" pitchFamily="34" charset="0"/>
            </a:endParaRPr>
          </a:p>
        </p:txBody>
      </p:sp>
      <p:graphicFrame>
        <p:nvGraphicFramePr>
          <p:cNvPr id="5" name="Table 7">
            <a:extLst>
              <a:ext uri="{FF2B5EF4-FFF2-40B4-BE49-F238E27FC236}">
                <a16:creationId xmlns:a16="http://schemas.microsoft.com/office/drawing/2014/main" id="{1F73E11B-085A-AD47-B820-F62CD6BB7304}"/>
              </a:ext>
            </a:extLst>
          </p:cNvPr>
          <p:cNvGraphicFramePr>
            <a:graphicFrameLocks noGrp="1"/>
          </p:cNvGraphicFramePr>
          <p:nvPr>
            <p:extLst>
              <p:ext uri="{D42A27DB-BD31-4B8C-83A1-F6EECF244321}">
                <p14:modId xmlns:p14="http://schemas.microsoft.com/office/powerpoint/2010/main" val="1226375081"/>
              </p:ext>
            </p:extLst>
          </p:nvPr>
        </p:nvGraphicFramePr>
        <p:xfrm>
          <a:off x="230714" y="1117066"/>
          <a:ext cx="11605687" cy="5029200"/>
        </p:xfrm>
        <a:graphic>
          <a:graphicData uri="http://schemas.openxmlformats.org/drawingml/2006/table">
            <a:tbl>
              <a:tblPr firstRow="1" bandRow="1">
                <a:tableStyleId>{5C22544A-7EE6-4342-B048-85BDC9FD1C3A}</a:tableStyleId>
              </a:tblPr>
              <a:tblGrid>
                <a:gridCol w="669399">
                  <a:extLst>
                    <a:ext uri="{9D8B030D-6E8A-4147-A177-3AD203B41FA5}">
                      <a16:colId xmlns:a16="http://schemas.microsoft.com/office/drawing/2014/main" val="1222057465"/>
                    </a:ext>
                  </a:extLst>
                </a:gridCol>
                <a:gridCol w="1017739">
                  <a:extLst>
                    <a:ext uri="{9D8B030D-6E8A-4147-A177-3AD203B41FA5}">
                      <a16:colId xmlns:a16="http://schemas.microsoft.com/office/drawing/2014/main" val="2319752415"/>
                    </a:ext>
                  </a:extLst>
                </a:gridCol>
                <a:gridCol w="3170638">
                  <a:extLst>
                    <a:ext uri="{9D8B030D-6E8A-4147-A177-3AD203B41FA5}">
                      <a16:colId xmlns:a16="http://schemas.microsoft.com/office/drawing/2014/main" val="1853970278"/>
                    </a:ext>
                  </a:extLst>
                </a:gridCol>
                <a:gridCol w="4026610">
                  <a:extLst>
                    <a:ext uri="{9D8B030D-6E8A-4147-A177-3AD203B41FA5}">
                      <a16:colId xmlns:a16="http://schemas.microsoft.com/office/drawing/2014/main" val="3087462113"/>
                    </a:ext>
                  </a:extLst>
                </a:gridCol>
                <a:gridCol w="465195">
                  <a:extLst>
                    <a:ext uri="{9D8B030D-6E8A-4147-A177-3AD203B41FA5}">
                      <a16:colId xmlns:a16="http://schemas.microsoft.com/office/drawing/2014/main" val="1029806020"/>
                    </a:ext>
                  </a:extLst>
                </a:gridCol>
                <a:gridCol w="465195">
                  <a:extLst>
                    <a:ext uri="{9D8B030D-6E8A-4147-A177-3AD203B41FA5}">
                      <a16:colId xmlns:a16="http://schemas.microsoft.com/office/drawing/2014/main" val="3714934659"/>
                    </a:ext>
                  </a:extLst>
                </a:gridCol>
                <a:gridCol w="465195">
                  <a:extLst>
                    <a:ext uri="{9D8B030D-6E8A-4147-A177-3AD203B41FA5}">
                      <a16:colId xmlns:a16="http://schemas.microsoft.com/office/drawing/2014/main" val="1845500442"/>
                    </a:ext>
                  </a:extLst>
                </a:gridCol>
                <a:gridCol w="662858">
                  <a:extLst>
                    <a:ext uri="{9D8B030D-6E8A-4147-A177-3AD203B41FA5}">
                      <a16:colId xmlns:a16="http://schemas.microsoft.com/office/drawing/2014/main" val="2590076437"/>
                    </a:ext>
                  </a:extLst>
                </a:gridCol>
                <a:gridCol w="662858">
                  <a:extLst>
                    <a:ext uri="{9D8B030D-6E8A-4147-A177-3AD203B41FA5}">
                      <a16:colId xmlns:a16="http://schemas.microsoft.com/office/drawing/2014/main" val="1385158084"/>
                    </a:ext>
                  </a:extLst>
                </a:gridCol>
              </a:tblGrid>
              <a:tr h="238589">
                <a:tc>
                  <a:txBody>
                    <a:bodyPr/>
                    <a:lstStyle/>
                    <a:p>
                      <a:pPr algn="ctr"/>
                      <a:r>
                        <a:rPr lang="en-GB" sz="800">
                          <a:solidFill>
                            <a:srgbClr val="50235C"/>
                          </a:solidFill>
                        </a:rPr>
                        <a:t>Roadmap ref</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gridSpan="2">
                  <a:txBody>
                    <a:bodyPr/>
                    <a:lstStyle/>
                    <a:p>
                      <a:r>
                        <a:rPr lang="en-GB" sz="800">
                          <a:solidFill>
                            <a:srgbClr val="50235C"/>
                          </a:solidFill>
                        </a:rPr>
                        <a:t>Future activity</a:t>
                      </a:r>
                      <a:endParaRPr lang="en-US"/>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hMerge="1">
                  <a:txBody>
                    <a:bodyPr/>
                    <a:lstStyle/>
                    <a:p>
                      <a:r>
                        <a:rPr lang="en-GB" sz="900"/>
                        <a:t>Future activity</a:t>
                      </a:r>
                    </a:p>
                  </a:txBody>
                  <a:tcPr anchor="ctr"/>
                </a:tc>
                <a:tc>
                  <a:txBody>
                    <a:bodyPr/>
                    <a:lstStyle/>
                    <a:p>
                      <a:pPr marL="0" algn="ctr" defTabSz="914400" rtl="0" eaLnBrk="1" fontAlgn="ctr" latinLnBrk="0" hangingPunct="1"/>
                      <a:r>
                        <a:rPr lang="en-GB" sz="800" b="1" kern="1200">
                          <a:solidFill>
                            <a:srgbClr val="50235C"/>
                          </a:solidFill>
                          <a:latin typeface="+mn-lt"/>
                          <a:ea typeface="+mn-ea"/>
                          <a:cs typeface="+mn-cs"/>
                        </a:rPr>
                        <a:t>Target outcome / Expected benefit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algn="ctr" defTabSz="914400" rtl="0" eaLnBrk="1" fontAlgn="ctr" latinLnBrk="0" hangingPunct="1"/>
                      <a:r>
                        <a:rPr lang="en-GB" sz="800" b="1" kern="1200">
                          <a:solidFill>
                            <a:srgbClr val="50235C"/>
                          </a:solidFill>
                          <a:latin typeface="+mn-lt"/>
                          <a:ea typeface="+mn-ea"/>
                          <a:cs typeface="+mn-cs"/>
                        </a:rPr>
                        <a:t>Impact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800" b="1" kern="1200">
                          <a:solidFill>
                            <a:srgbClr val="50235C"/>
                          </a:solidFill>
                          <a:latin typeface="+mn-lt"/>
                          <a:ea typeface="+mn-ea"/>
                          <a:cs typeface="+mn-cs"/>
                        </a:rPr>
                        <a:t>Ease</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algn="ctr" defTabSz="914400" rtl="0" eaLnBrk="1" fontAlgn="ctr" latinLnBrk="0" hangingPunct="1"/>
                      <a:r>
                        <a:rPr lang="en-GB" sz="800" b="1" kern="1200">
                          <a:solidFill>
                            <a:srgbClr val="50235C"/>
                          </a:solidFill>
                          <a:latin typeface="+mn-lt"/>
                          <a:ea typeface="+mn-ea"/>
                          <a:cs typeface="+mn-cs"/>
                        </a:rPr>
                        <a:t>Score</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algn="ctr"/>
                      <a:r>
                        <a:rPr lang="en-GB" sz="800" b="1">
                          <a:solidFill>
                            <a:srgbClr val="50235C"/>
                          </a:solidFill>
                        </a:rPr>
                        <a:t>Resource required</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algn="ctr"/>
                      <a:r>
                        <a:rPr lang="en-GB" sz="800" b="1">
                          <a:solidFill>
                            <a:srgbClr val="50235C"/>
                          </a:solidFill>
                        </a:rPr>
                        <a:t>Short /</a:t>
                      </a:r>
                    </a:p>
                    <a:p>
                      <a:pPr algn="ctr"/>
                      <a:r>
                        <a:rPr lang="en-GB" sz="800" b="1">
                          <a:solidFill>
                            <a:srgbClr val="50235C"/>
                          </a:solidFill>
                        </a:rPr>
                        <a:t>Medium /</a:t>
                      </a:r>
                      <a:br>
                        <a:rPr lang="en-GB" sz="800" b="1">
                          <a:solidFill>
                            <a:srgbClr val="50235C"/>
                          </a:solidFill>
                        </a:rPr>
                      </a:br>
                      <a:r>
                        <a:rPr lang="en-GB" sz="800" b="1">
                          <a:solidFill>
                            <a:srgbClr val="50235C"/>
                          </a:solidFill>
                        </a:rPr>
                        <a:t>Long</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extLst>
                  <a:ext uri="{0D108BD9-81ED-4DB2-BD59-A6C34878D82A}">
                    <a16:rowId xmlns:a16="http://schemas.microsoft.com/office/drawing/2014/main" val="466195498"/>
                  </a:ext>
                </a:extLst>
              </a:tr>
              <a:tr h="4572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800" b="1" kern="1200">
                          <a:solidFill>
                            <a:srgbClr val="50235C"/>
                          </a:solidFill>
                          <a:latin typeface="+mn-lt"/>
                          <a:ea typeface="+mn-ea"/>
                          <a:cs typeface="+mn-cs"/>
                        </a:rPr>
                        <a:t>★</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800" b="1" i="0" u="none" strike="noStrike">
                          <a:solidFill>
                            <a:srgbClr val="50235C"/>
                          </a:solidFill>
                          <a:effectLst/>
                          <a:latin typeface="Arial" panose="020B0604020202020204" pitchFamily="34" charset="0"/>
                          <a:cs typeface="Arial" panose="020B0604020202020204" pitchFamily="34" charset="0"/>
                        </a:rPr>
                        <a:t>All workstreams</a:t>
                      </a:r>
                    </a:p>
                  </a:txBody>
                  <a:tcPr marL="9525" marR="9525" marT="9525" marB="0"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indent="0" algn="l" rtl="0" fontAlgn="ctr">
                        <a:buFont typeface="Arial" panose="020B0604020202020204" pitchFamily="34" charset="0"/>
                        <a:buNone/>
                      </a:pPr>
                      <a:r>
                        <a:rPr lang="en-GB" sz="800" b="0" i="0" u="none" strike="noStrike">
                          <a:solidFill>
                            <a:srgbClr val="50235C"/>
                          </a:solidFill>
                          <a:effectLst/>
                          <a:latin typeface="Arial" panose="020B0604020202020204" pitchFamily="34" charset="0"/>
                          <a:cs typeface="Arial" panose="020B0604020202020204" pitchFamily="34" charset="0"/>
                        </a:rPr>
                        <a:t>Build stronger partnerships with the third across STW</a:t>
                      </a:r>
                    </a:p>
                  </a:txBody>
                  <a:tcPr marL="95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96838" indent="-87313" algn="l" defTabSz="914400" rtl="0" eaLnBrk="1" fontAlgn="ctr" latinLnBrk="0" hangingPunct="1">
                        <a:buClr>
                          <a:srgbClr val="000000"/>
                        </a:buClr>
                        <a:buSzPts val="900"/>
                        <a:buFont typeface="Arial" panose="020B0604020202020204" pitchFamily="34" charset="0"/>
                        <a:buChar char="•"/>
                        <a:tabLst/>
                      </a:pPr>
                      <a:r>
                        <a:rPr lang="en-GB" sz="800" b="0" i="0" u="none" strike="noStrike" kern="1200">
                          <a:solidFill>
                            <a:schemeClr val="tx2">
                              <a:lumMod val="65000"/>
                              <a:lumOff val="35000"/>
                            </a:schemeClr>
                          </a:solidFill>
                          <a:effectLst/>
                          <a:latin typeface="Arial" panose="020B0604020202020204" pitchFamily="34" charset="0"/>
                          <a:ea typeface="+mn-ea"/>
                          <a:cs typeface="+mn-cs"/>
                        </a:rPr>
                        <a:t>Service users always have support and care available whatever stage of their health journey they are in.</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800" b="0" i="0" u="none" strike="noStrike" kern="1200">
                          <a:solidFill>
                            <a:schemeClr val="tx2">
                              <a:lumMod val="65000"/>
                              <a:lumOff val="35000"/>
                            </a:schemeClr>
                          </a:solidFill>
                          <a:effectLst/>
                          <a:latin typeface="Arial" panose="020B0604020202020204" pitchFamily="34" charset="0"/>
                          <a:ea typeface="+mn-ea"/>
                          <a:cs typeface="+mn-cs"/>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800" b="0" i="0" u="none" strike="noStrike" kern="1200">
                          <a:solidFill>
                            <a:schemeClr val="tx2">
                              <a:lumMod val="65000"/>
                              <a:lumOff val="35000"/>
                            </a:schemeClr>
                          </a:solidFill>
                          <a:effectLst/>
                          <a:latin typeface="Arial" panose="020B0604020202020204" pitchFamily="34" charset="0"/>
                          <a:ea typeface="+mn-ea"/>
                          <a:cs typeface="+mn-cs"/>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800" b="0" i="0" u="none" strike="noStrike" kern="1200">
                          <a:solidFill>
                            <a:schemeClr val="tx2">
                              <a:lumMod val="65000"/>
                              <a:lumOff val="35000"/>
                            </a:schemeClr>
                          </a:solidFill>
                          <a:effectLst/>
                          <a:latin typeface="Arial" panose="020B0604020202020204" pitchFamily="34" charset="0"/>
                          <a:ea typeface="+mn-ea"/>
                          <a:cs typeface="+mn-cs"/>
                        </a:rPr>
                        <a:t>1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800" b="0" i="0" u="none" strike="noStrike" kern="1200">
                          <a:solidFill>
                            <a:schemeClr val="tx2">
                              <a:lumMod val="65000"/>
                              <a:lumOff val="35000"/>
                            </a:schemeClr>
                          </a:solidFill>
                          <a:effectLst/>
                          <a:latin typeface="Arial" panose="020B0604020202020204" pitchFamily="34" charset="0"/>
                          <a:ea typeface="+mn-ea"/>
                          <a:cs typeface="+mn-cs"/>
                        </a:rPr>
                        <a:t>Medium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800" b="1" i="0" u="none" strike="noStrike" kern="1200">
                          <a:solidFill>
                            <a:schemeClr val="tx2">
                              <a:lumMod val="65000"/>
                              <a:lumOff val="35000"/>
                            </a:schemeClr>
                          </a:solidFill>
                          <a:effectLst/>
                          <a:latin typeface="Arial" panose="020B0604020202020204" pitchFamily="34" charset="0"/>
                          <a:ea typeface="+mn-ea"/>
                          <a:cs typeface="+mn-cs"/>
                        </a:rPr>
                        <a:t>Medium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1738425369"/>
                  </a:ext>
                </a:extLst>
              </a:tr>
              <a:tr h="4572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strike="noStrike">
                          <a:solidFill>
                            <a:srgbClr val="50235C"/>
                          </a:solidFill>
                        </a:rPr>
                        <a:t>D1</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800" b="1" i="0" u="none" strike="noStrike">
                          <a:solidFill>
                            <a:srgbClr val="50235C"/>
                          </a:solidFill>
                          <a:effectLst/>
                          <a:latin typeface="Arial" panose="020B0604020202020204" pitchFamily="34" charset="0"/>
                          <a:cs typeface="Arial" panose="020B0604020202020204" pitchFamily="34" charset="0"/>
                        </a:rPr>
                        <a:t>Act as one system </a:t>
                      </a:r>
                    </a:p>
                  </a:txBody>
                  <a:tcPr marL="9525" marR="9525" marT="9525" marB="0"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
                          <a:srgbClr val="000000"/>
                        </a:buClr>
                        <a:buSzPts val="900"/>
                        <a:buFont typeface="Arial" panose="020B0604020202020204" pitchFamily="34" charset="0"/>
                        <a:buNone/>
                        <a:tabLst/>
                        <a:defRPr/>
                      </a:pPr>
                      <a:r>
                        <a:rPr lang="en-GB" sz="800" b="0" i="0" u="none" strike="noStrike" kern="1200">
                          <a:solidFill>
                            <a:srgbClr val="50235C"/>
                          </a:solidFill>
                          <a:effectLst/>
                          <a:latin typeface="Arial" panose="020B0604020202020204" pitchFamily="34" charset="0"/>
                          <a:ea typeface="+mn-ea"/>
                          <a:cs typeface="Arial" panose="020B0604020202020204" pitchFamily="34" charset="0"/>
                        </a:rPr>
                        <a:t>MDT approach (between Primary Care, Secondary care and Third Sector)</a:t>
                      </a:r>
                    </a:p>
                  </a:txBody>
                  <a:tcPr marL="95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marR="0" lvl="0" indent="-74613" algn="l" defTabSz="914400" rtl="0" eaLnBrk="1" fontAlgn="ctr" latinLnBrk="0" hangingPunct="1">
                        <a:lnSpc>
                          <a:spcPct val="100000"/>
                        </a:lnSpc>
                        <a:spcBef>
                          <a:spcPts val="0"/>
                        </a:spcBef>
                        <a:spcAft>
                          <a:spcPts val="0"/>
                        </a:spcAft>
                        <a:buClr>
                          <a:srgbClr val="000000"/>
                        </a:buClr>
                        <a:buSzPts val="900"/>
                        <a:buFont typeface="Arial" panose="020B0604020202020204" pitchFamily="34" charset="0"/>
                        <a:buChar char="•"/>
                        <a:tabLst/>
                        <a:defRPr/>
                      </a:pPr>
                      <a:r>
                        <a:rPr lang="en-GB" sz="800" b="0" i="0" u="none" strike="noStrike" kern="1200">
                          <a:solidFill>
                            <a:schemeClr val="tx2">
                              <a:lumMod val="65000"/>
                              <a:lumOff val="35000"/>
                            </a:schemeClr>
                          </a:solidFill>
                          <a:effectLst/>
                          <a:latin typeface="Arial" panose="020B0604020202020204" pitchFamily="34" charset="0"/>
                          <a:ea typeface="+mn-ea"/>
                          <a:cs typeface="+mn-cs"/>
                        </a:rPr>
                        <a:t>Better care outcomes for service users, especially those suffering with long-term conditions.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800" b="0" i="0" u="none" strike="noStrike" kern="1200">
                          <a:solidFill>
                            <a:schemeClr val="tx2">
                              <a:lumMod val="65000"/>
                              <a:lumOff val="35000"/>
                            </a:schemeClr>
                          </a:solidFill>
                          <a:effectLst/>
                          <a:latin typeface="Arial" panose="020B0604020202020204" pitchFamily="34" charset="0"/>
                          <a:ea typeface="+mn-ea"/>
                          <a:cs typeface="+mn-cs"/>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800" b="0" i="0" u="none" strike="noStrike" kern="1200">
                          <a:solidFill>
                            <a:schemeClr val="tx2">
                              <a:lumMod val="65000"/>
                              <a:lumOff val="35000"/>
                            </a:schemeClr>
                          </a:solidFill>
                          <a:effectLst/>
                          <a:latin typeface="Arial" panose="020B0604020202020204" pitchFamily="34" charset="0"/>
                          <a:ea typeface="+mn-ea"/>
                          <a:cs typeface="+mn-cs"/>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800" b="0" i="0" u="none" strike="noStrike" kern="1200">
                          <a:solidFill>
                            <a:schemeClr val="tx2">
                              <a:lumMod val="65000"/>
                              <a:lumOff val="35000"/>
                            </a:schemeClr>
                          </a:solidFill>
                          <a:effectLst/>
                          <a:latin typeface="Arial" panose="020B0604020202020204" pitchFamily="34" charset="0"/>
                          <a:ea typeface="+mn-ea"/>
                          <a:cs typeface="+mn-cs"/>
                        </a:rPr>
                        <a:t>20</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800" b="0" i="0" u="none" strike="noStrike" kern="1200">
                          <a:solidFill>
                            <a:schemeClr val="tx2">
                              <a:lumMod val="65000"/>
                              <a:lumOff val="35000"/>
                            </a:schemeClr>
                          </a:solidFill>
                          <a:effectLst/>
                          <a:latin typeface="Arial" panose="020B0604020202020204" pitchFamily="34" charset="0"/>
                          <a:ea typeface="+mn-ea"/>
                          <a:cs typeface="+mn-cs"/>
                        </a:rPr>
                        <a:t>High (but already paid)</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800" b="1" i="0" u="none" strike="noStrike" kern="1200">
                          <a:solidFill>
                            <a:schemeClr val="tx2">
                              <a:lumMod val="65000"/>
                              <a:lumOff val="35000"/>
                            </a:schemeClr>
                          </a:solidFill>
                          <a:effectLst/>
                          <a:latin typeface="Arial" panose="020B0604020202020204" pitchFamily="34" charset="0"/>
                          <a:ea typeface="+mn-ea"/>
                          <a:cs typeface="+mn-cs"/>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4199580168"/>
                  </a:ext>
                </a:extLst>
              </a:tr>
              <a:tr h="4572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a:solidFill>
                            <a:srgbClr val="50235C"/>
                          </a:solidFill>
                          <a:latin typeface="+mn-lt"/>
                          <a:ea typeface="+mn-ea"/>
                          <a:cs typeface="+mn-cs"/>
                        </a:rPr>
                        <a:t>C1 </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800" b="1">
                          <a:solidFill>
                            <a:srgbClr val="50235C"/>
                          </a:solidFill>
                          <a:latin typeface="Arial" panose="020B0604020202020204" pitchFamily="34" charset="0"/>
                          <a:cs typeface="Arial" panose="020B0604020202020204" pitchFamily="34" charset="0"/>
                        </a:rPr>
                        <a:t>Easy and timely access to support and services</a:t>
                      </a:r>
                      <a:endParaRPr lang="en-GB" sz="800" b="1" i="0" u="none" strike="noStrike">
                        <a:solidFill>
                          <a:srgbClr val="50235C"/>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indent="0" algn="l" rtl="0" fontAlgn="ctr">
                        <a:buFont typeface="Arial" panose="020B0604020202020204" pitchFamily="34" charset="0"/>
                        <a:buNone/>
                      </a:pPr>
                      <a:r>
                        <a:rPr lang="en-GB" sz="800" b="0" i="0" u="none" strike="noStrike">
                          <a:solidFill>
                            <a:srgbClr val="50235C"/>
                          </a:solidFill>
                          <a:effectLst/>
                          <a:latin typeface="Arial" panose="020B0604020202020204" pitchFamily="34" charset="0"/>
                          <a:cs typeface="Arial" panose="020B0604020202020204" pitchFamily="34" charset="0"/>
                        </a:rPr>
                        <a:t>Improved communication and awareness of third sector offering</a:t>
                      </a:r>
                    </a:p>
                  </a:txBody>
                  <a:tcPr marL="95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84150" indent="-87313" algn="l" defTabSz="914400" rtl="0" eaLnBrk="1" fontAlgn="ctr" latinLnBrk="0" hangingPunct="1">
                        <a:buClr>
                          <a:srgbClr val="000000"/>
                        </a:buClr>
                        <a:buSzPts val="900"/>
                        <a:buFont typeface="Arial" panose="020B0604020202020204" pitchFamily="34" charset="0"/>
                        <a:buChar char="•"/>
                        <a:tabLst/>
                      </a:pPr>
                      <a:r>
                        <a:rPr lang="en-GB" sz="800" b="0" i="0" u="none" strike="noStrike" kern="1200">
                          <a:solidFill>
                            <a:schemeClr val="tx2">
                              <a:lumMod val="65000"/>
                              <a:lumOff val="35000"/>
                            </a:schemeClr>
                          </a:solidFill>
                          <a:effectLst/>
                          <a:latin typeface="Arial" panose="020B0604020202020204" pitchFamily="34" charset="0"/>
                          <a:ea typeface="+mn-ea"/>
                          <a:cs typeface="+mn-cs"/>
                        </a:rPr>
                        <a:t>Reduced demand for secondary care MH services as people are accessing third sector support.</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16</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800" b="0">
                          <a:solidFill>
                            <a:schemeClr val="tx2">
                              <a:lumMod val="65000"/>
                              <a:lumOff val="35000"/>
                            </a:schemeClr>
                          </a:solidFill>
                        </a:rPr>
                        <a:t>Low</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800" b="1">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570282075"/>
                  </a:ext>
                </a:extLst>
              </a:tr>
              <a:tr h="4572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a:solidFill>
                            <a:srgbClr val="50235C"/>
                          </a:solidFill>
                          <a:latin typeface="+mn-lt"/>
                          <a:ea typeface="+mn-ea"/>
                          <a:cs typeface="+mn-cs"/>
                        </a:rPr>
                        <a:t>A1</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800" b="1" i="0" u="none" strike="noStrike">
                          <a:solidFill>
                            <a:srgbClr val="50235C"/>
                          </a:solidFill>
                          <a:effectLst/>
                          <a:latin typeface="Arial" panose="020B0604020202020204" pitchFamily="34" charset="0"/>
                          <a:cs typeface="Arial" panose="020B0604020202020204" pitchFamily="34" charset="0"/>
                        </a:rPr>
                        <a:t>Raise the profile and awareness of mental health </a:t>
                      </a:r>
                    </a:p>
                  </a:txBody>
                  <a:tcPr marL="9525" marR="9525" marT="9525" marB="0"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indent="0" algn="l" rtl="0" fontAlgn="ctr">
                        <a:buFont typeface="Arial" panose="020B0604020202020204" pitchFamily="34" charset="0"/>
                        <a:buNone/>
                      </a:pPr>
                      <a:r>
                        <a:rPr lang="en-GB" sz="800" b="0" i="0" u="none" strike="noStrike">
                          <a:solidFill>
                            <a:srgbClr val="50235C"/>
                          </a:solidFill>
                          <a:effectLst/>
                          <a:latin typeface="Arial" panose="020B0604020202020204" pitchFamily="34" charset="0"/>
                          <a:cs typeface="Arial" panose="020B0604020202020204" pitchFamily="34" charset="0"/>
                        </a:rPr>
                        <a:t>Increase staff education on MH services to reduce the stigma across services against those tying to access MH services.</a:t>
                      </a:r>
                    </a:p>
                  </a:txBody>
                  <a:tcPr marL="95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96838" indent="-87313" algn="l" defTabSz="914400" rtl="0" eaLnBrk="1" fontAlgn="ctr" latinLnBrk="0" hangingPunct="1">
                        <a:buClr>
                          <a:srgbClr val="000000"/>
                        </a:buClr>
                        <a:buSzPts val="900"/>
                        <a:buFont typeface="Arial" panose="020B0604020202020204" pitchFamily="34" charset="0"/>
                        <a:buChar char="•"/>
                        <a:tabLst/>
                      </a:pPr>
                      <a:r>
                        <a:rPr lang="en-GB" sz="800" b="0" i="0" u="none" strike="noStrike" kern="1200">
                          <a:solidFill>
                            <a:schemeClr val="tx2">
                              <a:lumMod val="65000"/>
                              <a:lumOff val="35000"/>
                            </a:schemeClr>
                          </a:solidFill>
                          <a:effectLst/>
                          <a:latin typeface="Arial" panose="020B0604020202020204" pitchFamily="34" charset="0"/>
                          <a:ea typeface="+mn-ea"/>
                          <a:cs typeface="+mn-cs"/>
                        </a:rPr>
                        <a:t>Workforce that understands mental health and is better equipped to spot mental health issues and sign post service users to the appropriate services at the right time. </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1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800" b="0">
                          <a:solidFill>
                            <a:schemeClr val="tx2">
                              <a:lumMod val="65000"/>
                              <a:lumOff val="35000"/>
                            </a:schemeClr>
                          </a:solidFill>
                        </a:rPr>
                        <a:t>Medium </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800" b="1">
                          <a:solidFill>
                            <a:schemeClr val="tx2">
                              <a:lumMod val="65000"/>
                              <a:lumOff val="35000"/>
                            </a:schemeClr>
                          </a:solidFill>
                        </a:rPr>
                        <a:t>Medium </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2752216538"/>
                  </a:ext>
                </a:extLst>
              </a:tr>
              <a:tr h="4572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a:solidFill>
                            <a:srgbClr val="50235C"/>
                          </a:solidFill>
                          <a:latin typeface="+mn-lt"/>
                          <a:ea typeface="+mn-ea"/>
                          <a:cs typeface="+mn-cs"/>
                        </a:rPr>
                        <a:t>E2</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GB" sz="800" b="1" i="0" u="none" strike="noStrike">
                          <a:solidFill>
                            <a:srgbClr val="50235C"/>
                          </a:solidFill>
                          <a:effectLst/>
                          <a:latin typeface="Arial" panose="020B0604020202020204" pitchFamily="34" charset="0"/>
                          <a:cs typeface="Arial" panose="020B0604020202020204" pitchFamily="34" charset="0"/>
                        </a:rPr>
                        <a:t>Health inequalities </a:t>
                      </a:r>
                    </a:p>
                  </a:txBody>
                  <a:tcPr marL="9525" marR="9525" marT="9525" marB="0"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800" b="0" i="0" u="none" strike="noStrike">
                          <a:solidFill>
                            <a:srgbClr val="50235C"/>
                          </a:solidFill>
                          <a:effectLst/>
                          <a:latin typeface="Arial" panose="020B0604020202020204" pitchFamily="34" charset="0"/>
                          <a:cs typeface="Arial" panose="020B0604020202020204" pitchFamily="34" charset="0"/>
                        </a:rPr>
                        <a:t>Build a formalised alliance with the third sector to improve proactive engagement with all community groups.</a:t>
                      </a:r>
                    </a:p>
                  </a:txBody>
                  <a:tcPr marL="95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96838" indent="-87313" algn="l" defTabSz="914400" rtl="0" eaLnBrk="1" fontAlgn="ctr" latinLnBrk="0" hangingPunct="1">
                        <a:buClr>
                          <a:srgbClr val="000000"/>
                        </a:buClr>
                        <a:buSzPts val="900"/>
                        <a:buFont typeface="Arial" panose="020B0604020202020204" pitchFamily="34" charset="0"/>
                        <a:buChar char="•"/>
                        <a:tabLst/>
                      </a:pPr>
                      <a:r>
                        <a:rPr lang="en-GB" sz="800" b="0" i="0" u="none" strike="noStrike" kern="1200">
                          <a:solidFill>
                            <a:schemeClr val="tx2">
                              <a:lumMod val="65000"/>
                              <a:lumOff val="35000"/>
                            </a:schemeClr>
                          </a:solidFill>
                          <a:effectLst/>
                          <a:latin typeface="Arial" panose="020B0604020202020204" pitchFamily="34" charset="0"/>
                          <a:ea typeface="+mn-ea"/>
                          <a:cs typeface="+mn-cs"/>
                        </a:rPr>
                        <a:t>Patients who may not otherwise access care and support have the opportunity to do so, supporting their long term health outcomes.</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1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Medium</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1" i="0" u="none" strike="noStrike">
                          <a:solidFill>
                            <a:schemeClr val="tx2">
                              <a:lumMod val="65000"/>
                              <a:lumOff val="35000"/>
                            </a:schemeClr>
                          </a:solidFill>
                          <a:effectLst/>
                          <a:latin typeface="Arial" panose="020B0604020202020204" pitchFamily="34" charset="0"/>
                        </a:rPr>
                        <a:t>Medium</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3935458060"/>
                  </a:ext>
                </a:extLst>
              </a:tr>
              <a:tr h="4572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a:solidFill>
                            <a:srgbClr val="50235C"/>
                          </a:solidFill>
                          <a:latin typeface="+mn-lt"/>
                          <a:ea typeface="+mn-ea"/>
                          <a:cs typeface="+mn-cs"/>
                        </a:rPr>
                        <a:t>E3</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GB" sz="800" b="1" i="0" u="none" strike="noStrike">
                          <a:solidFill>
                            <a:srgbClr val="50235C"/>
                          </a:solidFill>
                          <a:effectLst/>
                          <a:latin typeface="Arial" panose="020B0604020202020204" pitchFamily="34" charset="0"/>
                          <a:cs typeface="Arial" panose="020B0604020202020204" pitchFamily="34" charset="0"/>
                        </a:rPr>
                        <a:t>Health inequalities </a:t>
                      </a:r>
                    </a:p>
                  </a:txBody>
                  <a:tcPr marL="9525" marR="9525" marT="9525" marB="0"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800" b="0" i="0" u="none" strike="noStrike">
                          <a:solidFill>
                            <a:srgbClr val="50235C"/>
                          </a:solidFill>
                          <a:effectLst/>
                          <a:latin typeface="Arial" panose="020B0604020202020204" pitchFamily="34" charset="0"/>
                          <a:cs typeface="Arial" panose="020B0604020202020204" pitchFamily="34" charset="0"/>
                        </a:rPr>
                        <a:t>Develop and target interventions for particular cohorts linked to place and known population risk</a:t>
                      </a:r>
                    </a:p>
                  </a:txBody>
                  <a:tcPr marL="95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96838" indent="-87313" algn="l" defTabSz="914400" rtl="0" eaLnBrk="1" fontAlgn="ctr" latinLnBrk="0" hangingPunct="1">
                        <a:buClr>
                          <a:srgbClr val="000000"/>
                        </a:buClr>
                        <a:buSzPts val="900"/>
                        <a:buFont typeface="Arial" panose="020B0604020202020204" pitchFamily="34" charset="0"/>
                        <a:buChar char="•"/>
                        <a:tabLst/>
                      </a:pPr>
                      <a:r>
                        <a:rPr lang="en-GB" sz="800" b="0" i="0" u="none" strike="noStrike" kern="1200">
                          <a:solidFill>
                            <a:schemeClr val="tx2">
                              <a:lumMod val="65000"/>
                              <a:lumOff val="35000"/>
                            </a:schemeClr>
                          </a:solidFill>
                          <a:effectLst/>
                          <a:latin typeface="Arial" panose="020B0604020202020204" pitchFamily="34" charset="0"/>
                          <a:ea typeface="+mn-ea"/>
                          <a:cs typeface="+mn-cs"/>
                        </a:rPr>
                        <a:t>People most at risk of MH conditions are given proactive care and prevented from needing to be admitted into inpatient units, reducing the pressure on the wider system</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1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Medium</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1" i="0" u="none" strike="noStrike">
                          <a:solidFill>
                            <a:schemeClr val="tx2">
                              <a:lumMod val="65000"/>
                              <a:lumOff val="35000"/>
                            </a:schemeClr>
                          </a:solidFill>
                          <a:effectLst/>
                          <a:latin typeface="Arial" panose="020B0604020202020204" pitchFamily="34" charset="0"/>
                        </a:rPr>
                        <a:t>Medium</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3198809439"/>
                  </a:ext>
                </a:extLst>
              </a:tr>
              <a:tr h="4572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a:solidFill>
                            <a:srgbClr val="50235C"/>
                          </a:solidFill>
                          <a:latin typeface="+mn-lt"/>
                          <a:ea typeface="+mn-ea"/>
                          <a:cs typeface="+mn-cs"/>
                        </a:rPr>
                        <a:t>E4</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GB" sz="800" b="1" i="0" u="none" strike="noStrike">
                          <a:solidFill>
                            <a:srgbClr val="50235C"/>
                          </a:solidFill>
                          <a:effectLst/>
                          <a:latin typeface="Arial" panose="020B0604020202020204" pitchFamily="34" charset="0"/>
                          <a:cs typeface="Arial" panose="020B0604020202020204" pitchFamily="34" charset="0"/>
                        </a:rPr>
                        <a:t>Health inequalities </a:t>
                      </a:r>
                    </a:p>
                  </a:txBody>
                  <a:tcPr marL="9525" marR="9525" marT="9525" marB="0"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800" b="0" i="0" u="none" strike="noStrike">
                          <a:solidFill>
                            <a:srgbClr val="50235C"/>
                          </a:solidFill>
                          <a:effectLst/>
                          <a:latin typeface="Arial" panose="020B0604020202020204" pitchFamily="34" charset="0"/>
                          <a:cs typeface="Arial" panose="020B0604020202020204" pitchFamily="34" charset="0"/>
                        </a:rPr>
                        <a:t>Target resources at the most deprived wards that have been highlighted e.g. South East Telford PCN footprint</a:t>
                      </a:r>
                    </a:p>
                  </a:txBody>
                  <a:tcPr marL="95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96838" indent="-87313" algn="l" defTabSz="914400" rtl="0" eaLnBrk="1" fontAlgn="ctr" latinLnBrk="0" hangingPunct="1">
                        <a:buClr>
                          <a:srgbClr val="000000"/>
                        </a:buClr>
                        <a:buSzPts val="900"/>
                        <a:buFont typeface="Arial" panose="020B0604020202020204" pitchFamily="34" charset="0"/>
                        <a:buChar char="•"/>
                        <a:tabLst/>
                      </a:pPr>
                      <a:r>
                        <a:rPr lang="en-GB" sz="800" b="0" i="0" u="none" strike="noStrike" kern="1200">
                          <a:solidFill>
                            <a:schemeClr val="tx2">
                              <a:lumMod val="65000"/>
                              <a:lumOff val="35000"/>
                            </a:schemeClr>
                          </a:solidFill>
                          <a:effectLst/>
                          <a:latin typeface="Arial" panose="020B0604020202020204" pitchFamily="34" charset="0"/>
                          <a:ea typeface="+mn-ea"/>
                          <a:cs typeface="+mn-cs"/>
                        </a:rPr>
                        <a:t>People most at risk of MH conditions are given proactive care and prevented from needing to be admitted into inpatient units, reducing the pressure on the wider system</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1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Medium</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1" i="0" u="none" strike="noStrike">
                          <a:solidFill>
                            <a:schemeClr val="tx2">
                              <a:lumMod val="65000"/>
                              <a:lumOff val="35000"/>
                            </a:schemeClr>
                          </a:solidFill>
                          <a:effectLst/>
                          <a:latin typeface="Arial" panose="020B0604020202020204" pitchFamily="34" charset="0"/>
                        </a:rPr>
                        <a:t>Medium</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1658197614"/>
                  </a:ext>
                </a:extLst>
              </a:tr>
              <a:tr h="4572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a:solidFill>
                            <a:srgbClr val="50235C"/>
                          </a:solidFill>
                          <a:latin typeface="+mn-lt"/>
                          <a:ea typeface="+mn-ea"/>
                          <a:cs typeface="+mn-cs"/>
                        </a:rPr>
                        <a:t>G1</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800" b="1" i="0" u="none" strike="noStrike">
                          <a:solidFill>
                            <a:srgbClr val="50235C"/>
                          </a:solidFill>
                          <a:effectLst/>
                          <a:latin typeface="Arial" panose="020B0604020202020204" pitchFamily="34" charset="0"/>
                          <a:cs typeface="Arial" panose="020B0604020202020204" pitchFamily="34" charset="0"/>
                        </a:rPr>
                        <a:t>Support the workforce and their wellbeing </a:t>
                      </a:r>
                    </a:p>
                  </a:txBody>
                  <a:tcPr marL="9525" marR="9525" marT="9525" marB="0"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800" b="0" i="0" u="none" strike="noStrike">
                          <a:solidFill>
                            <a:srgbClr val="50235C"/>
                          </a:solidFill>
                          <a:effectLst/>
                          <a:latin typeface="Arial" panose="020B0604020202020204" pitchFamily="34" charset="0"/>
                          <a:cs typeface="Arial" panose="020B0604020202020204" pitchFamily="34" charset="0"/>
                        </a:rPr>
                        <a:t>Include voluntary sector in training opportunities</a:t>
                      </a:r>
                    </a:p>
                  </a:txBody>
                  <a:tcPr marL="95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84150" indent="-87313" algn="l" defTabSz="914400" rtl="0" eaLnBrk="1" fontAlgn="ctr" latinLnBrk="0" hangingPunct="1">
                        <a:buClr>
                          <a:srgbClr val="000000"/>
                        </a:buClr>
                        <a:buSzPts val="900"/>
                        <a:buFont typeface="Arial" panose="020B0604020202020204" pitchFamily="34" charset="0"/>
                        <a:buChar char="•"/>
                        <a:tabLst/>
                      </a:pPr>
                      <a:r>
                        <a:rPr lang="en-GB" sz="800" b="0" i="0" u="none" strike="noStrike" kern="1200">
                          <a:solidFill>
                            <a:schemeClr val="tx2">
                              <a:lumMod val="65000"/>
                              <a:lumOff val="35000"/>
                            </a:schemeClr>
                          </a:solidFill>
                          <a:effectLst/>
                          <a:latin typeface="Arial" panose="020B0604020202020204" pitchFamily="34" charset="0"/>
                          <a:ea typeface="+mn-ea"/>
                          <a:cs typeface="+mn-cs"/>
                        </a:rPr>
                        <a:t>Voluntary sector are better equipped to support service users, reducing referrals into physical care settings.</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1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800" b="0">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800" b="1">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74048181"/>
                  </a:ext>
                </a:extLst>
              </a:tr>
              <a:tr h="4572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a:solidFill>
                            <a:srgbClr val="50235C"/>
                          </a:solidFill>
                          <a:latin typeface="+mn-lt"/>
                          <a:ea typeface="+mn-ea"/>
                          <a:cs typeface="+mn-cs"/>
                        </a:rPr>
                        <a:t>B1</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800" b="1" i="0" u="none" strike="noStrike">
                          <a:solidFill>
                            <a:srgbClr val="50235C"/>
                          </a:solidFill>
                          <a:effectLst/>
                          <a:latin typeface="Arial" panose="020B0604020202020204" pitchFamily="34" charset="0"/>
                          <a:cs typeface="Arial" panose="020B0604020202020204" pitchFamily="34" charset="0"/>
                        </a:rPr>
                        <a:t>Proactive prevention </a:t>
                      </a:r>
                    </a:p>
                  </a:txBody>
                  <a:tcPr marL="9525" marR="9525" marT="9525" marB="0"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800" b="0" i="0" u="none" strike="noStrike">
                          <a:solidFill>
                            <a:srgbClr val="50235C"/>
                          </a:solidFill>
                          <a:effectLst/>
                          <a:latin typeface="Arial" panose="020B0604020202020204" pitchFamily="34" charset="0"/>
                          <a:cs typeface="Arial" panose="020B0604020202020204" pitchFamily="34" charset="0"/>
                        </a:rPr>
                        <a:t>Expansion of Early Intervention Psychosis programme and development of At Risk Mental States</a:t>
                      </a:r>
                    </a:p>
                  </a:txBody>
                  <a:tcPr marL="95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96838" indent="-87313" algn="l" defTabSz="914400" rtl="0" eaLnBrk="1" fontAlgn="ctr" latinLnBrk="0" hangingPunct="1">
                        <a:buClr>
                          <a:srgbClr val="000000"/>
                        </a:buClr>
                        <a:buSzPts val="900"/>
                        <a:buFont typeface="Arial" panose="020B0604020202020204" pitchFamily="34" charset="0"/>
                        <a:buChar char="•"/>
                        <a:tabLst/>
                      </a:pPr>
                      <a:r>
                        <a:rPr lang="en-GB" sz="800" b="0" i="0" u="none" strike="noStrike" kern="1200">
                          <a:solidFill>
                            <a:schemeClr val="tx2">
                              <a:lumMod val="65000"/>
                              <a:lumOff val="35000"/>
                            </a:schemeClr>
                          </a:solidFill>
                          <a:effectLst/>
                          <a:latin typeface="Arial" panose="020B0604020202020204" pitchFamily="34" charset="0"/>
                          <a:ea typeface="+mn-ea"/>
                          <a:cs typeface="+mn-cs"/>
                        </a:rPr>
                        <a:t>Create more capacity to provide early intervention for those with psychosis to reduce admissions to A&amp;E, inpatient wards and other forms of compulsory treatment.  </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800" b="0" i="0" u="none" strike="noStrike">
                          <a:solidFill>
                            <a:schemeClr val="tx2">
                              <a:lumMod val="65000"/>
                              <a:lumOff val="35000"/>
                            </a:schemeClr>
                          </a:solidFill>
                          <a:effectLst/>
                          <a:latin typeface="Arial" panose="020B0604020202020204" pitchFamily="34" charset="0"/>
                        </a:rPr>
                        <a:t>1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800" b="0">
                          <a:solidFill>
                            <a:schemeClr val="tx2">
                              <a:lumMod val="65000"/>
                              <a:lumOff val="35000"/>
                            </a:schemeClr>
                          </a:solidFill>
                        </a:rPr>
                        <a:t>High</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800" b="1">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2726136863"/>
                  </a:ext>
                </a:extLst>
              </a:tr>
              <a:tr h="4572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a:solidFill>
                            <a:srgbClr val="50235C"/>
                          </a:solidFill>
                          <a:latin typeface="+mn-lt"/>
                          <a:ea typeface="+mn-ea"/>
                          <a:cs typeface="+mn-cs"/>
                        </a:rPr>
                        <a:t>F3</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800" b="1" i="0" u="none" strike="noStrike">
                          <a:solidFill>
                            <a:srgbClr val="50235C"/>
                          </a:solidFill>
                          <a:effectLst/>
                          <a:latin typeface="Arial" panose="020B0604020202020204" pitchFamily="34" charset="0"/>
                          <a:cs typeface="Arial" panose="020B0604020202020204" pitchFamily="34" charset="0"/>
                        </a:rPr>
                        <a:t>Build community resources </a:t>
                      </a:r>
                    </a:p>
                  </a:txBody>
                  <a:tcPr marL="9525" marR="9525" marT="9525" marB="0"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800" b="0" i="0" u="none" strike="noStrike" kern="1200">
                          <a:solidFill>
                            <a:srgbClr val="50235C"/>
                          </a:solidFill>
                          <a:effectLst/>
                          <a:latin typeface="Arial" panose="020B0604020202020204" pitchFamily="34" charset="0"/>
                          <a:ea typeface="+mn-ea"/>
                          <a:cs typeface="Arial" panose="020B0604020202020204" pitchFamily="34" charset="0"/>
                        </a:rPr>
                        <a:t>Better collaboration between primary and secondary care around use of medicines and prescribing</a:t>
                      </a:r>
                    </a:p>
                  </a:txBody>
                  <a:tcPr marL="95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84150" indent="-87313" algn="l" defTabSz="914400" rtl="0" eaLnBrk="1" fontAlgn="ctr" latinLnBrk="0" hangingPunct="1">
                        <a:buClr>
                          <a:srgbClr val="000000"/>
                        </a:buClr>
                        <a:buSzPts val="900"/>
                        <a:buFont typeface="Arial" panose="020B0604020202020204" pitchFamily="34" charset="0"/>
                        <a:buChar char="•"/>
                        <a:tabLst/>
                      </a:pPr>
                      <a:r>
                        <a:rPr lang="en-GB" sz="800" b="0" i="0" u="none" strike="noStrike" kern="1200">
                          <a:solidFill>
                            <a:schemeClr val="tx2">
                              <a:lumMod val="65000"/>
                              <a:lumOff val="35000"/>
                            </a:schemeClr>
                          </a:solidFill>
                          <a:effectLst/>
                          <a:latin typeface="Arial" panose="020B0604020202020204" pitchFamily="34" charset="0"/>
                          <a:ea typeface="+mn-ea"/>
                          <a:cs typeface="+mn-cs"/>
                        </a:rPr>
                        <a:t>Improved patient outcomes through a more coordinated approach to the use of medicines and prescribing.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800" b="0" i="0" u="none" strike="noStrike" kern="1200">
                          <a:solidFill>
                            <a:schemeClr val="tx2">
                              <a:lumMod val="65000"/>
                              <a:lumOff val="35000"/>
                            </a:schemeClr>
                          </a:solidFill>
                          <a:effectLst/>
                          <a:latin typeface="Arial" panose="020B0604020202020204" pitchFamily="34" charset="0"/>
                          <a:ea typeface="+mn-ea"/>
                          <a:cs typeface="+mn-cs"/>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800" b="0" i="0" u="none" strike="noStrike" kern="1200">
                          <a:solidFill>
                            <a:schemeClr val="tx2">
                              <a:lumMod val="65000"/>
                              <a:lumOff val="35000"/>
                            </a:schemeClr>
                          </a:solidFill>
                          <a:effectLst/>
                          <a:latin typeface="Arial" panose="020B0604020202020204" pitchFamily="34" charset="0"/>
                          <a:ea typeface="+mn-ea"/>
                          <a:cs typeface="+mn-cs"/>
                        </a:rPr>
                        <a:t>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800" b="0" i="0" u="none" strike="noStrike" kern="1200">
                          <a:solidFill>
                            <a:schemeClr val="tx2">
                              <a:lumMod val="65000"/>
                              <a:lumOff val="35000"/>
                            </a:schemeClr>
                          </a:solidFill>
                          <a:effectLst/>
                          <a:latin typeface="Arial" panose="020B0604020202020204" pitchFamily="34" charset="0"/>
                          <a:ea typeface="+mn-ea"/>
                          <a:cs typeface="+mn-cs"/>
                        </a:rPr>
                        <a:t>10</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800" b="0" strike="noStrike">
                          <a:solidFill>
                            <a:schemeClr val="tx2">
                              <a:lumMod val="65000"/>
                              <a:lumOff val="35000"/>
                            </a:schemeClr>
                          </a:solidFill>
                        </a:rPr>
                        <a:t>Low</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800" b="1" strike="noStrike">
                          <a:solidFill>
                            <a:schemeClr val="tx2">
                              <a:lumMod val="65000"/>
                              <a:lumOff val="35000"/>
                            </a:schemeClr>
                          </a:solidFill>
                        </a:rPr>
                        <a:t>Long</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1065129322"/>
                  </a:ext>
                </a:extLst>
              </a:tr>
            </a:tbl>
          </a:graphicData>
        </a:graphic>
      </p:graphicFrame>
      <p:sp>
        <p:nvSpPr>
          <p:cNvPr id="11" name="Rectangle 10">
            <a:extLst>
              <a:ext uri="{FF2B5EF4-FFF2-40B4-BE49-F238E27FC236}">
                <a16:creationId xmlns:a16="http://schemas.microsoft.com/office/drawing/2014/main" id="{61B634CE-06B6-8A45-A954-5AE426A114A9}"/>
              </a:ext>
            </a:extLst>
          </p:cNvPr>
          <p:cNvSpPr/>
          <p:nvPr/>
        </p:nvSpPr>
        <p:spPr>
          <a:xfrm>
            <a:off x="8462819" y="184705"/>
            <a:ext cx="1931224" cy="78568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panose="020B0604020202020204"/>
                <a:ea typeface="+mn-ea"/>
                <a:cs typeface="+mn-cs"/>
              </a:rPr>
              <a:t>IMPACT:        </a:t>
            </a: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1 = Low Impact </a:t>
            </a:r>
            <a:b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                       5 = High impa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panose="020B0604020202020204"/>
                <a:ea typeface="+mn-ea"/>
                <a:cs typeface="+mn-cs"/>
              </a:rPr>
              <a:t>EASE:            </a:t>
            </a: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1 = Difficult</a:t>
            </a:r>
            <a:b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                       5 = Straightforward</a:t>
            </a:r>
          </a:p>
          <a:p>
            <a:pPr>
              <a:defRPr/>
            </a:pPr>
            <a:r>
              <a:rPr lang="en-GB" sz="800" b="1">
                <a:solidFill>
                  <a:srgbClr val="000000"/>
                </a:solidFill>
              </a:rPr>
              <a:t>RESOURCE:  </a:t>
            </a:r>
            <a:r>
              <a:rPr lang="en-GB" sz="800">
                <a:solidFill>
                  <a:srgbClr val="000000"/>
                </a:solidFill>
              </a:rPr>
              <a:t>Low, Medium, High </a:t>
            </a:r>
          </a:p>
        </p:txBody>
      </p:sp>
      <p:sp>
        <p:nvSpPr>
          <p:cNvPr id="12" name="Rectangle 11">
            <a:extLst>
              <a:ext uri="{FF2B5EF4-FFF2-40B4-BE49-F238E27FC236}">
                <a16:creationId xmlns:a16="http://schemas.microsoft.com/office/drawing/2014/main" id="{70807BAB-E8EF-A04D-A23C-DC2845A0C488}"/>
              </a:ext>
            </a:extLst>
          </p:cNvPr>
          <p:cNvSpPr/>
          <p:nvPr/>
        </p:nvSpPr>
        <p:spPr>
          <a:xfrm>
            <a:off x="10394043" y="184705"/>
            <a:ext cx="1442357" cy="78568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00" b="1">
                <a:solidFill>
                  <a:srgbClr val="000000"/>
                </a:solidFill>
                <a:latin typeface="Arial" panose="020B0604020202020204"/>
              </a:rPr>
              <a:t>SHORT</a:t>
            </a:r>
            <a:r>
              <a:rPr lang="en-GB" sz="900">
                <a:solidFill>
                  <a:srgbClr val="000000"/>
                </a:solidFill>
                <a:latin typeface="Arial" panose="020B0604020202020204"/>
              </a:rPr>
              <a:t> =   0-6 months</a:t>
            </a:r>
          </a:p>
          <a:p>
            <a:r>
              <a:rPr lang="en-GB" sz="900" b="1">
                <a:solidFill>
                  <a:srgbClr val="000000"/>
                </a:solidFill>
                <a:latin typeface="Arial" panose="020B0604020202020204"/>
              </a:rPr>
              <a:t>MEDIUM</a:t>
            </a:r>
            <a:r>
              <a:rPr lang="en-GB" sz="900">
                <a:solidFill>
                  <a:srgbClr val="000000"/>
                </a:solidFill>
                <a:latin typeface="Arial" panose="020B0604020202020204"/>
              </a:rPr>
              <a:t> = 6-18 months</a:t>
            </a:r>
          </a:p>
          <a:p>
            <a:r>
              <a:rPr lang="en-GB" sz="900" b="1">
                <a:solidFill>
                  <a:srgbClr val="000000"/>
                </a:solidFill>
                <a:latin typeface="Arial" panose="020B0604020202020204"/>
              </a:rPr>
              <a:t>LONG</a:t>
            </a:r>
            <a:r>
              <a:rPr lang="en-GB" sz="900">
                <a:solidFill>
                  <a:srgbClr val="000000"/>
                </a:solidFill>
                <a:latin typeface="Arial" panose="020B0604020202020204"/>
              </a:rPr>
              <a:t> =     18 months +</a:t>
            </a:r>
          </a:p>
        </p:txBody>
      </p:sp>
      <p:graphicFrame>
        <p:nvGraphicFramePr>
          <p:cNvPr id="13" name="Table 12">
            <a:extLst>
              <a:ext uri="{FF2B5EF4-FFF2-40B4-BE49-F238E27FC236}">
                <a16:creationId xmlns:a16="http://schemas.microsoft.com/office/drawing/2014/main" id="{3915E3EE-38E8-8A4B-8C09-25EEC377CDE7}"/>
              </a:ext>
            </a:extLst>
          </p:cNvPr>
          <p:cNvGraphicFramePr>
            <a:graphicFrameLocks noGrp="1"/>
          </p:cNvGraphicFramePr>
          <p:nvPr>
            <p:extLst>
              <p:ext uri="{D42A27DB-BD31-4B8C-83A1-F6EECF244321}">
                <p14:modId xmlns:p14="http://schemas.microsoft.com/office/powerpoint/2010/main" val="1105787063"/>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Tree>
    <p:extLst>
      <p:ext uri="{BB962C8B-B14F-4D97-AF65-F5344CB8AC3E}">
        <p14:creationId xmlns:p14="http://schemas.microsoft.com/office/powerpoint/2010/main" val="127705569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4977"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en-IN" sz="2800">
              <a:solidFill>
                <a:srgbClr val="FFFFFF"/>
              </a:solidFill>
              <a:sym typeface="Arial" panose="020B0604020202020204" pitchFamily="34" charset="0"/>
            </a:endParaRPr>
          </a:p>
        </p:txBody>
      </p:sp>
      <p:sp>
        <p:nvSpPr>
          <p:cNvPr id="2" name="Title 1"/>
          <p:cNvSpPr>
            <a:spLocks noGrp="1"/>
          </p:cNvSpPr>
          <p:nvPr>
            <p:ph type="title"/>
          </p:nvPr>
        </p:nvSpPr>
        <p:spPr>
          <a:xfrm>
            <a:off x="510638" y="297277"/>
            <a:ext cx="7827117" cy="434010"/>
          </a:xfrm>
          <a:prstGeom prst="rect">
            <a:avLst/>
          </a:prstGeom>
        </p:spPr>
        <p:txBody>
          <a:bodyPr/>
          <a:lstStyle/>
          <a:p>
            <a:r>
              <a:rPr lang="en-US"/>
              <a:t>Quick wins</a:t>
            </a:r>
            <a:endParaRPr lang="en-IN"/>
          </a:p>
        </p:txBody>
      </p:sp>
      <p:sp>
        <p:nvSpPr>
          <p:cNvPr id="21" name="Rectangle 20">
            <a:extLst>
              <a:ext uri="{FF2B5EF4-FFF2-40B4-BE49-F238E27FC236}">
                <a16:creationId xmlns:a16="http://schemas.microsoft.com/office/drawing/2014/main" id="{FE740462-AEED-0B41-92DC-3A54DEB718C8}"/>
              </a:ext>
            </a:extLst>
          </p:cNvPr>
          <p:cNvSpPr/>
          <p:nvPr/>
        </p:nvSpPr>
        <p:spPr>
          <a:xfrm>
            <a:off x="647407" y="1095781"/>
            <a:ext cx="2355654" cy="434010"/>
          </a:xfrm>
          <a:prstGeom prst="rect">
            <a:avLst/>
          </a:prstGeom>
          <a:noFill/>
          <a:ln w="12700" cap="flat" cmpd="sng" algn="ctr">
            <a:noFill/>
            <a:prstDash val="solid"/>
            <a:miter lim="800000"/>
          </a:ln>
          <a:effectLst/>
        </p:spPr>
        <p:txBody>
          <a:bodyPr rtlCol="0" anchor="ctr"/>
          <a:lstStyle/>
          <a:p>
            <a:pPr lvl="0" algn="ctr" defTabSz="685800">
              <a:defRPr/>
            </a:pPr>
            <a:endParaRPr lang="en-GB" sz="1050" b="1">
              <a:solidFill>
                <a:srgbClr val="50235B"/>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0B3C06CE-C54E-CB4A-813D-657E7FBB70DA}"/>
              </a:ext>
            </a:extLst>
          </p:cNvPr>
          <p:cNvSpPr/>
          <p:nvPr/>
        </p:nvSpPr>
        <p:spPr>
          <a:xfrm>
            <a:off x="8462819" y="184705"/>
            <a:ext cx="1931224" cy="78568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panose="020B0604020202020204"/>
                <a:ea typeface="+mn-ea"/>
                <a:cs typeface="+mn-cs"/>
              </a:rPr>
              <a:t>IMPACT:        </a:t>
            </a: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1 = Low Impact </a:t>
            </a:r>
            <a:b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                       5 = High impa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panose="020B0604020202020204"/>
                <a:ea typeface="+mn-ea"/>
                <a:cs typeface="+mn-cs"/>
              </a:rPr>
              <a:t>EASE:            </a:t>
            </a: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1 = Difficult</a:t>
            </a:r>
            <a:b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800" b="0" i="0" u="none" strike="noStrike" kern="1200" cap="none" spc="0" normalizeH="0" baseline="0" noProof="0">
                <a:ln>
                  <a:noFill/>
                </a:ln>
                <a:solidFill>
                  <a:srgbClr val="000000"/>
                </a:solidFill>
                <a:effectLst/>
                <a:uLnTx/>
                <a:uFillTx/>
                <a:latin typeface="Arial" panose="020B0604020202020204"/>
                <a:ea typeface="+mn-ea"/>
                <a:cs typeface="+mn-cs"/>
              </a:rPr>
              <a:t>                       5 = Straightforward</a:t>
            </a:r>
          </a:p>
          <a:p>
            <a:pPr>
              <a:defRPr/>
            </a:pPr>
            <a:r>
              <a:rPr lang="en-GB" sz="800" b="1">
                <a:solidFill>
                  <a:srgbClr val="000000"/>
                </a:solidFill>
              </a:rPr>
              <a:t>RESOURCE:  </a:t>
            </a:r>
            <a:r>
              <a:rPr lang="en-GB" sz="800">
                <a:solidFill>
                  <a:srgbClr val="000000"/>
                </a:solidFill>
              </a:rPr>
              <a:t>Low, Medium, High </a:t>
            </a:r>
          </a:p>
        </p:txBody>
      </p:sp>
      <p:sp>
        <p:nvSpPr>
          <p:cNvPr id="12" name="Rectangle 11">
            <a:extLst>
              <a:ext uri="{FF2B5EF4-FFF2-40B4-BE49-F238E27FC236}">
                <a16:creationId xmlns:a16="http://schemas.microsoft.com/office/drawing/2014/main" id="{1523C804-42E3-DA45-AA0B-F856558E7E2F}"/>
              </a:ext>
            </a:extLst>
          </p:cNvPr>
          <p:cNvSpPr/>
          <p:nvPr/>
        </p:nvSpPr>
        <p:spPr>
          <a:xfrm>
            <a:off x="10394043" y="184705"/>
            <a:ext cx="1442357" cy="78568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00" b="1">
                <a:solidFill>
                  <a:srgbClr val="000000"/>
                </a:solidFill>
                <a:latin typeface="Arial" panose="020B0604020202020204"/>
              </a:rPr>
              <a:t>SHORT</a:t>
            </a:r>
            <a:r>
              <a:rPr lang="en-GB" sz="900">
                <a:solidFill>
                  <a:srgbClr val="000000"/>
                </a:solidFill>
                <a:latin typeface="Arial" panose="020B0604020202020204"/>
              </a:rPr>
              <a:t> =   0-6 months</a:t>
            </a:r>
          </a:p>
          <a:p>
            <a:r>
              <a:rPr lang="en-GB" sz="900" b="1">
                <a:solidFill>
                  <a:srgbClr val="000000"/>
                </a:solidFill>
                <a:latin typeface="Arial" panose="020B0604020202020204"/>
              </a:rPr>
              <a:t>MEDIUM</a:t>
            </a:r>
            <a:r>
              <a:rPr lang="en-GB" sz="900">
                <a:solidFill>
                  <a:srgbClr val="000000"/>
                </a:solidFill>
                <a:latin typeface="Arial" panose="020B0604020202020204"/>
              </a:rPr>
              <a:t> = 6-18 months</a:t>
            </a:r>
          </a:p>
          <a:p>
            <a:r>
              <a:rPr lang="en-GB" sz="900" b="1">
                <a:solidFill>
                  <a:srgbClr val="000000"/>
                </a:solidFill>
                <a:latin typeface="Arial" panose="020B0604020202020204"/>
              </a:rPr>
              <a:t>LONG</a:t>
            </a:r>
            <a:r>
              <a:rPr lang="en-GB" sz="900">
                <a:solidFill>
                  <a:srgbClr val="000000"/>
                </a:solidFill>
                <a:latin typeface="Arial" panose="020B0604020202020204"/>
              </a:rPr>
              <a:t> =     18 months +</a:t>
            </a:r>
          </a:p>
        </p:txBody>
      </p:sp>
      <p:graphicFrame>
        <p:nvGraphicFramePr>
          <p:cNvPr id="13" name="Table 12">
            <a:extLst>
              <a:ext uri="{FF2B5EF4-FFF2-40B4-BE49-F238E27FC236}">
                <a16:creationId xmlns:a16="http://schemas.microsoft.com/office/drawing/2014/main" id="{4C09B602-221D-7A42-9AED-CBF7226F323F}"/>
              </a:ext>
            </a:extLst>
          </p:cNvPr>
          <p:cNvGraphicFramePr>
            <a:graphicFrameLocks noGrp="1"/>
          </p:cNvGraphicFramePr>
          <p:nvPr>
            <p:extLst>
              <p:ext uri="{D42A27DB-BD31-4B8C-83A1-F6EECF244321}">
                <p14:modId xmlns:p14="http://schemas.microsoft.com/office/powerpoint/2010/main" val="1105787063"/>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graphicFrame>
        <p:nvGraphicFramePr>
          <p:cNvPr id="10" name="Table 7">
            <a:extLst>
              <a:ext uri="{FF2B5EF4-FFF2-40B4-BE49-F238E27FC236}">
                <a16:creationId xmlns:a16="http://schemas.microsoft.com/office/drawing/2014/main" id="{48A41CB2-D504-AF41-A089-E9085C3E92C9}"/>
              </a:ext>
            </a:extLst>
          </p:cNvPr>
          <p:cNvGraphicFramePr>
            <a:graphicFrameLocks noGrp="1"/>
          </p:cNvGraphicFramePr>
          <p:nvPr>
            <p:extLst>
              <p:ext uri="{D42A27DB-BD31-4B8C-83A1-F6EECF244321}">
                <p14:modId xmlns:p14="http://schemas.microsoft.com/office/powerpoint/2010/main" val="947878850"/>
              </p:ext>
            </p:extLst>
          </p:nvPr>
        </p:nvGraphicFramePr>
        <p:xfrm>
          <a:off x="510638" y="1095781"/>
          <a:ext cx="11325765" cy="5321558"/>
        </p:xfrm>
        <a:graphic>
          <a:graphicData uri="http://schemas.openxmlformats.org/drawingml/2006/table">
            <a:tbl>
              <a:tblPr firstRow="1" bandRow="1">
                <a:tableStyleId>{5C22544A-7EE6-4342-B048-85BDC9FD1C3A}</a:tableStyleId>
              </a:tblPr>
              <a:tblGrid>
                <a:gridCol w="718087">
                  <a:extLst>
                    <a:ext uri="{9D8B030D-6E8A-4147-A177-3AD203B41FA5}">
                      <a16:colId xmlns:a16="http://schemas.microsoft.com/office/drawing/2014/main" val="1222057465"/>
                    </a:ext>
                  </a:extLst>
                </a:gridCol>
                <a:gridCol w="1064099">
                  <a:extLst>
                    <a:ext uri="{9D8B030D-6E8A-4147-A177-3AD203B41FA5}">
                      <a16:colId xmlns:a16="http://schemas.microsoft.com/office/drawing/2014/main" val="2319752415"/>
                    </a:ext>
                  </a:extLst>
                </a:gridCol>
                <a:gridCol w="2674962">
                  <a:extLst>
                    <a:ext uri="{9D8B030D-6E8A-4147-A177-3AD203B41FA5}">
                      <a16:colId xmlns:a16="http://schemas.microsoft.com/office/drawing/2014/main" val="1853970278"/>
                    </a:ext>
                  </a:extLst>
                </a:gridCol>
                <a:gridCol w="3712191">
                  <a:extLst>
                    <a:ext uri="{9D8B030D-6E8A-4147-A177-3AD203B41FA5}">
                      <a16:colId xmlns:a16="http://schemas.microsoft.com/office/drawing/2014/main" val="3087462113"/>
                    </a:ext>
                  </a:extLst>
                </a:gridCol>
                <a:gridCol w="564108">
                  <a:extLst>
                    <a:ext uri="{9D8B030D-6E8A-4147-A177-3AD203B41FA5}">
                      <a16:colId xmlns:a16="http://schemas.microsoft.com/office/drawing/2014/main" val="1029806020"/>
                    </a:ext>
                  </a:extLst>
                </a:gridCol>
                <a:gridCol w="564108">
                  <a:extLst>
                    <a:ext uri="{9D8B030D-6E8A-4147-A177-3AD203B41FA5}">
                      <a16:colId xmlns:a16="http://schemas.microsoft.com/office/drawing/2014/main" val="3714934659"/>
                    </a:ext>
                  </a:extLst>
                </a:gridCol>
                <a:gridCol w="564108">
                  <a:extLst>
                    <a:ext uri="{9D8B030D-6E8A-4147-A177-3AD203B41FA5}">
                      <a16:colId xmlns:a16="http://schemas.microsoft.com/office/drawing/2014/main" val="1845500442"/>
                    </a:ext>
                  </a:extLst>
                </a:gridCol>
                <a:gridCol w="732051">
                  <a:extLst>
                    <a:ext uri="{9D8B030D-6E8A-4147-A177-3AD203B41FA5}">
                      <a16:colId xmlns:a16="http://schemas.microsoft.com/office/drawing/2014/main" val="2590076437"/>
                    </a:ext>
                  </a:extLst>
                </a:gridCol>
                <a:gridCol w="732051">
                  <a:extLst>
                    <a:ext uri="{9D8B030D-6E8A-4147-A177-3AD203B41FA5}">
                      <a16:colId xmlns:a16="http://schemas.microsoft.com/office/drawing/2014/main" val="1385158084"/>
                    </a:ext>
                  </a:extLst>
                </a:gridCol>
              </a:tblGrid>
              <a:tr h="645356">
                <a:tc>
                  <a:txBody>
                    <a:bodyPr/>
                    <a:lstStyle/>
                    <a:p>
                      <a:pPr algn="ctr"/>
                      <a:r>
                        <a:rPr lang="en-GB" sz="900">
                          <a:solidFill>
                            <a:srgbClr val="50235C"/>
                          </a:solidFill>
                        </a:rPr>
                        <a:t>Roadmap ref</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gridSpan="2">
                  <a:txBody>
                    <a:bodyPr/>
                    <a:lstStyle/>
                    <a:p>
                      <a:r>
                        <a:rPr lang="en-GB" sz="900">
                          <a:solidFill>
                            <a:srgbClr val="50235C"/>
                          </a:solidFill>
                        </a:rPr>
                        <a:t>Future activity</a:t>
                      </a:r>
                      <a:endParaRPr lang="en-US"/>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hMerge="1">
                  <a:txBody>
                    <a:bodyPr/>
                    <a:lstStyle/>
                    <a:p>
                      <a:r>
                        <a:rPr lang="en-GB" sz="900"/>
                        <a:t>Future activity</a:t>
                      </a:r>
                    </a:p>
                  </a:txBody>
                  <a:tcPr anchor="ctr"/>
                </a:tc>
                <a:tc>
                  <a:txBody>
                    <a:bodyPr/>
                    <a:lstStyle/>
                    <a:p>
                      <a:pPr marL="0" algn="ctr" defTabSz="914400" rtl="0" eaLnBrk="1" fontAlgn="ctr" latinLnBrk="0" hangingPunct="1"/>
                      <a:r>
                        <a:rPr lang="en-GB" sz="900" b="1" kern="1200">
                          <a:solidFill>
                            <a:srgbClr val="50235C"/>
                          </a:solidFill>
                          <a:latin typeface="+mn-lt"/>
                          <a:ea typeface="+mn-ea"/>
                          <a:cs typeface="+mn-cs"/>
                        </a:rPr>
                        <a:t>Target outcome / Expected benefit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algn="ctr" defTabSz="914400" rtl="0" eaLnBrk="1" fontAlgn="ctr" latinLnBrk="0" hangingPunct="1"/>
                      <a:r>
                        <a:rPr lang="en-GB" sz="900" b="1" kern="1200">
                          <a:solidFill>
                            <a:srgbClr val="50235C"/>
                          </a:solidFill>
                          <a:latin typeface="+mn-lt"/>
                          <a:ea typeface="+mn-ea"/>
                          <a:cs typeface="+mn-cs"/>
                        </a:rPr>
                        <a:t>Impact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Ease</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marL="0" algn="ctr" defTabSz="914400" rtl="0" eaLnBrk="1" fontAlgn="ctr" latinLnBrk="0" hangingPunct="1"/>
                      <a:r>
                        <a:rPr lang="en-GB" sz="900" b="1" kern="1200">
                          <a:solidFill>
                            <a:srgbClr val="50235C"/>
                          </a:solidFill>
                          <a:latin typeface="+mn-lt"/>
                          <a:ea typeface="+mn-ea"/>
                          <a:cs typeface="+mn-cs"/>
                        </a:rPr>
                        <a:t>Score</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algn="ctr"/>
                      <a:r>
                        <a:rPr lang="en-GB" sz="900" b="1">
                          <a:solidFill>
                            <a:srgbClr val="50235C"/>
                          </a:solidFill>
                        </a:rPr>
                        <a:t>Resource required</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tc>
                  <a:txBody>
                    <a:bodyPr/>
                    <a:lstStyle/>
                    <a:p>
                      <a:pPr algn="ctr"/>
                      <a:r>
                        <a:rPr lang="en-GB" sz="900" b="1">
                          <a:solidFill>
                            <a:srgbClr val="50235C"/>
                          </a:solidFill>
                        </a:rPr>
                        <a:t>Short /</a:t>
                      </a:r>
                    </a:p>
                    <a:p>
                      <a:pPr algn="ctr"/>
                      <a:r>
                        <a:rPr lang="en-GB" sz="900" b="1">
                          <a:solidFill>
                            <a:srgbClr val="50235C"/>
                          </a:solidFill>
                        </a:rPr>
                        <a:t>Medium /</a:t>
                      </a:r>
                      <a:br>
                        <a:rPr lang="en-GB" sz="900" b="1">
                          <a:solidFill>
                            <a:srgbClr val="50235C"/>
                          </a:solidFill>
                        </a:rPr>
                      </a:br>
                      <a:r>
                        <a:rPr lang="en-GB" sz="900" b="1">
                          <a:solidFill>
                            <a:srgbClr val="50235C"/>
                          </a:solidFill>
                        </a:rPr>
                        <a:t>Long</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solidFill>
                      <a:srgbClr val="F1EDF4"/>
                    </a:solidFill>
                  </a:tcPr>
                </a:tc>
                <a:extLst>
                  <a:ext uri="{0D108BD9-81ED-4DB2-BD59-A6C34878D82A}">
                    <a16:rowId xmlns:a16="http://schemas.microsoft.com/office/drawing/2014/main" val="466195498"/>
                  </a:ext>
                </a:extLst>
              </a:tr>
              <a:tr h="77936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strike="noStrike" kern="1200">
                          <a:solidFill>
                            <a:srgbClr val="50235C"/>
                          </a:solidFill>
                          <a:latin typeface="+mn-lt"/>
                          <a:ea typeface="+mn-ea"/>
                          <a:cs typeface="+mn-cs"/>
                        </a:rPr>
                        <a:t>A6</a:t>
                      </a:r>
                    </a:p>
                  </a:txBody>
                  <a:tcPr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strike="noStrike" kern="1200">
                          <a:solidFill>
                            <a:srgbClr val="50235C"/>
                          </a:solidFill>
                          <a:latin typeface="+mn-lt"/>
                          <a:ea typeface="+mn-ea"/>
                          <a:cs typeface="+mn-cs"/>
                        </a:rPr>
                        <a:t>Raise the profile and awareness of mental health  </a:t>
                      </a:r>
                    </a:p>
                  </a:txBody>
                  <a:tcPr marL="9525" marR="9525" marT="9525" marB="0" anchor="ct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0" i="0" u="none" strike="noStrike">
                          <a:solidFill>
                            <a:srgbClr val="50235C"/>
                          </a:solidFill>
                          <a:effectLst/>
                          <a:latin typeface="Arial" panose="020B0604020202020204" pitchFamily="34" charset="0"/>
                        </a:rPr>
                        <a:t>Increase focused promotion of phone lines</a:t>
                      </a:r>
                    </a:p>
                  </a:txBody>
                  <a:tcPr marL="95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96838" indent="-87313" algn="l" defTabSz="914400" rtl="0" eaLnBrk="1" fontAlgn="ctr" latinLnBrk="0" hangingPunct="1">
                        <a:buClr>
                          <a:srgbClr val="000000"/>
                        </a:buClr>
                        <a:buSzPts val="900"/>
                        <a:buFont typeface="Arial" panose="020B0604020202020204" pitchFamily="34" charset="0"/>
                        <a:buChar char="•"/>
                        <a:tabLst/>
                      </a:pPr>
                      <a:r>
                        <a:rPr lang="en-GB" sz="800" b="0" i="0" u="none" strike="noStrike" kern="1200">
                          <a:solidFill>
                            <a:schemeClr val="tx2">
                              <a:lumMod val="65000"/>
                              <a:lumOff val="35000"/>
                            </a:schemeClr>
                          </a:solidFill>
                          <a:effectLst/>
                          <a:latin typeface="Arial" panose="020B0604020202020204" pitchFamily="34" charset="0"/>
                          <a:ea typeface="+mn-ea"/>
                          <a:cs typeface="+mn-cs"/>
                        </a:rPr>
                        <a:t>Create more awareness of the resources and support available to help deal with the issues they face, thus stopping further escalation and crisis. This may reduce demand on secondary care and A&amp;E admissions.  </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9</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0">
                          <a:solidFill>
                            <a:schemeClr val="tx2">
                              <a:lumMod val="65000"/>
                              <a:lumOff val="35000"/>
                            </a:schemeClr>
                          </a:solidFill>
                        </a:rPr>
                        <a:t>Medium</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Short </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1738425369"/>
                  </a:ext>
                </a:extLst>
              </a:tr>
              <a:tr h="77936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strike="noStrike">
                          <a:solidFill>
                            <a:srgbClr val="50235C"/>
                          </a:solidFill>
                        </a:rPr>
                        <a:t>D2</a:t>
                      </a:r>
                    </a:p>
                  </a:txBody>
                  <a:tcPr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Act as one integrated system </a:t>
                      </a:r>
                    </a:p>
                  </a:txBody>
                  <a:tcPr marL="9525" marR="9525" marT="9525" marB="0" anchor="ct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0" i="0" u="none" strike="noStrike">
                          <a:solidFill>
                            <a:srgbClr val="50235C"/>
                          </a:solidFill>
                          <a:effectLst/>
                          <a:latin typeface="Arial" panose="020B0604020202020204" pitchFamily="34" charset="0"/>
                        </a:rPr>
                        <a:t>Nominated and effective place based leadership – focused on prevention and resilience</a:t>
                      </a:r>
                    </a:p>
                  </a:txBody>
                  <a:tcPr marL="95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88913" indent="-95250" algn="l" defTabSz="914400" rtl="0" eaLnBrk="1" fontAlgn="ctr" latinLnBrk="0" hangingPunct="1">
                        <a:buClr>
                          <a:srgbClr val="000000"/>
                        </a:buClr>
                        <a:buSzPts val="900"/>
                        <a:buFont typeface="Arial" panose="020B0604020202020204" pitchFamily="34" charset="0"/>
                        <a:buChar char="•"/>
                        <a:tabLst/>
                      </a:pPr>
                      <a:r>
                        <a:rPr lang="en-GB" sz="800" b="0" i="0" u="none" strike="noStrike" kern="1200">
                          <a:solidFill>
                            <a:schemeClr val="tx2">
                              <a:lumMod val="65000"/>
                              <a:lumOff val="35000"/>
                            </a:schemeClr>
                          </a:solidFill>
                          <a:effectLst/>
                          <a:latin typeface="Arial" panose="020B0604020202020204" pitchFamily="34" charset="0"/>
                          <a:ea typeface="+mn-ea"/>
                          <a:cs typeface="+mn-cs"/>
                        </a:rPr>
                        <a:t>A localised support offering that supports people wherever they live within the ICS.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3</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12</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0">
                          <a:solidFill>
                            <a:schemeClr val="tx2">
                              <a:lumMod val="65000"/>
                              <a:lumOff val="35000"/>
                            </a:schemeClr>
                          </a:solidFill>
                        </a:rPr>
                        <a:t>Low</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Short</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4199580168"/>
                  </a:ext>
                </a:extLst>
              </a:tr>
              <a:tr h="77936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F1 &amp; H1</a:t>
                      </a:r>
                    </a:p>
                  </a:txBody>
                  <a:tcPr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Build community resources </a:t>
                      </a:r>
                    </a:p>
                  </a:txBody>
                  <a:tcPr marL="9525" marR="9525" marT="9525" marB="0" anchor="ct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0" i="0" u="none" strike="noStrike">
                          <a:solidFill>
                            <a:srgbClr val="50235C"/>
                          </a:solidFill>
                          <a:effectLst/>
                          <a:latin typeface="Arial" panose="020B0604020202020204" pitchFamily="34" charset="0"/>
                        </a:rPr>
                        <a:t>Complete the build of a seclusion suite at Redwoods</a:t>
                      </a:r>
                    </a:p>
                  </a:txBody>
                  <a:tcPr marL="95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88913" indent="-95250" algn="l" defTabSz="914400" rtl="0" eaLnBrk="1" fontAlgn="ctr" latinLnBrk="0" hangingPunct="1">
                        <a:buClr>
                          <a:srgbClr val="000000"/>
                        </a:buClr>
                        <a:buSzPts val="900"/>
                        <a:buFont typeface="Arial" panose="020B0604020202020204" pitchFamily="34" charset="0"/>
                        <a:buChar char="•"/>
                        <a:tabLst/>
                      </a:pPr>
                      <a:r>
                        <a:rPr lang="en-GB" sz="800" b="0" i="0" u="none" strike="noStrike" kern="1200">
                          <a:solidFill>
                            <a:schemeClr val="tx2">
                              <a:lumMod val="65000"/>
                              <a:lumOff val="35000"/>
                            </a:schemeClr>
                          </a:solidFill>
                          <a:effectLst/>
                          <a:latin typeface="Arial" panose="020B0604020202020204" pitchFamily="34" charset="0"/>
                          <a:ea typeface="+mn-ea"/>
                          <a:cs typeface="+mn-cs"/>
                        </a:rPr>
                        <a:t>This would reduce the demand on the S136 suite and support the reduction in out of area placements. </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00" b="0" i="0" u="none" strike="noStrike">
                          <a:solidFill>
                            <a:schemeClr val="tx2">
                              <a:lumMod val="65000"/>
                              <a:lumOff val="35000"/>
                            </a:schemeClr>
                          </a:solidFill>
                          <a:effectLst/>
                          <a:latin typeface="Arial" panose="020B0604020202020204" pitchFamily="34" charset="0"/>
                        </a:rPr>
                        <a:t>20</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0">
                          <a:solidFill>
                            <a:schemeClr val="tx2">
                              <a:lumMod val="65000"/>
                              <a:lumOff val="35000"/>
                            </a:schemeClr>
                          </a:solidFill>
                        </a:rPr>
                        <a:t>Low</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a:r>
                        <a:rPr lang="en-GB" sz="900" b="1">
                          <a:solidFill>
                            <a:schemeClr val="tx2">
                              <a:lumMod val="65000"/>
                              <a:lumOff val="35000"/>
                            </a:schemeClr>
                          </a:solidFill>
                        </a:rPr>
                        <a:t>Short</a:t>
                      </a:r>
                    </a:p>
                  </a:txBody>
                  <a:tcPr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570282075"/>
                  </a:ext>
                </a:extLst>
              </a:tr>
              <a:tr h="77936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H1</a:t>
                      </a:r>
                    </a:p>
                  </a:txBody>
                  <a:tcPr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Supported transition from services </a:t>
                      </a:r>
                    </a:p>
                  </a:txBody>
                  <a:tcPr marL="9525" marR="9525" marT="9525" marB="0" anchor="ct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0" i="0" u="none" strike="noStrike">
                          <a:solidFill>
                            <a:srgbClr val="50235C"/>
                          </a:solidFill>
                          <a:effectLst/>
                          <a:latin typeface="Arial" panose="020B0604020202020204" pitchFamily="34" charset="0"/>
                        </a:rPr>
                        <a:t>Plans to build a seclusion suite at redwoods</a:t>
                      </a:r>
                    </a:p>
                  </a:txBody>
                  <a:tcPr marL="95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96838" indent="-87313" algn="l" defTabSz="914400" rtl="0" eaLnBrk="1" fontAlgn="ctr" latinLnBrk="0" hangingPunct="1">
                        <a:buClr>
                          <a:srgbClr val="000000"/>
                        </a:buClr>
                        <a:buSzPts val="900"/>
                        <a:buFont typeface="Arial" panose="020B0604020202020204" pitchFamily="34" charset="0"/>
                        <a:buChar char="•"/>
                        <a:tabLst/>
                      </a:pPr>
                      <a:r>
                        <a:rPr lang="en-GB" sz="800" b="0" i="0" u="none" strike="noStrike" kern="1200">
                          <a:solidFill>
                            <a:schemeClr val="tx2">
                              <a:lumMod val="65000"/>
                              <a:lumOff val="35000"/>
                            </a:schemeClr>
                          </a:solidFill>
                          <a:effectLst/>
                          <a:latin typeface="Arial" panose="020B0604020202020204" pitchFamily="34" charset="0"/>
                          <a:ea typeface="+mn-ea"/>
                          <a:cs typeface="+mn-cs"/>
                        </a:rPr>
                        <a:t>This would free up the S136 suite and allow for more people in crisis to be supported and reduce out of area and inappropriate placements.</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900" b="0" i="0" u="none" strike="noStrike" kern="1200">
                          <a:solidFill>
                            <a:schemeClr val="tx2">
                              <a:lumMod val="65000"/>
                              <a:lumOff val="35000"/>
                            </a:schemeClr>
                          </a:solidFill>
                          <a:effectLst/>
                          <a:latin typeface="Arial" panose="020B0604020202020204" pitchFamily="34" charset="0"/>
                          <a:ea typeface="+mn-ea"/>
                          <a:cs typeface="+mn-cs"/>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900" b="0" i="0" u="none" strike="noStrike" kern="1200">
                          <a:solidFill>
                            <a:schemeClr val="tx2">
                              <a:lumMod val="65000"/>
                              <a:lumOff val="35000"/>
                            </a:schemeClr>
                          </a:solidFill>
                          <a:effectLst/>
                          <a:latin typeface="Arial" panose="020B0604020202020204" pitchFamily="34" charset="0"/>
                          <a:ea typeface="+mn-ea"/>
                          <a:cs typeface="+mn-cs"/>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900" b="0" i="0" u="none" strike="noStrike" kern="1200">
                          <a:solidFill>
                            <a:schemeClr val="tx2">
                              <a:lumMod val="65000"/>
                              <a:lumOff val="35000"/>
                            </a:schemeClr>
                          </a:solidFill>
                          <a:effectLst/>
                          <a:latin typeface="Arial" panose="020B0604020202020204" pitchFamily="34" charset="0"/>
                          <a:ea typeface="+mn-ea"/>
                          <a:cs typeface="+mn-cs"/>
                        </a:rPr>
                        <a:t>20</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900" b="0" i="0" u="none" strike="noStrike" kern="1200">
                          <a:solidFill>
                            <a:schemeClr val="tx2">
                              <a:lumMod val="65000"/>
                              <a:lumOff val="35000"/>
                            </a:schemeClr>
                          </a:solidFill>
                          <a:effectLst/>
                          <a:latin typeface="Arial" panose="020B0604020202020204" pitchFamily="34" charset="0"/>
                          <a:ea typeface="+mn-ea"/>
                          <a:cs typeface="+mn-cs"/>
                        </a:rPr>
                        <a:t>Low</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algn="ctr" defTabSz="914400" rtl="0" eaLnBrk="1" fontAlgn="ctr" latinLnBrk="0" hangingPunct="1"/>
                      <a:r>
                        <a:rPr lang="en-GB" sz="900" b="1" i="0" u="none" strike="noStrike" kern="1200">
                          <a:solidFill>
                            <a:schemeClr val="tx2">
                              <a:lumMod val="65000"/>
                              <a:lumOff val="35000"/>
                            </a:schemeClr>
                          </a:solidFill>
                          <a:effectLst/>
                          <a:latin typeface="Arial" panose="020B0604020202020204" pitchFamily="34" charset="0"/>
                          <a:ea typeface="+mn-ea"/>
                          <a:cs typeface="+mn-cs"/>
                        </a:rPr>
                        <a:t>Short</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2752216538"/>
                  </a:ext>
                </a:extLst>
              </a:tr>
              <a:tr h="77936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J1</a:t>
                      </a:r>
                    </a:p>
                  </a:txBody>
                  <a:tcPr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Autism journey mapping</a:t>
                      </a:r>
                    </a:p>
                  </a:txBody>
                  <a:tcPr marL="9525" marR="9525" marT="9525" marB="0" anchor="ct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indent="0" algn="l" rtl="0" fontAlgn="ctr">
                        <a:buClr>
                          <a:srgbClr val="000000"/>
                        </a:buClr>
                        <a:buSzPts val="850"/>
                        <a:buFont typeface="Arial" panose="020B0604020202020204" pitchFamily="34" charset="0"/>
                        <a:buNone/>
                      </a:pPr>
                      <a:r>
                        <a:rPr lang="en-GB" sz="900" b="0" i="0" u="none" strike="noStrike" kern="1200">
                          <a:solidFill>
                            <a:srgbClr val="50235C"/>
                          </a:solidFill>
                          <a:effectLst/>
                          <a:latin typeface="Arial" panose="020B0604020202020204" pitchFamily="34" charset="0"/>
                          <a:ea typeface="+mn-ea"/>
                          <a:cs typeface="+mn-cs"/>
                        </a:rPr>
                        <a:t>Using learnings from other systems to develop and roll out Autism passports for all health and care settings across the ICS. </a:t>
                      </a:r>
                    </a:p>
                  </a:txBody>
                  <a:tcPr marL="857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indent="-171450" algn="l" rtl="0" fontAlgn="ctr">
                        <a:buClr>
                          <a:srgbClr val="000000"/>
                        </a:buClr>
                        <a:buSzPts val="850"/>
                        <a:buFont typeface="Arial" panose="020B0604020202020204" pitchFamily="34" charset="0"/>
                        <a:buChar char="•"/>
                      </a:pPr>
                      <a:r>
                        <a:rPr lang="en-GB" sz="800" b="0" i="0" u="none" strike="noStrike" kern="1200">
                          <a:solidFill>
                            <a:schemeClr val="tx2">
                              <a:lumMod val="65000"/>
                              <a:lumOff val="35000"/>
                            </a:schemeClr>
                          </a:solidFill>
                          <a:effectLst/>
                          <a:latin typeface="Arial" panose="020B0604020202020204" pitchFamily="34" charset="0"/>
                          <a:ea typeface="+mn-ea"/>
                          <a:cs typeface="+mn-cs"/>
                        </a:rPr>
                        <a:t>People with Autism will be better supported in their care and will have easier access to services and support. </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20</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Low</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50" b="1" i="0" u="none" strike="noStrike">
                          <a:solidFill>
                            <a:srgbClr val="595959"/>
                          </a:solidFill>
                          <a:effectLst/>
                          <a:latin typeface="Arial" panose="020B0604020202020204" pitchFamily="34" charset="0"/>
                        </a:rPr>
                        <a:t>Short</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1922301071"/>
                  </a:ext>
                </a:extLst>
              </a:tr>
              <a:tr h="77936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rgbClr val="50235C"/>
                          </a:solidFill>
                          <a:latin typeface="+mn-lt"/>
                          <a:ea typeface="+mn-ea"/>
                          <a:cs typeface="+mn-cs"/>
                        </a:rPr>
                        <a:t>J2</a:t>
                      </a:r>
                    </a:p>
                  </a:txBody>
                  <a:tcPr anchor="ctr">
                    <a:lnL w="12700" cap="flat" cmpd="sng" algn="ctr">
                      <a:solidFill>
                        <a:srgbClr val="AC9AB1"/>
                      </a:solidFill>
                      <a:prstDash val="solid"/>
                      <a:round/>
                      <a:headEnd type="none" w="med" len="med"/>
                      <a:tailEnd type="none" w="med" len="med"/>
                    </a:lnL>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l" rtl="0" fontAlgn="ctr"/>
                      <a:r>
                        <a:rPr lang="en-GB" sz="900" b="1" i="0" u="none" strike="noStrike">
                          <a:solidFill>
                            <a:srgbClr val="50235C"/>
                          </a:solidFill>
                          <a:effectLst/>
                          <a:latin typeface="Arial" panose="020B0604020202020204" pitchFamily="34" charset="0"/>
                        </a:rPr>
                        <a:t>SMI journey mapping</a:t>
                      </a:r>
                    </a:p>
                  </a:txBody>
                  <a:tcPr marL="9525" marR="9525" marT="9525" marB="0" anchor="ct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0" indent="0" algn="l" rtl="0" fontAlgn="ctr">
                        <a:buClr>
                          <a:srgbClr val="000000"/>
                        </a:buClr>
                        <a:buSzPts val="850"/>
                        <a:buFont typeface="Arial" panose="020B0604020202020204" pitchFamily="34" charset="0"/>
                        <a:buNone/>
                      </a:pPr>
                      <a:r>
                        <a:rPr lang="en-GB" sz="900" b="0" i="0" u="none" strike="noStrike" kern="1200">
                          <a:solidFill>
                            <a:srgbClr val="50235C"/>
                          </a:solidFill>
                          <a:effectLst/>
                          <a:latin typeface="Arial" panose="020B0604020202020204" pitchFamily="34" charset="0"/>
                          <a:ea typeface="+mn-ea"/>
                          <a:cs typeface="+mn-cs"/>
                        </a:rPr>
                        <a:t>Commission one Band 4 admin staff through secondment in the short term to support the multiple administration tasks to support the delivery of PHCs.</a:t>
                      </a:r>
                    </a:p>
                  </a:txBody>
                  <a:tcPr marL="85725" marR="9525" marT="9525" marB="0" anchor="ctr">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marL="171450" indent="-171450" algn="l" rtl="0" fontAlgn="ctr">
                        <a:buClr>
                          <a:srgbClr val="000000"/>
                        </a:buClr>
                        <a:buSzPts val="850"/>
                        <a:buFont typeface="Arial" panose="020B0604020202020204" pitchFamily="34" charset="0"/>
                        <a:buChar char="•"/>
                      </a:pPr>
                      <a:r>
                        <a:rPr lang="en-GB" sz="800" b="0" i="0" u="none" strike="noStrike" kern="1200">
                          <a:solidFill>
                            <a:schemeClr val="tx2">
                              <a:lumMod val="65000"/>
                              <a:lumOff val="35000"/>
                            </a:schemeClr>
                          </a:solidFill>
                          <a:effectLst/>
                          <a:latin typeface="Arial" panose="020B0604020202020204" pitchFamily="34" charset="0"/>
                          <a:ea typeface="+mn-ea"/>
                          <a:cs typeface="+mn-cs"/>
                        </a:rPr>
                        <a:t>More efficient delivery of SMI PHCs across the system leading to an increase delivery of all six PHCs against the national 60% target. </a:t>
                      </a:r>
                    </a:p>
                  </a:txBody>
                  <a:tcPr marL="857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5</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4</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20</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50" b="0" i="0" u="none" strike="noStrike">
                          <a:solidFill>
                            <a:srgbClr val="595959"/>
                          </a:solidFill>
                          <a:effectLst/>
                          <a:latin typeface="Arial" panose="020B0604020202020204" pitchFamily="34" charset="0"/>
                        </a:rPr>
                        <a:t>Medium</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tc>
                  <a:txBody>
                    <a:bodyPr/>
                    <a:lstStyle/>
                    <a:p>
                      <a:pPr algn="ctr" rtl="0" fontAlgn="ctr"/>
                      <a:r>
                        <a:rPr lang="en-GB" sz="950" b="1" i="0" u="none" strike="noStrike">
                          <a:solidFill>
                            <a:srgbClr val="595959"/>
                          </a:solidFill>
                          <a:effectLst/>
                          <a:latin typeface="Arial" panose="020B0604020202020204" pitchFamily="34" charset="0"/>
                        </a:rPr>
                        <a:t>Short</a:t>
                      </a:r>
                    </a:p>
                  </a:txBody>
                  <a:tcPr marL="9525" marR="9525" marT="9525" marB="0" anchor="ctr">
                    <a:lnL w="12700" cap="flat" cmpd="sng" algn="ctr">
                      <a:solidFill>
                        <a:srgbClr val="AC9AB1"/>
                      </a:solidFill>
                      <a:prstDash val="solid"/>
                      <a:round/>
                      <a:headEnd type="none" w="med" len="med"/>
                      <a:tailEnd type="none" w="med" len="med"/>
                    </a:lnL>
                    <a:lnR w="12700" cap="flat" cmpd="sng" algn="ctr">
                      <a:solidFill>
                        <a:srgbClr val="AC9AB1"/>
                      </a:solidFill>
                      <a:prstDash val="solid"/>
                      <a:round/>
                      <a:headEnd type="none" w="med" len="med"/>
                      <a:tailEnd type="none" w="med" len="med"/>
                    </a:lnR>
                    <a:lnT w="12700" cap="flat" cmpd="sng" algn="ctr">
                      <a:solidFill>
                        <a:srgbClr val="AC9AB1"/>
                      </a:solidFill>
                      <a:prstDash val="solid"/>
                      <a:round/>
                      <a:headEnd type="none" w="med" len="med"/>
                      <a:tailEnd type="none" w="med" len="med"/>
                    </a:lnT>
                    <a:lnB w="12700" cap="flat" cmpd="sng" algn="ctr">
                      <a:solidFill>
                        <a:srgbClr val="AC9AB1"/>
                      </a:solidFill>
                      <a:prstDash val="solid"/>
                      <a:round/>
                      <a:headEnd type="none" w="med" len="med"/>
                      <a:tailEnd type="none" w="med" len="med"/>
                    </a:lnB>
                    <a:noFill/>
                  </a:tcPr>
                </a:tc>
                <a:extLst>
                  <a:ext uri="{0D108BD9-81ED-4DB2-BD59-A6C34878D82A}">
                    <a16:rowId xmlns:a16="http://schemas.microsoft.com/office/drawing/2014/main" val="2414582437"/>
                  </a:ext>
                </a:extLst>
              </a:tr>
            </a:tbl>
          </a:graphicData>
        </a:graphic>
      </p:graphicFrame>
    </p:spTree>
    <p:extLst>
      <p:ext uri="{BB962C8B-B14F-4D97-AF65-F5344CB8AC3E}">
        <p14:creationId xmlns:p14="http://schemas.microsoft.com/office/powerpoint/2010/main" val="79974997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025"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en-IN" sz="2800">
              <a:solidFill>
                <a:srgbClr val="FFFFFF"/>
              </a:solidFill>
              <a:sym typeface="Arial" panose="020B0604020202020204" pitchFamily="34" charset="0"/>
            </a:endParaRPr>
          </a:p>
        </p:txBody>
      </p:sp>
      <p:sp>
        <p:nvSpPr>
          <p:cNvPr id="2" name="Title 1"/>
          <p:cNvSpPr>
            <a:spLocks noGrp="1"/>
          </p:cNvSpPr>
          <p:nvPr>
            <p:ph type="title"/>
          </p:nvPr>
        </p:nvSpPr>
        <p:spPr>
          <a:xfrm>
            <a:off x="510638" y="297277"/>
            <a:ext cx="7827117" cy="434010"/>
          </a:xfrm>
          <a:prstGeom prst="rect">
            <a:avLst/>
          </a:prstGeom>
        </p:spPr>
        <p:txBody>
          <a:bodyPr/>
          <a:lstStyle/>
          <a:p>
            <a:r>
              <a:rPr lang="en-US"/>
              <a:t>Next steps</a:t>
            </a:r>
            <a:endParaRPr lang="en-IN"/>
          </a:p>
        </p:txBody>
      </p:sp>
      <p:sp>
        <p:nvSpPr>
          <p:cNvPr id="6" name="Rectangle 5">
            <a:extLst>
              <a:ext uri="{FF2B5EF4-FFF2-40B4-BE49-F238E27FC236}">
                <a16:creationId xmlns:a16="http://schemas.microsoft.com/office/drawing/2014/main" id="{7C616F68-C6E3-1F45-8BEE-9F90691ED017}"/>
              </a:ext>
            </a:extLst>
          </p:cNvPr>
          <p:cNvSpPr/>
          <p:nvPr/>
        </p:nvSpPr>
        <p:spPr>
          <a:xfrm>
            <a:off x="513694" y="843705"/>
            <a:ext cx="10923519" cy="2972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200" b="1">
                <a:solidFill>
                  <a:srgbClr val="50235C"/>
                </a:solidFill>
                <a:latin typeface="Arial" panose="020B0604020202020204" pitchFamily="34" charset="0"/>
                <a:cs typeface="Arial" panose="020B0604020202020204" pitchFamily="34" charset="0"/>
              </a:rPr>
              <a:t>In order to progress development of adult mental health services across STW, six priority next steps are advised. </a:t>
            </a:r>
          </a:p>
          <a:p>
            <a:endParaRPr lang="en-GB" sz="1200" b="1">
              <a:solidFill>
                <a:srgbClr val="50235C"/>
              </a:solidFill>
              <a:latin typeface="Arial" panose="020B0604020202020204" pitchFamily="34" charset="0"/>
              <a:cs typeface="Arial" panose="020B0604020202020204" pitchFamily="34" charset="0"/>
            </a:endParaRPr>
          </a:p>
        </p:txBody>
      </p:sp>
      <p:graphicFrame>
        <p:nvGraphicFramePr>
          <p:cNvPr id="7" name="Table 7">
            <a:extLst>
              <a:ext uri="{FF2B5EF4-FFF2-40B4-BE49-F238E27FC236}">
                <a16:creationId xmlns:a16="http://schemas.microsoft.com/office/drawing/2014/main" id="{F919ECF1-966C-E64F-BFF9-AD986DD4639F}"/>
              </a:ext>
            </a:extLst>
          </p:cNvPr>
          <p:cNvGraphicFramePr>
            <a:graphicFrameLocks noGrp="1"/>
          </p:cNvGraphicFramePr>
          <p:nvPr/>
        </p:nvGraphicFramePr>
        <p:xfrm>
          <a:off x="510638" y="1465375"/>
          <a:ext cx="9383989" cy="4770954"/>
        </p:xfrm>
        <a:graphic>
          <a:graphicData uri="http://schemas.openxmlformats.org/drawingml/2006/table">
            <a:tbl>
              <a:tblPr>
                <a:tableStyleId>{5C22544A-7EE6-4342-B048-85BDC9FD1C3A}</a:tableStyleId>
              </a:tblPr>
              <a:tblGrid>
                <a:gridCol w="9383989">
                  <a:extLst>
                    <a:ext uri="{9D8B030D-6E8A-4147-A177-3AD203B41FA5}">
                      <a16:colId xmlns:a16="http://schemas.microsoft.com/office/drawing/2014/main" val="740326691"/>
                    </a:ext>
                  </a:extLst>
                </a:gridCol>
              </a:tblGrid>
              <a:tr h="795159">
                <a:tc>
                  <a:txBody>
                    <a:bodyPr/>
                    <a:lstStyle/>
                    <a:p>
                      <a:pPr marL="720000" marR="0" lvl="0" indent="0" algn="l" defTabSz="914400" rtl="0" eaLnBrk="1" fontAlgn="auto" latinLnBrk="0" hangingPunct="1">
                        <a:lnSpc>
                          <a:spcPct val="100000"/>
                        </a:lnSpc>
                        <a:spcBef>
                          <a:spcPts val="0"/>
                        </a:spcBef>
                        <a:spcAft>
                          <a:spcPts val="0"/>
                        </a:spcAft>
                        <a:buClrTx/>
                        <a:buSzTx/>
                        <a:buFontTx/>
                        <a:buNone/>
                        <a:tabLst/>
                        <a:defRPr/>
                      </a:pPr>
                      <a:r>
                        <a:rPr lang="en-GB" sz="1200">
                          <a:solidFill>
                            <a:schemeClr val="tx2">
                              <a:lumMod val="65000"/>
                              <a:lumOff val="35000"/>
                            </a:schemeClr>
                          </a:solidFill>
                        </a:rPr>
                        <a:t>Mental health leadership team to </a:t>
                      </a:r>
                      <a:r>
                        <a:rPr lang="en-GB" sz="1200" b="1">
                          <a:solidFill>
                            <a:srgbClr val="50235C"/>
                          </a:solidFill>
                        </a:rPr>
                        <a:t>read, process and digest the content </a:t>
                      </a:r>
                      <a:r>
                        <a:rPr lang="en-GB" sz="1200">
                          <a:solidFill>
                            <a:schemeClr val="tx2">
                              <a:lumMod val="65000"/>
                              <a:lumOff val="35000"/>
                            </a:schemeClr>
                          </a:solidFill>
                        </a:rPr>
                        <a:t>of the master deliverable to ensure alignment and understanding of outputs. </a:t>
                      </a:r>
                    </a:p>
                  </a:txBody>
                  <a:tcPr anchor="ctr">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85365397"/>
                  </a:ext>
                </a:extLst>
              </a:tr>
              <a:tr h="795159">
                <a:tc>
                  <a:txBody>
                    <a:bodyPr/>
                    <a:lstStyle/>
                    <a:p>
                      <a:pPr marL="720000" marR="0" lvl="0" indent="0" algn="l" defTabSz="914400" rtl="0" eaLnBrk="1" fontAlgn="auto" latinLnBrk="0" hangingPunct="1">
                        <a:lnSpc>
                          <a:spcPct val="100000"/>
                        </a:lnSpc>
                        <a:spcBef>
                          <a:spcPts val="0"/>
                        </a:spcBef>
                        <a:spcAft>
                          <a:spcPts val="0"/>
                        </a:spcAft>
                        <a:buClrTx/>
                        <a:buSzTx/>
                        <a:buFontTx/>
                        <a:buNone/>
                        <a:tabLst/>
                        <a:defRPr/>
                      </a:pPr>
                      <a:r>
                        <a:rPr lang="en-GB" sz="1200">
                          <a:solidFill>
                            <a:schemeClr val="tx2">
                              <a:lumMod val="65000"/>
                              <a:lumOff val="35000"/>
                            </a:schemeClr>
                          </a:solidFill>
                        </a:rPr>
                        <a:t>Hold a collaborative forum with mental health leadership to </a:t>
                      </a:r>
                      <a:r>
                        <a:rPr lang="en-GB" sz="1200" b="1">
                          <a:solidFill>
                            <a:srgbClr val="50235C"/>
                          </a:solidFill>
                        </a:rPr>
                        <a:t>discuss recommendations and agree next steps</a:t>
                      </a:r>
                      <a:r>
                        <a:rPr lang="en-GB" sz="1200">
                          <a:solidFill>
                            <a:schemeClr val="tx2">
                              <a:lumMod val="65000"/>
                              <a:lumOff val="35000"/>
                            </a:schemeClr>
                          </a:solidFill>
                        </a:rPr>
                        <a:t>. </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948228665"/>
                  </a:ext>
                </a:extLst>
              </a:tr>
              <a:tr h="795159">
                <a:tc>
                  <a:txBody>
                    <a:bodyPr/>
                    <a:lstStyle/>
                    <a:p>
                      <a:pPr marL="720000" marR="0" lvl="0" indent="0" algn="l" defTabSz="914400" rtl="0" eaLnBrk="1" fontAlgn="auto" latinLnBrk="0" hangingPunct="1">
                        <a:lnSpc>
                          <a:spcPct val="100000"/>
                        </a:lnSpc>
                        <a:spcBef>
                          <a:spcPts val="0"/>
                        </a:spcBef>
                        <a:spcAft>
                          <a:spcPts val="0"/>
                        </a:spcAft>
                        <a:buClrTx/>
                        <a:buSzTx/>
                        <a:buFontTx/>
                        <a:buNone/>
                        <a:tabLst/>
                        <a:defRPr/>
                      </a:pPr>
                      <a:r>
                        <a:rPr lang="en-GB" sz="1200">
                          <a:solidFill>
                            <a:schemeClr val="tx2">
                              <a:lumMod val="65000"/>
                              <a:lumOff val="35000"/>
                            </a:schemeClr>
                          </a:solidFill>
                        </a:rPr>
                        <a:t>Conduct an exercise to </a:t>
                      </a:r>
                      <a:r>
                        <a:rPr lang="en-GB" sz="1200" b="1">
                          <a:solidFill>
                            <a:srgbClr val="50235C"/>
                          </a:solidFill>
                        </a:rPr>
                        <a:t>evaluate the resource requirement for each recommendation </a:t>
                      </a:r>
                      <a:r>
                        <a:rPr lang="en-GB" sz="1200">
                          <a:solidFill>
                            <a:schemeClr val="tx2">
                              <a:lumMod val="65000"/>
                              <a:lumOff val="35000"/>
                            </a:schemeClr>
                          </a:solidFill>
                        </a:rPr>
                        <a:t>in more detail to provide a high level view of the types and quantity of resource required – i.e. funding, people, other. </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10960632"/>
                  </a:ext>
                </a:extLst>
              </a:tr>
              <a:tr h="795159">
                <a:tc>
                  <a:txBody>
                    <a:bodyPr/>
                    <a:lstStyle/>
                    <a:p>
                      <a:pPr marL="72000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rgbClr val="50235C"/>
                          </a:solidFill>
                        </a:rPr>
                        <a:t>Prioritise recommendations based on resource requirements, </a:t>
                      </a:r>
                      <a:r>
                        <a:rPr lang="en-GB" sz="1200" b="0">
                          <a:solidFill>
                            <a:srgbClr val="50235C"/>
                          </a:solidFill>
                        </a:rPr>
                        <a:t>and share view with ICS. Make application for resource as/ where required.</a:t>
                      </a:r>
                      <a:endParaRPr lang="en-GB" sz="1200" b="0">
                        <a:solidFill>
                          <a:schemeClr val="tx2">
                            <a:lumMod val="65000"/>
                            <a:lumOff val="35000"/>
                          </a:schemeClr>
                        </a:solidFill>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820550617"/>
                  </a:ext>
                </a:extLst>
              </a:tr>
              <a:tr h="795159">
                <a:tc>
                  <a:txBody>
                    <a:bodyPr/>
                    <a:lstStyle/>
                    <a:p>
                      <a:pPr marL="720000" marR="0" lvl="0" indent="0" algn="l" defTabSz="914400" rtl="0" eaLnBrk="1" fontAlgn="auto" latinLnBrk="0" hangingPunct="1">
                        <a:lnSpc>
                          <a:spcPct val="100000"/>
                        </a:lnSpc>
                        <a:spcBef>
                          <a:spcPts val="0"/>
                        </a:spcBef>
                        <a:spcAft>
                          <a:spcPts val="0"/>
                        </a:spcAft>
                        <a:buClrTx/>
                        <a:buSzTx/>
                        <a:buFontTx/>
                        <a:buNone/>
                        <a:tabLst/>
                        <a:defRPr/>
                      </a:pPr>
                      <a:endParaRPr lang="en-GB" sz="1200" b="1" kern="1200">
                        <a:solidFill>
                          <a:srgbClr val="50235C"/>
                        </a:solidFill>
                        <a:latin typeface="+mn-lt"/>
                        <a:ea typeface="+mn-ea"/>
                        <a:cs typeface="+mn-cs"/>
                      </a:endParaRPr>
                    </a:p>
                    <a:p>
                      <a:pPr marL="720000" marR="0" lvl="0" indent="0" algn="l" defTabSz="914400" rtl="0" eaLnBrk="1" fontAlgn="auto" latinLnBrk="0" hangingPunct="1">
                        <a:lnSpc>
                          <a:spcPct val="100000"/>
                        </a:lnSpc>
                        <a:spcBef>
                          <a:spcPts val="0"/>
                        </a:spcBef>
                        <a:spcAft>
                          <a:spcPts val="0"/>
                        </a:spcAft>
                        <a:buClrTx/>
                        <a:buSzTx/>
                        <a:buFontTx/>
                        <a:buNone/>
                        <a:tabLst/>
                        <a:defRPr/>
                      </a:pPr>
                      <a:r>
                        <a:rPr lang="en-GB" sz="1200" b="1" kern="1200">
                          <a:solidFill>
                            <a:srgbClr val="50235C"/>
                          </a:solidFill>
                          <a:latin typeface="+mn-lt"/>
                          <a:ea typeface="+mn-ea"/>
                          <a:cs typeface="+mn-cs"/>
                        </a:rPr>
                        <a:t>Shape a delivery and implementation plan </a:t>
                      </a:r>
                      <a:r>
                        <a:rPr lang="en-GB" sz="1200" kern="1200">
                          <a:solidFill>
                            <a:schemeClr val="tx2">
                              <a:lumMod val="65000"/>
                              <a:lumOff val="35000"/>
                            </a:schemeClr>
                          </a:solidFill>
                          <a:latin typeface="+mn-lt"/>
                          <a:ea typeface="+mn-ea"/>
                          <a:cs typeface="+mn-cs"/>
                        </a:rPr>
                        <a:t>that outlines how recommendations will be taken forward.</a:t>
                      </a:r>
                    </a:p>
                    <a:p>
                      <a:pPr marL="720000" marR="0" lvl="0" indent="0" algn="l" defTabSz="914400" rtl="0" eaLnBrk="1" fontAlgn="auto" latinLnBrk="0" hangingPunct="1">
                        <a:lnSpc>
                          <a:spcPct val="100000"/>
                        </a:lnSpc>
                        <a:spcBef>
                          <a:spcPts val="0"/>
                        </a:spcBef>
                        <a:spcAft>
                          <a:spcPts val="0"/>
                        </a:spcAft>
                        <a:buClrTx/>
                        <a:buSzTx/>
                        <a:buFontTx/>
                        <a:buNone/>
                        <a:tabLst/>
                        <a:defRPr/>
                      </a:pPr>
                      <a:endParaRPr lang="en-GB" sz="1200">
                        <a:solidFill>
                          <a:schemeClr val="tx2">
                            <a:lumMod val="65000"/>
                            <a:lumOff val="35000"/>
                          </a:schemeClr>
                        </a:solidFill>
                        <a:highlight>
                          <a:srgbClr val="FFFF00"/>
                        </a:highlight>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640265760"/>
                  </a:ext>
                </a:extLst>
              </a:tr>
              <a:tr h="795159">
                <a:tc>
                  <a:txBody>
                    <a:bodyPr/>
                    <a:lstStyle/>
                    <a:p>
                      <a:pPr marL="72000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rgbClr val="50235C"/>
                          </a:solidFill>
                        </a:rPr>
                        <a:t>Stand up programme management capability </a:t>
                      </a:r>
                      <a:r>
                        <a:rPr lang="en-GB" sz="1200">
                          <a:solidFill>
                            <a:schemeClr val="tx2">
                              <a:lumMod val="65000"/>
                              <a:lumOff val="35000"/>
                            </a:schemeClr>
                          </a:solidFill>
                        </a:rPr>
                        <a:t>to oversee the implementation and delivery of the roadmap. </a:t>
                      </a:r>
                    </a:p>
                  </a:txBody>
                  <a:tcPr anchor="ctr">
                    <a:lnT w="12700" cap="flat" cmpd="sng" algn="ctr">
                      <a:solidFill>
                        <a:schemeClr val="bg1">
                          <a:lumMod val="85000"/>
                        </a:schemeClr>
                      </a:solidFill>
                      <a:prstDash val="solid"/>
                      <a:round/>
                      <a:headEnd type="none" w="med" len="med"/>
                      <a:tailEnd type="none" w="med" len="med"/>
                    </a:lnT>
                    <a:noFill/>
                  </a:tcPr>
                </a:tc>
                <a:extLst>
                  <a:ext uri="{0D108BD9-81ED-4DB2-BD59-A6C34878D82A}">
                    <a16:rowId xmlns:a16="http://schemas.microsoft.com/office/drawing/2014/main" val="4001104146"/>
                  </a:ext>
                </a:extLst>
              </a:tr>
            </a:tbl>
          </a:graphicData>
        </a:graphic>
      </p:graphicFrame>
      <p:pic>
        <p:nvPicPr>
          <p:cNvPr id="9" name="Graphic 8" descr="Glasses with solid fill">
            <a:extLst>
              <a:ext uri="{FF2B5EF4-FFF2-40B4-BE49-F238E27FC236}">
                <a16:creationId xmlns:a16="http://schemas.microsoft.com/office/drawing/2014/main" id="{0478AE81-C2BE-144C-89AC-22D699053E5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8876" y="1639913"/>
            <a:ext cx="432000" cy="432000"/>
          </a:xfrm>
          <a:prstGeom prst="rect">
            <a:avLst/>
          </a:prstGeom>
        </p:spPr>
      </p:pic>
      <p:pic>
        <p:nvPicPr>
          <p:cNvPr id="12" name="Graphic 11" descr="Online meeting with solid fill">
            <a:extLst>
              <a:ext uri="{FF2B5EF4-FFF2-40B4-BE49-F238E27FC236}">
                <a16:creationId xmlns:a16="http://schemas.microsoft.com/office/drawing/2014/main" id="{EB6539E4-0CBF-7245-9247-092C7CAF2FC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78876" y="2441745"/>
            <a:ext cx="432000" cy="432000"/>
          </a:xfrm>
          <a:prstGeom prst="rect">
            <a:avLst/>
          </a:prstGeom>
        </p:spPr>
      </p:pic>
      <p:pic>
        <p:nvPicPr>
          <p:cNvPr id="15" name="Graphic 14" descr="Pyramid with levels with solid fill">
            <a:extLst>
              <a:ext uri="{FF2B5EF4-FFF2-40B4-BE49-F238E27FC236}">
                <a16:creationId xmlns:a16="http://schemas.microsoft.com/office/drawing/2014/main" id="{EF5D179E-7341-544A-B0D3-6EE345AE524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78876" y="3229929"/>
            <a:ext cx="432000" cy="432000"/>
          </a:xfrm>
          <a:prstGeom prst="rect">
            <a:avLst/>
          </a:prstGeom>
        </p:spPr>
      </p:pic>
      <p:pic>
        <p:nvPicPr>
          <p:cNvPr id="17" name="Graphic 16" descr="Teacher with solid fill">
            <a:extLst>
              <a:ext uri="{FF2B5EF4-FFF2-40B4-BE49-F238E27FC236}">
                <a16:creationId xmlns:a16="http://schemas.microsoft.com/office/drawing/2014/main" id="{482A96AD-C745-3E43-B64C-68C8FF6EB28E}"/>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78876" y="4033919"/>
            <a:ext cx="432000" cy="432000"/>
          </a:xfrm>
          <a:prstGeom prst="rect">
            <a:avLst/>
          </a:prstGeom>
        </p:spPr>
      </p:pic>
      <p:pic>
        <p:nvPicPr>
          <p:cNvPr id="19" name="Graphic 18" descr="Meeting with solid fill">
            <a:extLst>
              <a:ext uri="{FF2B5EF4-FFF2-40B4-BE49-F238E27FC236}">
                <a16:creationId xmlns:a16="http://schemas.microsoft.com/office/drawing/2014/main" id="{27583989-1D4A-3948-9DC1-EFFAD7C69AF5}"/>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61172" y="5602938"/>
            <a:ext cx="432000" cy="432000"/>
          </a:xfrm>
          <a:prstGeom prst="rect">
            <a:avLst/>
          </a:prstGeom>
        </p:spPr>
      </p:pic>
      <p:pic>
        <p:nvPicPr>
          <p:cNvPr id="13" name="Graphic 12" descr="Road with solid fill">
            <a:extLst>
              <a:ext uri="{FF2B5EF4-FFF2-40B4-BE49-F238E27FC236}">
                <a16:creationId xmlns:a16="http://schemas.microsoft.com/office/drawing/2014/main" id="{ABF38610-DEDC-DE46-9B2E-741AF0C7ADF6}"/>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27544" y="4811144"/>
            <a:ext cx="428400" cy="428400"/>
          </a:xfrm>
          <a:prstGeom prst="rect">
            <a:avLst/>
          </a:prstGeom>
        </p:spPr>
      </p:pic>
      <p:graphicFrame>
        <p:nvGraphicFramePr>
          <p:cNvPr id="14" name="Table 13">
            <a:extLst>
              <a:ext uri="{FF2B5EF4-FFF2-40B4-BE49-F238E27FC236}">
                <a16:creationId xmlns:a16="http://schemas.microsoft.com/office/drawing/2014/main" id="{903395B8-578B-114E-A53B-7EDAB280AE56}"/>
              </a:ext>
            </a:extLst>
          </p:cNvPr>
          <p:cNvGraphicFramePr>
            <a:graphicFrameLocks noGrp="1"/>
          </p:cNvGraphicFramePr>
          <p:nvPr>
            <p:extLst>
              <p:ext uri="{D42A27DB-BD31-4B8C-83A1-F6EECF244321}">
                <p14:modId xmlns:p14="http://schemas.microsoft.com/office/powerpoint/2010/main" val="959875512"/>
              </p:ext>
            </p:extLst>
          </p:nvPr>
        </p:nvGraphicFramePr>
        <p:xfrm>
          <a:off x="1" y="6560723"/>
          <a:ext cx="11858896" cy="297277"/>
        </p:xfrm>
        <a:graphic>
          <a:graphicData uri="http://schemas.openxmlformats.org/drawingml/2006/table">
            <a:tbl>
              <a:tblPr>
                <a:tableStyleId>{5C22544A-7EE6-4342-B048-85BDC9FD1C3A}</a:tableStyleId>
              </a:tblPr>
              <a:tblGrid>
                <a:gridCol w="1694128">
                  <a:extLst>
                    <a:ext uri="{9D8B030D-6E8A-4147-A177-3AD203B41FA5}">
                      <a16:colId xmlns:a16="http://schemas.microsoft.com/office/drawing/2014/main" val="3508502722"/>
                    </a:ext>
                  </a:extLst>
                </a:gridCol>
                <a:gridCol w="1694128">
                  <a:extLst>
                    <a:ext uri="{9D8B030D-6E8A-4147-A177-3AD203B41FA5}">
                      <a16:colId xmlns:a16="http://schemas.microsoft.com/office/drawing/2014/main" val="1894411863"/>
                    </a:ext>
                  </a:extLst>
                </a:gridCol>
                <a:gridCol w="1694128">
                  <a:extLst>
                    <a:ext uri="{9D8B030D-6E8A-4147-A177-3AD203B41FA5}">
                      <a16:colId xmlns:a16="http://schemas.microsoft.com/office/drawing/2014/main" val="1998335409"/>
                    </a:ext>
                  </a:extLst>
                </a:gridCol>
                <a:gridCol w="1694128">
                  <a:extLst>
                    <a:ext uri="{9D8B030D-6E8A-4147-A177-3AD203B41FA5}">
                      <a16:colId xmlns:a16="http://schemas.microsoft.com/office/drawing/2014/main" val="202640554"/>
                    </a:ext>
                  </a:extLst>
                </a:gridCol>
                <a:gridCol w="1694128">
                  <a:extLst>
                    <a:ext uri="{9D8B030D-6E8A-4147-A177-3AD203B41FA5}">
                      <a16:colId xmlns:a16="http://schemas.microsoft.com/office/drawing/2014/main" val="3019704548"/>
                    </a:ext>
                  </a:extLst>
                </a:gridCol>
                <a:gridCol w="1694128">
                  <a:extLst>
                    <a:ext uri="{9D8B030D-6E8A-4147-A177-3AD203B41FA5}">
                      <a16:colId xmlns:a16="http://schemas.microsoft.com/office/drawing/2014/main" val="1364401804"/>
                    </a:ext>
                  </a:extLst>
                </a:gridCol>
                <a:gridCol w="1694128">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Tree>
    <p:extLst>
      <p:ext uri="{BB962C8B-B14F-4D97-AF65-F5344CB8AC3E}">
        <p14:creationId xmlns:p14="http://schemas.microsoft.com/office/powerpoint/2010/main" val="31076928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7DF49F5-76E4-D045-9AE5-C5DFB0E4B946}"/>
              </a:ext>
            </a:extLst>
          </p:cNvPr>
          <p:cNvSpPr>
            <a:spLocks noGrp="1"/>
          </p:cNvSpPr>
          <p:nvPr>
            <p:ph sz="quarter" idx="10"/>
          </p:nvPr>
        </p:nvSpPr>
        <p:spPr>
          <a:xfrm>
            <a:off x="1881187" y="1983582"/>
            <a:ext cx="7747721" cy="2890837"/>
          </a:xfrm>
        </p:spPr>
        <p:txBody>
          <a:bodyPr/>
          <a:lstStyle/>
          <a:p>
            <a:r>
              <a:rPr lang="en-GB"/>
              <a:t>Service Mapping and Gap analysis </a:t>
            </a:r>
          </a:p>
        </p:txBody>
      </p:sp>
      <p:graphicFrame>
        <p:nvGraphicFramePr>
          <p:cNvPr id="7" name="Table 6">
            <a:extLst>
              <a:ext uri="{FF2B5EF4-FFF2-40B4-BE49-F238E27FC236}">
                <a16:creationId xmlns:a16="http://schemas.microsoft.com/office/drawing/2014/main" id="{55491300-71DD-9D4D-9A39-2ECB09F71D19}"/>
              </a:ext>
            </a:extLst>
          </p:cNvPr>
          <p:cNvGraphicFramePr>
            <a:graphicFrameLocks noGrp="1"/>
          </p:cNvGraphicFramePr>
          <p:nvPr>
            <p:extLst>
              <p:ext uri="{D42A27DB-BD31-4B8C-83A1-F6EECF244321}">
                <p14:modId xmlns:p14="http://schemas.microsoft.com/office/powerpoint/2010/main" val="3891284819"/>
              </p:ext>
            </p:extLst>
          </p:nvPr>
        </p:nvGraphicFramePr>
        <p:xfrm>
          <a:off x="0" y="6560723"/>
          <a:ext cx="12191998" cy="297277"/>
        </p:xfrm>
        <a:graphic>
          <a:graphicData uri="http://schemas.openxmlformats.org/drawingml/2006/table">
            <a:tbl>
              <a:tblPr>
                <a:tableStyleId>{5C22544A-7EE6-4342-B048-85BDC9FD1C3A}</a:tableStyleId>
              </a:tblPr>
              <a:tblGrid>
                <a:gridCol w="1741714">
                  <a:extLst>
                    <a:ext uri="{9D8B030D-6E8A-4147-A177-3AD203B41FA5}">
                      <a16:colId xmlns:a16="http://schemas.microsoft.com/office/drawing/2014/main" val="3508502722"/>
                    </a:ext>
                  </a:extLst>
                </a:gridCol>
                <a:gridCol w="1741714">
                  <a:extLst>
                    <a:ext uri="{9D8B030D-6E8A-4147-A177-3AD203B41FA5}">
                      <a16:colId xmlns:a16="http://schemas.microsoft.com/office/drawing/2014/main" val="1894411863"/>
                    </a:ext>
                  </a:extLst>
                </a:gridCol>
                <a:gridCol w="1741714">
                  <a:extLst>
                    <a:ext uri="{9D8B030D-6E8A-4147-A177-3AD203B41FA5}">
                      <a16:colId xmlns:a16="http://schemas.microsoft.com/office/drawing/2014/main" val="1998335409"/>
                    </a:ext>
                  </a:extLst>
                </a:gridCol>
                <a:gridCol w="1741714">
                  <a:extLst>
                    <a:ext uri="{9D8B030D-6E8A-4147-A177-3AD203B41FA5}">
                      <a16:colId xmlns:a16="http://schemas.microsoft.com/office/drawing/2014/main" val="202640554"/>
                    </a:ext>
                  </a:extLst>
                </a:gridCol>
                <a:gridCol w="1741714">
                  <a:extLst>
                    <a:ext uri="{9D8B030D-6E8A-4147-A177-3AD203B41FA5}">
                      <a16:colId xmlns:a16="http://schemas.microsoft.com/office/drawing/2014/main" val="3019704548"/>
                    </a:ext>
                  </a:extLst>
                </a:gridCol>
                <a:gridCol w="1741714">
                  <a:extLst>
                    <a:ext uri="{9D8B030D-6E8A-4147-A177-3AD203B41FA5}">
                      <a16:colId xmlns:a16="http://schemas.microsoft.com/office/drawing/2014/main" val="1364401804"/>
                    </a:ext>
                  </a:extLst>
                </a:gridCol>
                <a:gridCol w="1741714">
                  <a:extLst>
                    <a:ext uri="{9D8B030D-6E8A-4147-A177-3AD203B41FA5}">
                      <a16:colId xmlns:a16="http://schemas.microsoft.com/office/drawing/2014/main" val="3922459409"/>
                    </a:ext>
                  </a:extLst>
                </a:gridCol>
              </a:tblGrid>
              <a:tr h="2972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1. Executive summary</a:t>
                      </a: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2. Overview</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3. Gap analysi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50235C"/>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4. Patient journeys</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5. Vision &amp; strateg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6. Roadmap</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cap="none" normalizeH="0" baseline="0">
                          <a:ln>
                            <a:noFill/>
                          </a:ln>
                          <a:solidFill>
                            <a:schemeClr val="bg1"/>
                          </a:solidFill>
                          <a:effectLst/>
                          <a:latin typeface="Calibri" panose="020F0502020204030204" pitchFamily="34" charset="0"/>
                          <a:ea typeface="+mn-ea"/>
                          <a:cs typeface="Calibri" panose="020F0502020204030204" pitchFamily="34" charset="0"/>
                          <a:sym typeface="Arial"/>
                        </a:rPr>
                        <a:t>7.Next steps</a:t>
                      </a:r>
                    </a:p>
                  </a:txBody>
                  <a:tcPr marL="121920" marR="121920" marT="60960" marB="6096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82336203"/>
                  </a:ext>
                </a:extLst>
              </a:tr>
            </a:tbl>
          </a:graphicData>
        </a:graphic>
      </p:graphicFrame>
    </p:spTree>
    <p:extLst>
      <p:ext uri="{BB962C8B-B14F-4D97-AF65-F5344CB8AC3E}">
        <p14:creationId xmlns:p14="http://schemas.microsoft.com/office/powerpoint/2010/main" val="8898574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iGF6sqUXqUK7ITV5FzfkJ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3DCUhD.c_hoOlZiEDm1zx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3DCUhD.c_hoOlZiEDm1zx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3DCUhD.c_hoOlZiEDm1zx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3DCUhD.c_hoOlZiEDm1zx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3DCUhD.c_hoOlZiEDm1zx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3DCUhD.c_hoOlZiEDm1zx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3DCUhD.c_hoOlZiEDm1zx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3DCUhD.c_hoOlZiEDm1zx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3DCUhD.c_hoOlZiEDm1zx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3DCUhD.c_hoOlZiEDm1zx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3DCUhD.c_hoOlZiEDm1zx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3DCUhD.c_hoOlZiEDm1z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3DCUhD.c_hoOlZiEDm1zx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3DCUhD.c_hoOlZiEDm1zx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3DCUhD.c_hoOlZiEDm1zx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3DCUhD.c_hoOlZiEDm1zx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3DCUhD.c_hoOlZiEDm1zx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3DCUhD.c_hoOlZiEDm1zx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3DCUhD.c_hoOlZiEDm1zx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3DCUhD.c_hoOlZiEDm1zx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3DCUhD.c_hoOlZiEDm1zx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3DCUhD.c_hoOlZiEDm1zx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3DCUhD.c_hoOlZiEDm1zx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3DCUhD.c_hoOlZiEDm1zx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3DCUhD.c_hoOlZiEDm1zx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o9PsM_wlCS.pSGBZWacci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3DCUhD.c_hoOlZiEDm1zx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3DCUhD.c_hoOlZiEDm1zx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3DCUhD.c_hoOlZiEDm1zx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3DCUhD.c_hoOlZiEDm1zx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3DCUhD.c_hoOlZiEDm1zx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9PsM_wlCS.pSGBZWacci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9PsM_wlCS.pSGBZWacci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iGF6sqUXqUK7ITV5FzfkJ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o9PsM_wlCS.pSGBZWacci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o9PsM_wlCS.pSGBZWacci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o9PsM_wlCS.pSGBZWacci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iGF6sqUXqUK7ITV5FzfkJ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9PsM_wlCS.pSGBZWacci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9PsM_wlCS.pSGBZWacc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o9PsM_wlCS.pSGBZWacci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o9PsM_wlCS.pSGBZWacci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GF6sqUXqUK7ITV5FzfkJ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o9PsM_wlCS.pSGBZWacci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o9PsM_wlCS.pSGBZWacci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o9PsM_wlCS.pSGBZWacci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iGF6sqUXqUK7ITV5FzfkJ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9PsM_wlCS.pSGBZWacc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o9PsM_wlCS.pSGBZWacci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9PsM_wlCS.pSGBZWacci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o9PsM_wlCS.pSGBZWacci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iGF6sqUXqUK7ITV5FzfkJ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3DCUhD.c_hoOlZiEDm1zx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3DCUhD.c_hoOlZiEDm1zx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3DCUhD.c_hoOlZiEDm1zx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3DCUhD.c_hoOlZiEDm1zx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3DCUhD.c_hoOlZiEDm1zx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3DCUhD.c_hoOlZiEDm1z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o9PsM_wlCS.pSGBZWacci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3DCUhD.c_hoOlZiEDm1zx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3DCUhD.c_hoOlZiEDm1zx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3DCUhD.c_hoOlZiEDm1zx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3DCUhD.c_hoOlZiEDm1zx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3DCUhD.c_hoOlZiEDm1zx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3DCUhD.c_hoOlZiEDm1zx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3DCUhD.c_hoOlZiEDm1zx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3DCUhD.c_hoOlZiEDm1zx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3DCUhD.c_hoOlZiEDm1zx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3DCUhD.c_hoOlZiEDm1zxw"/>
</p:tagLst>
</file>

<file path=ppt/theme/theme1.xml><?xml version="1.0" encoding="utf-8"?>
<a:theme xmlns:a="http://schemas.openxmlformats.org/drawingml/2006/main" name="1_Editable - Contents &amp; Divider Slides">
  <a:themeElements>
    <a:clrScheme name="Custom 6">
      <a:dk1>
        <a:srgbClr val="000000"/>
      </a:dk1>
      <a:lt1>
        <a:srgbClr val="FFFFFF"/>
      </a:lt1>
      <a:dk2>
        <a:srgbClr val="000000"/>
      </a:dk2>
      <a:lt2>
        <a:srgbClr val="FEFFFF"/>
      </a:lt2>
      <a:accent1>
        <a:srgbClr val="50235C"/>
      </a:accent1>
      <a:accent2>
        <a:srgbClr val="83688D"/>
      </a:accent2>
      <a:accent3>
        <a:srgbClr val="9DC541"/>
      </a:accent3>
      <a:accent4>
        <a:srgbClr val="BCDC96"/>
      </a:accent4>
      <a:accent5>
        <a:srgbClr val="928991"/>
      </a:accent5>
      <a:accent6>
        <a:srgbClr val="C4C0C4"/>
      </a:accent6>
      <a:hlink>
        <a:srgbClr val="50235C"/>
      </a:hlink>
      <a:folHlink>
        <a:srgbClr val="E2D9D0"/>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1203_Branded_Deck_v03_Final_Compressed_IG" id="{F153FD0F-3EA4-814E-808F-64D6C3E63025}" vid="{305BA1D2-016D-7341-A4A5-175FBE90B458}"/>
    </a:ext>
  </a:extLst>
</a:theme>
</file>

<file path=ppt/theme/theme2.xml><?xml version="1.0" encoding="utf-8"?>
<a:theme xmlns:a="http://schemas.openxmlformats.org/drawingml/2006/main" name="2_Editable - Contents &amp; Divider Slides">
  <a:themeElements>
    <a:clrScheme name="Custom 6">
      <a:dk1>
        <a:srgbClr val="000000"/>
      </a:dk1>
      <a:lt1>
        <a:srgbClr val="FFFFFF"/>
      </a:lt1>
      <a:dk2>
        <a:srgbClr val="000000"/>
      </a:dk2>
      <a:lt2>
        <a:srgbClr val="FEFFFF"/>
      </a:lt2>
      <a:accent1>
        <a:srgbClr val="50235C"/>
      </a:accent1>
      <a:accent2>
        <a:srgbClr val="83688D"/>
      </a:accent2>
      <a:accent3>
        <a:srgbClr val="9DC541"/>
      </a:accent3>
      <a:accent4>
        <a:srgbClr val="BCDC96"/>
      </a:accent4>
      <a:accent5>
        <a:srgbClr val="928991"/>
      </a:accent5>
      <a:accent6>
        <a:srgbClr val="C4C0C4"/>
      </a:accent6>
      <a:hlink>
        <a:srgbClr val="50235C"/>
      </a:hlink>
      <a:folHlink>
        <a:srgbClr val="E2D9D0"/>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1203_Branded_Deck_v03_Final_IG" id="{BA6E9B88-2F5F-8D4F-B325-F5D97183895D}" vid="{56B1037B-4A08-D949-8FA1-108B1DD7E55C}"/>
    </a:ext>
  </a:extLst>
</a:theme>
</file>

<file path=ppt/theme/theme3.xml><?xml version="1.0" encoding="utf-8"?>
<a:theme xmlns:a="http://schemas.openxmlformats.org/drawingml/2006/main" name="3_Editable - Contents &amp; Divider Slides">
  <a:themeElements>
    <a:clrScheme name="Custom 6">
      <a:dk1>
        <a:srgbClr val="000000"/>
      </a:dk1>
      <a:lt1>
        <a:srgbClr val="FFFFFF"/>
      </a:lt1>
      <a:dk2>
        <a:srgbClr val="000000"/>
      </a:dk2>
      <a:lt2>
        <a:srgbClr val="FEFFFF"/>
      </a:lt2>
      <a:accent1>
        <a:srgbClr val="50235C"/>
      </a:accent1>
      <a:accent2>
        <a:srgbClr val="83688D"/>
      </a:accent2>
      <a:accent3>
        <a:srgbClr val="9DC541"/>
      </a:accent3>
      <a:accent4>
        <a:srgbClr val="BCDC96"/>
      </a:accent4>
      <a:accent5>
        <a:srgbClr val="928991"/>
      </a:accent5>
      <a:accent6>
        <a:srgbClr val="C4C0C4"/>
      </a:accent6>
      <a:hlink>
        <a:srgbClr val="50235C"/>
      </a:hlink>
      <a:folHlink>
        <a:srgbClr val="E2D9D0"/>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1203_Branded_Deck_v03_Final_IG" id="{BA6E9B88-2F5F-8D4F-B325-F5D97183895D}" vid="{56B1037B-4A08-D949-8FA1-108B1DD7E55C}"/>
    </a:ext>
  </a:extLst>
</a:theme>
</file>

<file path=ppt/theme/theme4.xml><?xml version="1.0" encoding="utf-8"?>
<a:theme xmlns:a="http://schemas.openxmlformats.org/drawingml/2006/main" name="4_Editable - Contents &amp; Divider Slides">
  <a:themeElements>
    <a:clrScheme name="Custom 6">
      <a:dk1>
        <a:srgbClr val="000000"/>
      </a:dk1>
      <a:lt1>
        <a:srgbClr val="FFFFFF"/>
      </a:lt1>
      <a:dk2>
        <a:srgbClr val="000000"/>
      </a:dk2>
      <a:lt2>
        <a:srgbClr val="FEFFFF"/>
      </a:lt2>
      <a:accent1>
        <a:srgbClr val="50235C"/>
      </a:accent1>
      <a:accent2>
        <a:srgbClr val="83688D"/>
      </a:accent2>
      <a:accent3>
        <a:srgbClr val="9DC541"/>
      </a:accent3>
      <a:accent4>
        <a:srgbClr val="BCDC96"/>
      </a:accent4>
      <a:accent5>
        <a:srgbClr val="928991"/>
      </a:accent5>
      <a:accent6>
        <a:srgbClr val="C4C0C4"/>
      </a:accent6>
      <a:hlink>
        <a:srgbClr val="50235C"/>
      </a:hlink>
      <a:folHlink>
        <a:srgbClr val="E2D9D0"/>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1203_Branded_Deck_v03_Final_IG" id="{BA6E9B88-2F5F-8D4F-B325-F5D97183895D}" vid="{56B1037B-4A08-D949-8FA1-108B1DD7E55C}"/>
    </a:ext>
  </a:extLst>
</a:theme>
</file>

<file path=ppt/theme/theme5.xml><?xml version="1.0" encoding="utf-8"?>
<a:theme xmlns:a="http://schemas.openxmlformats.org/drawingml/2006/main" name="5_Editable - Contents &amp; Divider Slides">
  <a:themeElements>
    <a:clrScheme name="Custom 6">
      <a:dk1>
        <a:srgbClr val="000000"/>
      </a:dk1>
      <a:lt1>
        <a:srgbClr val="FFFFFF"/>
      </a:lt1>
      <a:dk2>
        <a:srgbClr val="000000"/>
      </a:dk2>
      <a:lt2>
        <a:srgbClr val="FEFFFF"/>
      </a:lt2>
      <a:accent1>
        <a:srgbClr val="50235C"/>
      </a:accent1>
      <a:accent2>
        <a:srgbClr val="83688D"/>
      </a:accent2>
      <a:accent3>
        <a:srgbClr val="9DC541"/>
      </a:accent3>
      <a:accent4>
        <a:srgbClr val="BCDC96"/>
      </a:accent4>
      <a:accent5>
        <a:srgbClr val="928991"/>
      </a:accent5>
      <a:accent6>
        <a:srgbClr val="C4C0C4"/>
      </a:accent6>
      <a:hlink>
        <a:srgbClr val="50235C"/>
      </a:hlink>
      <a:folHlink>
        <a:srgbClr val="E2D9D0"/>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1203_Branded_Deck_v03_Final_IG" id="{BA6E9B88-2F5F-8D4F-B325-F5D97183895D}" vid="{56B1037B-4A08-D949-8FA1-108B1DD7E55C}"/>
    </a:ext>
  </a:extLst>
</a:theme>
</file>

<file path=ppt/theme/theme6.xml><?xml version="1.0" encoding="utf-8"?>
<a:theme xmlns:a="http://schemas.openxmlformats.org/drawingml/2006/main" name="6_Editable - Contents &amp; Divider Slides">
  <a:themeElements>
    <a:clrScheme name="Custom 6">
      <a:dk1>
        <a:srgbClr val="000000"/>
      </a:dk1>
      <a:lt1>
        <a:srgbClr val="FFFFFF"/>
      </a:lt1>
      <a:dk2>
        <a:srgbClr val="000000"/>
      </a:dk2>
      <a:lt2>
        <a:srgbClr val="FEFFFF"/>
      </a:lt2>
      <a:accent1>
        <a:srgbClr val="50235C"/>
      </a:accent1>
      <a:accent2>
        <a:srgbClr val="83688D"/>
      </a:accent2>
      <a:accent3>
        <a:srgbClr val="9DC541"/>
      </a:accent3>
      <a:accent4>
        <a:srgbClr val="BCDC96"/>
      </a:accent4>
      <a:accent5>
        <a:srgbClr val="928991"/>
      </a:accent5>
      <a:accent6>
        <a:srgbClr val="C4C0C4"/>
      </a:accent6>
      <a:hlink>
        <a:srgbClr val="50235C"/>
      </a:hlink>
      <a:folHlink>
        <a:srgbClr val="E2D9D0"/>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1203_Branded_Deck_v03_Final_IG" id="{BA6E9B88-2F5F-8D4F-B325-F5D97183895D}" vid="{56B1037B-4A08-D949-8FA1-108B1DD7E55C}"/>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6">
    <a:dk1>
      <a:srgbClr val="000000"/>
    </a:dk1>
    <a:lt1>
      <a:srgbClr val="FFFFFF"/>
    </a:lt1>
    <a:dk2>
      <a:srgbClr val="000000"/>
    </a:dk2>
    <a:lt2>
      <a:srgbClr val="FEFFFF"/>
    </a:lt2>
    <a:accent1>
      <a:srgbClr val="50235C"/>
    </a:accent1>
    <a:accent2>
      <a:srgbClr val="83688D"/>
    </a:accent2>
    <a:accent3>
      <a:srgbClr val="9DC541"/>
    </a:accent3>
    <a:accent4>
      <a:srgbClr val="BCDC96"/>
    </a:accent4>
    <a:accent5>
      <a:srgbClr val="928991"/>
    </a:accent5>
    <a:accent6>
      <a:srgbClr val="C4C0C4"/>
    </a:accent6>
    <a:hlink>
      <a:srgbClr val="50235C"/>
    </a:hlink>
    <a:folHlink>
      <a:srgbClr val="E2D9D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0e0a1db9-2142-44bb-919b-e58332629b6b">
      <UserInfo>
        <DisplayName/>
        <AccountId xsi:nil="true"/>
        <AccountType/>
      </UserInfo>
    </SharedWithUsers>
    <df053abab76a4e8ea2e94972337628a3 xmlns="fb2a9dcb-6efb-41cc-98b9-ba74f970147e">
      <Terms xmlns="http://schemas.microsoft.com/office/infopath/2007/PartnerControls"/>
    </df053abab76a4e8ea2e94972337628a3>
    <UnilyIsTemplate xmlns="fb2a9dcb-6efb-41cc-98b9-ba74f970147e">false</UnilyIsTemplate>
    <TaxCatchAll xmlns="fb2a9dcb-6efb-41cc-98b9-ba74f970147e" xsi:nil="true"/>
    <PublishingExpirationDate xmlns="http://schemas.microsoft.com/sharepoint/v3" xsi:nil="true"/>
    <UnilyIsFeaturedDocument xmlns="fb2a9dcb-6efb-41cc-98b9-ba74f970147e">false</UnilyIsFeaturedDocument>
    <PublishingStartDate xmlns="http://schemas.microsoft.com/sharepoint/v3" xsi:nil="true"/>
    <LastSharedByUser xmlns="0e0a1db9-2142-44bb-919b-e58332629b6b" xsi:nil="true"/>
    <LastSharedByTime xmlns="0e0a1db9-2142-44bb-919b-e58332629b6b"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35AA3BCD758A746A8B950CC468FDDD1" ma:contentTypeVersion="25" ma:contentTypeDescription="Create a new document." ma:contentTypeScope="" ma:versionID="38bc23a19e50ab02fef06546cb4d366c">
  <xsd:schema xmlns:xsd="http://www.w3.org/2001/XMLSchema" xmlns:xs="http://www.w3.org/2001/XMLSchema" xmlns:p="http://schemas.microsoft.com/office/2006/metadata/properties" xmlns:ns1="http://schemas.microsoft.com/sharepoint/v3" xmlns:ns2="fb2a9dcb-6efb-41cc-98b9-ba74f970147e" xmlns:ns3="0e0a1db9-2142-44bb-919b-e58332629b6b" xmlns:ns4="f200de8d-a697-4efd-812e-f9f1f0217a1d" targetNamespace="http://schemas.microsoft.com/office/2006/metadata/properties" ma:root="true" ma:fieldsID="d388e4677e31c9c105c893119d3aa8be" ns1:_="" ns2:_="" ns3:_="" ns4:_="">
    <xsd:import namespace="http://schemas.microsoft.com/sharepoint/v3"/>
    <xsd:import namespace="fb2a9dcb-6efb-41cc-98b9-ba74f970147e"/>
    <xsd:import namespace="0e0a1db9-2142-44bb-919b-e58332629b6b"/>
    <xsd:import namespace="f200de8d-a697-4efd-812e-f9f1f0217a1d"/>
    <xsd:element name="properties">
      <xsd:complexType>
        <xsd:sequence>
          <xsd:element name="documentManagement">
            <xsd:complexType>
              <xsd:all>
                <xsd:element ref="ns2:UnilyIsFeaturedDocument" minOccurs="0"/>
                <xsd:element ref="ns2:UnilyIsTemplate" minOccurs="0"/>
                <xsd:element ref="ns2:df053abab76a4e8ea2e94972337628a3" minOccurs="0"/>
                <xsd:element ref="ns2:TaxCatchAll" minOccurs="0"/>
                <xsd:element ref="ns2:TaxCatchAllLabel" minOccurs="0"/>
                <xsd:element ref="ns1:PublishingStartDate" minOccurs="0"/>
                <xsd:element ref="ns1:PublishingExpirationDate" minOccurs="0"/>
                <xsd:element ref="ns3:SharedWithUsers" minOccurs="0"/>
                <xsd:element ref="ns3:SharedWithDetails" minOccurs="0"/>
                <xsd:element ref="ns3:LastSharedByUser" minOccurs="0"/>
                <xsd:element ref="ns3:LastSharedByTime" minOccurs="0"/>
                <xsd:element ref="ns4:MediaServiceMetadata" minOccurs="0"/>
                <xsd:element ref="ns4:MediaServiceFastMetadata" minOccurs="0"/>
                <xsd:element ref="ns4:MediaServiceDateTaken" minOccurs="0"/>
                <xsd:element ref="ns4:MediaServiceAutoTags" minOccurs="0"/>
                <xsd:element ref="ns4:MediaServiceLocation" minOccurs="0"/>
                <xsd:element ref="ns4:MediaServiceOCR" minOccurs="0"/>
                <xsd:element ref="ns4:MediaServiceEventHashCode" minOccurs="0"/>
                <xsd:element ref="ns4:MediaServiceGenerationTime" minOccurs="0"/>
                <xsd:element ref="ns4:MediaServiceAutoKeyPoints" minOccurs="0"/>
                <xsd:element ref="ns4:MediaServiceKeyPoints" minOccurs="0"/>
                <xsd:element ref="ns4: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14"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15"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b2a9dcb-6efb-41cc-98b9-ba74f970147e" elementFormDefault="qualified">
    <xsd:import namespace="http://schemas.microsoft.com/office/2006/documentManagement/types"/>
    <xsd:import namespace="http://schemas.microsoft.com/office/infopath/2007/PartnerControls"/>
    <xsd:element name="UnilyIsFeaturedDocument" ma:index="8" nillable="true" ma:displayName="Is Essential Document" ma:default="0" ma:internalName="UnilyIsFeaturedDocument">
      <xsd:simpleType>
        <xsd:restriction base="dms:Boolean"/>
      </xsd:simpleType>
    </xsd:element>
    <xsd:element name="UnilyIsTemplate" ma:index="9" nillable="true" ma:displayName="Is Template" ma:internalName="UnilyIsTemplate">
      <xsd:simpleType>
        <xsd:restriction base="dms:Boolean"/>
      </xsd:simpleType>
    </xsd:element>
    <xsd:element name="df053abab76a4e8ea2e94972337628a3" ma:index="10" nillable="true" ma:taxonomy="true" ma:internalName="df053abab76a4e8ea2e94972337628a3" ma:taxonomyFieldName="UnilyDocumentCategory" ma:displayName="Tags" ma:default="" ma:fieldId="{df053aba-b76a-4e8e-a2e9-4972337628a3}" ma:taxonomyMulti="true" ma:sspId="44cf386a-816e-44d4-81d6-0c77207f2f4a" ma:termSetId="d2544d6a-3f56-40a9-8656-08df1e63c6ea" ma:anchorId="00000000-0000-0000-0000-000000000000" ma:open="false" ma:isKeyword="false">
      <xsd:complexType>
        <xsd:sequence>
          <xsd:element ref="pc:Terms" minOccurs="0" maxOccurs="1"/>
        </xsd:sequence>
      </xsd:complexType>
    </xsd:element>
    <xsd:element name="TaxCatchAll" ma:index="11" nillable="true" ma:displayName="Taxonomy Catch All Column" ma:description="" ma:hidden="true" ma:list="{b2dbc6ee-5c8a-4b61-8d56-4884cf3d1c93}" ma:internalName="TaxCatchAll" ma:showField="CatchAllData" ma:web="fb2a9dcb-6efb-41cc-98b9-ba74f970147e">
      <xsd:complexType>
        <xsd:complexContent>
          <xsd:extension base="dms:MultiChoiceLookup">
            <xsd:sequence>
              <xsd:element name="Value" type="dms:Lookup" maxOccurs="unbounded" minOccurs="0" nillable="true"/>
            </xsd:sequence>
          </xsd:extension>
        </xsd:complexContent>
      </xsd:complexType>
    </xsd:element>
    <xsd:element name="TaxCatchAllLabel" ma:index="12" nillable="true" ma:displayName="Taxonomy Catch All Column1" ma:description="" ma:hidden="true" ma:list="{b2dbc6ee-5c8a-4b61-8d56-4884cf3d1c93}" ma:internalName="TaxCatchAllLabel" ma:readOnly="true" ma:showField="CatchAllDataLabel" ma:web="fb2a9dcb-6efb-41cc-98b9-ba74f970147e">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0e0a1db9-2142-44bb-919b-e58332629b6b" elementFormDefault="qualified">
    <xsd:import namespace="http://schemas.microsoft.com/office/2006/documentManagement/types"/>
    <xsd:import namespace="http://schemas.microsoft.com/office/infopath/2007/PartnerControls"/>
    <xsd:element name="SharedWithUsers" ma:index="16"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description="" ma:internalName="SharedWithDetails" ma:readOnly="true">
      <xsd:simpleType>
        <xsd:restriction base="dms:Note">
          <xsd:maxLength value="255"/>
        </xsd:restriction>
      </xsd:simpleType>
    </xsd:element>
    <xsd:element name="LastSharedByUser" ma:index="18" nillable="true" ma:displayName="Last Shared By User" ma:description="" ma:internalName="LastSharedByUser" ma:readOnly="true">
      <xsd:simpleType>
        <xsd:restriction base="dms:Note">
          <xsd:maxLength value="255"/>
        </xsd:restriction>
      </xsd:simpleType>
    </xsd:element>
    <xsd:element name="LastSharedByTime" ma:index="19"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f200de8d-a697-4efd-812e-f9f1f0217a1d" elementFormDefault="qualified">
    <xsd:import namespace="http://schemas.microsoft.com/office/2006/documentManagement/types"/>
    <xsd:import namespace="http://schemas.microsoft.com/office/infopath/2007/PartnerControls"/>
    <xsd:element name="MediaServiceMetadata" ma:index="20" nillable="true" ma:displayName="MediaServiceMetadata" ma:description="" ma:hidden="true" ma:internalName="MediaServiceMetadata" ma:readOnly="true">
      <xsd:simpleType>
        <xsd:restriction base="dms:Note"/>
      </xsd:simpleType>
    </xsd:element>
    <xsd:element name="MediaServiceFastMetadata" ma:index="21" nillable="true" ma:displayName="MediaServiceFastMetadata" ma:description="" ma:hidden="true" ma:internalName="MediaServiceFastMetadata" ma:readOnly="true">
      <xsd:simpleType>
        <xsd:restriction base="dms:Note"/>
      </xsd:simpleType>
    </xsd:element>
    <xsd:element name="MediaServiceDateTaken" ma:index="22" nillable="true" ma:displayName="MediaServiceDateTaken" ma:hidden="true" ma:internalName="MediaServiceDateTaken" ma:readOnly="true">
      <xsd:simpleType>
        <xsd:restriction base="dms:Text"/>
      </xsd:simpleType>
    </xsd:element>
    <xsd:element name="MediaServiceAutoTags" ma:index="23" nillable="true" ma:displayName="MediaServiceAutoTags" ma:internalName="MediaServiceAutoTags" ma:readOnly="true">
      <xsd:simpleType>
        <xsd:restriction base="dms:Text"/>
      </xsd:simpleType>
    </xsd:element>
    <xsd:element name="MediaServiceLocation" ma:index="24" nillable="true" ma:displayName="MediaServiceLocation" ma:internalName="MediaServiceLocation" ma:readOnly="true">
      <xsd:simpleType>
        <xsd:restriction base="dms:Text"/>
      </xsd:simpleType>
    </xsd:element>
    <xsd:element name="MediaServiceOCR" ma:index="25" nillable="true" ma:displayName="MediaServiceOCR" ma:internalName="MediaServiceOCR" ma:readOnly="true">
      <xsd:simpleType>
        <xsd:restriction base="dms:Note">
          <xsd:maxLength value="255"/>
        </xsd:restriction>
      </xsd:simpleType>
    </xsd:element>
    <xsd:element name="MediaServiceEventHashCode" ma:index="26" nillable="true" ma:displayName="MediaServiceEventHashCode" ma:hidden="true" ma:internalName="MediaServiceEventHashCode" ma:readOnly="true">
      <xsd:simpleType>
        <xsd:restriction base="dms:Text"/>
      </xsd:simpleType>
    </xsd:element>
    <xsd:element name="MediaServiceGenerationTime" ma:index="27" nillable="true" ma:displayName="MediaServiceGenerationTime" ma:hidden="true" ma:internalName="MediaServiceGenerationTime" ma:readOnly="true">
      <xsd:simpleType>
        <xsd:restriction base="dms:Text"/>
      </xsd:simpleType>
    </xsd:element>
    <xsd:element name="MediaServiceAutoKeyPoints" ma:index="28" nillable="true" ma:displayName="MediaServiceAutoKeyPoints" ma:hidden="true" ma:internalName="MediaServiceAutoKeyPoints" ma:readOnly="true">
      <xsd:simpleType>
        <xsd:restriction base="dms:Note"/>
      </xsd:simpleType>
    </xsd:element>
    <xsd:element name="MediaServiceKeyPoints" ma:index="29" nillable="true" ma:displayName="KeyPoints" ma:internalName="MediaServiceKeyPoints" ma:readOnly="true">
      <xsd:simpleType>
        <xsd:restriction base="dms:Note">
          <xsd:maxLength value="255"/>
        </xsd:restriction>
      </xsd:simpleType>
    </xsd:element>
    <xsd:element name="MediaLengthInSeconds" ma:index="30"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B528255-354B-4576-95A0-1B7E1B5AC3EF}">
  <ds:schemaRefs>
    <ds:schemaRef ds:uri="0e0a1db9-2142-44bb-919b-e58332629b6b"/>
    <ds:schemaRef ds:uri="f200de8d-a697-4efd-812e-f9f1f0217a1d"/>
    <ds:schemaRef ds:uri="fb2a9dcb-6efb-41cc-98b9-ba74f970147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7985F815-8531-4C18-AFF6-38C91586FC6F}">
  <ds:schemaRefs>
    <ds:schemaRef ds:uri="http://schemas.microsoft.com/sharepoint/v3/contenttype/forms"/>
  </ds:schemaRefs>
</ds:datastoreItem>
</file>

<file path=customXml/itemProps3.xml><?xml version="1.0" encoding="utf-8"?>
<ds:datastoreItem xmlns:ds="http://schemas.openxmlformats.org/officeDocument/2006/customXml" ds:itemID="{8FD8AE58-C719-48A5-AD52-E956B9FD5E58}">
  <ds:schemaRefs>
    <ds:schemaRef ds:uri="0e0a1db9-2142-44bb-919b-e58332629b6b"/>
    <ds:schemaRef ds:uri="f200de8d-a697-4efd-812e-f9f1f0217a1d"/>
    <ds:schemaRef ds:uri="fb2a9dcb-6efb-41cc-98b9-ba74f970147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1_Editable - Contents &amp; Divider Slides</Template>
  <Application>Microsoft Office PowerPoint</Application>
  <PresentationFormat>Widescreen</PresentationFormat>
  <Slides>83</Slides>
  <Notes>68</Notes>
  <HiddenSlides>0</HiddenSlides>
  <ScaleCrop>false</ScaleCrop>
  <HeadingPairs>
    <vt:vector size="4" baseType="variant">
      <vt:variant>
        <vt:lpstr>Theme</vt:lpstr>
      </vt:variant>
      <vt:variant>
        <vt:i4>6</vt:i4>
      </vt:variant>
      <vt:variant>
        <vt:lpstr>Slide Titles</vt:lpstr>
      </vt:variant>
      <vt:variant>
        <vt:i4>83</vt:i4>
      </vt:variant>
    </vt:vector>
  </HeadingPairs>
  <TitlesOfParts>
    <vt:vector size="89" baseType="lpstr">
      <vt:lpstr>1_Editable - Contents &amp; Divider Slides</vt:lpstr>
      <vt:lpstr>2_Editable - Contents &amp; Divider Slides</vt:lpstr>
      <vt:lpstr>3_Editable - Contents &amp; Divider Slides</vt:lpstr>
      <vt:lpstr>4_Editable - Contents &amp; Divider Slides</vt:lpstr>
      <vt:lpstr>5_Editable - Contents &amp; Divider Slides</vt:lpstr>
      <vt:lpstr>6_Editable - Contents &amp; Divider Slides</vt:lpstr>
      <vt:lpstr>STW mental health Portfolio Review &amp; System Design   Master deliverable</vt:lpstr>
      <vt:lpstr>Contents</vt:lpstr>
      <vt:lpstr>PowerPoint Presentation</vt:lpstr>
      <vt:lpstr>Executive summary: service map and gap analysis </vt:lpstr>
      <vt:lpstr>PowerPoint Presentation</vt:lpstr>
      <vt:lpstr>Project overview</vt:lpstr>
      <vt:lpstr>Key stage overview</vt:lpstr>
      <vt:lpstr>Local area overview</vt:lpstr>
      <vt:lpstr>PowerPoint Presentation</vt:lpstr>
      <vt:lpstr>Executive summary: Service mapping and gap analysis </vt:lpstr>
      <vt:lpstr>Summary</vt:lpstr>
      <vt:lpstr>Service mapping</vt:lpstr>
      <vt:lpstr>Service mapping</vt:lpstr>
      <vt:lpstr>Strengths of mental health services</vt:lpstr>
      <vt:lpstr>Top challenges for mental health service users</vt:lpstr>
      <vt:lpstr>Challenges across mental health services</vt:lpstr>
      <vt:lpstr>PowerPoint Presentation</vt:lpstr>
      <vt:lpstr>Executive summary: patient journey mapping</vt:lpstr>
      <vt:lpstr>Introduction and overview</vt:lpstr>
      <vt:lpstr>PowerPoint Presentation</vt:lpstr>
      <vt:lpstr>Mental health &amp; Autism – Summary</vt:lpstr>
      <vt:lpstr>Mental health &amp; Autism - Overview</vt:lpstr>
      <vt:lpstr>Mental health &amp; Autism – Journey map</vt:lpstr>
      <vt:lpstr>Mental health &amp; Autism - Challenges</vt:lpstr>
      <vt:lpstr>Mental health &amp; Autism - Recommendations</vt:lpstr>
      <vt:lpstr>PowerPoint Presentation</vt:lpstr>
      <vt:lpstr>Mental health &amp; Drug and Alcohol – Summary</vt:lpstr>
      <vt:lpstr>Mental health &amp; Drug and Alcohol</vt:lpstr>
      <vt:lpstr>Mental health &amp; Drug and Alcohol</vt:lpstr>
      <vt:lpstr>Mental health &amp; Drug and Alcohol - Challenges</vt:lpstr>
      <vt:lpstr>Mental health &amp; Drug and Alcohol - Recommendations</vt:lpstr>
      <vt:lpstr>PowerPoint Presentation</vt:lpstr>
      <vt:lpstr>SMI Physical health checks – Summary</vt:lpstr>
      <vt:lpstr>SMI Physical health checks</vt:lpstr>
      <vt:lpstr>SMI Physical health checks</vt:lpstr>
      <vt:lpstr>SMI Physical health checks - Challenges</vt:lpstr>
      <vt:lpstr>SMI Physical health checks - Recommendations</vt:lpstr>
      <vt:lpstr>PowerPoint Presentation</vt:lpstr>
      <vt:lpstr>Prioritised recommendations (1 of 2)</vt:lpstr>
      <vt:lpstr>Prioritised recommendations (2 of 2)</vt:lpstr>
      <vt:lpstr>PowerPoint Presentation</vt:lpstr>
      <vt:lpstr>Executive summary: Vision and strategy</vt:lpstr>
      <vt:lpstr>Underpinning design principles</vt:lpstr>
      <vt:lpstr>Defining the Mental Health vision</vt:lpstr>
      <vt:lpstr>PowerPoint Presentation</vt:lpstr>
      <vt:lpstr>Executive summary: Roadmap</vt:lpstr>
      <vt:lpstr>Top 10 recommendations </vt:lpstr>
      <vt:lpstr>Quick wins</vt:lpstr>
      <vt:lpstr>PowerPoint Presentation</vt:lpstr>
      <vt:lpstr>Raise the profile and awareness of Mental Health</vt:lpstr>
      <vt:lpstr>Raise the profile and awareness of mental health</vt:lpstr>
      <vt:lpstr>Proactive prevention  </vt:lpstr>
      <vt:lpstr>Proactive prevention</vt:lpstr>
      <vt:lpstr>Easy and timely access to support and services</vt:lpstr>
      <vt:lpstr>Easy and timely access to support and services</vt:lpstr>
      <vt:lpstr>Act as one integrated system</vt:lpstr>
      <vt:lpstr>Act as one integrated system</vt:lpstr>
      <vt:lpstr>Focus on health inequalities</vt:lpstr>
      <vt:lpstr>Focus on health inequalities</vt:lpstr>
      <vt:lpstr>Build community resources</vt:lpstr>
      <vt:lpstr>Build community resources</vt:lpstr>
      <vt:lpstr>Support the workforce and their wellbeing</vt:lpstr>
      <vt:lpstr>Support the workforce and their wellbeing</vt:lpstr>
      <vt:lpstr>Supported transition from services</vt:lpstr>
      <vt:lpstr>Supported transition from services</vt:lpstr>
      <vt:lpstr>PowerPoint Presentation</vt:lpstr>
      <vt:lpstr>Roadmap sunray</vt:lpstr>
      <vt:lpstr>Top 10 recommendations </vt:lpstr>
      <vt:lpstr>Quick wins</vt:lpstr>
      <vt:lpstr>PowerPoint Presentation</vt:lpstr>
      <vt:lpstr>Next steps</vt:lpstr>
      <vt:lpstr>PowerPoint Presentation</vt:lpstr>
      <vt:lpstr>Executive summary: Project overview</vt:lpstr>
      <vt:lpstr>Executive summary: Service mapping and gap analysis </vt:lpstr>
      <vt:lpstr>Service mapping</vt:lpstr>
      <vt:lpstr>Executive summary: patient journey mapping</vt:lpstr>
      <vt:lpstr>Executive summary: Vision and strategy</vt:lpstr>
      <vt:lpstr>Defining the Mental Health vision</vt:lpstr>
      <vt:lpstr>Executive summary: Roadmap</vt:lpstr>
      <vt:lpstr>Roadmap sunray</vt:lpstr>
      <vt:lpstr>Top 10 recommendations </vt:lpstr>
      <vt:lpstr>Quick wins</vt:lpstr>
      <vt:lpstr>Next step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va Hannah</dc:creator>
  <cp:revision>1</cp:revision>
  <cp:lastPrinted>2021-11-09T14:38:37Z</cp:lastPrinted>
  <dcterms:created xsi:type="dcterms:W3CDTF">2021-01-18T09:44:00Z</dcterms:created>
  <dcterms:modified xsi:type="dcterms:W3CDTF">2022-01-12T09:55: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5AA3BCD758A746A8B950CC468FDDD1</vt:lpwstr>
  </property>
  <property fmtid="{D5CDD505-2E9C-101B-9397-08002B2CF9AE}" pid="3" name="UnilyDocumentCategory">
    <vt:lpwstr/>
  </property>
  <property fmtid="{D5CDD505-2E9C-101B-9397-08002B2CF9AE}" pid="4" name="xd_ProgID">
    <vt:lpwstr/>
  </property>
  <property fmtid="{D5CDD505-2E9C-101B-9397-08002B2CF9AE}" pid="5" name="_SourceUrl">
    <vt:lpwstr/>
  </property>
  <property fmtid="{D5CDD505-2E9C-101B-9397-08002B2CF9AE}" pid="6" name="_SharedFileIndex">
    <vt:lpwstr/>
  </property>
  <property fmtid="{D5CDD505-2E9C-101B-9397-08002B2CF9AE}" pid="7" name="TemplateUrl">
    <vt:lpwstr/>
  </property>
  <property fmtid="{D5CDD505-2E9C-101B-9397-08002B2CF9AE}" pid="8" name="ComplianceAssetId">
    <vt:lpwstr/>
  </property>
  <property fmtid="{D5CDD505-2E9C-101B-9397-08002B2CF9AE}" pid="9" name="_ExtendedDescription">
    <vt:lpwstr/>
  </property>
  <property fmtid="{D5CDD505-2E9C-101B-9397-08002B2CF9AE}" pid="10" name="URL">
    <vt:lpwstr/>
  </property>
  <property fmtid="{D5CDD505-2E9C-101B-9397-08002B2CF9AE}" pid="11" name="xd_Signature">
    <vt:bool>false</vt:bool>
  </property>
</Properties>
</file>